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0.xml" ContentType="application/vnd.openxmlformats-officedocument.presentationml.notesSlide+xml"/>
  <Override PartName="/ppt/tags/tag2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27.xml" ContentType="application/vnd.openxmlformats-officedocument.presentationml.notesSlide+xml"/>
  <Override PartName="/ppt/tags/tag35.xml" ContentType="application/vnd.openxmlformats-officedocument.presentationml.tags+xml"/>
  <Override PartName="/ppt/notesSlides/notesSlide28.xml" ContentType="application/vnd.openxmlformats-officedocument.presentationml.notesSlide+xml"/>
  <Override PartName="/ppt/tags/tag36.xml" ContentType="application/vnd.openxmlformats-officedocument.presentationml.tags+xml"/>
  <Override PartName="/ppt/notesSlides/notesSlide29.xml" ContentType="application/vnd.openxmlformats-officedocument.presentationml.notesSlide+xml"/>
  <Override PartName="/ppt/tags/tag3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32.xml" ContentType="application/vnd.openxmlformats-officedocument.presentationml.notesSlide+xml"/>
  <Override PartName="/ppt/tags/tag4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42.xml" ContentType="application/vnd.openxmlformats-officedocument.presentationml.tags+xml"/>
  <Override PartName="/ppt/notesSlides/notesSlide35.xml" ContentType="application/vnd.openxmlformats-officedocument.presentationml.notesSlide+xml"/>
  <Override PartName="/ppt/tags/tag43.xml" ContentType="application/vnd.openxmlformats-officedocument.presentationml.tags+xml"/>
  <Override PartName="/ppt/notesSlides/notesSlide36.xml" ContentType="application/vnd.openxmlformats-officedocument.presentationml.notesSlide+xml"/>
  <Override PartName="/ppt/tags/tag44.xml" ContentType="application/vnd.openxmlformats-officedocument.presentationml.tags+xml"/>
  <Override PartName="/ppt/notesSlides/notesSlide3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38.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0.xml" ContentType="application/vnd.openxmlformats-officedocument.presentationml.tags+xml"/>
  <Override PartName="/ppt/notesSlides/notesSlide39.xml" ContentType="application/vnd.openxmlformats-officedocument.presentationml.notesSlide+xml"/>
  <Override PartName="/ppt/tags/tag51.xml" ContentType="application/vnd.openxmlformats-officedocument.presentationml.tags+xml"/>
  <Override PartName="/ppt/notesSlides/notesSlide40.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43.xml" ContentType="application/vnd.openxmlformats-officedocument.presentationml.notesSlide+xml"/>
  <Override PartName="/ppt/tags/tag61.xml" ContentType="application/vnd.openxmlformats-officedocument.presentationml.tags+xml"/>
  <Override PartName="/ppt/notesSlides/notesSlide44.xml" ContentType="application/vnd.openxmlformats-officedocument.presentationml.notesSlide+xml"/>
  <Override PartName="/ppt/tags/tag62.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63.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49.xml" ContentType="application/vnd.openxmlformats-officedocument.presentationml.notesSlide+xml"/>
  <Override PartName="/ppt/tags/tag67.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68.xml" ContentType="application/vnd.openxmlformats-officedocument.presentationml.tags+xml"/>
  <Override PartName="/ppt/notesSlides/notesSlide52.xml" ContentType="application/vnd.openxmlformats-officedocument.presentationml.notesSlide+xml"/>
  <Override PartName="/ppt/tags/tag69.xml" ContentType="application/vnd.openxmlformats-officedocument.presentationml.tags+xml"/>
  <Override PartName="/ppt/notesSlides/notesSlide53.xml" ContentType="application/vnd.openxmlformats-officedocument.presentationml.notesSlide+xml"/>
  <Override PartName="/ppt/tags/tag70.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56.xml" ContentType="application/vnd.openxmlformats-officedocument.presentationml.notesSlide+xml"/>
  <Override PartName="/ppt/tags/tag74.xml" ContentType="application/vnd.openxmlformats-officedocument.presentationml.tags+xml"/>
  <Override PartName="/ppt/notesSlides/notesSlide57.xml" ContentType="application/vnd.openxmlformats-officedocument.presentationml.notesSlide+xml"/>
  <Override PartName="/ppt/tags/tag75.xml" ContentType="application/vnd.openxmlformats-officedocument.presentationml.tags+xml"/>
  <Override PartName="/ppt/notesSlides/notesSlide58.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61.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6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58" r:id="rId1"/>
    <p:sldMasterId id="2147483797" r:id="rId2"/>
    <p:sldMasterId id="2147483833" r:id="rId3"/>
    <p:sldMasterId id="2147483872" r:id="rId4"/>
    <p:sldMasterId id="2147483912" r:id="rId5"/>
  </p:sldMasterIdLst>
  <p:notesMasterIdLst>
    <p:notesMasterId r:id="rId155"/>
  </p:notesMasterIdLst>
  <p:handoutMasterIdLst>
    <p:handoutMasterId r:id="rId156"/>
  </p:handoutMasterIdLst>
  <p:sldIdLst>
    <p:sldId id="264" r:id="rId6"/>
    <p:sldId id="267" r:id="rId7"/>
    <p:sldId id="276" r:id="rId8"/>
    <p:sldId id="275" r:id="rId9"/>
    <p:sldId id="363" r:id="rId10"/>
    <p:sldId id="286" r:id="rId11"/>
    <p:sldId id="284" r:id="rId12"/>
    <p:sldId id="364" r:id="rId13"/>
    <p:sldId id="285" r:id="rId14"/>
    <p:sldId id="287" r:id="rId15"/>
    <p:sldId id="365" r:id="rId16"/>
    <p:sldId id="366" r:id="rId17"/>
    <p:sldId id="288" r:id="rId18"/>
    <p:sldId id="289" r:id="rId19"/>
    <p:sldId id="290" r:id="rId20"/>
    <p:sldId id="374" r:id="rId21"/>
    <p:sldId id="1100" r:id="rId22"/>
    <p:sldId id="878" r:id="rId23"/>
    <p:sldId id="1109" r:id="rId24"/>
    <p:sldId id="292" r:id="rId25"/>
    <p:sldId id="390" r:id="rId26"/>
    <p:sldId id="310" r:id="rId27"/>
    <p:sldId id="311" r:id="rId28"/>
    <p:sldId id="291" r:id="rId29"/>
    <p:sldId id="1055" r:id="rId30"/>
    <p:sldId id="270" r:id="rId31"/>
    <p:sldId id="434" r:id="rId32"/>
    <p:sldId id="373" r:id="rId33"/>
    <p:sldId id="367" r:id="rId34"/>
    <p:sldId id="293" r:id="rId35"/>
    <p:sldId id="297" r:id="rId36"/>
    <p:sldId id="298" r:id="rId37"/>
    <p:sldId id="384" r:id="rId38"/>
    <p:sldId id="1101" r:id="rId39"/>
    <p:sldId id="886" r:id="rId40"/>
    <p:sldId id="1110" r:id="rId41"/>
    <p:sldId id="305" r:id="rId42"/>
    <p:sldId id="399" r:id="rId43"/>
    <p:sldId id="401" r:id="rId44"/>
    <p:sldId id="962" r:id="rId45"/>
    <p:sldId id="1057" r:id="rId46"/>
    <p:sldId id="964" r:id="rId47"/>
    <p:sldId id="965" r:id="rId48"/>
    <p:sldId id="309" r:id="rId49"/>
    <p:sldId id="960" r:id="rId50"/>
    <p:sldId id="314" r:id="rId51"/>
    <p:sldId id="1058" r:id="rId52"/>
    <p:sldId id="1060" r:id="rId53"/>
    <p:sldId id="382" r:id="rId54"/>
    <p:sldId id="368" r:id="rId55"/>
    <p:sldId id="295" r:id="rId56"/>
    <p:sldId id="301" r:id="rId57"/>
    <p:sldId id="302" r:id="rId58"/>
    <p:sldId id="385" r:id="rId59"/>
    <p:sldId id="1102" r:id="rId60"/>
    <p:sldId id="887" r:id="rId61"/>
    <p:sldId id="1111" r:id="rId62"/>
    <p:sldId id="438" r:id="rId63"/>
    <p:sldId id="316" r:id="rId64"/>
    <p:sldId id="317" r:id="rId65"/>
    <p:sldId id="318" r:id="rId66"/>
    <p:sldId id="383" r:id="rId67"/>
    <p:sldId id="369" r:id="rId68"/>
    <p:sldId id="296" r:id="rId69"/>
    <p:sldId id="303" r:id="rId70"/>
    <p:sldId id="304" r:id="rId71"/>
    <p:sldId id="386" r:id="rId72"/>
    <p:sldId id="1103" r:id="rId73"/>
    <p:sldId id="888" r:id="rId74"/>
    <p:sldId id="1112" r:id="rId75"/>
    <p:sldId id="308" r:id="rId76"/>
    <p:sldId id="319" r:id="rId77"/>
    <p:sldId id="320" r:id="rId78"/>
    <p:sldId id="322" r:id="rId79"/>
    <p:sldId id="323" r:id="rId80"/>
    <p:sldId id="324" r:id="rId81"/>
    <p:sldId id="325" r:id="rId82"/>
    <p:sldId id="326" r:id="rId83"/>
    <p:sldId id="1062" r:id="rId84"/>
    <p:sldId id="442" r:id="rId85"/>
    <p:sldId id="443" r:id="rId86"/>
    <p:sldId id="274" r:id="rId87"/>
    <p:sldId id="1063" r:id="rId88"/>
    <p:sldId id="1064" r:id="rId89"/>
    <p:sldId id="1065" r:id="rId90"/>
    <p:sldId id="321" r:id="rId91"/>
    <p:sldId id="380" r:id="rId92"/>
    <p:sldId id="370" r:id="rId93"/>
    <p:sldId id="294" r:id="rId94"/>
    <p:sldId id="299" r:id="rId95"/>
    <p:sldId id="300" r:id="rId96"/>
    <p:sldId id="387" r:id="rId97"/>
    <p:sldId id="1104" r:id="rId98"/>
    <p:sldId id="889" r:id="rId99"/>
    <p:sldId id="1113" r:id="rId100"/>
    <p:sldId id="312" r:id="rId101"/>
    <p:sldId id="751" r:id="rId102"/>
    <p:sldId id="1027" r:id="rId103"/>
    <p:sldId id="306" r:id="rId104"/>
    <p:sldId id="313" r:id="rId105"/>
    <p:sldId id="315" r:id="rId106"/>
    <p:sldId id="446" r:id="rId107"/>
    <p:sldId id="381" r:id="rId108"/>
    <p:sldId id="371" r:id="rId109"/>
    <p:sldId id="337" r:id="rId110"/>
    <p:sldId id="338" r:id="rId111"/>
    <p:sldId id="339" r:id="rId112"/>
    <p:sldId id="388" r:id="rId113"/>
    <p:sldId id="1105" r:id="rId114"/>
    <p:sldId id="890" r:id="rId115"/>
    <p:sldId id="1114" r:id="rId116"/>
    <p:sldId id="361" r:id="rId117"/>
    <p:sldId id="362" r:id="rId118"/>
    <p:sldId id="360" r:id="rId119"/>
    <p:sldId id="1066" r:id="rId120"/>
    <p:sldId id="372" r:id="rId121"/>
    <p:sldId id="336" r:id="rId122"/>
    <p:sldId id="892" r:id="rId123"/>
    <p:sldId id="893" r:id="rId124"/>
    <p:sldId id="894" r:id="rId125"/>
    <p:sldId id="1106" r:id="rId126"/>
    <p:sldId id="891" r:id="rId127"/>
    <p:sldId id="1115" r:id="rId128"/>
    <p:sldId id="910" r:id="rId129"/>
    <p:sldId id="1107" r:id="rId130"/>
    <p:sldId id="1043" r:id="rId131"/>
    <p:sldId id="909" r:id="rId132"/>
    <p:sldId id="899" r:id="rId133"/>
    <p:sldId id="335" r:id="rId134"/>
    <p:sldId id="1044" r:id="rId135"/>
    <p:sldId id="1045" r:id="rId136"/>
    <p:sldId id="1046" r:id="rId137"/>
    <p:sldId id="1047" r:id="rId138"/>
    <p:sldId id="1108" r:id="rId139"/>
    <p:sldId id="1048" r:id="rId140"/>
    <p:sldId id="1050" r:id="rId141"/>
    <p:sldId id="1094" r:id="rId142"/>
    <p:sldId id="1068" r:id="rId143"/>
    <p:sldId id="1095" r:id="rId144"/>
    <p:sldId id="1089" r:id="rId145"/>
    <p:sldId id="1096" r:id="rId146"/>
    <p:sldId id="1091" r:id="rId147"/>
    <p:sldId id="1097" r:id="rId148"/>
    <p:sldId id="1092" r:id="rId149"/>
    <p:sldId id="1098" r:id="rId150"/>
    <p:sldId id="1093" r:id="rId151"/>
    <p:sldId id="1099" r:id="rId152"/>
    <p:sldId id="882" r:id="rId153"/>
    <p:sldId id="1053" r:id="rId154"/>
  </p:sldIdLst>
  <p:sldSz cx="9144000" cy="6858000" type="screen4x3"/>
  <p:notesSz cx="6858000" cy="9144000"/>
  <p:custDataLst>
    <p:tags r:id="rId157"/>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880" userDrawn="1">
          <p15:clr>
            <a:srgbClr val="A4A3A4"/>
          </p15:clr>
        </p15:guide>
        <p15:guide id="3" orient="horz" pos="2160">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Forfatter" initials="F" lastIdx="199"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8E0"/>
    <a:srgbClr val="DED5CB"/>
    <a:srgbClr val="CDDEF3"/>
    <a:srgbClr val="D2E4BE"/>
    <a:srgbClr val="BCB5B2"/>
    <a:srgbClr val="CDE7EE"/>
    <a:srgbClr val="ECE38A"/>
    <a:srgbClr val="C6C7C9"/>
    <a:srgbClr val="BAD9C1"/>
    <a:srgbClr val="E9D392"/>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12C8C85-51F0-491E-9774-3900AFEF0FD7}">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llemlayout 2 - Marker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12C8C85-51F0-491E-9774-3900AFEF0FD7}" styleName="Lyst layout 2 - Markering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202B0CA-FC54-4496-8BCA-5EF66A818D29}" styleName="Mørkt layou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753" autoAdjust="0"/>
    <p:restoredTop sz="71010" autoAdjust="0"/>
  </p:normalViewPr>
  <p:slideViewPr>
    <p:cSldViewPr showGuides="1">
      <p:cViewPr varScale="1">
        <p:scale>
          <a:sx n="82" d="100"/>
          <a:sy n="82" d="100"/>
        </p:scale>
        <p:origin x="2910" y="78"/>
      </p:cViewPr>
      <p:guideLst>
        <p:guide pos="2880"/>
        <p:guide orient="horz" pos="2160"/>
      </p:guideLst>
    </p:cSldViewPr>
  </p:slideViewPr>
  <p:notesTextViewPr>
    <p:cViewPr>
      <p:scale>
        <a:sx n="100" d="100"/>
        <a:sy n="100" d="100"/>
      </p:scale>
      <p:origin x="0" y="0"/>
    </p:cViewPr>
  </p:notesTextViewPr>
  <p:notesViewPr>
    <p:cSldViewPr showGuides="1">
      <p:cViewPr varScale="1">
        <p:scale>
          <a:sx n="81" d="100"/>
          <a:sy n="81" d="100"/>
        </p:scale>
        <p:origin x="3894"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38" Type="http://schemas.openxmlformats.org/officeDocument/2006/relationships/slide" Target="slides/slide133.xml"/><Relationship Id="rId154" Type="http://schemas.openxmlformats.org/officeDocument/2006/relationships/slide" Target="slides/slide149.xml"/><Relationship Id="rId159" Type="http://schemas.openxmlformats.org/officeDocument/2006/relationships/presProps" Target="presProps.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144" Type="http://schemas.openxmlformats.org/officeDocument/2006/relationships/slide" Target="slides/slide139.xml"/><Relationship Id="rId149" Type="http://schemas.openxmlformats.org/officeDocument/2006/relationships/slide" Target="slides/slide144.xml"/><Relationship Id="rId5" Type="http://schemas.openxmlformats.org/officeDocument/2006/relationships/slideMaster" Target="slideMasters/slideMaster5.xml"/><Relationship Id="rId90" Type="http://schemas.openxmlformats.org/officeDocument/2006/relationships/slide" Target="slides/slide85.xml"/><Relationship Id="rId95" Type="http://schemas.openxmlformats.org/officeDocument/2006/relationships/slide" Target="slides/slide90.xml"/><Relationship Id="rId160" Type="http://schemas.openxmlformats.org/officeDocument/2006/relationships/viewProps" Target="viewProps.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slide" Target="slides/slide129.xml"/><Relationship Id="rId139" Type="http://schemas.openxmlformats.org/officeDocument/2006/relationships/slide" Target="slides/slide134.xml"/><Relationship Id="rId80" Type="http://schemas.openxmlformats.org/officeDocument/2006/relationships/slide" Target="slides/slide75.xml"/><Relationship Id="rId85" Type="http://schemas.openxmlformats.org/officeDocument/2006/relationships/slide" Target="slides/slide80.xml"/><Relationship Id="rId150" Type="http://schemas.openxmlformats.org/officeDocument/2006/relationships/slide" Target="slides/slide145.xml"/><Relationship Id="rId155" Type="http://schemas.openxmlformats.org/officeDocument/2006/relationships/notesMaster" Target="notesMasters/notesMaster1.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slide" Target="slides/slide106.xml"/><Relationship Id="rId132" Type="http://schemas.openxmlformats.org/officeDocument/2006/relationships/slide" Target="slides/slide127.xml"/><Relationship Id="rId140" Type="http://schemas.openxmlformats.org/officeDocument/2006/relationships/slide" Target="slides/slide135.xml"/><Relationship Id="rId145" Type="http://schemas.openxmlformats.org/officeDocument/2006/relationships/slide" Target="slides/slide140.xml"/><Relationship Id="rId153" Type="http://schemas.openxmlformats.org/officeDocument/2006/relationships/slide" Target="slides/slide148.xml"/><Relationship Id="rId16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slide" Target="slides/slide109.xml"/><Relationship Id="rId119" Type="http://schemas.openxmlformats.org/officeDocument/2006/relationships/slide" Target="slides/slide114.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30" Type="http://schemas.openxmlformats.org/officeDocument/2006/relationships/slide" Target="slides/slide125.xml"/><Relationship Id="rId135" Type="http://schemas.openxmlformats.org/officeDocument/2006/relationships/slide" Target="slides/slide130.xml"/><Relationship Id="rId143" Type="http://schemas.openxmlformats.org/officeDocument/2006/relationships/slide" Target="slides/slide138.xml"/><Relationship Id="rId148" Type="http://schemas.openxmlformats.org/officeDocument/2006/relationships/slide" Target="slides/slide143.xml"/><Relationship Id="rId151" Type="http://schemas.openxmlformats.org/officeDocument/2006/relationships/slide" Target="slides/slide146.xml"/><Relationship Id="rId156"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162"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157" Type="http://schemas.openxmlformats.org/officeDocument/2006/relationships/tags" Target="tags/tag1.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slide" Target="slides/slide14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3" Type="http://schemas.openxmlformats.org/officeDocument/2006/relationships/slideMaster" Target="slideMasters/slideMaster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09A634-03FA-4496-8771-5C242BD58536}" type="doc">
      <dgm:prSet loTypeId="urn:microsoft.com/office/officeart/2005/8/layout/arrow2" loCatId="process" qsTypeId="urn:microsoft.com/office/officeart/2005/8/quickstyle/simple1" qsCatId="simple" csTypeId="urn:microsoft.com/office/officeart/2005/8/colors/accent0_3" csCatId="mainScheme" phldr="1"/>
      <dgm:spPr/>
    </dgm:pt>
    <dgm:pt modelId="{45C54719-787A-4A94-BF2E-58D1430EF7E2}">
      <dgm:prSet phldrT="[Tekst]" custT="1"/>
      <dgm:spPr>
        <a:xfrm>
          <a:off x="1015167" y="2453504"/>
          <a:ext cx="674874" cy="766317"/>
        </a:xfrm>
        <a:prstGeom prst="rect">
          <a:avLst/>
        </a:prstGeom>
      </dgm:spPr>
      <dgm:t>
        <a:bodyPr/>
        <a:lstStyle/>
        <a:p>
          <a:pPr>
            <a:buNone/>
          </a:pPr>
          <a:r>
            <a:rPr lang="da-DK" sz="1200" dirty="0">
              <a:latin typeface="+mj-lt"/>
              <a:ea typeface="+mn-ea"/>
              <a:cs typeface="Arial"/>
            </a:rPr>
            <a:t>Voksen afmagt</a:t>
          </a:r>
        </a:p>
      </dgm:t>
    </dgm:pt>
    <dgm:pt modelId="{D13B38F6-7D1E-45AE-BA67-151DD2DE9E9D}" type="parTrans" cxnId="{7DE34D85-48CE-4213-8439-D5FEFA4D6C7E}">
      <dgm:prSet/>
      <dgm:spPr/>
      <dgm:t>
        <a:bodyPr/>
        <a:lstStyle/>
        <a:p>
          <a:endParaRPr lang="da-DK"/>
        </a:p>
      </dgm:t>
    </dgm:pt>
    <dgm:pt modelId="{1858D60D-8BCA-4606-8EA5-64243C3B09B2}" type="sibTrans" cxnId="{7DE34D85-48CE-4213-8439-D5FEFA4D6C7E}">
      <dgm:prSet/>
      <dgm:spPr/>
      <dgm:t>
        <a:bodyPr/>
        <a:lstStyle/>
        <a:p>
          <a:endParaRPr lang="da-DK"/>
        </a:p>
      </dgm:t>
    </dgm:pt>
    <dgm:pt modelId="{E70A71C5-AF07-4CC7-84FD-247848AA8B52}">
      <dgm:prSet phldrT="[Tekst]" custT="1"/>
      <dgm:spPr>
        <a:xfrm>
          <a:off x="1690041" y="1870716"/>
          <a:ext cx="855184" cy="1349105"/>
        </a:xfrm>
        <a:prstGeom prst="rect">
          <a:avLst/>
        </a:prstGeom>
      </dgm:spPr>
      <dgm:t>
        <a:bodyPr/>
        <a:lstStyle/>
        <a:p>
          <a:pPr>
            <a:buNone/>
          </a:pPr>
          <a:r>
            <a:rPr lang="da-DK" sz="1200" dirty="0">
              <a:latin typeface="+mj-lt"/>
              <a:ea typeface="+mn-ea"/>
              <a:cs typeface="Arial"/>
            </a:rPr>
            <a:t>Barnet er ”umuligt”</a:t>
          </a:r>
        </a:p>
      </dgm:t>
    </dgm:pt>
    <dgm:pt modelId="{6FAB9811-EEAF-4260-8DC2-BB419CEF17CC}" type="parTrans" cxnId="{A572BC6C-0EBF-40C9-97FA-13D71F7D0660}">
      <dgm:prSet/>
      <dgm:spPr/>
      <dgm:t>
        <a:bodyPr/>
        <a:lstStyle/>
        <a:p>
          <a:endParaRPr lang="da-DK"/>
        </a:p>
      </dgm:t>
    </dgm:pt>
    <dgm:pt modelId="{606B9C3F-6360-4052-8EF3-D64D1D322D24}" type="sibTrans" cxnId="{A572BC6C-0EBF-40C9-97FA-13D71F7D0660}">
      <dgm:prSet/>
      <dgm:spPr/>
      <dgm:t>
        <a:bodyPr/>
        <a:lstStyle/>
        <a:p>
          <a:endParaRPr lang="da-DK"/>
        </a:p>
      </dgm:t>
    </dgm:pt>
    <dgm:pt modelId="{E6C5B95A-5312-4090-AD41-48A8610351D9}">
      <dgm:prSet phldrT="[Tekst]" custT="1"/>
      <dgm:spPr>
        <a:xfrm>
          <a:off x="2545226" y="1410282"/>
          <a:ext cx="994281" cy="1809539"/>
        </a:xfrm>
        <a:prstGeom prst="rect">
          <a:avLst/>
        </a:prstGeom>
      </dgm:spPr>
      <dgm:t>
        <a:bodyPr/>
        <a:lstStyle/>
        <a:p>
          <a:pPr>
            <a:buNone/>
          </a:pPr>
          <a:r>
            <a:rPr lang="da-DK" sz="1200" dirty="0">
              <a:latin typeface="+mj-lt"/>
              <a:ea typeface="+mn-ea"/>
              <a:cs typeface="Arial"/>
            </a:rPr>
            <a:t>Afstand ml B. og V. Relationen svækkes</a:t>
          </a:r>
        </a:p>
        <a:p>
          <a:pPr>
            <a:buNone/>
          </a:pPr>
          <a:r>
            <a:rPr lang="da-DK" sz="1200" dirty="0">
              <a:latin typeface="+mj-lt"/>
              <a:ea typeface="+mn-ea"/>
              <a:cs typeface="Arial"/>
            </a:rPr>
            <a:t>(rigtig/forkert)</a:t>
          </a:r>
        </a:p>
      </dgm:t>
    </dgm:pt>
    <dgm:pt modelId="{AFA5B11A-2632-4BCC-8B2E-4C7C08BBBD19}" type="parTrans" cxnId="{B21307F6-995D-4439-90A1-06EF5B595E0B}">
      <dgm:prSet/>
      <dgm:spPr/>
      <dgm:t>
        <a:bodyPr/>
        <a:lstStyle/>
        <a:p>
          <a:endParaRPr lang="da-DK"/>
        </a:p>
      </dgm:t>
    </dgm:pt>
    <dgm:pt modelId="{C4E576B6-002A-4DF7-BAC9-C706DFE162D7}" type="sibTrans" cxnId="{B21307F6-995D-4439-90A1-06EF5B595E0B}">
      <dgm:prSet/>
      <dgm:spPr/>
      <dgm:t>
        <a:bodyPr/>
        <a:lstStyle/>
        <a:p>
          <a:endParaRPr lang="da-DK"/>
        </a:p>
      </dgm:t>
    </dgm:pt>
    <dgm:pt modelId="{2BC55527-EF73-48CF-AC29-471D03F3D68C}">
      <dgm:prSet phldrT="[Tekst]" custT="1"/>
      <dgm:spPr>
        <a:xfrm>
          <a:off x="3539507" y="1062541"/>
          <a:ext cx="1030343" cy="2157280"/>
        </a:xfrm>
        <a:prstGeom prst="rect">
          <a:avLst/>
        </a:prstGeom>
      </dgm:spPr>
      <dgm:t>
        <a:bodyPr/>
        <a:lstStyle/>
        <a:p>
          <a:pPr>
            <a:buNone/>
          </a:pPr>
          <a:r>
            <a:rPr lang="da-DK" sz="1200" dirty="0">
              <a:latin typeface="+mj-lt"/>
              <a:ea typeface="+mn-ea"/>
              <a:cs typeface="Arial"/>
            </a:rPr>
            <a:t>Utryghed vokser hos barn</a:t>
          </a:r>
        </a:p>
      </dgm:t>
    </dgm:pt>
    <dgm:pt modelId="{F393B2EA-A5D9-487B-9D2F-92086B4EF76A}" type="parTrans" cxnId="{B0E8B8BC-5CA6-4930-A3DE-0C321FA2701D}">
      <dgm:prSet/>
      <dgm:spPr/>
      <dgm:t>
        <a:bodyPr/>
        <a:lstStyle/>
        <a:p>
          <a:endParaRPr lang="da-DK"/>
        </a:p>
      </dgm:t>
    </dgm:pt>
    <dgm:pt modelId="{398F0792-0268-44C0-88FB-3D449A552CA7}" type="sibTrans" cxnId="{B0E8B8BC-5CA6-4930-A3DE-0C321FA2701D}">
      <dgm:prSet/>
      <dgm:spPr/>
      <dgm:t>
        <a:bodyPr/>
        <a:lstStyle/>
        <a:p>
          <a:endParaRPr lang="da-DK"/>
        </a:p>
      </dgm:t>
    </dgm:pt>
    <dgm:pt modelId="{11098B72-3C01-4F97-B2A7-C18037E36A97}">
      <dgm:prSet phldrT="[Tekst]" custT="1"/>
      <dgm:spPr>
        <a:xfrm>
          <a:off x="4569850" y="850033"/>
          <a:ext cx="1030343" cy="2369788"/>
        </a:xfrm>
        <a:prstGeom prst="rect">
          <a:avLst/>
        </a:prstGeom>
      </dgm:spPr>
      <dgm:t>
        <a:bodyPr/>
        <a:lstStyle/>
        <a:p>
          <a:pPr>
            <a:buNone/>
          </a:pPr>
          <a:r>
            <a:rPr lang="da-DK" sz="1200" dirty="0">
              <a:latin typeface="+mj-lt"/>
              <a:ea typeface="+mn-ea"/>
              <a:cs typeface="Arial"/>
            </a:rPr>
            <a:t>Konfliktniveau øges. Barnet finder selv nye strategier eller skruer op for gamle</a:t>
          </a:r>
        </a:p>
      </dgm:t>
    </dgm:pt>
    <dgm:pt modelId="{1C10A151-3529-4397-857B-E883E1D38BCA}" type="parTrans" cxnId="{1D0F47C1-C6DA-4D5B-BDB1-09D6EC6DF918}">
      <dgm:prSet/>
      <dgm:spPr/>
      <dgm:t>
        <a:bodyPr/>
        <a:lstStyle/>
        <a:p>
          <a:endParaRPr lang="da-DK"/>
        </a:p>
      </dgm:t>
    </dgm:pt>
    <dgm:pt modelId="{87574E3F-0CAB-412F-9961-C6CAF6E6FF44}" type="sibTrans" cxnId="{1D0F47C1-C6DA-4D5B-BDB1-09D6EC6DF918}">
      <dgm:prSet/>
      <dgm:spPr/>
      <dgm:t>
        <a:bodyPr/>
        <a:lstStyle/>
        <a:p>
          <a:endParaRPr lang="da-DK"/>
        </a:p>
      </dgm:t>
    </dgm:pt>
    <dgm:pt modelId="{83B79410-7687-45B8-AA6C-C6AFAE32230C}" type="pres">
      <dgm:prSet presAssocID="{8E09A634-03FA-4496-8771-5C242BD58536}" presName="arrowDiagram" presStyleCnt="0">
        <dgm:presLayoutVars>
          <dgm:chMax val="5"/>
          <dgm:dir/>
          <dgm:resizeHandles val="exact"/>
        </dgm:presLayoutVars>
      </dgm:prSet>
      <dgm:spPr/>
    </dgm:pt>
    <dgm:pt modelId="{98C7E942-49D0-4E11-8F83-3D40B2AFB924}" type="pres">
      <dgm:prSet presAssocID="{8E09A634-03FA-4496-8771-5C242BD58536}" presName="arrow" presStyleLbl="bgShp" presStyleIdx="0" presStyleCnt="1"/>
      <dgm:spPr>
        <a:xfrm>
          <a:off x="448478" y="0"/>
          <a:ext cx="5151715" cy="3219822"/>
        </a:xfrm>
        <a:prstGeom prst="swooshArrow">
          <a:avLst>
            <a:gd name="adj1" fmla="val 25000"/>
            <a:gd name="adj2" fmla="val 25000"/>
          </a:avLst>
        </a:prstGeom>
      </dgm:spPr>
    </dgm:pt>
    <dgm:pt modelId="{CA141ABC-1DD6-47C8-9F29-F26A70A39A63}" type="pres">
      <dgm:prSet presAssocID="{8E09A634-03FA-4496-8771-5C242BD58536}" presName="arrowDiagram5" presStyleCnt="0"/>
      <dgm:spPr/>
    </dgm:pt>
    <dgm:pt modelId="{A8A113B5-F369-43FD-B729-A8A5E8E25B29}" type="pres">
      <dgm:prSet presAssocID="{45C54719-787A-4A94-BF2E-58D1430EF7E2}" presName="bullet5a" presStyleLbl="node1" presStyleIdx="0" presStyleCnt="5"/>
      <dgm:spPr>
        <a:xfrm>
          <a:off x="955922" y="2394259"/>
          <a:ext cx="118489" cy="118489"/>
        </a:xfrm>
        <a:prstGeom prst="ellipse">
          <a:avLst/>
        </a:prstGeom>
      </dgm:spPr>
    </dgm:pt>
    <dgm:pt modelId="{FACF775D-736D-4848-9134-335686DCB44B}" type="pres">
      <dgm:prSet presAssocID="{45C54719-787A-4A94-BF2E-58D1430EF7E2}" presName="textBox5a" presStyleLbl="revTx" presStyleIdx="0" presStyleCnt="5" custLinFactNeighborX="10842" custLinFactNeighborY="-4249">
        <dgm:presLayoutVars>
          <dgm:bulletEnabled val="1"/>
        </dgm:presLayoutVars>
      </dgm:prSet>
      <dgm:spPr/>
      <dgm:t>
        <a:bodyPr/>
        <a:lstStyle/>
        <a:p>
          <a:endParaRPr lang="da-DK"/>
        </a:p>
      </dgm:t>
    </dgm:pt>
    <dgm:pt modelId="{EC87EF6A-4522-4996-8851-C452126E4B1D}" type="pres">
      <dgm:prSet presAssocID="{E70A71C5-AF07-4CC7-84FD-247848AA8B52}" presName="bullet5b" presStyleLbl="node1" presStyleIdx="1" presStyleCnt="5"/>
      <dgm:spPr>
        <a:xfrm>
          <a:off x="1597310" y="1777985"/>
          <a:ext cx="185461" cy="185461"/>
        </a:xfrm>
        <a:prstGeom prst="ellipse">
          <a:avLst/>
        </a:prstGeom>
      </dgm:spPr>
    </dgm:pt>
    <dgm:pt modelId="{FF8C5FF7-A9AE-4398-B388-E46F60F3813D}" type="pres">
      <dgm:prSet presAssocID="{E70A71C5-AF07-4CC7-84FD-247848AA8B52}" presName="textBox5b" presStyleLbl="revTx" presStyleIdx="1" presStyleCnt="5" custLinFactNeighborX="5422" custLinFactNeighborY="-1073">
        <dgm:presLayoutVars>
          <dgm:bulletEnabled val="1"/>
        </dgm:presLayoutVars>
      </dgm:prSet>
      <dgm:spPr/>
      <dgm:t>
        <a:bodyPr/>
        <a:lstStyle/>
        <a:p>
          <a:endParaRPr lang="da-DK"/>
        </a:p>
      </dgm:t>
    </dgm:pt>
    <dgm:pt modelId="{99850F06-1C4A-4139-99CF-09E6ED71B8D7}" type="pres">
      <dgm:prSet presAssocID="{E6C5B95A-5312-4090-AD41-48A8610351D9}" presName="bullet5c" presStyleLbl="node1" presStyleIdx="2" presStyleCnt="5"/>
      <dgm:spPr>
        <a:xfrm>
          <a:off x="2421585" y="1286640"/>
          <a:ext cx="247282" cy="247282"/>
        </a:xfrm>
        <a:prstGeom prst="ellipse">
          <a:avLst/>
        </a:prstGeom>
      </dgm:spPr>
    </dgm:pt>
    <dgm:pt modelId="{D5539D6B-82E2-446F-80F7-225F60D594D6}" type="pres">
      <dgm:prSet presAssocID="{E6C5B95A-5312-4090-AD41-48A8610351D9}" presName="textBox5c" presStyleLbl="revTx" presStyleIdx="2" presStyleCnt="5" custScaleX="126733" custScaleY="43805" custLinFactNeighborX="-2801" custLinFactNeighborY="-19756">
        <dgm:presLayoutVars>
          <dgm:bulletEnabled val="1"/>
        </dgm:presLayoutVars>
      </dgm:prSet>
      <dgm:spPr/>
      <dgm:t>
        <a:bodyPr/>
        <a:lstStyle/>
        <a:p>
          <a:endParaRPr lang="da-DK"/>
        </a:p>
      </dgm:t>
    </dgm:pt>
    <dgm:pt modelId="{3ACE4463-22B6-4908-B28A-F77795F235CF}" type="pres">
      <dgm:prSet presAssocID="{2BC55527-EF73-48CF-AC29-471D03F3D68C}" presName="bullet5d" presStyleLbl="node1" presStyleIdx="3" presStyleCnt="5"/>
      <dgm:spPr>
        <a:xfrm>
          <a:off x="3379804" y="902838"/>
          <a:ext cx="319406" cy="319406"/>
        </a:xfrm>
        <a:prstGeom prst="ellipse">
          <a:avLst/>
        </a:prstGeom>
      </dgm:spPr>
    </dgm:pt>
    <dgm:pt modelId="{332AF8D3-34BE-4245-A8F1-A4781F98B13D}" type="pres">
      <dgm:prSet presAssocID="{2BC55527-EF73-48CF-AC29-471D03F3D68C}" presName="textBox5d" presStyleLbl="revTx" presStyleIdx="3" presStyleCnt="5" custLinFactNeighborX="6891" custLinFactNeighborY="-3790">
        <dgm:presLayoutVars>
          <dgm:bulletEnabled val="1"/>
        </dgm:presLayoutVars>
      </dgm:prSet>
      <dgm:spPr/>
      <dgm:t>
        <a:bodyPr/>
        <a:lstStyle/>
        <a:p>
          <a:endParaRPr lang="da-DK"/>
        </a:p>
      </dgm:t>
    </dgm:pt>
    <dgm:pt modelId="{E77FB297-619F-4840-B8A8-049F67E3E721}" type="pres">
      <dgm:prSet presAssocID="{11098B72-3C01-4F97-B2A7-C18037E36A97}" presName="bullet5e" presStyleLbl="node1" presStyleIdx="4" presStyleCnt="5"/>
      <dgm:spPr>
        <a:xfrm>
          <a:off x="4366357" y="646540"/>
          <a:ext cx="406985" cy="406985"/>
        </a:xfrm>
        <a:prstGeom prst="ellipse">
          <a:avLst/>
        </a:prstGeom>
      </dgm:spPr>
    </dgm:pt>
    <dgm:pt modelId="{B918121D-040B-4BCC-9958-6EF9778CBEDA}" type="pres">
      <dgm:prSet presAssocID="{11098B72-3C01-4F97-B2A7-C18037E36A97}" presName="textBox5e" presStyleLbl="revTx" presStyleIdx="4" presStyleCnt="5" custScaleX="131144" custScaleY="50895" custLinFactNeighborX="22463" custLinFactNeighborY="-28229">
        <dgm:presLayoutVars>
          <dgm:bulletEnabled val="1"/>
        </dgm:presLayoutVars>
      </dgm:prSet>
      <dgm:spPr/>
      <dgm:t>
        <a:bodyPr/>
        <a:lstStyle/>
        <a:p>
          <a:endParaRPr lang="da-DK"/>
        </a:p>
      </dgm:t>
    </dgm:pt>
  </dgm:ptLst>
  <dgm:cxnLst>
    <dgm:cxn modelId="{B21307F6-995D-4439-90A1-06EF5B595E0B}" srcId="{8E09A634-03FA-4496-8771-5C242BD58536}" destId="{E6C5B95A-5312-4090-AD41-48A8610351D9}" srcOrd="2" destOrd="0" parTransId="{AFA5B11A-2632-4BCC-8B2E-4C7C08BBBD19}" sibTransId="{C4E576B6-002A-4DF7-BAC9-C706DFE162D7}"/>
    <dgm:cxn modelId="{607DBC84-7073-41FF-B8B2-4CE228CFD7FC}" type="presOf" srcId="{E6C5B95A-5312-4090-AD41-48A8610351D9}" destId="{D5539D6B-82E2-446F-80F7-225F60D594D6}" srcOrd="0" destOrd="0" presId="urn:microsoft.com/office/officeart/2005/8/layout/arrow2"/>
    <dgm:cxn modelId="{86CCD82F-6B81-4DDC-98DE-9F0A0693C871}" type="presOf" srcId="{45C54719-787A-4A94-BF2E-58D1430EF7E2}" destId="{FACF775D-736D-4848-9134-335686DCB44B}" srcOrd="0" destOrd="0" presId="urn:microsoft.com/office/officeart/2005/8/layout/arrow2"/>
    <dgm:cxn modelId="{1D0F47C1-C6DA-4D5B-BDB1-09D6EC6DF918}" srcId="{8E09A634-03FA-4496-8771-5C242BD58536}" destId="{11098B72-3C01-4F97-B2A7-C18037E36A97}" srcOrd="4" destOrd="0" parTransId="{1C10A151-3529-4397-857B-E883E1D38BCA}" sibTransId="{87574E3F-0CAB-412F-9961-C6CAF6E6FF44}"/>
    <dgm:cxn modelId="{7DE34D85-48CE-4213-8439-D5FEFA4D6C7E}" srcId="{8E09A634-03FA-4496-8771-5C242BD58536}" destId="{45C54719-787A-4A94-BF2E-58D1430EF7E2}" srcOrd="0" destOrd="0" parTransId="{D13B38F6-7D1E-45AE-BA67-151DD2DE9E9D}" sibTransId="{1858D60D-8BCA-4606-8EA5-64243C3B09B2}"/>
    <dgm:cxn modelId="{898903BD-3F04-4159-A441-44480B5EE64A}" type="presOf" srcId="{E70A71C5-AF07-4CC7-84FD-247848AA8B52}" destId="{FF8C5FF7-A9AE-4398-B388-E46F60F3813D}" srcOrd="0" destOrd="0" presId="urn:microsoft.com/office/officeart/2005/8/layout/arrow2"/>
    <dgm:cxn modelId="{E842D616-1F55-40A5-8D13-82C9C03C078A}" type="presOf" srcId="{8E09A634-03FA-4496-8771-5C242BD58536}" destId="{83B79410-7687-45B8-AA6C-C6AFAE32230C}" srcOrd="0" destOrd="0" presId="urn:microsoft.com/office/officeart/2005/8/layout/arrow2"/>
    <dgm:cxn modelId="{B0E8B8BC-5CA6-4930-A3DE-0C321FA2701D}" srcId="{8E09A634-03FA-4496-8771-5C242BD58536}" destId="{2BC55527-EF73-48CF-AC29-471D03F3D68C}" srcOrd="3" destOrd="0" parTransId="{F393B2EA-A5D9-487B-9D2F-92086B4EF76A}" sibTransId="{398F0792-0268-44C0-88FB-3D449A552CA7}"/>
    <dgm:cxn modelId="{A572BC6C-0EBF-40C9-97FA-13D71F7D0660}" srcId="{8E09A634-03FA-4496-8771-5C242BD58536}" destId="{E70A71C5-AF07-4CC7-84FD-247848AA8B52}" srcOrd="1" destOrd="0" parTransId="{6FAB9811-EEAF-4260-8DC2-BB419CEF17CC}" sibTransId="{606B9C3F-6360-4052-8EF3-D64D1D322D24}"/>
    <dgm:cxn modelId="{F3D61683-3273-498E-8163-836F8E0CD5A2}" type="presOf" srcId="{11098B72-3C01-4F97-B2A7-C18037E36A97}" destId="{B918121D-040B-4BCC-9958-6EF9778CBEDA}" srcOrd="0" destOrd="0" presId="urn:microsoft.com/office/officeart/2005/8/layout/arrow2"/>
    <dgm:cxn modelId="{FDB52DE0-214F-4DB8-954A-1172AEEC8600}" type="presOf" srcId="{2BC55527-EF73-48CF-AC29-471D03F3D68C}" destId="{332AF8D3-34BE-4245-A8F1-A4781F98B13D}" srcOrd="0" destOrd="0" presId="urn:microsoft.com/office/officeart/2005/8/layout/arrow2"/>
    <dgm:cxn modelId="{402ECF2E-9967-432E-B094-7DB6D71891BB}" type="presParOf" srcId="{83B79410-7687-45B8-AA6C-C6AFAE32230C}" destId="{98C7E942-49D0-4E11-8F83-3D40B2AFB924}" srcOrd="0" destOrd="0" presId="urn:microsoft.com/office/officeart/2005/8/layout/arrow2"/>
    <dgm:cxn modelId="{A3DE5C62-4100-4C03-8464-46ECC52A45CD}" type="presParOf" srcId="{83B79410-7687-45B8-AA6C-C6AFAE32230C}" destId="{CA141ABC-1DD6-47C8-9F29-F26A70A39A63}" srcOrd="1" destOrd="0" presId="urn:microsoft.com/office/officeart/2005/8/layout/arrow2"/>
    <dgm:cxn modelId="{45C298D3-0032-4B51-BC5C-6BC0241FB0C2}" type="presParOf" srcId="{CA141ABC-1DD6-47C8-9F29-F26A70A39A63}" destId="{A8A113B5-F369-43FD-B729-A8A5E8E25B29}" srcOrd="0" destOrd="0" presId="urn:microsoft.com/office/officeart/2005/8/layout/arrow2"/>
    <dgm:cxn modelId="{93415B14-5620-4486-A25D-A6D3BEE4DD37}" type="presParOf" srcId="{CA141ABC-1DD6-47C8-9F29-F26A70A39A63}" destId="{FACF775D-736D-4848-9134-335686DCB44B}" srcOrd="1" destOrd="0" presId="urn:microsoft.com/office/officeart/2005/8/layout/arrow2"/>
    <dgm:cxn modelId="{63B15797-8FC2-4705-B78E-F1DADB7E01B1}" type="presParOf" srcId="{CA141ABC-1DD6-47C8-9F29-F26A70A39A63}" destId="{EC87EF6A-4522-4996-8851-C452126E4B1D}" srcOrd="2" destOrd="0" presId="urn:microsoft.com/office/officeart/2005/8/layout/arrow2"/>
    <dgm:cxn modelId="{DAAD63BC-F339-42FE-A066-4A7AA0AE1C47}" type="presParOf" srcId="{CA141ABC-1DD6-47C8-9F29-F26A70A39A63}" destId="{FF8C5FF7-A9AE-4398-B388-E46F60F3813D}" srcOrd="3" destOrd="0" presId="urn:microsoft.com/office/officeart/2005/8/layout/arrow2"/>
    <dgm:cxn modelId="{78A95222-2421-4A36-B099-8C2BA800F789}" type="presParOf" srcId="{CA141ABC-1DD6-47C8-9F29-F26A70A39A63}" destId="{99850F06-1C4A-4139-99CF-09E6ED71B8D7}" srcOrd="4" destOrd="0" presId="urn:microsoft.com/office/officeart/2005/8/layout/arrow2"/>
    <dgm:cxn modelId="{98AA4F9E-BD86-4278-9E3A-80424DDE9D57}" type="presParOf" srcId="{CA141ABC-1DD6-47C8-9F29-F26A70A39A63}" destId="{D5539D6B-82E2-446F-80F7-225F60D594D6}" srcOrd="5" destOrd="0" presId="urn:microsoft.com/office/officeart/2005/8/layout/arrow2"/>
    <dgm:cxn modelId="{6773533E-E386-4B8D-9A78-93EF5CCCC185}" type="presParOf" srcId="{CA141ABC-1DD6-47C8-9F29-F26A70A39A63}" destId="{3ACE4463-22B6-4908-B28A-F77795F235CF}" srcOrd="6" destOrd="0" presId="urn:microsoft.com/office/officeart/2005/8/layout/arrow2"/>
    <dgm:cxn modelId="{C89C9360-2238-4BBB-9A03-52733E96092D}" type="presParOf" srcId="{CA141ABC-1DD6-47C8-9F29-F26A70A39A63}" destId="{332AF8D3-34BE-4245-A8F1-A4781F98B13D}" srcOrd="7" destOrd="0" presId="urn:microsoft.com/office/officeart/2005/8/layout/arrow2"/>
    <dgm:cxn modelId="{1C1DCC17-1236-487F-B494-BFCC43FE459D}" type="presParOf" srcId="{CA141ABC-1DD6-47C8-9F29-F26A70A39A63}" destId="{E77FB297-619F-4840-B8A8-049F67E3E721}" srcOrd="8" destOrd="0" presId="urn:microsoft.com/office/officeart/2005/8/layout/arrow2"/>
    <dgm:cxn modelId="{99477133-F9EC-4C18-B941-B513E37015FC}" type="presParOf" srcId="{CA141ABC-1DD6-47C8-9F29-F26A70A39A63}" destId="{B918121D-040B-4BCC-9958-6EF9778CBEDA}" srcOrd="9" destOrd="0" presId="urn:microsoft.com/office/officeart/2005/8/layout/arrow2"/>
  </dgm:cxnLst>
  <dgm:bg>
    <a:noFill/>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ADB8B60-4F3A-4419-AD82-BDA6DFA6C852}" type="doc">
      <dgm:prSet loTypeId="urn:microsoft.com/office/officeart/2005/8/layout/arrow2" loCatId="process" qsTypeId="urn:microsoft.com/office/officeart/2005/8/quickstyle/simple5" qsCatId="simple" csTypeId="urn:microsoft.com/office/officeart/2005/8/colors/accent0_2" csCatId="mainScheme" phldr="1"/>
      <dgm:spPr/>
    </dgm:pt>
    <dgm:pt modelId="{942537DB-D62D-447C-9BCC-0D0766941828}">
      <dgm:prSet phldrT="[Tekst]" custT="1"/>
      <dgm:spPr>
        <a:xfrm>
          <a:off x="948561" y="2633764"/>
          <a:ext cx="724458" cy="822619"/>
        </a:xfrm>
        <a:prstGeom prst="rect">
          <a:avLst/>
        </a:prstGeom>
      </dgm:spPr>
      <dgm:t>
        <a:bodyPr/>
        <a:lstStyle/>
        <a:p>
          <a:pPr>
            <a:buNone/>
          </a:pPr>
          <a:r>
            <a:rPr lang="da-DK" sz="1200" dirty="0">
              <a:latin typeface="+mj-lt"/>
              <a:ea typeface="+mn-ea"/>
              <a:cs typeface="Arial"/>
            </a:rPr>
            <a:t>Voksen afmagt</a:t>
          </a:r>
        </a:p>
      </dgm:t>
    </dgm:pt>
    <dgm:pt modelId="{F234D0B0-0C80-4480-B72B-93D5C91FBDE3}" type="parTrans" cxnId="{2BAA1822-B763-4574-9AC9-78CDFC9B9CDE}">
      <dgm:prSet/>
      <dgm:spPr/>
      <dgm:t>
        <a:bodyPr/>
        <a:lstStyle/>
        <a:p>
          <a:endParaRPr lang="da-DK"/>
        </a:p>
      </dgm:t>
    </dgm:pt>
    <dgm:pt modelId="{4E569332-20F0-4BFD-A0F0-E8E2DB12B3EC}" type="sibTrans" cxnId="{2BAA1822-B763-4574-9AC9-78CDFC9B9CDE}">
      <dgm:prSet/>
      <dgm:spPr/>
      <dgm:t>
        <a:bodyPr/>
        <a:lstStyle/>
        <a:p>
          <a:endParaRPr lang="da-DK"/>
        </a:p>
      </dgm:t>
    </dgm:pt>
    <dgm:pt modelId="{955225D3-1719-4F53-9110-0F252B44BC52}">
      <dgm:prSet phldrT="[Tekst]" custT="1"/>
      <dgm:spPr>
        <a:xfrm>
          <a:off x="1590756" y="2008159"/>
          <a:ext cx="1082542" cy="1448224"/>
        </a:xfrm>
        <a:prstGeom prst="rect">
          <a:avLst/>
        </a:prstGeom>
      </dgm:spPr>
      <dgm:t>
        <a:bodyPr/>
        <a:lstStyle/>
        <a:p>
          <a:pPr>
            <a:buNone/>
          </a:pPr>
          <a:r>
            <a:rPr lang="da-DK" sz="1200" dirty="0">
              <a:latin typeface="+mj-lt"/>
              <a:ea typeface="+mn-ea"/>
              <a:cs typeface="Arial"/>
            </a:rPr>
            <a:t>Barnet er ”rigtig”, mestringsstrategien er uhensigtsmæssig. Mangler hjælp fra voksen</a:t>
          </a:r>
        </a:p>
      </dgm:t>
    </dgm:pt>
    <dgm:pt modelId="{471B61CD-7A3E-41F7-8CB1-6A6A54AB258A}" type="parTrans" cxnId="{425F3FA4-81F1-4627-BE2D-D9C4F2DD2F4E}">
      <dgm:prSet/>
      <dgm:spPr/>
      <dgm:t>
        <a:bodyPr/>
        <a:lstStyle/>
        <a:p>
          <a:endParaRPr lang="da-DK"/>
        </a:p>
      </dgm:t>
    </dgm:pt>
    <dgm:pt modelId="{759DF3C8-12F8-4C3B-B84D-11D31EB66903}" type="sibTrans" cxnId="{425F3FA4-81F1-4627-BE2D-D9C4F2DD2F4E}">
      <dgm:prSet/>
      <dgm:spPr/>
      <dgm:t>
        <a:bodyPr/>
        <a:lstStyle/>
        <a:p>
          <a:endParaRPr lang="da-DK"/>
        </a:p>
      </dgm:t>
    </dgm:pt>
    <dgm:pt modelId="{540C9C4B-4A1D-4FC4-9DD5-BB77C059A955}">
      <dgm:prSet phldrT="[Tekst]" custT="1"/>
      <dgm:spPr>
        <a:xfrm>
          <a:off x="2591035" y="1513896"/>
          <a:ext cx="1067331" cy="1942487"/>
        </a:xfrm>
        <a:prstGeom prst="rect">
          <a:avLst/>
        </a:prstGeom>
      </dgm:spPr>
      <dgm:t>
        <a:bodyPr/>
        <a:lstStyle/>
        <a:p>
          <a:pPr>
            <a:buNone/>
          </a:pPr>
          <a:r>
            <a:rPr lang="da-DK" sz="1200" dirty="0">
              <a:latin typeface="+mj-lt"/>
              <a:ea typeface="+mn-ea"/>
              <a:cs typeface="Arial"/>
            </a:rPr>
            <a:t>Voksen søger inspiration og samarbejder med barnet om ny mestringsstrategi</a:t>
          </a:r>
        </a:p>
      </dgm:t>
    </dgm:pt>
    <dgm:pt modelId="{32720528-8BEC-4B0E-AE64-11FA1EF4AC80}" type="parTrans" cxnId="{C0E1C23F-60C9-4829-B1A7-A98D66B10F3D}">
      <dgm:prSet/>
      <dgm:spPr/>
      <dgm:t>
        <a:bodyPr/>
        <a:lstStyle/>
        <a:p>
          <a:endParaRPr lang="da-DK"/>
        </a:p>
      </dgm:t>
    </dgm:pt>
    <dgm:pt modelId="{8CAD004F-9D7E-4AF5-9591-02C887A46067}" type="sibTrans" cxnId="{C0E1C23F-60C9-4829-B1A7-A98D66B10F3D}">
      <dgm:prSet/>
      <dgm:spPr/>
      <dgm:t>
        <a:bodyPr/>
        <a:lstStyle/>
        <a:p>
          <a:endParaRPr lang="da-DK"/>
        </a:p>
      </dgm:t>
    </dgm:pt>
    <dgm:pt modelId="{5D4A6B5F-265C-4BEF-8C44-E564D1C432A3}">
      <dgm:prSet phldrT="[Tekst]" custT="1"/>
      <dgm:spPr>
        <a:xfrm>
          <a:off x="3658366" y="1140606"/>
          <a:ext cx="1106042" cy="2315777"/>
        </a:xfrm>
        <a:prstGeom prst="rect">
          <a:avLst/>
        </a:prstGeom>
      </dgm:spPr>
      <dgm:t>
        <a:bodyPr/>
        <a:lstStyle/>
        <a:p>
          <a:pPr>
            <a:buNone/>
          </a:pPr>
          <a:r>
            <a:rPr lang="da-DK" sz="1200" dirty="0">
              <a:latin typeface="+mj-lt"/>
              <a:ea typeface="+mn-ea"/>
              <a:cs typeface="Arial"/>
            </a:rPr>
            <a:t>Barn oplever at voksenhjælp hjælper</a:t>
          </a:r>
        </a:p>
        <a:p>
          <a:pPr>
            <a:buNone/>
          </a:pPr>
          <a:r>
            <a:rPr lang="da-DK" sz="1200" dirty="0">
              <a:latin typeface="+mj-lt"/>
              <a:ea typeface="+mn-ea"/>
              <a:cs typeface="Arial"/>
            </a:rPr>
            <a:t>Tillid til Voksen øges</a:t>
          </a:r>
        </a:p>
      </dgm:t>
    </dgm:pt>
    <dgm:pt modelId="{7C52B45D-D50C-4EB3-91D2-8BB884973B15}" type="parTrans" cxnId="{712E3A01-D1A7-4994-86D4-B4EBE1917C58}">
      <dgm:prSet/>
      <dgm:spPr/>
      <dgm:t>
        <a:bodyPr/>
        <a:lstStyle/>
        <a:p>
          <a:endParaRPr lang="da-DK"/>
        </a:p>
      </dgm:t>
    </dgm:pt>
    <dgm:pt modelId="{02CA038B-D749-4622-8089-6A48CE614C25}" type="sibTrans" cxnId="{712E3A01-D1A7-4994-86D4-B4EBE1917C58}">
      <dgm:prSet/>
      <dgm:spPr/>
      <dgm:t>
        <a:bodyPr/>
        <a:lstStyle/>
        <a:p>
          <a:endParaRPr lang="da-DK"/>
        </a:p>
      </dgm:t>
    </dgm:pt>
    <dgm:pt modelId="{83AA05D7-867D-48E5-8A99-5F4CCE50B50D}">
      <dgm:prSet phldrT="[Tekst]" custT="1"/>
      <dgm:spPr>
        <a:xfrm>
          <a:off x="4764409" y="912485"/>
          <a:ext cx="1106042" cy="2543898"/>
        </a:xfrm>
        <a:prstGeom prst="rect">
          <a:avLst/>
        </a:prstGeom>
      </dgm:spPr>
      <dgm:t>
        <a:bodyPr/>
        <a:lstStyle/>
        <a:p>
          <a:pPr>
            <a:buNone/>
          </a:pPr>
          <a:r>
            <a:rPr lang="da-DK" sz="1200" dirty="0">
              <a:latin typeface="+mj-lt"/>
              <a:ea typeface="+mn-ea"/>
              <a:cs typeface="Arial"/>
            </a:rPr>
            <a:t>Relation styrkes, konfliktniveau dæmpes, barnet søger hjælp hos voksen </a:t>
          </a:r>
        </a:p>
      </dgm:t>
    </dgm:pt>
    <dgm:pt modelId="{049A63BF-02FD-4A2D-A7F2-34DB1FCAB4ED}" type="parTrans" cxnId="{5AE6CF5E-EA56-4C53-B1B1-04BB45A60BFA}">
      <dgm:prSet/>
      <dgm:spPr/>
      <dgm:t>
        <a:bodyPr/>
        <a:lstStyle/>
        <a:p>
          <a:endParaRPr lang="da-DK"/>
        </a:p>
      </dgm:t>
    </dgm:pt>
    <dgm:pt modelId="{14F9D5B1-7F46-42EB-B766-B7A81860C8C1}" type="sibTrans" cxnId="{5AE6CF5E-EA56-4C53-B1B1-04BB45A60BFA}">
      <dgm:prSet/>
      <dgm:spPr/>
      <dgm:t>
        <a:bodyPr/>
        <a:lstStyle/>
        <a:p>
          <a:endParaRPr lang="da-DK"/>
        </a:p>
      </dgm:t>
    </dgm:pt>
    <dgm:pt modelId="{9568FD4F-5150-4964-B2D1-20CD6FCCF445}" type="pres">
      <dgm:prSet presAssocID="{2ADB8B60-4F3A-4419-AD82-BDA6DFA6C852}" presName="arrowDiagram" presStyleCnt="0">
        <dgm:presLayoutVars>
          <dgm:chMax val="5"/>
          <dgm:dir/>
          <dgm:resizeHandles val="exact"/>
        </dgm:presLayoutVars>
      </dgm:prSet>
      <dgm:spPr/>
    </dgm:pt>
    <dgm:pt modelId="{DBCF954F-371B-4110-9C03-9B7EB322260C}" type="pres">
      <dgm:prSet presAssocID="{2ADB8B60-4F3A-4419-AD82-BDA6DFA6C852}" presName="arrow" presStyleLbl="bgShp" presStyleIdx="0" presStyleCnt="1" custLinFactNeighborX="-119"/>
      <dgm:spPr>
        <a:xfrm>
          <a:off x="333656" y="0"/>
          <a:ext cx="5530214" cy="3456384"/>
        </a:xfrm>
        <a:prstGeom prst="swooshArrow">
          <a:avLst>
            <a:gd name="adj1" fmla="val 25000"/>
            <a:gd name="adj2" fmla="val 25000"/>
          </a:avLst>
        </a:prstGeom>
      </dgm:spPr>
    </dgm:pt>
    <dgm:pt modelId="{E2F81D1D-0362-4F95-9B99-946322239405}" type="pres">
      <dgm:prSet presAssocID="{2ADB8B60-4F3A-4419-AD82-BDA6DFA6C852}" presName="arrowDiagram5" presStyleCnt="0"/>
      <dgm:spPr/>
    </dgm:pt>
    <dgm:pt modelId="{E6C62057-3FAB-490F-AC57-A3F71EFC2769}" type="pres">
      <dgm:prSet presAssocID="{942537DB-D62D-447C-9BCC-0D0766941828}" presName="bullet5a" presStyleLbl="node1" presStyleIdx="0" presStyleCnt="5"/>
      <dgm:spPr>
        <a:xfrm>
          <a:off x="884963" y="2570167"/>
          <a:ext cx="127194" cy="127194"/>
        </a:xfrm>
        <a:prstGeom prst="ellipse">
          <a:avLst/>
        </a:prstGeom>
        <a:scene3d>
          <a:camera prst="orthographicFront">
            <a:rot lat="0" lon="0" rev="0"/>
          </a:camera>
          <a:lightRig rig="threePt" dir="t">
            <a:rot lat="0" lon="0" rev="1200000"/>
          </a:lightRig>
        </a:scene3d>
        <a:sp3d>
          <a:bevelT w="63500" h="25400"/>
        </a:sp3d>
      </dgm:spPr>
    </dgm:pt>
    <dgm:pt modelId="{22E9DD6D-CD7C-44C1-A881-1A530869E82C}" type="pres">
      <dgm:prSet presAssocID="{942537DB-D62D-447C-9BCC-0D0766941828}" presName="textBox5a" presStyleLbl="revTx" presStyleIdx="0" presStyleCnt="5">
        <dgm:presLayoutVars>
          <dgm:bulletEnabled val="1"/>
        </dgm:presLayoutVars>
      </dgm:prSet>
      <dgm:spPr/>
      <dgm:t>
        <a:bodyPr/>
        <a:lstStyle/>
        <a:p>
          <a:endParaRPr lang="da-DK"/>
        </a:p>
      </dgm:t>
    </dgm:pt>
    <dgm:pt modelId="{F86C3430-4DD5-4CB8-A55C-6F07B5F60825}" type="pres">
      <dgm:prSet presAssocID="{955225D3-1719-4F53-9110-0F252B44BC52}" presName="bullet5b" presStyleLbl="node1" presStyleIdx="1" presStyleCnt="5"/>
      <dgm:spPr>
        <a:xfrm>
          <a:off x="1573475" y="1908615"/>
          <a:ext cx="199087" cy="199087"/>
        </a:xfrm>
        <a:prstGeom prst="ellipse">
          <a:avLst/>
        </a:prstGeom>
        <a:scene3d>
          <a:camera prst="orthographicFront">
            <a:rot lat="0" lon="0" rev="0"/>
          </a:camera>
          <a:lightRig rig="threePt" dir="t">
            <a:rot lat="0" lon="0" rev="1200000"/>
          </a:lightRig>
        </a:scene3d>
        <a:sp3d>
          <a:bevelT w="63500" h="25400"/>
        </a:sp3d>
      </dgm:spPr>
    </dgm:pt>
    <dgm:pt modelId="{87235BFC-7093-429A-99C2-7D5543692FE4}" type="pres">
      <dgm:prSet presAssocID="{955225D3-1719-4F53-9110-0F252B44BC52}" presName="textBox5b" presStyleLbl="revTx" presStyleIdx="1" presStyleCnt="5" custScaleX="117922" custScaleY="88942" custLinFactNeighborX="12912" custLinFactNeighborY="-5139">
        <dgm:presLayoutVars>
          <dgm:bulletEnabled val="1"/>
        </dgm:presLayoutVars>
      </dgm:prSet>
      <dgm:spPr/>
      <dgm:t>
        <a:bodyPr/>
        <a:lstStyle/>
        <a:p>
          <a:endParaRPr lang="da-DK"/>
        </a:p>
      </dgm:t>
    </dgm:pt>
    <dgm:pt modelId="{EA0E3111-C793-4B6F-839C-81B87B9662F9}" type="pres">
      <dgm:prSet presAssocID="{540C9C4B-4A1D-4FC4-9DD5-BB77C059A955}" presName="bullet5c" presStyleLbl="node1" presStyleIdx="2" presStyleCnt="5"/>
      <dgm:spPr>
        <a:xfrm>
          <a:off x="2458309" y="1381171"/>
          <a:ext cx="265450" cy="265450"/>
        </a:xfrm>
        <a:prstGeom prst="ellipse">
          <a:avLst/>
        </a:prstGeom>
        <a:scene3d>
          <a:camera prst="orthographicFront">
            <a:rot lat="0" lon="0" rev="0"/>
          </a:camera>
          <a:lightRig rig="threePt" dir="t">
            <a:rot lat="0" lon="0" rev="1200000"/>
          </a:lightRig>
        </a:scene3d>
        <a:sp3d>
          <a:bevelT w="63500" h="25400"/>
        </a:sp3d>
      </dgm:spPr>
    </dgm:pt>
    <dgm:pt modelId="{2A4219FB-CF3A-4BE0-9F40-81754A32C3FC}" type="pres">
      <dgm:prSet presAssocID="{540C9C4B-4A1D-4FC4-9DD5-BB77C059A955}" presName="textBox5c" presStyleLbl="revTx" presStyleIdx="2" presStyleCnt="5" custScaleX="129383" custScaleY="77936" custLinFactNeighborX="13038" custLinFactNeighborY="-11210">
        <dgm:presLayoutVars>
          <dgm:bulletEnabled val="1"/>
        </dgm:presLayoutVars>
      </dgm:prSet>
      <dgm:spPr/>
      <dgm:t>
        <a:bodyPr/>
        <a:lstStyle/>
        <a:p>
          <a:endParaRPr lang="da-DK"/>
        </a:p>
      </dgm:t>
    </dgm:pt>
    <dgm:pt modelId="{53398960-48F0-4D93-BF6D-0F1E755B5EFB}" type="pres">
      <dgm:prSet presAssocID="{5D4A6B5F-265C-4BEF-8C44-E564D1C432A3}" presName="bullet5d" presStyleLbl="node1" presStyleIdx="3" presStyleCnt="5"/>
      <dgm:spPr>
        <a:xfrm>
          <a:off x="3486929" y="969170"/>
          <a:ext cx="342873" cy="342873"/>
        </a:xfrm>
        <a:prstGeom prst="ellipse">
          <a:avLst/>
        </a:prstGeom>
        <a:scene3d>
          <a:camera prst="orthographicFront">
            <a:rot lat="0" lon="0" rev="0"/>
          </a:camera>
          <a:lightRig rig="threePt" dir="t">
            <a:rot lat="0" lon="0" rev="1200000"/>
          </a:lightRig>
        </a:scene3d>
        <a:sp3d>
          <a:bevelT w="63500" h="25400"/>
        </a:sp3d>
      </dgm:spPr>
    </dgm:pt>
    <dgm:pt modelId="{58F31B15-FA5A-4246-8E29-801E963AEBC8}" type="pres">
      <dgm:prSet presAssocID="{5D4A6B5F-265C-4BEF-8C44-E564D1C432A3}" presName="textBox5d" presStyleLbl="revTx" presStyleIdx="3" presStyleCnt="5" custScaleX="110483" custScaleY="61691" custLinFactNeighborX="14481" custLinFactNeighborY="-18657">
        <dgm:presLayoutVars>
          <dgm:bulletEnabled val="1"/>
        </dgm:presLayoutVars>
      </dgm:prSet>
      <dgm:spPr/>
      <dgm:t>
        <a:bodyPr/>
        <a:lstStyle/>
        <a:p>
          <a:endParaRPr lang="da-DK"/>
        </a:p>
      </dgm:t>
    </dgm:pt>
    <dgm:pt modelId="{B58379B7-8843-4F91-9516-63A418A14BE3}" type="pres">
      <dgm:prSet presAssocID="{83AA05D7-867D-48E5-8A99-5F4CCE50B50D}" presName="bullet5e" presStyleLbl="node1" presStyleIdx="4" presStyleCnt="5"/>
      <dgm:spPr>
        <a:xfrm>
          <a:off x="4545965" y="694041"/>
          <a:ext cx="436886" cy="436886"/>
        </a:xfrm>
        <a:prstGeom prst="ellipse">
          <a:avLst/>
        </a:prstGeom>
        <a:scene3d>
          <a:camera prst="orthographicFront">
            <a:rot lat="0" lon="0" rev="0"/>
          </a:camera>
          <a:lightRig rig="threePt" dir="t">
            <a:rot lat="0" lon="0" rev="1200000"/>
          </a:lightRig>
        </a:scene3d>
        <a:sp3d>
          <a:bevelT w="63500" h="25400"/>
        </a:sp3d>
      </dgm:spPr>
    </dgm:pt>
    <dgm:pt modelId="{5D3BD91E-E063-41F1-B584-9D0E1AB045AB}" type="pres">
      <dgm:prSet presAssocID="{83AA05D7-867D-48E5-8A99-5F4CCE50B50D}" presName="textBox5e" presStyleLbl="revTx" presStyleIdx="4" presStyleCnt="5" custScaleX="119206" custScaleY="64176" custLinFactNeighborX="20655" custLinFactNeighborY="-19814">
        <dgm:presLayoutVars>
          <dgm:bulletEnabled val="1"/>
        </dgm:presLayoutVars>
      </dgm:prSet>
      <dgm:spPr/>
      <dgm:t>
        <a:bodyPr/>
        <a:lstStyle/>
        <a:p>
          <a:endParaRPr lang="da-DK"/>
        </a:p>
      </dgm:t>
    </dgm:pt>
  </dgm:ptLst>
  <dgm:cxnLst>
    <dgm:cxn modelId="{85DC4F55-C89A-4392-AA94-960CC8C474F0}" type="presOf" srcId="{942537DB-D62D-447C-9BCC-0D0766941828}" destId="{22E9DD6D-CD7C-44C1-A881-1A530869E82C}" srcOrd="0" destOrd="0" presId="urn:microsoft.com/office/officeart/2005/8/layout/arrow2"/>
    <dgm:cxn modelId="{5AE6CF5E-EA56-4C53-B1B1-04BB45A60BFA}" srcId="{2ADB8B60-4F3A-4419-AD82-BDA6DFA6C852}" destId="{83AA05D7-867D-48E5-8A99-5F4CCE50B50D}" srcOrd="4" destOrd="0" parTransId="{049A63BF-02FD-4A2D-A7F2-34DB1FCAB4ED}" sibTransId="{14F9D5B1-7F46-42EB-B766-B7A81860C8C1}"/>
    <dgm:cxn modelId="{38DE9B36-477D-40FF-B8FB-D94F1430B799}" type="presOf" srcId="{540C9C4B-4A1D-4FC4-9DD5-BB77C059A955}" destId="{2A4219FB-CF3A-4BE0-9F40-81754A32C3FC}" srcOrd="0" destOrd="0" presId="urn:microsoft.com/office/officeart/2005/8/layout/arrow2"/>
    <dgm:cxn modelId="{425F3FA4-81F1-4627-BE2D-D9C4F2DD2F4E}" srcId="{2ADB8B60-4F3A-4419-AD82-BDA6DFA6C852}" destId="{955225D3-1719-4F53-9110-0F252B44BC52}" srcOrd="1" destOrd="0" parTransId="{471B61CD-7A3E-41F7-8CB1-6A6A54AB258A}" sibTransId="{759DF3C8-12F8-4C3B-B84D-11D31EB66903}"/>
    <dgm:cxn modelId="{2BAA1822-B763-4574-9AC9-78CDFC9B9CDE}" srcId="{2ADB8B60-4F3A-4419-AD82-BDA6DFA6C852}" destId="{942537DB-D62D-447C-9BCC-0D0766941828}" srcOrd="0" destOrd="0" parTransId="{F234D0B0-0C80-4480-B72B-93D5C91FBDE3}" sibTransId="{4E569332-20F0-4BFD-A0F0-E8E2DB12B3EC}"/>
    <dgm:cxn modelId="{712E3A01-D1A7-4994-86D4-B4EBE1917C58}" srcId="{2ADB8B60-4F3A-4419-AD82-BDA6DFA6C852}" destId="{5D4A6B5F-265C-4BEF-8C44-E564D1C432A3}" srcOrd="3" destOrd="0" parTransId="{7C52B45D-D50C-4EB3-91D2-8BB884973B15}" sibTransId="{02CA038B-D749-4622-8089-6A48CE614C25}"/>
    <dgm:cxn modelId="{B7723FAB-82A8-48F9-B027-2779B21DA898}" type="presOf" srcId="{5D4A6B5F-265C-4BEF-8C44-E564D1C432A3}" destId="{58F31B15-FA5A-4246-8E29-801E963AEBC8}" srcOrd="0" destOrd="0" presId="urn:microsoft.com/office/officeart/2005/8/layout/arrow2"/>
    <dgm:cxn modelId="{C0E1C23F-60C9-4829-B1A7-A98D66B10F3D}" srcId="{2ADB8B60-4F3A-4419-AD82-BDA6DFA6C852}" destId="{540C9C4B-4A1D-4FC4-9DD5-BB77C059A955}" srcOrd="2" destOrd="0" parTransId="{32720528-8BEC-4B0E-AE64-11FA1EF4AC80}" sibTransId="{8CAD004F-9D7E-4AF5-9591-02C887A46067}"/>
    <dgm:cxn modelId="{7A2AF0A6-7B21-455C-A9DF-D314FADC43C1}" type="presOf" srcId="{2ADB8B60-4F3A-4419-AD82-BDA6DFA6C852}" destId="{9568FD4F-5150-4964-B2D1-20CD6FCCF445}" srcOrd="0" destOrd="0" presId="urn:microsoft.com/office/officeart/2005/8/layout/arrow2"/>
    <dgm:cxn modelId="{469C88CD-D02F-4CC7-B09E-208FB0BBD4B4}" type="presOf" srcId="{83AA05D7-867D-48E5-8A99-5F4CCE50B50D}" destId="{5D3BD91E-E063-41F1-B584-9D0E1AB045AB}" srcOrd="0" destOrd="0" presId="urn:microsoft.com/office/officeart/2005/8/layout/arrow2"/>
    <dgm:cxn modelId="{00486AE0-3B10-4DD2-B67F-277A1D0C380A}" type="presOf" srcId="{955225D3-1719-4F53-9110-0F252B44BC52}" destId="{87235BFC-7093-429A-99C2-7D5543692FE4}" srcOrd="0" destOrd="0" presId="urn:microsoft.com/office/officeart/2005/8/layout/arrow2"/>
    <dgm:cxn modelId="{BD5FB570-5F74-44BE-AB31-B7E818B416C1}" type="presParOf" srcId="{9568FD4F-5150-4964-B2D1-20CD6FCCF445}" destId="{DBCF954F-371B-4110-9C03-9B7EB322260C}" srcOrd="0" destOrd="0" presId="urn:microsoft.com/office/officeart/2005/8/layout/arrow2"/>
    <dgm:cxn modelId="{E24C6E21-77CC-4EB2-8185-96DE0AE52610}" type="presParOf" srcId="{9568FD4F-5150-4964-B2D1-20CD6FCCF445}" destId="{E2F81D1D-0362-4F95-9B99-946322239405}" srcOrd="1" destOrd="0" presId="urn:microsoft.com/office/officeart/2005/8/layout/arrow2"/>
    <dgm:cxn modelId="{C44C8603-65E2-4912-99EE-12FEEC1A515E}" type="presParOf" srcId="{E2F81D1D-0362-4F95-9B99-946322239405}" destId="{E6C62057-3FAB-490F-AC57-A3F71EFC2769}" srcOrd="0" destOrd="0" presId="urn:microsoft.com/office/officeart/2005/8/layout/arrow2"/>
    <dgm:cxn modelId="{3A573CD7-7346-4B82-A230-899535E6B522}" type="presParOf" srcId="{E2F81D1D-0362-4F95-9B99-946322239405}" destId="{22E9DD6D-CD7C-44C1-A881-1A530869E82C}" srcOrd="1" destOrd="0" presId="urn:microsoft.com/office/officeart/2005/8/layout/arrow2"/>
    <dgm:cxn modelId="{60BE3FCA-7817-475D-9034-223F560602B9}" type="presParOf" srcId="{E2F81D1D-0362-4F95-9B99-946322239405}" destId="{F86C3430-4DD5-4CB8-A55C-6F07B5F60825}" srcOrd="2" destOrd="0" presId="urn:microsoft.com/office/officeart/2005/8/layout/arrow2"/>
    <dgm:cxn modelId="{A4DC3736-86BE-4917-8763-755065FE44C0}" type="presParOf" srcId="{E2F81D1D-0362-4F95-9B99-946322239405}" destId="{87235BFC-7093-429A-99C2-7D5543692FE4}" srcOrd="3" destOrd="0" presId="urn:microsoft.com/office/officeart/2005/8/layout/arrow2"/>
    <dgm:cxn modelId="{A22C5942-7360-4A59-8B0E-AB9D1446681A}" type="presParOf" srcId="{E2F81D1D-0362-4F95-9B99-946322239405}" destId="{EA0E3111-C793-4B6F-839C-81B87B9662F9}" srcOrd="4" destOrd="0" presId="urn:microsoft.com/office/officeart/2005/8/layout/arrow2"/>
    <dgm:cxn modelId="{46777B1E-8482-47EE-BABE-19A0C6C683E8}" type="presParOf" srcId="{E2F81D1D-0362-4F95-9B99-946322239405}" destId="{2A4219FB-CF3A-4BE0-9F40-81754A32C3FC}" srcOrd="5" destOrd="0" presId="urn:microsoft.com/office/officeart/2005/8/layout/arrow2"/>
    <dgm:cxn modelId="{0243EEBF-0FEA-4A8E-A2A2-B1BF3C30DEBE}" type="presParOf" srcId="{E2F81D1D-0362-4F95-9B99-946322239405}" destId="{53398960-48F0-4D93-BF6D-0F1E755B5EFB}" srcOrd="6" destOrd="0" presId="urn:microsoft.com/office/officeart/2005/8/layout/arrow2"/>
    <dgm:cxn modelId="{04179D7B-8B09-4C51-9B99-B2DA5A79D381}" type="presParOf" srcId="{E2F81D1D-0362-4F95-9B99-946322239405}" destId="{58F31B15-FA5A-4246-8E29-801E963AEBC8}" srcOrd="7" destOrd="0" presId="urn:microsoft.com/office/officeart/2005/8/layout/arrow2"/>
    <dgm:cxn modelId="{5EFCADD4-3A22-44CE-B11E-EDF950274DF0}" type="presParOf" srcId="{E2F81D1D-0362-4F95-9B99-946322239405}" destId="{B58379B7-8843-4F91-9516-63A418A14BE3}" srcOrd="8" destOrd="0" presId="urn:microsoft.com/office/officeart/2005/8/layout/arrow2"/>
    <dgm:cxn modelId="{655BA3BC-AF37-42D8-94C2-EA21F6966122}" type="presParOf" srcId="{E2F81D1D-0362-4F95-9B99-946322239405}" destId="{5D3BD91E-E063-41F1-B584-9D0E1AB045AB}" srcOrd="9" destOrd="0" presId="urn:microsoft.com/office/officeart/2005/8/layout/arrow2"/>
  </dgm:cxnLst>
  <dgm:bg/>
  <dgm:whole/>
  <dgm:extLst>
    <a:ext uri="http://schemas.microsoft.com/office/drawing/2008/diagram">
      <dsp:dataModelExt xmlns:dsp="http://schemas.microsoft.com/office/drawing/2008/diagram" relId="rId15"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C7E942-49D0-4E11-8F83-3D40B2AFB924}">
      <dsp:nvSpPr>
        <dsp:cNvPr id="0" name=""/>
        <dsp:cNvSpPr/>
      </dsp:nvSpPr>
      <dsp:spPr>
        <a:xfrm>
          <a:off x="368255" y="0"/>
          <a:ext cx="5151715" cy="3219822"/>
        </a:xfrm>
        <a:prstGeom prst="swooshArrow">
          <a:avLst>
            <a:gd name="adj1" fmla="val 25000"/>
            <a:gd name="adj2" fmla="val 25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8A113B5-F369-43FD-B729-A8A5E8E25B29}">
      <dsp:nvSpPr>
        <dsp:cNvPr id="0" name=""/>
        <dsp:cNvSpPr/>
      </dsp:nvSpPr>
      <dsp:spPr>
        <a:xfrm>
          <a:off x="875699" y="2394259"/>
          <a:ext cx="118489" cy="118489"/>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CF775D-736D-4848-9134-335686DCB44B}">
      <dsp:nvSpPr>
        <dsp:cNvPr id="0" name=""/>
        <dsp:cNvSpPr/>
      </dsp:nvSpPr>
      <dsp:spPr>
        <a:xfrm>
          <a:off x="1008114" y="2420943"/>
          <a:ext cx="674874" cy="7663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2785" tIns="0" rIns="0" bIns="0" numCol="1" spcCol="1270" anchor="t" anchorCtr="0">
          <a:noAutofit/>
        </a:bodyPr>
        <a:lstStyle/>
        <a:p>
          <a:pPr lvl="0" algn="l" defTabSz="533400">
            <a:lnSpc>
              <a:spcPct val="90000"/>
            </a:lnSpc>
            <a:spcBef>
              <a:spcPct val="0"/>
            </a:spcBef>
            <a:spcAft>
              <a:spcPct val="35000"/>
            </a:spcAft>
            <a:buNone/>
          </a:pPr>
          <a:r>
            <a:rPr lang="da-DK" sz="1200" kern="1200" dirty="0">
              <a:latin typeface="+mj-lt"/>
              <a:ea typeface="+mn-ea"/>
              <a:cs typeface="Arial"/>
            </a:rPr>
            <a:t>Voksen afmagt</a:t>
          </a:r>
        </a:p>
      </dsp:txBody>
      <dsp:txXfrm>
        <a:off x="1008114" y="2420943"/>
        <a:ext cx="674874" cy="766317"/>
      </dsp:txXfrm>
    </dsp:sp>
    <dsp:sp modelId="{EC87EF6A-4522-4996-8851-C452126E4B1D}">
      <dsp:nvSpPr>
        <dsp:cNvPr id="0" name=""/>
        <dsp:cNvSpPr/>
      </dsp:nvSpPr>
      <dsp:spPr>
        <a:xfrm>
          <a:off x="1517088" y="1777985"/>
          <a:ext cx="185461" cy="185461"/>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F8C5FF7-A9AE-4398-B388-E46F60F3813D}">
      <dsp:nvSpPr>
        <dsp:cNvPr id="0" name=""/>
        <dsp:cNvSpPr/>
      </dsp:nvSpPr>
      <dsp:spPr>
        <a:xfrm>
          <a:off x="1656187" y="1856240"/>
          <a:ext cx="855184" cy="13491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272" tIns="0" rIns="0" bIns="0" numCol="1" spcCol="1270" anchor="t" anchorCtr="0">
          <a:noAutofit/>
        </a:bodyPr>
        <a:lstStyle/>
        <a:p>
          <a:pPr lvl="0" algn="l" defTabSz="533400">
            <a:lnSpc>
              <a:spcPct val="90000"/>
            </a:lnSpc>
            <a:spcBef>
              <a:spcPct val="0"/>
            </a:spcBef>
            <a:spcAft>
              <a:spcPct val="35000"/>
            </a:spcAft>
            <a:buNone/>
          </a:pPr>
          <a:r>
            <a:rPr lang="da-DK" sz="1200" kern="1200" dirty="0">
              <a:latin typeface="+mj-lt"/>
              <a:ea typeface="+mn-ea"/>
              <a:cs typeface="Arial"/>
            </a:rPr>
            <a:t>Barnet er ”umuligt”</a:t>
          </a:r>
        </a:p>
      </dsp:txBody>
      <dsp:txXfrm>
        <a:off x="1656187" y="1856240"/>
        <a:ext cx="855184" cy="1349105"/>
      </dsp:txXfrm>
    </dsp:sp>
    <dsp:sp modelId="{99850F06-1C4A-4139-99CF-09E6ED71B8D7}">
      <dsp:nvSpPr>
        <dsp:cNvPr id="0" name=""/>
        <dsp:cNvSpPr/>
      </dsp:nvSpPr>
      <dsp:spPr>
        <a:xfrm>
          <a:off x="2341362" y="1286640"/>
          <a:ext cx="247282" cy="247282"/>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5539D6B-82E2-446F-80F7-225F60D594D6}">
      <dsp:nvSpPr>
        <dsp:cNvPr id="0" name=""/>
        <dsp:cNvSpPr/>
      </dsp:nvSpPr>
      <dsp:spPr>
        <a:xfrm>
          <a:off x="2304253" y="1561224"/>
          <a:ext cx="1260082" cy="7926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030" tIns="0" rIns="0" bIns="0" numCol="1" spcCol="1270" anchor="t" anchorCtr="0">
          <a:noAutofit/>
        </a:bodyPr>
        <a:lstStyle/>
        <a:p>
          <a:pPr lvl="0" algn="l" defTabSz="533400">
            <a:lnSpc>
              <a:spcPct val="90000"/>
            </a:lnSpc>
            <a:spcBef>
              <a:spcPct val="0"/>
            </a:spcBef>
            <a:spcAft>
              <a:spcPct val="35000"/>
            </a:spcAft>
            <a:buNone/>
          </a:pPr>
          <a:r>
            <a:rPr lang="da-DK" sz="1200" kern="1200" dirty="0">
              <a:latin typeface="+mj-lt"/>
              <a:ea typeface="+mn-ea"/>
              <a:cs typeface="Arial"/>
            </a:rPr>
            <a:t>Afstand ml B. og V. Relationen svækkes</a:t>
          </a:r>
        </a:p>
        <a:p>
          <a:pPr lvl="0" algn="l" defTabSz="533400">
            <a:lnSpc>
              <a:spcPct val="90000"/>
            </a:lnSpc>
            <a:spcBef>
              <a:spcPct val="0"/>
            </a:spcBef>
            <a:spcAft>
              <a:spcPct val="35000"/>
            </a:spcAft>
            <a:buNone/>
          </a:pPr>
          <a:r>
            <a:rPr lang="da-DK" sz="1200" kern="1200" dirty="0">
              <a:latin typeface="+mj-lt"/>
              <a:ea typeface="+mn-ea"/>
              <a:cs typeface="Arial"/>
            </a:rPr>
            <a:t>(rigtig/forkert)</a:t>
          </a:r>
        </a:p>
      </dsp:txBody>
      <dsp:txXfrm>
        <a:off x="2304253" y="1561224"/>
        <a:ext cx="1260082" cy="792668"/>
      </dsp:txXfrm>
    </dsp:sp>
    <dsp:sp modelId="{3ACE4463-22B6-4908-B28A-F77795F235CF}">
      <dsp:nvSpPr>
        <dsp:cNvPr id="0" name=""/>
        <dsp:cNvSpPr/>
      </dsp:nvSpPr>
      <dsp:spPr>
        <a:xfrm>
          <a:off x="3299581" y="902838"/>
          <a:ext cx="319406" cy="319406"/>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32AF8D3-34BE-4245-A8F1-A4781F98B13D}">
      <dsp:nvSpPr>
        <dsp:cNvPr id="0" name=""/>
        <dsp:cNvSpPr/>
      </dsp:nvSpPr>
      <dsp:spPr>
        <a:xfrm>
          <a:off x="3530285" y="980780"/>
          <a:ext cx="1030343" cy="2157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9247" tIns="0" rIns="0" bIns="0" numCol="1" spcCol="1270" anchor="t" anchorCtr="0">
          <a:noAutofit/>
        </a:bodyPr>
        <a:lstStyle/>
        <a:p>
          <a:pPr lvl="0" algn="l" defTabSz="533400">
            <a:lnSpc>
              <a:spcPct val="90000"/>
            </a:lnSpc>
            <a:spcBef>
              <a:spcPct val="0"/>
            </a:spcBef>
            <a:spcAft>
              <a:spcPct val="35000"/>
            </a:spcAft>
            <a:buNone/>
          </a:pPr>
          <a:r>
            <a:rPr lang="da-DK" sz="1200" kern="1200" dirty="0">
              <a:latin typeface="+mj-lt"/>
              <a:ea typeface="+mn-ea"/>
              <a:cs typeface="Arial"/>
            </a:rPr>
            <a:t>Utryghed vokser hos barn</a:t>
          </a:r>
        </a:p>
      </dsp:txBody>
      <dsp:txXfrm>
        <a:off x="3530285" y="980780"/>
        <a:ext cx="1030343" cy="2157280"/>
      </dsp:txXfrm>
    </dsp:sp>
    <dsp:sp modelId="{E77FB297-619F-4840-B8A8-049F67E3E721}">
      <dsp:nvSpPr>
        <dsp:cNvPr id="0" name=""/>
        <dsp:cNvSpPr/>
      </dsp:nvSpPr>
      <dsp:spPr>
        <a:xfrm>
          <a:off x="4286135" y="646540"/>
          <a:ext cx="406985" cy="406985"/>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18121D-040B-4BCC-9958-6EF9778CBEDA}">
      <dsp:nvSpPr>
        <dsp:cNvPr id="0" name=""/>
        <dsp:cNvSpPr/>
      </dsp:nvSpPr>
      <dsp:spPr>
        <a:xfrm>
          <a:off x="4560628" y="762907"/>
          <a:ext cx="1351233" cy="12061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653" tIns="0" rIns="0" bIns="0" numCol="1" spcCol="1270" anchor="t" anchorCtr="0">
          <a:noAutofit/>
        </a:bodyPr>
        <a:lstStyle/>
        <a:p>
          <a:pPr lvl="0" algn="l" defTabSz="533400">
            <a:lnSpc>
              <a:spcPct val="90000"/>
            </a:lnSpc>
            <a:spcBef>
              <a:spcPct val="0"/>
            </a:spcBef>
            <a:spcAft>
              <a:spcPct val="35000"/>
            </a:spcAft>
            <a:buNone/>
          </a:pPr>
          <a:r>
            <a:rPr lang="da-DK" sz="1200" kern="1200" dirty="0">
              <a:latin typeface="+mj-lt"/>
              <a:ea typeface="+mn-ea"/>
              <a:cs typeface="Arial"/>
            </a:rPr>
            <a:t>Konfliktniveau øges. Barnet finder selv nye strategier eller skruer op for gamle</a:t>
          </a:r>
        </a:p>
      </dsp:txBody>
      <dsp:txXfrm>
        <a:off x="4560628" y="762907"/>
        <a:ext cx="1351233" cy="120610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CF954F-371B-4110-9C03-9B7EB322260C}">
      <dsp:nvSpPr>
        <dsp:cNvPr id="0" name=""/>
        <dsp:cNvSpPr/>
      </dsp:nvSpPr>
      <dsp:spPr>
        <a:xfrm>
          <a:off x="415565" y="0"/>
          <a:ext cx="5530214" cy="3456384"/>
        </a:xfrm>
        <a:prstGeom prst="swooshArrow">
          <a:avLst>
            <a:gd name="adj1" fmla="val 25000"/>
            <a:gd name="adj2" fmla="val 25000"/>
          </a:avLst>
        </a:prstGeom>
        <a:solidFill>
          <a:schemeClr val="dk2">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E6C62057-3FAB-490F-AC57-A3F71EFC2769}">
      <dsp:nvSpPr>
        <dsp:cNvPr id="0" name=""/>
        <dsp:cNvSpPr/>
      </dsp:nvSpPr>
      <dsp:spPr>
        <a:xfrm>
          <a:off x="966872" y="2570167"/>
          <a:ext cx="127194" cy="127194"/>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22E9DD6D-CD7C-44C1-A881-1A530869E82C}">
      <dsp:nvSpPr>
        <dsp:cNvPr id="0" name=""/>
        <dsp:cNvSpPr/>
      </dsp:nvSpPr>
      <dsp:spPr>
        <a:xfrm>
          <a:off x="1030469" y="2633764"/>
          <a:ext cx="724458" cy="8226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7398" tIns="0" rIns="0" bIns="0" numCol="1" spcCol="1270" anchor="t" anchorCtr="0">
          <a:noAutofit/>
        </a:bodyPr>
        <a:lstStyle/>
        <a:p>
          <a:pPr lvl="0" algn="l" defTabSz="533400">
            <a:lnSpc>
              <a:spcPct val="90000"/>
            </a:lnSpc>
            <a:spcBef>
              <a:spcPct val="0"/>
            </a:spcBef>
            <a:spcAft>
              <a:spcPct val="35000"/>
            </a:spcAft>
            <a:buNone/>
          </a:pPr>
          <a:r>
            <a:rPr lang="da-DK" sz="1200" kern="1200" dirty="0">
              <a:latin typeface="+mj-lt"/>
              <a:ea typeface="+mn-ea"/>
              <a:cs typeface="Arial"/>
            </a:rPr>
            <a:t>Voksen afmagt</a:t>
          </a:r>
        </a:p>
      </dsp:txBody>
      <dsp:txXfrm>
        <a:off x="1030469" y="2633764"/>
        <a:ext cx="724458" cy="822619"/>
      </dsp:txXfrm>
    </dsp:sp>
    <dsp:sp modelId="{F86C3430-4DD5-4CB8-A55C-6F07B5F60825}">
      <dsp:nvSpPr>
        <dsp:cNvPr id="0" name=""/>
        <dsp:cNvSpPr/>
      </dsp:nvSpPr>
      <dsp:spPr>
        <a:xfrm>
          <a:off x="1655383" y="1908615"/>
          <a:ext cx="199087" cy="199087"/>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87235BFC-7093-429A-99C2-7D5543692FE4}">
      <dsp:nvSpPr>
        <dsp:cNvPr id="0" name=""/>
        <dsp:cNvSpPr/>
      </dsp:nvSpPr>
      <dsp:spPr>
        <a:xfrm>
          <a:off x="1791198" y="2013807"/>
          <a:ext cx="1082542" cy="1288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5492" tIns="0" rIns="0" bIns="0" numCol="1" spcCol="1270" anchor="t" anchorCtr="0">
          <a:noAutofit/>
        </a:bodyPr>
        <a:lstStyle/>
        <a:p>
          <a:pPr lvl="0" algn="l" defTabSz="533400">
            <a:lnSpc>
              <a:spcPct val="90000"/>
            </a:lnSpc>
            <a:spcBef>
              <a:spcPct val="0"/>
            </a:spcBef>
            <a:spcAft>
              <a:spcPct val="35000"/>
            </a:spcAft>
            <a:buNone/>
          </a:pPr>
          <a:r>
            <a:rPr lang="da-DK" sz="1200" kern="1200" dirty="0">
              <a:latin typeface="+mj-lt"/>
              <a:ea typeface="+mn-ea"/>
              <a:cs typeface="Arial"/>
            </a:rPr>
            <a:t>Barnet er ”rigtig”, mestringsstrategien er uhensigtsmæssig. Mangler hjælp fra voksen</a:t>
          </a:r>
        </a:p>
      </dsp:txBody>
      <dsp:txXfrm>
        <a:off x="1791198" y="2013807"/>
        <a:ext cx="1082542" cy="1288080"/>
      </dsp:txXfrm>
    </dsp:sp>
    <dsp:sp modelId="{EA0E3111-C793-4B6F-839C-81B87B9662F9}">
      <dsp:nvSpPr>
        <dsp:cNvPr id="0" name=""/>
        <dsp:cNvSpPr/>
      </dsp:nvSpPr>
      <dsp:spPr>
        <a:xfrm>
          <a:off x="2540218" y="1381171"/>
          <a:ext cx="265450" cy="265450"/>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2A4219FB-CF3A-4BE0-9F40-81754A32C3FC}">
      <dsp:nvSpPr>
        <dsp:cNvPr id="0" name=""/>
        <dsp:cNvSpPr/>
      </dsp:nvSpPr>
      <dsp:spPr>
        <a:xfrm>
          <a:off x="2655295" y="1510438"/>
          <a:ext cx="1380945" cy="15138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657" tIns="0" rIns="0" bIns="0" numCol="1" spcCol="1270" anchor="t" anchorCtr="0">
          <a:noAutofit/>
        </a:bodyPr>
        <a:lstStyle/>
        <a:p>
          <a:pPr lvl="0" algn="l" defTabSz="533400">
            <a:lnSpc>
              <a:spcPct val="90000"/>
            </a:lnSpc>
            <a:spcBef>
              <a:spcPct val="0"/>
            </a:spcBef>
            <a:spcAft>
              <a:spcPct val="35000"/>
            </a:spcAft>
            <a:buNone/>
          </a:pPr>
          <a:r>
            <a:rPr lang="da-DK" sz="1200" kern="1200" dirty="0">
              <a:latin typeface="+mj-lt"/>
              <a:ea typeface="+mn-ea"/>
              <a:cs typeface="Arial"/>
            </a:rPr>
            <a:t>Voksen søger inspiration og samarbejder med barnet om ny mestringsstrategi</a:t>
          </a:r>
        </a:p>
      </dsp:txBody>
      <dsp:txXfrm>
        <a:off x="2655295" y="1510438"/>
        <a:ext cx="1380945" cy="1513897"/>
      </dsp:txXfrm>
    </dsp:sp>
    <dsp:sp modelId="{53398960-48F0-4D93-BF6D-0F1E755B5EFB}">
      <dsp:nvSpPr>
        <dsp:cNvPr id="0" name=""/>
        <dsp:cNvSpPr/>
      </dsp:nvSpPr>
      <dsp:spPr>
        <a:xfrm>
          <a:off x="3568838" y="969170"/>
          <a:ext cx="342873" cy="342873"/>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58F31B15-FA5A-4246-8E29-801E963AEBC8}">
      <dsp:nvSpPr>
        <dsp:cNvPr id="0" name=""/>
        <dsp:cNvSpPr/>
      </dsp:nvSpPr>
      <dsp:spPr>
        <a:xfrm>
          <a:off x="3842467" y="1152127"/>
          <a:ext cx="1221989" cy="14286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1681" tIns="0" rIns="0" bIns="0" numCol="1" spcCol="1270" anchor="t" anchorCtr="0">
          <a:noAutofit/>
        </a:bodyPr>
        <a:lstStyle/>
        <a:p>
          <a:pPr lvl="0" algn="l" defTabSz="533400">
            <a:lnSpc>
              <a:spcPct val="90000"/>
            </a:lnSpc>
            <a:spcBef>
              <a:spcPct val="0"/>
            </a:spcBef>
            <a:spcAft>
              <a:spcPct val="35000"/>
            </a:spcAft>
            <a:buNone/>
          </a:pPr>
          <a:r>
            <a:rPr lang="da-DK" sz="1200" kern="1200" dirty="0">
              <a:latin typeface="+mj-lt"/>
              <a:ea typeface="+mn-ea"/>
              <a:cs typeface="Arial"/>
            </a:rPr>
            <a:t>Barn oplever at voksenhjælp hjælper</a:t>
          </a:r>
        </a:p>
        <a:p>
          <a:pPr lvl="0" algn="l" defTabSz="533400">
            <a:lnSpc>
              <a:spcPct val="90000"/>
            </a:lnSpc>
            <a:spcBef>
              <a:spcPct val="0"/>
            </a:spcBef>
            <a:spcAft>
              <a:spcPct val="35000"/>
            </a:spcAft>
            <a:buNone/>
          </a:pPr>
          <a:r>
            <a:rPr lang="da-DK" sz="1200" kern="1200" dirty="0">
              <a:latin typeface="+mj-lt"/>
              <a:ea typeface="+mn-ea"/>
              <a:cs typeface="Arial"/>
            </a:rPr>
            <a:t>Tillid til Voksen øges</a:t>
          </a:r>
        </a:p>
      </dsp:txBody>
      <dsp:txXfrm>
        <a:off x="3842467" y="1152127"/>
        <a:ext cx="1221989" cy="1428626"/>
      </dsp:txXfrm>
    </dsp:sp>
    <dsp:sp modelId="{B58379B7-8843-4F91-9516-63A418A14BE3}">
      <dsp:nvSpPr>
        <dsp:cNvPr id="0" name=""/>
        <dsp:cNvSpPr/>
      </dsp:nvSpPr>
      <dsp:spPr>
        <a:xfrm>
          <a:off x="4627874" y="694041"/>
          <a:ext cx="436886" cy="436886"/>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5D3BD91E-E063-41F1-B584-9D0E1AB045AB}">
      <dsp:nvSpPr>
        <dsp:cNvPr id="0" name=""/>
        <dsp:cNvSpPr/>
      </dsp:nvSpPr>
      <dsp:spPr>
        <a:xfrm>
          <a:off x="4968557" y="864100"/>
          <a:ext cx="1318469" cy="16325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1497" tIns="0" rIns="0" bIns="0" numCol="1" spcCol="1270" anchor="t" anchorCtr="0">
          <a:noAutofit/>
        </a:bodyPr>
        <a:lstStyle/>
        <a:p>
          <a:pPr lvl="0" algn="l" defTabSz="533400">
            <a:lnSpc>
              <a:spcPct val="90000"/>
            </a:lnSpc>
            <a:spcBef>
              <a:spcPct val="0"/>
            </a:spcBef>
            <a:spcAft>
              <a:spcPct val="35000"/>
            </a:spcAft>
            <a:buNone/>
          </a:pPr>
          <a:r>
            <a:rPr lang="da-DK" sz="1200" kern="1200" dirty="0">
              <a:latin typeface="+mj-lt"/>
              <a:ea typeface="+mn-ea"/>
              <a:cs typeface="Arial"/>
            </a:rPr>
            <a:t>Relation styrkes, konfliktniveau dæmpes, barnet søger hjælp hos voksen </a:t>
          </a:r>
        </a:p>
      </dsp:txBody>
      <dsp:txXfrm>
        <a:off x="4968557" y="864100"/>
        <a:ext cx="1318469" cy="1632572"/>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Pladsholder til dato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88DCA3-2828-4BED-8A23-D53974990515}" type="datetime2">
              <a:rPr lang="da-DK" smtClean="0"/>
              <a:t>1. februar 2023</a:t>
            </a:fld>
            <a:endParaRPr lang="da-DK" dirty="0"/>
          </a:p>
        </p:txBody>
      </p:sp>
      <p:sp>
        <p:nvSpPr>
          <p:cNvPr id="4" name="Pladsholder til sidefod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dirty="0"/>
          </a:p>
        </p:txBody>
      </p:sp>
      <p:sp>
        <p:nvSpPr>
          <p:cNvPr id="5" name="Pladsholder til slide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789BE38-A799-4993-A8C4-E0FE3F379F6A}" type="slidenum">
              <a:rPr lang="da-DK" smtClean="0"/>
              <a:t>‹nr.›</a:t>
            </a:fld>
            <a:endParaRPr lang="da-DK" dirty="0"/>
          </a:p>
        </p:txBody>
      </p:sp>
      <p:pic>
        <p:nvPicPr>
          <p:cNvPr id="7" name="Billed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1667" y="143508"/>
            <a:ext cx="1264233" cy="440761"/>
          </a:xfrm>
          <a:prstGeom prst="rect">
            <a:avLst/>
          </a:prstGeom>
        </p:spPr>
      </p:pic>
    </p:spTree>
    <p:extLst>
      <p:ext uri="{BB962C8B-B14F-4D97-AF65-F5344CB8AC3E}">
        <p14:creationId xmlns:p14="http://schemas.microsoft.com/office/powerpoint/2010/main" val="375749580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A91211-F9FA-4986-B0CC-4518D22DB1CA}" type="datetime2">
              <a:rPr lang="da-DK" smtClean="0"/>
              <a:t>1. februar 2023</a:t>
            </a:fld>
            <a:endParaRPr lang="da-DK" dirty="0"/>
          </a:p>
        </p:txBody>
      </p:sp>
      <p:sp>
        <p:nvSpPr>
          <p:cNvPr id="4" name="Pladsholder til slidebillede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dirty="0"/>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913D85-34BC-4FA7-A491-B95498CAAD60}" type="slidenum">
              <a:rPr lang="da-DK" smtClean="0"/>
              <a:t>‹nr.›</a:t>
            </a:fld>
            <a:endParaRPr lang="da-DK" dirty="0"/>
          </a:p>
        </p:txBody>
      </p:sp>
    </p:spTree>
    <p:extLst>
      <p:ext uri="{BB962C8B-B14F-4D97-AF65-F5344CB8AC3E}">
        <p14:creationId xmlns:p14="http://schemas.microsoft.com/office/powerpoint/2010/main" val="3476243777"/>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0913D85-34BC-4FA7-A491-B95498CAAD60}" type="slidenum">
              <a:rPr lang="da-DK" smtClean="0"/>
              <a:t>1</a:t>
            </a:fld>
            <a:endParaRPr lang="da-DK" dirty="0"/>
          </a:p>
        </p:txBody>
      </p:sp>
      <p:sp>
        <p:nvSpPr>
          <p:cNvPr id="5" name="Pladsholder til dato 4"/>
          <p:cNvSpPr>
            <a:spLocks noGrp="1"/>
          </p:cNvSpPr>
          <p:nvPr>
            <p:ph type="dt" idx="11"/>
          </p:nvPr>
        </p:nvSpPr>
        <p:spPr/>
        <p:txBody>
          <a:bodyPr/>
          <a:lstStyle/>
          <a:p>
            <a:fld id="{ADF37D80-9AC9-4026-9D0E-432F312BD07B}" type="datetime2">
              <a:rPr lang="da-DK" smtClean="0"/>
              <a:t>1. februar 2023</a:t>
            </a:fld>
            <a:endParaRPr lang="da-DK" dirty="0"/>
          </a:p>
        </p:txBody>
      </p:sp>
    </p:spTree>
    <p:extLst>
      <p:ext uri="{BB962C8B-B14F-4D97-AF65-F5344CB8AC3E}">
        <p14:creationId xmlns:p14="http://schemas.microsoft.com/office/powerpoint/2010/main" val="38791376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Arial" panose="020B0604020202020204" pitchFamily="34" charset="0"/>
                <a:ea typeface="Arial" panose="020B0604020202020204" pitchFamily="34" charset="0"/>
                <a:cs typeface="Times New Roman" panose="02020603050405020304" pitchFamily="18" charset="0"/>
              </a:rPr>
              <a:t>Indholdet afhænger af, hvor mange sessioner forældrenes forløb strækker sig over. Det er derfor vigtigt, at gruppevejlederne tilpasser indholdet, så det passer med, hvad de unge konkret gennemgår.</a:t>
            </a:r>
          </a:p>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23929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5939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sz="1200" b="0" i="0" u="none" strike="noStrike" kern="1200" baseline="0" dirty="0">
                <a:solidFill>
                  <a:schemeClr val="tx1"/>
                </a:solidFill>
                <a:latin typeface="+mn-lt"/>
                <a:ea typeface="+mn-ea"/>
                <a:cs typeface="+mn-cs"/>
              </a:rPr>
              <a:t>Forstyrrelserne er gennemgribende, dvs. </a:t>
            </a:r>
          </a:p>
          <a:p>
            <a:r>
              <a:rPr lang="da-DK" dirty="0"/>
              <a:t>1. Præger barnets/den unges udvikling på alle områder og dets udfoldelse i alle situationer</a:t>
            </a:r>
          </a:p>
          <a:p>
            <a:r>
              <a:rPr lang="da-DK" dirty="0"/>
              <a:t>2. Varierer i sværhedsgrad fra lette vanskeligheder der ses i den generelle befolkning, til forstyrrelser der påvirker funktionsniveauet i svær grad. </a:t>
            </a:r>
          </a:p>
          <a:p>
            <a:endParaRPr lang="da-DK" sz="1200" b="0" i="0" u="none" strike="noStrike" kern="1200" baseline="0" dirty="0">
              <a:solidFill>
                <a:schemeClr val="tx1"/>
              </a:solidFill>
              <a:latin typeface="+mn-lt"/>
              <a:ea typeface="+mn-ea"/>
              <a:cs typeface="+mn-cs"/>
            </a:endParaRPr>
          </a:p>
        </p:txBody>
      </p:sp>
      <p:sp>
        <p:nvSpPr>
          <p:cNvPr id="4" name="Date Placeholder 3"/>
          <p:cNvSpPr>
            <a:spLocks noGrp="1"/>
          </p:cNvSpPr>
          <p:nvPr>
            <p:ph type="dt" idx="1"/>
          </p:nvPr>
        </p:nvSpPr>
        <p:spPr/>
        <p:txBody>
          <a:bodyPr/>
          <a:lstStyle/>
          <a:p>
            <a:fld id="{0EA91211-F9FA-4986-B0CC-4518D22DB1CA}"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20</a:t>
            </a:fld>
            <a:endParaRPr lang="da-DK" dirty="0"/>
          </a:p>
        </p:txBody>
      </p:sp>
    </p:spTree>
    <p:extLst>
      <p:ext uri="{BB962C8B-B14F-4D97-AF65-F5344CB8AC3E}">
        <p14:creationId xmlns:p14="http://schemas.microsoft.com/office/powerpoint/2010/main" val="35865272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0" i="0" kern="1200" dirty="0">
                <a:solidFill>
                  <a:schemeClr val="tx1"/>
                </a:solidFill>
                <a:effectLst/>
                <a:latin typeface="+mn-lt"/>
                <a:ea typeface="+mn-ea"/>
                <a:cs typeface="+mn-cs"/>
              </a:rPr>
              <a:t>For at får stillet diagnosen, skal man have vanskeligheder inden for tre områder, som kaldes </a:t>
            </a:r>
            <a:r>
              <a:rPr lang="da-DK" sz="1200" b="1" i="0" kern="1200" dirty="0">
                <a:solidFill>
                  <a:schemeClr val="tx1"/>
                </a:solidFill>
                <a:effectLst/>
                <a:latin typeface="+mn-lt"/>
                <a:ea typeface="+mn-ea"/>
                <a:cs typeface="+mn-cs"/>
              </a:rPr>
              <a:t>triaden</a:t>
            </a:r>
            <a:r>
              <a:rPr lang="da-DK" sz="1200" b="0" i="0" kern="1200" dirty="0">
                <a:solidFill>
                  <a:schemeClr val="tx1"/>
                </a:solidFill>
                <a:effectLst/>
                <a:latin typeface="+mn-lt"/>
                <a:ea typeface="+mn-ea"/>
                <a:cs typeface="+mn-cs"/>
              </a:rPr>
              <a:t>: Afvigelser i forestillingsevnen. Afvigelser i kommunikationen. Afvigelser i det sociale samspil.</a:t>
            </a:r>
            <a:endParaRPr lang="da-DK" dirty="0"/>
          </a:p>
        </p:txBody>
      </p:sp>
      <p:sp>
        <p:nvSpPr>
          <p:cNvPr id="4" name="Pladsholder til dato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A91211-F9FA-4986-B0CC-4518D22DB1CA}"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Pladsholder til slidenumm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96434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ngdomslivet er lig med udvikling og forandring og kan derfor være svært for unge med autisme. </a:t>
            </a:r>
          </a:p>
        </p:txBody>
      </p:sp>
      <p:sp>
        <p:nvSpPr>
          <p:cNvPr id="4" name="Date Placeholder 3"/>
          <p:cNvSpPr>
            <a:spLocks noGrp="1"/>
          </p:cNvSpPr>
          <p:nvPr>
            <p:ph type="dt" idx="1"/>
          </p:nvPr>
        </p:nvSpPr>
        <p:spPr/>
        <p:txBody>
          <a:bodyPr/>
          <a:lstStyle/>
          <a:p>
            <a:fld id="{BCB42338-4536-4D36-B2CE-17D497F5A61B}"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24</a:t>
            </a:fld>
            <a:endParaRPr lang="da-DK" dirty="0"/>
          </a:p>
        </p:txBody>
      </p:sp>
    </p:spTree>
    <p:extLst>
      <p:ext uri="{BB962C8B-B14F-4D97-AF65-F5344CB8AC3E}">
        <p14:creationId xmlns:p14="http://schemas.microsoft.com/office/powerpoint/2010/main" val="10596245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0" i="0" kern="1200" dirty="0">
                <a:solidFill>
                  <a:schemeClr val="tx1"/>
                </a:solidFill>
                <a:effectLst/>
                <a:latin typeface="+mn-lt"/>
                <a:ea typeface="+mn-ea"/>
                <a:cs typeface="+mn-cs"/>
              </a:rPr>
              <a:t>Mennesker med en normal (typisk) neurologisk udvikling kaldes </a:t>
            </a:r>
            <a:r>
              <a:rPr lang="da-DK" sz="1200" b="0" i="0" kern="1200" dirty="0" err="1">
                <a:solidFill>
                  <a:schemeClr val="tx1"/>
                </a:solidFill>
                <a:effectLst/>
                <a:latin typeface="+mn-lt"/>
                <a:ea typeface="+mn-ea"/>
                <a:cs typeface="+mn-cs"/>
              </a:rPr>
              <a:t>Neurotypiske</a:t>
            </a:r>
            <a:r>
              <a:rPr lang="da-DK" sz="1200" b="0" i="0" kern="1200" dirty="0">
                <a:solidFill>
                  <a:schemeClr val="tx1"/>
                </a:solidFill>
                <a:effectLst/>
                <a:latin typeface="+mn-lt"/>
                <a:ea typeface="+mn-ea"/>
                <a:cs typeface="+mn-cs"/>
              </a:rPr>
              <a:t>.</a:t>
            </a:r>
          </a:p>
          <a:p>
            <a:r>
              <a:rPr lang="da-DK" sz="1200" b="0" i="0" kern="1200" dirty="0">
                <a:solidFill>
                  <a:schemeClr val="tx1"/>
                </a:solidFill>
                <a:effectLst/>
                <a:latin typeface="+mn-lt"/>
                <a:ea typeface="+mn-ea"/>
                <a:cs typeface="+mn-cs"/>
              </a:rPr>
              <a:t>En normal kognitiv udvikling vil naturligt have meget fokus på social forståelse.</a:t>
            </a:r>
          </a:p>
          <a:p>
            <a:r>
              <a:rPr lang="da-DK" sz="1200" b="0" i="0" kern="1200" dirty="0">
                <a:solidFill>
                  <a:schemeClr val="tx1"/>
                </a:solidFill>
                <a:effectLst/>
                <a:latin typeface="+mn-lt"/>
                <a:ea typeface="+mn-ea"/>
                <a:cs typeface="+mn-cs"/>
              </a:rPr>
              <a:t>For en person med ASF har hjernen typisk valgt at fokusere mere på andre aspekter end lige det sociale.</a:t>
            </a:r>
          </a:p>
          <a:p>
            <a:r>
              <a:rPr lang="da-DK" sz="1200" b="0" i="0" kern="1200" dirty="0">
                <a:solidFill>
                  <a:schemeClr val="tx1"/>
                </a:solidFill>
                <a:effectLst/>
                <a:latin typeface="+mn-lt"/>
                <a:ea typeface="+mn-ea"/>
                <a:cs typeface="+mn-cs"/>
              </a:rPr>
              <a:t>… det betyder at det kan være meget svært at være social med andre mennesker, og ikke mindst, overholde uskrevne regler.</a:t>
            </a:r>
          </a:p>
          <a:p>
            <a:r>
              <a:rPr lang="da-DK" sz="1200" b="0" i="0" kern="1200" dirty="0">
                <a:solidFill>
                  <a:schemeClr val="tx1"/>
                </a:solidFill>
                <a:effectLst/>
                <a:latin typeface="+mn-lt"/>
                <a:ea typeface="+mn-ea"/>
                <a:cs typeface="+mn-cs"/>
              </a:rPr>
              <a:t>En autistisk kognitiv udvikling synes derfor meget mere varieret.</a:t>
            </a:r>
          </a:p>
        </p:txBody>
      </p:sp>
      <p:sp>
        <p:nvSpPr>
          <p:cNvPr id="4" name="Pladsholder til dato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A91211-F9FA-4986-B0CC-4518D22DB1CA}"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Pladsholder til slidenumm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506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Formålet</a:t>
            </a:r>
            <a:r>
              <a:rPr lang="en-US" dirty="0"/>
              <a:t> med </a:t>
            </a:r>
            <a:r>
              <a:rPr lang="en-US" dirty="0" err="1"/>
              <a:t>ressourceblomsten</a:t>
            </a:r>
            <a:r>
              <a:rPr lang="en-US" dirty="0"/>
              <a:t> </a:t>
            </a:r>
            <a:r>
              <a:rPr lang="en-US" dirty="0" err="1"/>
              <a:t>er</a:t>
            </a:r>
            <a:r>
              <a:rPr lang="en-US" dirty="0"/>
              <a:t> at </a:t>
            </a:r>
            <a:r>
              <a:rPr lang="en-US" dirty="0" err="1"/>
              <a:t>gøre</a:t>
            </a:r>
            <a:r>
              <a:rPr lang="en-US" dirty="0"/>
              <a:t> </a:t>
            </a:r>
            <a:r>
              <a:rPr lang="en-US" dirty="0" err="1"/>
              <a:t>forældrene</a:t>
            </a:r>
            <a:r>
              <a:rPr lang="en-US" dirty="0"/>
              <a:t> </a:t>
            </a:r>
            <a:r>
              <a:rPr lang="en-US" dirty="0" err="1"/>
              <a:t>bevidste</a:t>
            </a:r>
            <a:r>
              <a:rPr lang="en-US" dirty="0"/>
              <a:t> om </a:t>
            </a:r>
            <a:r>
              <a:rPr lang="en-US" dirty="0" err="1"/>
              <a:t>deres</a:t>
            </a:r>
            <a:r>
              <a:rPr lang="en-US" dirty="0"/>
              <a:t> barns </a:t>
            </a:r>
            <a:r>
              <a:rPr lang="en-US" dirty="0" err="1"/>
              <a:t>styrker</a:t>
            </a:r>
            <a:r>
              <a:rPr lang="en-US" dirty="0"/>
              <a:t> </a:t>
            </a:r>
            <a:r>
              <a:rPr lang="en-US" dirty="0" err="1"/>
              <a:t>og</a:t>
            </a:r>
            <a:r>
              <a:rPr lang="en-US" dirty="0"/>
              <a:t> </a:t>
            </a:r>
            <a:r>
              <a:rPr lang="en-US" dirty="0" err="1"/>
              <a:t>gode</a:t>
            </a:r>
            <a:r>
              <a:rPr lang="en-US" dirty="0"/>
              <a:t> sider. Der </a:t>
            </a:r>
            <a:r>
              <a:rPr lang="en-US" dirty="0" err="1"/>
              <a:t>udfyldes</a:t>
            </a:r>
            <a:r>
              <a:rPr lang="en-US" dirty="0"/>
              <a:t> </a:t>
            </a:r>
            <a:r>
              <a:rPr lang="en-US" dirty="0" err="1"/>
              <a:t>en</a:t>
            </a:r>
            <a:r>
              <a:rPr lang="en-US" dirty="0"/>
              <a:t> </a:t>
            </a:r>
            <a:r>
              <a:rPr lang="en-US" dirty="0" err="1"/>
              <a:t>styrke</a:t>
            </a:r>
            <a:r>
              <a:rPr lang="en-US" dirty="0"/>
              <a:t>/god side pr. </a:t>
            </a:r>
            <a:r>
              <a:rPr lang="en-US" dirty="0" err="1"/>
              <a:t>blomsterblad</a:t>
            </a:r>
            <a:r>
              <a:rPr lang="en-US" dirty="0"/>
              <a:t>.</a:t>
            </a:r>
          </a:p>
        </p:txBody>
      </p:sp>
      <p:sp>
        <p:nvSpPr>
          <p:cNvPr id="4" name="Date Placeholder 3"/>
          <p:cNvSpPr>
            <a:spLocks noGrp="1"/>
          </p:cNvSpPr>
          <p:nvPr>
            <p:ph type="dt" idx="1"/>
          </p:nvPr>
        </p:nvSpPr>
        <p:spPr/>
        <p:txBody>
          <a:bodyPr/>
          <a:lstStyle/>
          <a:p>
            <a:fld id="{0EA91211-F9FA-4986-B0CC-4518D22DB1CA}"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26</a:t>
            </a:fld>
            <a:endParaRPr lang="da-DK" dirty="0"/>
          </a:p>
        </p:txBody>
      </p:sp>
    </p:spTree>
    <p:extLst>
      <p:ext uri="{BB962C8B-B14F-4D97-AF65-F5344CB8AC3E}">
        <p14:creationId xmlns:p14="http://schemas.microsoft.com/office/powerpoint/2010/main" val="40703998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Formålet med drøftelsen er at bringe deltagernes forberedelse til modulet i spil. Hvad har forældrene reflekteret over og evt. talt med den unge om som forberedelse til dagens tema. </a:t>
            </a:r>
          </a:p>
          <a:p>
            <a:endParaRPr lang="da-DK" dirty="0"/>
          </a:p>
          <a:p>
            <a:r>
              <a:rPr lang="da-DK" dirty="0"/>
              <a:t>Deltagerne deles i mindre grupper og drøfter refleksionsspørgsmålet med hinanden, herunder hvad de har reflekteret over inden modulet. Drøftelsen fungerer som forberedelse til den efterfølgende øvelse. </a:t>
            </a:r>
          </a:p>
          <a:p>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kern="1200" dirty="0">
                <a:solidFill>
                  <a:schemeClr val="tx1"/>
                </a:solidFill>
                <a:effectLst/>
                <a:latin typeface="+mn-lt"/>
                <a:ea typeface="+mn-ea"/>
                <a:cs typeface="+mn-cs"/>
              </a:rPr>
              <a:t>Gruppevejlederen tjekker ind med de enkelte grupper i løbet af gruppedrøftelsen og samler grupperne, når deltagerne er klar til at gå videre med øvelsen.  </a:t>
            </a:r>
          </a:p>
          <a:p>
            <a:endParaRPr lang="da-DK" dirty="0"/>
          </a:p>
          <a:p>
            <a:endParaRPr lang="da-DK" dirty="0"/>
          </a:p>
        </p:txBody>
      </p:sp>
      <p:sp>
        <p:nvSpPr>
          <p:cNvPr id="4" name="Pladsholder til dato 3"/>
          <p:cNvSpPr>
            <a:spLocks noGrp="1"/>
          </p:cNvSpPr>
          <p:nvPr>
            <p:ph type="dt" idx="10"/>
          </p:nvPr>
        </p:nvSpPr>
        <p:spPr/>
        <p:txBody>
          <a:bodyPr/>
          <a:lstStyle/>
          <a:p>
            <a:fld id="{0EA91211-F9FA-4986-B0CC-4518D22DB1CA}" type="datetime2">
              <a:rPr lang="da-DK" smtClean="0">
                <a:solidFill>
                  <a:prstClr val="black"/>
                </a:solidFill>
              </a:rPr>
              <a:pPr/>
              <a:t>1. februar 2023</a:t>
            </a:fld>
            <a:endParaRPr lang="da-DK" dirty="0">
              <a:solidFill>
                <a:prstClr val="black"/>
              </a:solidFill>
            </a:endParaRPr>
          </a:p>
        </p:txBody>
      </p:sp>
      <p:sp>
        <p:nvSpPr>
          <p:cNvPr id="5" name="Pladsholder til slidenummer 4"/>
          <p:cNvSpPr>
            <a:spLocks noGrp="1"/>
          </p:cNvSpPr>
          <p:nvPr>
            <p:ph type="sldNum" sz="quarter" idx="11"/>
          </p:nvPr>
        </p:nvSpPr>
        <p:spPr/>
        <p:txBody>
          <a:bodyPr/>
          <a:lstStyle/>
          <a:p>
            <a:fld id="{80913D85-34BC-4FA7-A491-B95498CAAD60}" type="slidenum">
              <a:rPr lang="da-DK" smtClean="0">
                <a:solidFill>
                  <a:prstClr val="black"/>
                </a:solidFill>
              </a:rPr>
              <a:pPr/>
              <a:t>27</a:t>
            </a:fld>
            <a:endParaRPr lang="da-DK" dirty="0">
              <a:solidFill>
                <a:prstClr val="black"/>
              </a:solidFill>
            </a:endParaRPr>
          </a:p>
        </p:txBody>
      </p:sp>
    </p:spTree>
    <p:extLst>
      <p:ext uri="{BB962C8B-B14F-4D97-AF65-F5344CB8AC3E}">
        <p14:creationId xmlns:p14="http://schemas.microsoft.com/office/powerpoint/2010/main" val="27160498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fld id="{2A148684-0347-41B5-B922-00157814824C}"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1</a:t>
            </a:fld>
            <a:endParaRPr lang="da-DK" dirty="0"/>
          </a:p>
        </p:txBody>
      </p:sp>
    </p:spTree>
    <p:extLst>
      <p:ext uri="{BB962C8B-B14F-4D97-AF65-F5344CB8AC3E}">
        <p14:creationId xmlns:p14="http://schemas.microsoft.com/office/powerpoint/2010/main" val="11549086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11B6F407-907A-44B7-BB79-59577BC1897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2</a:t>
            </a:fld>
            <a:endParaRPr lang="da-DK" dirty="0"/>
          </a:p>
        </p:txBody>
      </p:sp>
    </p:spTree>
    <p:extLst>
      <p:ext uri="{BB962C8B-B14F-4D97-AF65-F5344CB8AC3E}">
        <p14:creationId xmlns:p14="http://schemas.microsoft.com/office/powerpoint/2010/main" val="29798087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0913D85-34BC-4FA7-A491-B95498CAAD60}" type="slidenum">
              <a:rPr lang="da-DK" smtClean="0"/>
              <a:t>2</a:t>
            </a:fld>
            <a:endParaRPr lang="da-DK" dirty="0"/>
          </a:p>
        </p:txBody>
      </p:sp>
      <p:sp>
        <p:nvSpPr>
          <p:cNvPr id="5" name="Pladsholder til dato 4"/>
          <p:cNvSpPr>
            <a:spLocks noGrp="1"/>
          </p:cNvSpPr>
          <p:nvPr>
            <p:ph type="dt" idx="11"/>
          </p:nvPr>
        </p:nvSpPr>
        <p:spPr/>
        <p:txBody>
          <a:bodyPr/>
          <a:lstStyle/>
          <a:p>
            <a:fld id="{06D622FE-A359-463B-82BC-59B49C225A30}" type="datetime2">
              <a:rPr lang="da-DK" smtClean="0"/>
              <a:t>1. februar 2023</a:t>
            </a:fld>
            <a:endParaRPr lang="da-DK" dirty="0"/>
          </a:p>
        </p:txBody>
      </p:sp>
    </p:spTree>
    <p:extLst>
      <p:ext uri="{BB962C8B-B14F-4D97-AF65-F5344CB8AC3E}">
        <p14:creationId xmlns:p14="http://schemas.microsoft.com/office/powerpoint/2010/main" val="40658892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Arial" panose="020B0604020202020204" pitchFamily="34" charset="0"/>
                <a:ea typeface="Arial" panose="020B0604020202020204" pitchFamily="34" charset="0"/>
                <a:cs typeface="Times New Roman" panose="02020603050405020304" pitchFamily="18" charset="0"/>
              </a:rPr>
              <a:t>Indholdet afhænger af, hvor mange sessioner forældrenes forløb strækker sig over. Det er derfor vigtigt, at gruppevejlederne tilpasser indholdet, så det passer med, hvad de unge konkret gennemgår.</a:t>
            </a:r>
          </a:p>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33140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56841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sz="1200" b="0" i="0" u="none" strike="noStrike" kern="1200" baseline="0" dirty="0">
                <a:solidFill>
                  <a:schemeClr val="tx1"/>
                </a:solidFill>
                <a:latin typeface="+mn-lt"/>
                <a:ea typeface="+mn-ea"/>
                <a:cs typeface="+mn-cs"/>
              </a:rPr>
              <a:t>Børn og unge med autisme har en høj forekomst af andre børnepsykiatriske vanskeligheder, udviklingsforstyrrelser og sjældne sygdomme. Der er tale om en række forskellige tilstande eller sygdomme. Det er ikke ualmindeligt, at barnet kan have en eller flere af disse tilstande sammen med sin autisme. </a:t>
            </a:r>
          </a:p>
          <a:p>
            <a:endParaRPr lang="da-DK" sz="1200" b="0" i="0" u="none" strike="noStrike" kern="1200" baseline="0" dirty="0">
              <a:solidFill>
                <a:schemeClr val="tx1"/>
              </a:solidFill>
              <a:latin typeface="+mn-lt"/>
              <a:ea typeface="+mn-ea"/>
              <a:cs typeface="+mn-cs"/>
            </a:endParaRPr>
          </a:p>
          <a:p>
            <a:r>
              <a:rPr lang="da-DK" sz="1200" b="0" i="0" u="none" strike="noStrike" kern="1200" baseline="0" dirty="0">
                <a:solidFill>
                  <a:schemeClr val="tx1"/>
                </a:solidFill>
                <a:latin typeface="+mn-lt"/>
                <a:ea typeface="+mn-ea"/>
                <a:cs typeface="+mn-cs"/>
              </a:rPr>
              <a:t>70 - 80 % anslås at have yderligere én anden tilstand </a:t>
            </a:r>
          </a:p>
          <a:p>
            <a:r>
              <a:rPr lang="da-DK" sz="1200" b="0" i="0" u="none" strike="noStrike" kern="1200" baseline="0" dirty="0">
                <a:solidFill>
                  <a:schemeClr val="tx1"/>
                </a:solidFill>
                <a:latin typeface="+mn-lt"/>
                <a:ea typeface="+mn-ea"/>
                <a:cs typeface="+mn-cs"/>
              </a:rPr>
              <a:t>25 – 40 % anslås at have mindst to andre tilstande </a:t>
            </a:r>
          </a:p>
          <a:p>
            <a:r>
              <a:rPr lang="da-DK" sz="1200" b="1" i="0" u="none" strike="noStrike" kern="1200" baseline="0" dirty="0">
                <a:solidFill>
                  <a:schemeClr val="tx1"/>
                </a:solidFill>
                <a:latin typeface="+mn-lt"/>
                <a:ea typeface="+mn-ea"/>
                <a:cs typeface="+mn-cs"/>
              </a:rPr>
              <a:t>Udviklingsforstyrrelser: </a:t>
            </a:r>
            <a:r>
              <a:rPr lang="da-DK" sz="1200" b="0" i="0" u="none" strike="noStrike" kern="1200" baseline="0" dirty="0">
                <a:solidFill>
                  <a:schemeClr val="tx1"/>
                </a:solidFill>
                <a:latin typeface="+mn-lt"/>
                <a:ea typeface="+mn-ea"/>
                <a:cs typeface="+mn-cs"/>
              </a:rPr>
              <a:t>Sprogforstyrrelse, motorisk udviklingsforstyrrelse, mental retardering </a:t>
            </a:r>
          </a:p>
          <a:p>
            <a:r>
              <a:rPr lang="da-DK" sz="1200" b="1" i="0" u="none" strike="noStrike" kern="1200" baseline="0" dirty="0">
                <a:solidFill>
                  <a:schemeClr val="tx1"/>
                </a:solidFill>
                <a:latin typeface="+mn-lt"/>
                <a:ea typeface="+mn-ea"/>
                <a:cs typeface="+mn-cs"/>
              </a:rPr>
              <a:t>Psykiske lidelser: </a:t>
            </a:r>
            <a:r>
              <a:rPr lang="da-DK" sz="1200" b="0" i="0" u="none" strike="noStrike" kern="1200" baseline="0" dirty="0">
                <a:solidFill>
                  <a:schemeClr val="tx1"/>
                </a:solidFill>
                <a:latin typeface="+mn-lt"/>
                <a:ea typeface="+mn-ea"/>
                <a:cs typeface="+mn-cs"/>
              </a:rPr>
              <a:t>ADHD, angst, adfærdsforstyrrelse, depression, OCD, tics, psykose, skizofreni, spiseforstyrrelse </a:t>
            </a:r>
          </a:p>
          <a:p>
            <a:r>
              <a:rPr lang="da-DK" sz="1200" b="1" i="0" u="none" strike="noStrike" kern="1200" baseline="0" dirty="0">
                <a:solidFill>
                  <a:schemeClr val="tx1"/>
                </a:solidFill>
                <a:latin typeface="+mn-lt"/>
                <a:ea typeface="+mn-ea"/>
                <a:cs typeface="+mn-cs"/>
              </a:rPr>
              <a:t>Neurologiske og genetiske sygdomme </a:t>
            </a:r>
            <a:r>
              <a:rPr lang="da-DK" sz="1200" b="0" i="0" u="none" strike="noStrike" kern="1200" baseline="0" dirty="0" err="1">
                <a:solidFill>
                  <a:schemeClr val="tx1"/>
                </a:solidFill>
                <a:latin typeface="+mn-lt"/>
                <a:ea typeface="+mn-ea"/>
                <a:cs typeface="+mn-cs"/>
              </a:rPr>
              <a:t>fxepilepsi</a:t>
            </a:r>
            <a:r>
              <a:rPr lang="da-DK" sz="1200" b="0" i="0" u="none" strike="noStrike" kern="1200" baseline="0" dirty="0">
                <a:solidFill>
                  <a:schemeClr val="tx1"/>
                </a:solidFill>
                <a:latin typeface="+mn-lt"/>
                <a:ea typeface="+mn-ea"/>
                <a:cs typeface="+mn-cs"/>
              </a:rPr>
              <a:t> </a:t>
            </a:r>
          </a:p>
          <a:p>
            <a:r>
              <a:rPr lang="da-DK" sz="1200" b="1" i="0" u="none" strike="noStrike" kern="1200" baseline="0" dirty="0">
                <a:solidFill>
                  <a:schemeClr val="tx1"/>
                </a:solidFill>
                <a:latin typeface="+mn-lt"/>
                <a:ea typeface="+mn-ea"/>
                <a:cs typeface="+mn-cs"/>
              </a:rPr>
              <a:t>Syns- og høreproblemer </a:t>
            </a:r>
            <a:endParaRPr lang="da-DK" sz="1200" b="0" i="0" u="none" strike="noStrike" kern="1200" baseline="0" dirty="0">
              <a:solidFill>
                <a:schemeClr val="tx1"/>
              </a:solidFill>
              <a:latin typeface="+mn-lt"/>
              <a:ea typeface="+mn-ea"/>
              <a:cs typeface="+mn-cs"/>
            </a:endParaRPr>
          </a:p>
          <a:p>
            <a:r>
              <a:rPr lang="da-DK" sz="1200" b="1" i="0" u="none" strike="noStrike" kern="1200" baseline="0" dirty="0">
                <a:solidFill>
                  <a:schemeClr val="tx1"/>
                </a:solidFill>
                <a:latin typeface="+mn-lt"/>
                <a:ea typeface="+mn-ea"/>
                <a:cs typeface="+mn-cs"/>
              </a:rPr>
              <a:t>Andre tilstande: </a:t>
            </a:r>
            <a:r>
              <a:rPr lang="da-DK" sz="1200" b="0" i="0" u="none" strike="noStrike" kern="1200" baseline="0" dirty="0">
                <a:solidFill>
                  <a:schemeClr val="tx1"/>
                </a:solidFill>
                <a:latin typeface="+mn-lt"/>
                <a:ea typeface="+mn-ea"/>
                <a:cs typeface="+mn-cs"/>
              </a:rPr>
              <a:t>Problemer med spisning, søvn og renlighed. Problemer i forbindelse med sansning af smerte, temperatur, lyd, berøring og smag. </a:t>
            </a:r>
          </a:p>
          <a:p>
            <a:endParaRPr lang="da-DK" sz="1200" b="0" i="0" u="none" strike="noStrike" kern="1200" baseline="0" dirty="0">
              <a:solidFill>
                <a:schemeClr val="tx1"/>
              </a:solidFill>
              <a:latin typeface="+mn-lt"/>
              <a:ea typeface="+mn-ea"/>
              <a:cs typeface="+mn-cs"/>
            </a:endParaRPr>
          </a:p>
          <a:p>
            <a:r>
              <a:rPr lang="da-DK" sz="1200" b="0" i="0" u="none" strike="noStrike" kern="1200" baseline="0" dirty="0">
                <a:solidFill>
                  <a:schemeClr val="tx1"/>
                </a:solidFill>
                <a:latin typeface="+mn-lt"/>
                <a:ea typeface="+mn-ea"/>
                <a:cs typeface="+mn-cs"/>
              </a:rPr>
              <a:t>Normaltbegavede med autisme oplever ofte angst, og deres evne til at fungere i hverdagen kan være meget nedsat. Det er derfor vigtigt, at man også giver behandling mod angst.</a:t>
            </a:r>
          </a:p>
          <a:p>
            <a:endParaRPr lang="da-DK" dirty="0"/>
          </a:p>
        </p:txBody>
      </p:sp>
      <p:sp>
        <p:nvSpPr>
          <p:cNvPr id="4" name="Date Placeholder 3"/>
          <p:cNvSpPr>
            <a:spLocks noGrp="1"/>
          </p:cNvSpPr>
          <p:nvPr>
            <p:ph type="dt" idx="1"/>
          </p:nvPr>
        </p:nvSpPr>
        <p:spPr/>
        <p:txBody>
          <a:bodyPr/>
          <a:lstStyle/>
          <a:p>
            <a:fld id="{0EA91211-F9FA-4986-B0CC-4518D22DB1CA}"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7</a:t>
            </a:fld>
            <a:endParaRPr lang="da-DK" dirty="0"/>
          </a:p>
        </p:txBody>
      </p:sp>
    </p:spTree>
    <p:extLst>
      <p:ext uri="{BB962C8B-B14F-4D97-AF65-F5344CB8AC3E}">
        <p14:creationId xmlns:p14="http://schemas.microsoft.com/office/powerpoint/2010/main" val="17296996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 </a:t>
            </a:r>
            <a:r>
              <a:rPr lang="en-US" dirty="0" err="1"/>
              <a:t>ses</a:t>
            </a:r>
            <a:r>
              <a:rPr lang="en-US" dirty="0"/>
              <a:t> </a:t>
            </a:r>
            <a:r>
              <a:rPr lang="en-US" dirty="0" err="1"/>
              <a:t>en</a:t>
            </a:r>
            <a:r>
              <a:rPr lang="en-US" dirty="0"/>
              <a:t> </a:t>
            </a:r>
            <a:r>
              <a:rPr lang="en-US" dirty="0" err="1"/>
              <a:t>almindelig</a:t>
            </a:r>
            <a:r>
              <a:rPr lang="en-US" dirty="0"/>
              <a:t> </a:t>
            </a:r>
            <a:r>
              <a:rPr lang="en-US" dirty="0" err="1"/>
              <a:t>udvikling</a:t>
            </a:r>
            <a:r>
              <a:rPr lang="en-US" dirty="0"/>
              <a:t> over et liv</a:t>
            </a:r>
          </a:p>
        </p:txBody>
      </p:sp>
      <p:sp>
        <p:nvSpPr>
          <p:cNvPr id="4" name="Date Placeholder 3"/>
          <p:cNvSpPr>
            <a:spLocks noGrp="1"/>
          </p:cNvSpPr>
          <p:nvPr>
            <p:ph type="dt" idx="1"/>
          </p:nvPr>
        </p:nvSpPr>
        <p:spPr/>
        <p:txBody>
          <a:bodyPr/>
          <a:lstStyle/>
          <a:p>
            <a:fld id="{0EA91211-F9FA-4986-B0CC-4518D22DB1CA}"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8</a:t>
            </a:fld>
            <a:endParaRPr lang="da-DK" dirty="0"/>
          </a:p>
        </p:txBody>
      </p:sp>
    </p:spTree>
    <p:extLst>
      <p:ext uri="{BB962C8B-B14F-4D97-AF65-F5344CB8AC3E}">
        <p14:creationId xmlns:p14="http://schemas.microsoft.com/office/powerpoint/2010/main" val="9341179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33547B-5D57-4C47-A53E-A359413DE392}"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37071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fld id="{2A148684-0347-41B5-B922-00157814824C}"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52</a:t>
            </a:fld>
            <a:endParaRPr lang="da-DK" dirty="0"/>
          </a:p>
        </p:txBody>
      </p:sp>
    </p:spTree>
    <p:extLst>
      <p:ext uri="{BB962C8B-B14F-4D97-AF65-F5344CB8AC3E}">
        <p14:creationId xmlns:p14="http://schemas.microsoft.com/office/powerpoint/2010/main" val="27940006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11B6F407-907A-44B7-BB79-59577BC1897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53</a:t>
            </a:fld>
            <a:endParaRPr lang="da-DK" dirty="0"/>
          </a:p>
        </p:txBody>
      </p:sp>
    </p:spTree>
    <p:extLst>
      <p:ext uri="{BB962C8B-B14F-4D97-AF65-F5344CB8AC3E}">
        <p14:creationId xmlns:p14="http://schemas.microsoft.com/office/powerpoint/2010/main" val="1895312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Arial" panose="020B0604020202020204" pitchFamily="34" charset="0"/>
                <a:ea typeface="Arial" panose="020B0604020202020204" pitchFamily="34" charset="0"/>
                <a:cs typeface="Times New Roman" panose="02020603050405020304" pitchFamily="18" charset="0"/>
              </a:rPr>
              <a:t>Indholdet afhænger af, hvor mange sessioner forældrenes forløb strækker sig over. Det er derfor vigtigt, at gruppevejlederne tilpasser indholdet, så det passer med, hvad de unge konkret gennemgår.</a:t>
            </a:r>
          </a:p>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92288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16685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0EA91211-F9FA-4986-B0CC-4518D22DB1CA}"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58</a:t>
            </a:fld>
            <a:endParaRPr lang="da-DK" dirty="0"/>
          </a:p>
        </p:txBody>
      </p:sp>
    </p:spTree>
    <p:extLst>
      <p:ext uri="{BB962C8B-B14F-4D97-AF65-F5344CB8AC3E}">
        <p14:creationId xmlns:p14="http://schemas.microsoft.com/office/powerpoint/2010/main" val="17523440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sz="1200" kern="1200" dirty="0">
                <a:solidFill>
                  <a:schemeClr val="tx1"/>
                </a:solidFill>
                <a:effectLst/>
                <a:latin typeface="+mn-lt"/>
                <a:ea typeface="+mn-ea"/>
                <a:cs typeface="+mn-cs"/>
              </a:rPr>
              <a:t>Fokus i gruppeforløbet er på temaerne: </a:t>
            </a:r>
          </a:p>
          <a:p>
            <a:r>
              <a:rPr lang="da-DK" sz="1200" kern="1200" dirty="0">
                <a:solidFill>
                  <a:schemeClr val="tx1"/>
                </a:solidFill>
                <a:effectLst/>
                <a:latin typeface="+mn-lt"/>
                <a:ea typeface="+mn-ea"/>
                <a:cs typeface="+mn-cs"/>
              </a:rPr>
              <a:t> </a:t>
            </a:r>
          </a:p>
          <a:p>
            <a:pPr lvl="0"/>
            <a:r>
              <a:rPr lang="da-DK" sz="1200" kern="1200" dirty="0">
                <a:solidFill>
                  <a:schemeClr val="tx1"/>
                </a:solidFill>
                <a:effectLst/>
                <a:latin typeface="+mn-lt"/>
                <a:ea typeface="+mn-ea"/>
                <a:cs typeface="+mn-cs"/>
              </a:rPr>
              <a:t>- Ungdomsliv med autisme, herunder andre udfordringer (fx angst, stress, depression)</a:t>
            </a:r>
          </a:p>
          <a:p>
            <a:pPr lvl="0"/>
            <a:r>
              <a:rPr lang="da-DK" sz="1200" kern="1200" dirty="0">
                <a:solidFill>
                  <a:schemeClr val="tx1"/>
                </a:solidFill>
                <a:effectLst/>
                <a:latin typeface="+mn-lt"/>
                <a:ea typeface="+mn-ea"/>
                <a:cs typeface="+mn-cs"/>
              </a:rPr>
              <a:t>- Støtte til at deltage i sociale fællesskaber og mestre hverdagen. </a:t>
            </a:r>
          </a:p>
          <a:p>
            <a:pPr lvl="0"/>
            <a:r>
              <a:rPr lang="da-DK" sz="1200" kern="1200" dirty="0">
                <a:solidFill>
                  <a:schemeClr val="tx1"/>
                </a:solidFill>
                <a:effectLst/>
                <a:latin typeface="+mn-lt"/>
                <a:ea typeface="+mn-ea"/>
                <a:cs typeface="+mn-cs"/>
              </a:rPr>
              <a:t>- Kommunikation og problemløsning.</a:t>
            </a:r>
          </a:p>
          <a:p>
            <a:endParaRPr lang="da-DK" dirty="0"/>
          </a:p>
          <a:p>
            <a:r>
              <a:rPr lang="da-DK" dirty="0"/>
              <a:t>Forløbet omfatter seks moduler, der behandler disse temaer. </a:t>
            </a:r>
          </a:p>
        </p:txBody>
      </p:sp>
      <p:sp>
        <p:nvSpPr>
          <p:cNvPr id="4" name="Date Placeholder 3"/>
          <p:cNvSpPr>
            <a:spLocks noGrp="1"/>
          </p:cNvSpPr>
          <p:nvPr>
            <p:ph type="dt" idx="1"/>
          </p:nvPr>
        </p:nvSpPr>
        <p:spPr/>
        <p:txBody>
          <a:bodyPr/>
          <a:lstStyle/>
          <a:p>
            <a:fld id="{FE36A3C3-F3A3-4297-A987-59F5EA6B5325}"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7</a:t>
            </a:fld>
            <a:endParaRPr lang="da-DK" dirty="0"/>
          </a:p>
        </p:txBody>
      </p:sp>
    </p:spTree>
    <p:extLst>
      <p:ext uri="{BB962C8B-B14F-4D97-AF65-F5344CB8AC3E}">
        <p14:creationId xmlns:p14="http://schemas.microsoft.com/office/powerpoint/2010/main" val="13591308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fld id="{2A148684-0347-41B5-B922-00157814824C}"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65</a:t>
            </a:fld>
            <a:endParaRPr lang="da-DK" dirty="0"/>
          </a:p>
        </p:txBody>
      </p:sp>
    </p:spTree>
    <p:extLst>
      <p:ext uri="{BB962C8B-B14F-4D97-AF65-F5344CB8AC3E}">
        <p14:creationId xmlns:p14="http://schemas.microsoft.com/office/powerpoint/2010/main" val="26539341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11B6F407-907A-44B7-BB79-59577BC1897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66</a:t>
            </a:fld>
            <a:endParaRPr lang="da-DK" dirty="0"/>
          </a:p>
        </p:txBody>
      </p:sp>
    </p:spTree>
    <p:extLst>
      <p:ext uri="{BB962C8B-B14F-4D97-AF65-F5344CB8AC3E}">
        <p14:creationId xmlns:p14="http://schemas.microsoft.com/office/powerpoint/2010/main" val="6726073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Arial" panose="020B0604020202020204" pitchFamily="34" charset="0"/>
                <a:ea typeface="Arial" panose="020B0604020202020204" pitchFamily="34" charset="0"/>
                <a:cs typeface="Times New Roman" panose="02020603050405020304" pitchFamily="18" charset="0"/>
              </a:rPr>
              <a:t>Indholdet afhænger af, hvor mange sessioner forældrenes forløb strækker sig over. Det er derfor vigtigt, at gruppevejlederne tilpasser indholdet, så det passer med, hvad de unge konkret gennemgår.</a:t>
            </a:r>
          </a:p>
          <a:p>
            <a:endParaRPr lang="da-DK" dirty="0"/>
          </a:p>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0776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02540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Disse slides og pointer gennemgår vi med de unge i deres gruppeforløb. </a:t>
            </a:r>
          </a:p>
          <a:p>
            <a:endParaRPr lang="da-DK" dirty="0"/>
          </a:p>
          <a:p>
            <a:r>
              <a:rPr lang="da-DK" dirty="0"/>
              <a:t>I kan derfor bruge disse input til at understøtte jeres barn/ung i at forstå konflikter, håndtere konflikter, der opstår (trække sig væk eller tage konflikten på en hensigtsmæssig måde)  </a:t>
            </a:r>
          </a:p>
        </p:txBody>
      </p:sp>
      <p:sp>
        <p:nvSpPr>
          <p:cNvPr id="4" name="Date Placeholder 3"/>
          <p:cNvSpPr>
            <a:spLocks noGrp="1"/>
          </p:cNvSpPr>
          <p:nvPr>
            <p:ph type="dt" idx="1"/>
          </p:nvPr>
        </p:nvSpPr>
        <p:spPr/>
        <p:txBody>
          <a:bodyPr/>
          <a:lstStyle/>
          <a:p>
            <a:fld id="{0EA91211-F9FA-4986-B0CC-4518D22DB1CA}"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71</a:t>
            </a:fld>
            <a:endParaRPr lang="da-DK" dirty="0"/>
          </a:p>
        </p:txBody>
      </p:sp>
    </p:spTree>
    <p:extLst>
      <p:ext uri="{BB962C8B-B14F-4D97-AF65-F5344CB8AC3E}">
        <p14:creationId xmlns:p14="http://schemas.microsoft.com/office/powerpoint/2010/main" val="2072115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Hjælp fx jeres barn/ung med at forstå, hvorfor konflikter kan opstå. </a:t>
            </a:r>
          </a:p>
          <a:p>
            <a:endParaRPr lang="da-DK" dirty="0"/>
          </a:p>
          <a:p>
            <a:r>
              <a:rPr lang="da-DK" dirty="0"/>
              <a:t>Nogle gange kan andre være lede eller urimelige over for én, så er det vigtigt at kunne sige fra på en ordentlig måde. </a:t>
            </a:r>
          </a:p>
          <a:p>
            <a:endParaRPr lang="da-DK" dirty="0"/>
          </a:p>
          <a:p>
            <a:r>
              <a:rPr lang="da-DK" dirty="0"/>
              <a:t>Andre gange opstår konflikten ikke, fordi den ene part vil være ondskabsfuld, men fx pga. misforståelse. Den unge kan støttes i at analysere egne og andres tanker, følelser og handlinger. </a:t>
            </a:r>
          </a:p>
          <a:p>
            <a:endParaRPr lang="da-DK" dirty="0"/>
          </a:p>
          <a:p>
            <a:endParaRPr lang="da-DK" dirty="0"/>
          </a:p>
        </p:txBody>
      </p:sp>
      <p:sp>
        <p:nvSpPr>
          <p:cNvPr id="4" name="Date Placeholder 3"/>
          <p:cNvSpPr>
            <a:spLocks noGrp="1"/>
          </p:cNvSpPr>
          <p:nvPr>
            <p:ph type="dt" idx="1"/>
          </p:nvPr>
        </p:nvSpPr>
        <p:spPr/>
        <p:txBody>
          <a:bodyPr/>
          <a:lstStyle/>
          <a:p>
            <a:fld id="{0EA91211-F9FA-4986-B0CC-4518D22DB1CA}"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72</a:t>
            </a:fld>
            <a:endParaRPr lang="da-DK" dirty="0"/>
          </a:p>
        </p:txBody>
      </p:sp>
    </p:spTree>
    <p:extLst>
      <p:ext uri="{BB962C8B-B14F-4D97-AF65-F5344CB8AC3E}">
        <p14:creationId xmlns:p14="http://schemas.microsoft.com/office/powerpoint/2010/main" val="5479748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Støt den unge i at navigere i, hvordan kan </a:t>
            </a:r>
          </a:p>
        </p:txBody>
      </p:sp>
      <p:sp>
        <p:nvSpPr>
          <p:cNvPr id="4" name="Date Placeholder 3"/>
          <p:cNvSpPr>
            <a:spLocks noGrp="1"/>
          </p:cNvSpPr>
          <p:nvPr>
            <p:ph type="dt" idx="1"/>
          </p:nvPr>
        </p:nvSpPr>
        <p:spPr/>
        <p:txBody>
          <a:bodyPr/>
          <a:lstStyle/>
          <a:p>
            <a:fld id="{0EA91211-F9FA-4986-B0CC-4518D22DB1CA}"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73</a:t>
            </a:fld>
            <a:endParaRPr lang="da-DK" dirty="0"/>
          </a:p>
        </p:txBody>
      </p:sp>
    </p:spTree>
    <p:extLst>
      <p:ext uri="{BB962C8B-B14F-4D97-AF65-F5344CB8AC3E}">
        <p14:creationId xmlns:p14="http://schemas.microsoft.com/office/powerpoint/2010/main" val="24084608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Vi introducerer de unge til konfliktnedtrappende sprog. I kan understøtte de unge i at bruge konfliktnedtrappende sprog – og som forældre kan man også med fordel øve sig i at kommunikere konfliktnedtrappende. </a:t>
            </a:r>
          </a:p>
        </p:txBody>
      </p:sp>
      <p:sp>
        <p:nvSpPr>
          <p:cNvPr id="4" name="Date Placeholder 3"/>
          <p:cNvSpPr>
            <a:spLocks noGrp="1"/>
          </p:cNvSpPr>
          <p:nvPr>
            <p:ph type="dt" idx="1"/>
          </p:nvPr>
        </p:nvSpPr>
        <p:spPr/>
        <p:txBody>
          <a:bodyPr/>
          <a:lstStyle/>
          <a:p>
            <a:fld id="{0EA91211-F9FA-4986-B0CC-4518D22DB1CA}"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74</a:t>
            </a:fld>
            <a:endParaRPr lang="da-DK" dirty="0"/>
          </a:p>
        </p:txBody>
      </p:sp>
    </p:spTree>
    <p:extLst>
      <p:ext uri="{BB962C8B-B14F-4D97-AF65-F5344CB8AC3E}">
        <p14:creationId xmlns:p14="http://schemas.microsoft.com/office/powerpoint/2010/main" val="11569295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Vi introducerer de unge for følgende pointer om at sætte græns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Som forældre kan I med fordel understøtte de unge i at mærke deres egne behov og grænser – og udtrykke disse. </a:t>
            </a:r>
          </a:p>
        </p:txBody>
      </p:sp>
      <p:sp>
        <p:nvSpPr>
          <p:cNvPr id="4" name="Date Placeholder 3"/>
          <p:cNvSpPr>
            <a:spLocks noGrp="1"/>
          </p:cNvSpPr>
          <p:nvPr>
            <p:ph type="dt" idx="1"/>
          </p:nvPr>
        </p:nvSpPr>
        <p:spPr/>
        <p:txBody>
          <a:bodyPr/>
          <a:lstStyle/>
          <a:p>
            <a:fld id="{0EA91211-F9FA-4986-B0CC-4518D22DB1CA}"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76</a:t>
            </a:fld>
            <a:endParaRPr lang="da-DK" dirty="0"/>
          </a:p>
        </p:txBody>
      </p:sp>
    </p:spTree>
    <p:extLst>
      <p:ext uri="{BB962C8B-B14F-4D97-AF65-F5344CB8AC3E}">
        <p14:creationId xmlns:p14="http://schemas.microsoft.com/office/powerpoint/2010/main" val="885078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ato 3"/>
          <p:cNvSpPr>
            <a:spLocks noGrp="1"/>
          </p:cNvSpPr>
          <p:nvPr>
            <p:ph type="dt" idx="1"/>
          </p:nvPr>
        </p:nvSpPr>
        <p:spPr/>
        <p:txBody>
          <a:bodyPr/>
          <a:lstStyle/>
          <a:p>
            <a:fld id="{0EA91211-F9FA-4986-B0CC-4518D22DB1CA}"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80</a:t>
            </a:fld>
            <a:endParaRPr lang="da-DK" dirty="0"/>
          </a:p>
        </p:txBody>
      </p:sp>
    </p:spTree>
    <p:extLst>
      <p:ext uri="{BB962C8B-B14F-4D97-AF65-F5344CB8AC3E}">
        <p14:creationId xmlns:p14="http://schemas.microsoft.com/office/powerpoint/2010/main" val="38793606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n </a:t>
            </a:r>
            <a:r>
              <a:rPr lang="en-US" dirty="0" err="1"/>
              <a:t>unge</a:t>
            </a:r>
            <a:r>
              <a:rPr lang="en-US" dirty="0"/>
              <a:t> </a:t>
            </a:r>
            <a:r>
              <a:rPr lang="en-US" dirty="0" err="1"/>
              <a:t>får</a:t>
            </a:r>
            <a:r>
              <a:rPr lang="en-US" dirty="0"/>
              <a:t> </a:t>
            </a:r>
            <a:r>
              <a:rPr lang="en-US" dirty="0" err="1"/>
              <a:t>desuden</a:t>
            </a:r>
            <a:r>
              <a:rPr lang="en-US" dirty="0"/>
              <a:t> </a:t>
            </a:r>
            <a:r>
              <a:rPr lang="en-US" dirty="0" err="1"/>
              <a:t>en</a:t>
            </a:r>
            <a:r>
              <a:rPr lang="en-US" dirty="0"/>
              <a:t> </a:t>
            </a:r>
            <a:r>
              <a:rPr lang="en-US" dirty="0" err="1"/>
              <a:t>hjemmeøvelse</a:t>
            </a:r>
            <a:r>
              <a:rPr lang="en-US" dirty="0"/>
              <a:t> </a:t>
            </a:r>
            <a:r>
              <a:rPr lang="en-US" dirty="0" err="1"/>
              <a:t>hver</a:t>
            </a:r>
            <a:r>
              <a:rPr lang="en-US" dirty="0"/>
              <a:t> gang.</a:t>
            </a:r>
          </a:p>
        </p:txBody>
      </p:sp>
      <p:sp>
        <p:nvSpPr>
          <p:cNvPr id="4" name="Date Placeholder 3"/>
          <p:cNvSpPr>
            <a:spLocks noGrp="1"/>
          </p:cNvSpPr>
          <p:nvPr>
            <p:ph type="dt" idx="1"/>
          </p:nvPr>
        </p:nvSpPr>
        <p:spPr/>
        <p:txBody>
          <a:bodyPr/>
          <a:lstStyle/>
          <a:p>
            <a:fld id="{0EA91211-F9FA-4986-B0CC-4518D22DB1CA}"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8</a:t>
            </a:fld>
            <a:endParaRPr lang="da-DK" dirty="0"/>
          </a:p>
        </p:txBody>
      </p:sp>
    </p:spTree>
    <p:extLst>
      <p:ext uri="{BB962C8B-B14F-4D97-AF65-F5344CB8AC3E}">
        <p14:creationId xmlns:p14="http://schemas.microsoft.com/office/powerpoint/2010/main" val="22004639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ato 3"/>
          <p:cNvSpPr>
            <a:spLocks noGrp="1"/>
          </p:cNvSpPr>
          <p:nvPr>
            <p:ph type="dt" idx="1"/>
          </p:nvPr>
        </p:nvSpPr>
        <p:spPr/>
        <p:txBody>
          <a:bodyPr/>
          <a:lstStyle/>
          <a:p>
            <a:fld id="{0EA91211-F9FA-4986-B0CC-4518D22DB1CA}"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81</a:t>
            </a:fld>
            <a:endParaRPr lang="da-DK" dirty="0"/>
          </a:p>
        </p:txBody>
      </p:sp>
    </p:spTree>
    <p:extLst>
      <p:ext uri="{BB962C8B-B14F-4D97-AF65-F5344CB8AC3E}">
        <p14:creationId xmlns:p14="http://schemas.microsoft.com/office/powerpoint/2010/main" val="31836357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fld id="{2A148684-0347-41B5-B922-00157814824C}"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90</a:t>
            </a:fld>
            <a:endParaRPr lang="da-DK" dirty="0"/>
          </a:p>
        </p:txBody>
      </p:sp>
    </p:spTree>
    <p:extLst>
      <p:ext uri="{BB962C8B-B14F-4D97-AF65-F5344CB8AC3E}">
        <p14:creationId xmlns:p14="http://schemas.microsoft.com/office/powerpoint/2010/main" val="41984638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11B6F407-907A-44B7-BB79-59577BC1897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91</a:t>
            </a:fld>
            <a:endParaRPr lang="da-DK" dirty="0"/>
          </a:p>
        </p:txBody>
      </p:sp>
    </p:spTree>
    <p:extLst>
      <p:ext uri="{BB962C8B-B14F-4D97-AF65-F5344CB8AC3E}">
        <p14:creationId xmlns:p14="http://schemas.microsoft.com/office/powerpoint/2010/main" val="25241935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Arial" panose="020B0604020202020204" pitchFamily="34" charset="0"/>
                <a:ea typeface="Arial" panose="020B0604020202020204" pitchFamily="34" charset="0"/>
                <a:cs typeface="Times New Roman" panose="02020603050405020304" pitchFamily="18" charset="0"/>
              </a:rPr>
              <a:t>Indholdet afhænger af, hvor mange gruppesessioner forældrenes forløb strækker sig over. Det er derfor vigtigt, at gruppevejlederne tilpasser indholdet, så det passer med, hvad de unge konkret gennemgår.</a:t>
            </a:r>
          </a:p>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51474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95159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0EA91211-F9FA-4986-B0CC-4518D22DB1CA}"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98</a:t>
            </a:fld>
            <a:endParaRPr lang="da-DK" dirty="0"/>
          </a:p>
        </p:txBody>
      </p:sp>
    </p:spTree>
    <p:extLst>
      <p:ext uri="{BB962C8B-B14F-4D97-AF65-F5344CB8AC3E}">
        <p14:creationId xmlns:p14="http://schemas.microsoft.com/office/powerpoint/2010/main" val="13091132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sz="1200" b="0" i="0" u="none" strike="noStrike" kern="1200" baseline="0" dirty="0">
                <a:solidFill>
                  <a:schemeClr val="tx1"/>
                </a:solidFill>
                <a:latin typeface="+mn-lt"/>
                <a:ea typeface="+mn-ea"/>
                <a:cs typeface="+mn-cs"/>
              </a:rPr>
              <a:t>Det er selvfølgelig meget forskelligt, hvilke følelser man har, når man skal flytte hjemmefra. </a:t>
            </a:r>
          </a:p>
          <a:p>
            <a:endParaRPr lang="da-DK" sz="1200" b="0" i="0" u="none" strike="noStrike" kern="1200" baseline="0" dirty="0">
              <a:solidFill>
                <a:schemeClr val="tx1"/>
              </a:solidFill>
              <a:latin typeface="+mn-lt"/>
              <a:ea typeface="+mn-ea"/>
              <a:cs typeface="+mn-cs"/>
            </a:endParaRPr>
          </a:p>
          <a:p>
            <a:r>
              <a:rPr lang="da-DK" sz="1200" b="0" i="0" u="none" strike="noStrike" kern="1200" baseline="0" dirty="0">
                <a:solidFill>
                  <a:schemeClr val="tx1"/>
                </a:solidFill>
                <a:latin typeface="+mn-lt"/>
                <a:ea typeface="+mn-ea"/>
                <a:cs typeface="+mn-cs"/>
              </a:rPr>
              <a:t>Det vigtigste er at vide at alle følelser er accepteret. </a:t>
            </a:r>
          </a:p>
          <a:p>
            <a:endParaRPr lang="da-DK" sz="1200" b="0" i="0" u="none" strike="noStrike" kern="1200" baseline="0" dirty="0">
              <a:solidFill>
                <a:schemeClr val="tx1"/>
              </a:solidFill>
              <a:latin typeface="+mn-lt"/>
              <a:ea typeface="+mn-ea"/>
              <a:cs typeface="+mn-cs"/>
            </a:endParaRPr>
          </a:p>
          <a:p>
            <a:r>
              <a:rPr lang="da-DK" sz="1200" b="0" i="0" u="none" strike="noStrike" kern="1200" baseline="0" dirty="0">
                <a:solidFill>
                  <a:schemeClr val="tx1"/>
                </a:solidFill>
                <a:latin typeface="+mn-lt"/>
                <a:ea typeface="+mn-ea"/>
                <a:cs typeface="+mn-cs"/>
              </a:rPr>
              <a:t>Det er helt okay at savne sin familie eller være nervøs og bange.</a:t>
            </a:r>
          </a:p>
          <a:p>
            <a:endParaRPr lang="da-DK" sz="1200" b="0" i="0" u="none" strike="noStrike" kern="1200" baseline="0" dirty="0">
              <a:solidFill>
                <a:schemeClr val="tx1"/>
              </a:solidFill>
              <a:latin typeface="+mn-lt"/>
              <a:ea typeface="+mn-ea"/>
              <a:cs typeface="+mn-cs"/>
            </a:endParaRPr>
          </a:p>
          <a:p>
            <a:r>
              <a:rPr lang="da-DK" sz="1200" b="0" i="0" u="none" strike="noStrike" kern="1200" baseline="0" dirty="0">
                <a:solidFill>
                  <a:schemeClr val="tx1"/>
                </a:solidFill>
                <a:latin typeface="+mn-lt"/>
                <a:ea typeface="+mn-ea"/>
                <a:cs typeface="+mn-cs"/>
              </a:rPr>
              <a:t>Med det er også okay at føle sig klar og spændt på at flytte hjemmefra. </a:t>
            </a:r>
          </a:p>
          <a:p>
            <a:endParaRPr lang="da-DK" sz="1200" b="0" i="0" u="none" strike="noStrike" kern="1200" baseline="0" dirty="0">
              <a:solidFill>
                <a:schemeClr val="tx1"/>
              </a:solidFill>
              <a:latin typeface="+mn-lt"/>
              <a:ea typeface="+mn-ea"/>
              <a:cs typeface="+mn-cs"/>
            </a:endParaRPr>
          </a:p>
          <a:p>
            <a:r>
              <a:rPr lang="da-DK" sz="1200" b="0" i="0" u="none" strike="noStrike" kern="1200" baseline="0" dirty="0">
                <a:solidFill>
                  <a:schemeClr val="tx1"/>
                </a:solidFill>
                <a:latin typeface="+mn-lt"/>
                <a:ea typeface="+mn-ea"/>
                <a:cs typeface="+mn-cs"/>
              </a:rPr>
              <a:t>For alle mennesker er det en stor forandring at flytte hjemmefra.</a:t>
            </a:r>
            <a:endParaRPr lang="da-DK" dirty="0"/>
          </a:p>
        </p:txBody>
      </p:sp>
      <p:sp>
        <p:nvSpPr>
          <p:cNvPr id="4" name="Date Placeholder 3"/>
          <p:cNvSpPr>
            <a:spLocks noGrp="1"/>
          </p:cNvSpPr>
          <p:nvPr>
            <p:ph type="dt" idx="1"/>
          </p:nvPr>
        </p:nvSpPr>
        <p:spPr/>
        <p:txBody>
          <a:bodyPr/>
          <a:lstStyle/>
          <a:p>
            <a:fld id="{0EA91211-F9FA-4986-B0CC-4518D22DB1CA}"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00</a:t>
            </a:fld>
            <a:endParaRPr lang="da-DK" dirty="0"/>
          </a:p>
        </p:txBody>
      </p:sp>
    </p:spTree>
    <p:extLst>
      <p:ext uri="{BB962C8B-B14F-4D97-AF65-F5344CB8AC3E}">
        <p14:creationId xmlns:p14="http://schemas.microsoft.com/office/powerpoint/2010/main" val="266934742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fld id="{2A148684-0347-41B5-B922-00157814824C}"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06</a:t>
            </a:fld>
            <a:endParaRPr lang="da-DK" dirty="0"/>
          </a:p>
        </p:txBody>
      </p:sp>
    </p:spTree>
    <p:extLst>
      <p:ext uri="{BB962C8B-B14F-4D97-AF65-F5344CB8AC3E}">
        <p14:creationId xmlns:p14="http://schemas.microsoft.com/office/powerpoint/2010/main" val="98059184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11B6F407-907A-44B7-BB79-59577BC1897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07</a:t>
            </a:fld>
            <a:endParaRPr lang="da-DK" dirty="0"/>
          </a:p>
        </p:txBody>
      </p:sp>
    </p:spTree>
    <p:extLst>
      <p:ext uri="{BB962C8B-B14F-4D97-AF65-F5344CB8AC3E}">
        <p14:creationId xmlns:p14="http://schemas.microsoft.com/office/powerpoint/2010/main" val="24707032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Arial" panose="020B0604020202020204" pitchFamily="34" charset="0"/>
                <a:ea typeface="Arial" panose="020B0604020202020204" pitchFamily="34" charset="0"/>
                <a:cs typeface="Times New Roman" panose="02020603050405020304" pitchFamily="18" charset="0"/>
              </a:rPr>
              <a:t>Indholdet afhænger af, hvor mange sessioner forældrenes forløb strækker sig over. Det er derfor vigtigt, at gruppevejlederne tilpasser indholdet, så det passer med, hvad de unge konkret gennemgår.</a:t>
            </a:r>
          </a:p>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9924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Velkommen og formål med dagen. </a:t>
            </a:r>
          </a:p>
          <a:p>
            <a:endParaRPr lang="da-DK" dirty="0"/>
          </a:p>
          <a:p>
            <a:r>
              <a:rPr lang="da-DK" dirty="0"/>
              <a:t>Siden sidst: Opsamling på, hvordan det er gået siden sidst, herunder med hjemmeøvelse, den unges gruppeforløb og livet i familien/hjemme generelt. </a:t>
            </a:r>
          </a:p>
          <a:p>
            <a:endParaRPr lang="da-DK" dirty="0"/>
          </a:p>
          <a:p>
            <a:r>
              <a:rPr lang="da-DK" dirty="0"/>
              <a:t>Hvad vil vi gerne have ud af modulet: Fælles drøftelse af, hvad der optager gruppen, herunder hvad I ønsker at få ud af modulet. Formålet er at omsætte dagens tema, refleksioner og øvelser, så de er relevante ift. dét, der optager jer i gruppen. </a:t>
            </a:r>
          </a:p>
          <a:p>
            <a:endParaRPr lang="da-DK" dirty="0"/>
          </a:p>
          <a:p>
            <a:r>
              <a:rPr lang="da-DK" dirty="0"/>
              <a:t>Oplæg: Til hver gruppesession er der et oplæg med input og inspiration. Vi kan også invitere eksterne oplægsholdere med specialviden, som I er interesserede i. </a:t>
            </a:r>
          </a:p>
          <a:p>
            <a:endParaRPr lang="da-DK" dirty="0"/>
          </a:p>
          <a:p>
            <a:r>
              <a:rPr lang="da-DK" dirty="0"/>
              <a:t>Drøftelse: I reflekterer sammen om jeres egne erfaringer. </a:t>
            </a:r>
          </a:p>
          <a:p>
            <a:endParaRPr lang="da-DK" dirty="0"/>
          </a:p>
          <a:p>
            <a:r>
              <a:rPr lang="da-DK" dirty="0"/>
              <a:t>Omsætning i hverdagen: Til hver gruppesession laver vi en øvelse, hvor I forbereder, hvordan I kan omsætte ny viden og nye handlemåder i hverdagen. </a:t>
            </a:r>
          </a:p>
          <a:p>
            <a:endParaRPr lang="da-DK" dirty="0"/>
          </a:p>
          <a:p>
            <a:r>
              <a:rPr lang="da-DK" dirty="0"/>
              <a:t>Hvad vil vi fokusere på til næste gang: Mellem hver gruppesession er der hjemmeøvelse, hvor I tester ny viden og nye handlemåder i hverdagen. Vi følger op på hjemmeøvelsen på den næste gruppesession. </a:t>
            </a:r>
          </a:p>
          <a:p>
            <a:endParaRPr lang="da-DK" dirty="0"/>
          </a:p>
          <a:p>
            <a:r>
              <a:rPr lang="da-DK" dirty="0"/>
              <a:t>Hvad tager vi med os hjem: Vi samler op på dagen og reflekterer over, hvad I har fået ud af dagen samt evaluerer dagens gruppesession. </a:t>
            </a:r>
          </a:p>
          <a:p>
            <a:endParaRPr lang="da-DK" dirty="0"/>
          </a:p>
        </p:txBody>
      </p:sp>
      <p:sp>
        <p:nvSpPr>
          <p:cNvPr id="4" name="Date Placeholder 3"/>
          <p:cNvSpPr>
            <a:spLocks noGrp="1"/>
          </p:cNvSpPr>
          <p:nvPr>
            <p:ph type="dt" idx="1"/>
          </p:nvPr>
        </p:nvSpPr>
        <p:spPr/>
        <p:txBody>
          <a:bodyPr/>
          <a:lstStyle/>
          <a:p>
            <a:fld id="{5DCF757A-9520-40DA-A99A-9D9C8BAB2D78}"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9</a:t>
            </a:fld>
            <a:endParaRPr lang="da-DK" dirty="0"/>
          </a:p>
        </p:txBody>
      </p:sp>
    </p:spTree>
    <p:extLst>
      <p:ext uri="{BB962C8B-B14F-4D97-AF65-F5344CB8AC3E}">
        <p14:creationId xmlns:p14="http://schemas.microsoft.com/office/powerpoint/2010/main" val="159120863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75008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Indsæt konkrete støttemuligheder i lokalområdet/kommunen. </a:t>
            </a:r>
          </a:p>
          <a:p>
            <a:endParaRPr lang="da-DK" dirty="0"/>
          </a:p>
          <a:p>
            <a:r>
              <a:rPr lang="da-DK" dirty="0"/>
              <a:t>Præsenter/repeter mulighederne (nogle af dem er muligvis præsenteret </a:t>
            </a:r>
            <a:r>
              <a:rPr lang="da-DK" dirty="0" err="1"/>
              <a:t>ifm</a:t>
            </a:r>
            <a:r>
              <a:rPr lang="da-DK" dirty="0"/>
              <a:t>. Modul 5 Job og uddannelse, Modul 6 Fritid og Modul 8 At bo selv. </a:t>
            </a:r>
          </a:p>
          <a:p>
            <a:endParaRPr lang="da-DK" dirty="0"/>
          </a:p>
          <a:p>
            <a:r>
              <a:rPr lang="da-DK" dirty="0"/>
              <a:t>Der kan inviteres eksterne til denne del af oplægget, som kan fortælle om de tilbud, der er relevante for deltagerne i gruppen. </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12</a:t>
            </a:fld>
            <a:endParaRPr lang="da-DK" dirty="0"/>
          </a:p>
        </p:txBody>
      </p:sp>
    </p:spTree>
    <p:extLst>
      <p:ext uri="{BB962C8B-B14F-4D97-AF65-F5344CB8AC3E}">
        <p14:creationId xmlns:p14="http://schemas.microsoft.com/office/powerpoint/2010/main" val="23718284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Indsæt konkrete støttemuligheder i lokalområdet/kommunen. </a:t>
            </a:r>
          </a:p>
          <a:p>
            <a:endParaRPr lang="da-DK" dirty="0"/>
          </a:p>
          <a:p>
            <a:r>
              <a:rPr lang="da-DK" dirty="0"/>
              <a:t>Præsenter/repeter mulighederne (nogle af dem er muligvis præsenteret </a:t>
            </a:r>
            <a:r>
              <a:rPr lang="da-DK" dirty="0" err="1"/>
              <a:t>ifm</a:t>
            </a:r>
            <a:r>
              <a:rPr lang="da-DK" dirty="0"/>
              <a:t>. Modul 5 Job og uddannelse, Modul 6 Fritid og Modul 8 At bo selv. </a:t>
            </a:r>
          </a:p>
          <a:p>
            <a:endParaRPr lang="da-DK" dirty="0"/>
          </a:p>
          <a:p>
            <a:r>
              <a:rPr lang="da-DK" dirty="0"/>
              <a:t>Der kan inviteres eksterne til denne del af oplægget, som kan fortælle om de tilbud, der er relevante for deltagerne i gruppen. </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14</a:t>
            </a:fld>
            <a:endParaRPr lang="da-DK" dirty="0"/>
          </a:p>
        </p:txBody>
      </p:sp>
    </p:spTree>
    <p:extLst>
      <p:ext uri="{BB962C8B-B14F-4D97-AF65-F5344CB8AC3E}">
        <p14:creationId xmlns:p14="http://schemas.microsoft.com/office/powerpoint/2010/main" val="36613801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Indsæt konkrete støttemuligheder i civilsamfundet</a:t>
            </a:r>
          </a:p>
          <a:p>
            <a:endParaRPr lang="da-DK" dirty="0"/>
          </a:p>
          <a:p>
            <a:r>
              <a:rPr lang="da-DK" dirty="0"/>
              <a:t>Præsenter/repeter mulighederne (nogle af dem er muligvis præsenteret </a:t>
            </a:r>
            <a:r>
              <a:rPr lang="da-DK" dirty="0" err="1"/>
              <a:t>ifm</a:t>
            </a:r>
            <a:r>
              <a:rPr lang="da-DK" dirty="0"/>
              <a:t>. Modul 5 Job og uddannelse, Modul 6 Fritid og Modul 8 At bo selv. </a:t>
            </a:r>
          </a:p>
          <a:p>
            <a:endParaRPr lang="da-DK" dirty="0"/>
          </a:p>
          <a:p>
            <a:r>
              <a:rPr lang="da-DK" dirty="0"/>
              <a:t>Der kan inviteres eksterne til denne del af oplægget, som kan fortælle om de tilbud, der er relevante for deltagerne i gruppen. </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15</a:t>
            </a:fld>
            <a:endParaRPr lang="da-DK" dirty="0"/>
          </a:p>
        </p:txBody>
      </p:sp>
    </p:spTree>
    <p:extLst>
      <p:ext uri="{BB962C8B-B14F-4D97-AF65-F5344CB8AC3E}">
        <p14:creationId xmlns:p14="http://schemas.microsoft.com/office/powerpoint/2010/main" val="11004021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fld id="{2A148684-0347-41B5-B922-00157814824C}"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18</a:t>
            </a:fld>
            <a:endParaRPr lang="da-DK" dirty="0"/>
          </a:p>
        </p:txBody>
      </p:sp>
    </p:spTree>
    <p:extLst>
      <p:ext uri="{BB962C8B-B14F-4D97-AF65-F5344CB8AC3E}">
        <p14:creationId xmlns:p14="http://schemas.microsoft.com/office/powerpoint/2010/main" val="395454937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11B6F407-907A-44B7-BB79-59577BC1897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19</a:t>
            </a:fld>
            <a:endParaRPr lang="da-DK" dirty="0"/>
          </a:p>
        </p:txBody>
      </p:sp>
    </p:spTree>
    <p:extLst>
      <p:ext uri="{BB962C8B-B14F-4D97-AF65-F5344CB8AC3E}">
        <p14:creationId xmlns:p14="http://schemas.microsoft.com/office/powerpoint/2010/main" val="48661394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Arial" panose="020B0604020202020204" pitchFamily="34" charset="0"/>
                <a:ea typeface="Arial" panose="020B0604020202020204" pitchFamily="34" charset="0"/>
                <a:cs typeface="Times New Roman" panose="02020603050405020304" pitchFamily="18" charset="0"/>
              </a:rPr>
              <a:t>Indholdet afhænger af, hvor mange sessioner forældrenes forløb strækker sig over. Det er derfor vigtigt, at gruppevejlederne tilpasser indholdet, så det passer med, hvad de unge konkret gennemgår.</a:t>
            </a:r>
          </a:p>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91258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546274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Repetition af gruppeforløbet</a:t>
            </a:r>
          </a:p>
        </p:txBody>
      </p:sp>
      <p:sp>
        <p:nvSpPr>
          <p:cNvPr id="4" name="Pladsholder til dato 3"/>
          <p:cNvSpPr>
            <a:spLocks noGrp="1"/>
          </p:cNvSpPr>
          <p:nvPr>
            <p:ph type="dt" idx="10"/>
          </p:nvPr>
        </p:nvSpPr>
        <p:spPr/>
        <p:txBody>
          <a:bodyPr/>
          <a:lstStyle/>
          <a:p>
            <a:fld id="{0EA91211-F9FA-4986-B0CC-4518D22DB1CA}" type="datetime2">
              <a:rPr lang="da-DK" smtClean="0"/>
              <a:t>1. februar 2023</a:t>
            </a:fld>
            <a:endParaRPr lang="da-DK" dirty="0"/>
          </a:p>
        </p:txBody>
      </p:sp>
      <p:sp>
        <p:nvSpPr>
          <p:cNvPr id="5" name="Pladsholder til slidenummer 4"/>
          <p:cNvSpPr>
            <a:spLocks noGrp="1"/>
          </p:cNvSpPr>
          <p:nvPr>
            <p:ph type="sldNum" sz="quarter" idx="11"/>
          </p:nvPr>
        </p:nvSpPr>
        <p:spPr/>
        <p:txBody>
          <a:bodyPr/>
          <a:lstStyle/>
          <a:p>
            <a:fld id="{80913D85-34BC-4FA7-A491-B95498CAAD60}" type="slidenum">
              <a:rPr lang="da-DK" smtClean="0"/>
              <a:t>124</a:t>
            </a:fld>
            <a:endParaRPr lang="da-DK" dirty="0"/>
          </a:p>
        </p:txBody>
      </p:sp>
    </p:spTree>
    <p:extLst>
      <p:ext uri="{BB962C8B-B14F-4D97-AF65-F5344CB8AC3E}">
        <p14:creationId xmlns:p14="http://schemas.microsoft.com/office/powerpoint/2010/main" val="220043286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fld id="{2A148684-0347-41B5-B922-00157814824C}"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31</a:t>
            </a:fld>
            <a:endParaRPr lang="da-DK" dirty="0"/>
          </a:p>
        </p:txBody>
      </p:sp>
    </p:spTree>
    <p:extLst>
      <p:ext uri="{BB962C8B-B14F-4D97-AF65-F5344CB8AC3E}">
        <p14:creationId xmlns:p14="http://schemas.microsoft.com/office/powerpoint/2010/main" val="261404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Forløbet består af de nævnte moduler og den faste struktur for hver gruppesession. </a:t>
            </a:r>
          </a:p>
          <a:p>
            <a:endParaRPr lang="da-DK" dirty="0"/>
          </a:p>
          <a:p>
            <a:r>
              <a:rPr lang="da-DK" dirty="0"/>
              <a:t>Forløbet skal samtidig tilpasses til jeres behov og ønsker. </a:t>
            </a:r>
          </a:p>
          <a:p>
            <a:endParaRPr lang="da-DK" dirty="0"/>
          </a:p>
          <a:p>
            <a:r>
              <a:rPr lang="da-DK" dirty="0"/>
              <a:t>Konkret betyder det, at I inden for temaerne i de enkelte moduler kan påvirke, hvad vi skal fokusere på. </a:t>
            </a:r>
          </a:p>
          <a:p>
            <a:endParaRPr lang="da-DK" dirty="0"/>
          </a:p>
          <a:p>
            <a:r>
              <a:rPr lang="da-DK" dirty="0"/>
              <a:t>I kan påvirke indholdet på de enkelte gruppesessioner i forhold til, hvilke udfordringer og løsningsmuligheder der er mest relevante for jer at tale om og gå i dybden med. </a:t>
            </a:r>
          </a:p>
          <a:p>
            <a:endParaRPr lang="da-DK" dirty="0"/>
          </a:p>
          <a:p>
            <a:r>
              <a:rPr lang="da-DK" dirty="0"/>
              <a:t>Vi kan også arrangere eksterne oplægsholdere med specialviden inden for de enkelte moduler, som I er interesserede i eller oplever behov for mere dybdegående vidne om. </a:t>
            </a:r>
          </a:p>
          <a:p>
            <a:endParaRPr lang="da-DK" dirty="0"/>
          </a:p>
        </p:txBody>
      </p:sp>
      <p:sp>
        <p:nvSpPr>
          <p:cNvPr id="4" name="Date Placeholder 3"/>
          <p:cNvSpPr>
            <a:spLocks noGrp="1"/>
          </p:cNvSpPr>
          <p:nvPr>
            <p:ph type="dt" idx="1"/>
          </p:nvPr>
        </p:nvSpPr>
        <p:spPr/>
        <p:txBody>
          <a:bodyPr/>
          <a:lstStyle/>
          <a:p>
            <a:fld id="{4E033E4A-D5CA-45B8-8D17-C6025B93044C}"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0</a:t>
            </a:fld>
            <a:endParaRPr lang="da-DK" dirty="0"/>
          </a:p>
        </p:txBody>
      </p:sp>
    </p:spTree>
    <p:extLst>
      <p:ext uri="{BB962C8B-B14F-4D97-AF65-F5344CB8AC3E}">
        <p14:creationId xmlns:p14="http://schemas.microsoft.com/office/powerpoint/2010/main" val="274456491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11B6F407-907A-44B7-BB79-59577BC1897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32</a:t>
            </a:fld>
            <a:endParaRPr lang="da-DK" dirty="0"/>
          </a:p>
        </p:txBody>
      </p:sp>
    </p:spTree>
    <p:extLst>
      <p:ext uri="{BB962C8B-B14F-4D97-AF65-F5344CB8AC3E}">
        <p14:creationId xmlns:p14="http://schemas.microsoft.com/office/powerpoint/2010/main" val="422550400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Arial" panose="020B0604020202020204" pitchFamily="34" charset="0"/>
                <a:ea typeface="Arial" panose="020B0604020202020204" pitchFamily="34" charset="0"/>
                <a:cs typeface="Times New Roman" panose="02020603050405020304" pitchFamily="18" charset="0"/>
              </a:rPr>
              <a:t>Indholdet afhænger af, hvor mange sessioner forældrenes forløb strækker sig over. Det er derfor vigtigt, at gruppevejlederne tilpasser indholdet, så det passer med, hvad de unge konkret gennemgår.</a:t>
            </a:r>
          </a:p>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646385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1593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kern="1200" dirty="0">
                <a:solidFill>
                  <a:schemeClr val="tx1"/>
                </a:solidFill>
                <a:effectLst/>
                <a:latin typeface="+mn-lt"/>
                <a:ea typeface="+mn-ea"/>
                <a:cs typeface="+mn-cs"/>
              </a:rPr>
              <a:t>Der kan inviteres en </a:t>
            </a:r>
            <a:r>
              <a:rPr lang="da-DK" sz="1200" b="1" kern="1200" dirty="0">
                <a:solidFill>
                  <a:schemeClr val="tx1"/>
                </a:solidFill>
                <a:effectLst/>
                <a:latin typeface="+mn-lt"/>
                <a:ea typeface="+mn-ea"/>
                <a:cs typeface="+mn-cs"/>
              </a:rPr>
              <a:t>ekstern oplægsholder</a:t>
            </a:r>
            <a:r>
              <a:rPr lang="da-DK" sz="1200" kern="1200" dirty="0">
                <a:solidFill>
                  <a:schemeClr val="tx1"/>
                </a:solidFill>
                <a:effectLst/>
                <a:latin typeface="+mn-lt"/>
                <a:ea typeface="+mn-ea"/>
                <a:cs typeface="+mn-cs"/>
              </a:rPr>
              <a:t>, fx en ung med autisme (som ikke går i læringsforløbet og derfor ikke har forældre på holdet), der kan fortælle om sin proces frem mod en selvstændig voksentilværelse – og hvordan forældrene kan støtte på en god måde. Eller en forælder til en voksen ung med autisme (som ikke går på holdet) og som kan fortælle om processen frem mod en voksen tilværel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kern="1200" dirty="0">
                <a:solidFill>
                  <a:schemeClr val="tx1"/>
                </a:solidFill>
                <a:effectLst/>
                <a:latin typeface="+mn-lt"/>
                <a:ea typeface="+mn-ea"/>
                <a:cs typeface="+mn-cs"/>
              </a:rPr>
              <a:t>Det kan også være en oplægsholder, som fortæller om forskellige muligheder for unge med autisme fx i forhold til uddannelse eller job.</a:t>
            </a:r>
          </a:p>
          <a:p>
            <a:endParaRPr lang="da-DK" dirty="0"/>
          </a:p>
        </p:txBody>
      </p:sp>
      <p:sp>
        <p:nvSpPr>
          <p:cNvPr id="4" name="Date Placeholder 3"/>
          <p:cNvSpPr>
            <a:spLocks noGrp="1"/>
          </p:cNvSpPr>
          <p:nvPr>
            <p:ph type="dt" idx="1"/>
          </p:nvPr>
        </p:nvSpPr>
        <p:spPr/>
        <p:txBody>
          <a:bodyPr/>
          <a:lstStyle/>
          <a:p>
            <a:fld id="{D6DB163E-8C8A-4AE7-84CE-C7AA9395AA8F}"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3</a:t>
            </a:fld>
            <a:endParaRPr lang="da-DK" dirty="0"/>
          </a:p>
        </p:txBody>
      </p:sp>
    </p:spTree>
    <p:extLst>
      <p:ext uri="{BB962C8B-B14F-4D97-AF65-F5344CB8AC3E}">
        <p14:creationId xmlns:p14="http://schemas.microsoft.com/office/powerpoint/2010/main" val="1837898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fld id="{2A148684-0347-41B5-B922-00157814824C}"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4</a:t>
            </a:fld>
            <a:endParaRPr lang="da-DK" dirty="0"/>
          </a:p>
        </p:txBody>
      </p:sp>
    </p:spTree>
    <p:extLst>
      <p:ext uri="{BB962C8B-B14F-4D97-AF65-F5344CB8AC3E}">
        <p14:creationId xmlns:p14="http://schemas.microsoft.com/office/powerpoint/2010/main" val="3790718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11B6F407-907A-44B7-BB79-59577BC1897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5</a:t>
            </a:fld>
            <a:endParaRPr lang="da-DK" dirty="0"/>
          </a:p>
        </p:txBody>
      </p:sp>
    </p:spTree>
    <p:extLst>
      <p:ext uri="{BB962C8B-B14F-4D97-AF65-F5344CB8AC3E}">
        <p14:creationId xmlns:p14="http://schemas.microsoft.com/office/powerpoint/2010/main" val="4392405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slide hvi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noProof="0"/>
              <a:t>Klik for at redigere i master</a:t>
            </a:r>
          </a:p>
        </p:txBody>
      </p:sp>
      <p:sp>
        <p:nvSpPr>
          <p:cNvPr id="25"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6"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noProof="0"/>
              <a:t>Rediger typografien i masterens</a:t>
            </a:r>
          </a:p>
        </p:txBody>
      </p:sp>
      <p:sp>
        <p:nvSpPr>
          <p:cNvPr id="8" name="Pladsholder til tekst 5" descr="Socialstyrelsen Pay-off" title="Socialstyrelsen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2986972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lede 13">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2"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69843126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illede 7">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8944035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llede 12">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18754241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elslide lys gul">
    <p:bg>
      <p:bgPr>
        <a:solidFill>
          <a:srgbClr val="ECE38A"/>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64955768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auseslide gul">
    <p:bg>
      <p:bgPr>
        <a:solidFill>
          <a:srgbClr val="ECE38A"/>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114577436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illede 2">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19"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24" name="Tekstfelt 23"/>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Tree>
    <p:extLst>
      <p:ext uri="{BB962C8B-B14F-4D97-AF65-F5344CB8AC3E}">
        <p14:creationId xmlns:p14="http://schemas.microsoft.com/office/powerpoint/2010/main" val="302509215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illede 14">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6"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0"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239169173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elslide blå">
    <p:bg>
      <p:bgPr>
        <a:solidFill>
          <a:srgbClr val="CDE7EE"/>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33839770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auseslide blå">
    <p:bg>
      <p:bgPr>
        <a:solidFill>
          <a:srgbClr val="CDE7EE"/>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391034347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illede 5">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05182173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illede 9">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42697592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slide mørk grå">
    <p:bg>
      <p:bgPr>
        <a:solidFill>
          <a:srgbClr val="BCB5B2"/>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2394875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illede 11">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159664725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elslide grå">
    <p:bg>
      <p:bgPr>
        <a:solidFill>
          <a:srgbClr val="C6C7C9"/>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29" name="Pladsholder til tekst 5"/>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rgbClr val="C6C7C9"/>
                </a:solidFill>
              </a:defRPr>
            </a:lvl1pPr>
          </a:lstStyle>
          <a:p>
            <a:pPr lvl="0"/>
            <a:r>
              <a:rPr lang="da-DK"/>
              <a:t>Rediger typografien i masterens</a:t>
            </a:r>
          </a:p>
        </p:txBody>
      </p:sp>
      <p:sp>
        <p:nvSpPr>
          <p:cNvPr id="7" name="Pladsholder til tekst 5"/>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182962587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auseslide grå">
    <p:bg>
      <p:bgPr>
        <a:solidFill>
          <a:srgbClr val="C6C7C9"/>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11712026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illede 8">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75904296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elslide med billede">
    <p:spTree>
      <p:nvGrpSpPr>
        <p:cNvPr id="1" name=""/>
        <p:cNvGrpSpPr/>
        <p:nvPr/>
      </p:nvGrpSpPr>
      <p:grpSpPr>
        <a:xfrm>
          <a:off x="0" y="0"/>
          <a:ext cx="0" cy="0"/>
          <a:chOff x="0" y="0"/>
          <a:chExt cx="0" cy="0"/>
        </a:xfrm>
      </p:grpSpPr>
      <p:sp>
        <p:nvSpPr>
          <p:cNvPr id="16" name="Pladsholder til billede 3"/>
          <p:cNvSpPr>
            <a:spLocks noGrp="1"/>
          </p:cNvSpPr>
          <p:nvPr>
            <p:ph type="pic" sz="quarter" idx="10" hasCustomPrompt="1"/>
          </p:nvPr>
        </p:nvSpPr>
        <p:spPr>
          <a:xfrm>
            <a:off x="0" y="0"/>
            <a:ext cx="9144000" cy="6858000"/>
          </a:xfrm>
          <a:prstGeom prst="rect">
            <a:avLst/>
          </a:prstGeom>
          <a:noFill/>
        </p:spPr>
        <p:txBody>
          <a:bodyPr/>
          <a:lstStyle>
            <a:lvl1pPr marL="0" indent="0" algn="ctr">
              <a:lnSpc>
                <a:spcPct val="100000"/>
              </a:lnSpc>
              <a:spcBef>
                <a:spcPts val="0"/>
              </a:spcBef>
              <a:buNone/>
              <a:defRPr sz="1200"/>
            </a:lvl1pPr>
          </a:lstStyle>
          <a:p>
            <a:r>
              <a:rPr lang="da-DK" dirty="0"/>
              <a:t>For at indsætte et billede:</a:t>
            </a:r>
          </a:p>
          <a:p>
            <a:r>
              <a:rPr lang="da-DK" dirty="0"/>
              <a:t>Brug ikonet i midten, vælg et billede, læg herefter billedet bagerst, </a:t>
            </a:r>
          </a:p>
          <a:p>
            <a:r>
              <a:rPr lang="da-DK" dirty="0"/>
              <a:t>ved at højreklikke i billedet, og vælge ”send bagerst”.</a:t>
            </a:r>
          </a:p>
          <a:p>
            <a:endParaRPr lang="da-DK" dirty="0"/>
          </a:p>
        </p:txBody>
      </p:sp>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17"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2"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23" name="Tekstfelt 22"/>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Tree>
    <p:extLst>
      <p:ext uri="{BB962C8B-B14F-4D97-AF65-F5344CB8AC3E}">
        <p14:creationId xmlns:p14="http://schemas.microsoft.com/office/powerpoint/2010/main" val="323186871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idx="1"/>
          </p:nvPr>
        </p:nvSpPr>
        <p:spPr>
          <a:xfrm>
            <a:off x="628649" y="1628775"/>
            <a:ext cx="7904163" cy="4248150"/>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Tekstfelt 9"/>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
        <p:nvSpPr>
          <p:cNvPr id="11" name="Pladsholder til dato 10"/>
          <p:cNvSpPr>
            <a:spLocks noGrp="1"/>
          </p:cNvSpPr>
          <p:nvPr>
            <p:ph type="dt" sz="half" idx="10"/>
          </p:nvPr>
        </p:nvSpPr>
        <p:spPr>
          <a:xfrm>
            <a:off x="6457950" y="6052207"/>
            <a:ext cx="2057400" cy="365125"/>
          </a:xfrm>
        </p:spPr>
        <p:txBody>
          <a:bodyPr/>
          <a:lstStyle/>
          <a:p>
            <a:fld id="{32093634-C20B-404D-9B32-160DF8596A0B}" type="datetime2">
              <a:rPr lang="da-DK" smtClean="0"/>
              <a:t>1. februar 2023</a:t>
            </a:fld>
            <a:endParaRPr lang="da-DK" dirty="0"/>
          </a:p>
        </p:txBody>
      </p:sp>
      <p:sp>
        <p:nvSpPr>
          <p:cNvPr id="12" name="Pladsholder til sidefod 11"/>
          <p:cNvSpPr>
            <a:spLocks noGrp="1"/>
          </p:cNvSpPr>
          <p:nvPr>
            <p:ph type="ftr" sz="quarter" idx="11"/>
          </p:nvPr>
        </p:nvSpPr>
        <p:spPr/>
        <p:txBody>
          <a:bodyPr/>
          <a:lstStyle/>
          <a:p>
            <a:r>
              <a:rPr lang="da-DK" dirty="0"/>
              <a:t>Gruppeforløb for hjemmeboende unge med autisme - UDKAST</a:t>
            </a:r>
          </a:p>
        </p:txBody>
      </p:sp>
      <p:sp>
        <p:nvSpPr>
          <p:cNvPr id="13" name="Pladsholder til slidenummer 12"/>
          <p:cNvSpPr>
            <a:spLocks noGrp="1"/>
          </p:cNvSpPr>
          <p:nvPr>
            <p:ph type="sldNum" sz="quarter" idx="12"/>
          </p:nvPr>
        </p:nvSpPr>
        <p:spPr/>
        <p:txBody>
          <a:bodyPr/>
          <a:lstStyle/>
          <a:p>
            <a:fld id="{1C4DB2EE-0873-4EBD-BD17-6A767A2B9A33}" type="slidenum">
              <a:rPr lang="da-DK" smtClean="0"/>
              <a:pPr/>
              <a:t>‹nr.›</a:t>
            </a:fld>
            <a:endParaRPr lang="da-DK" dirty="0"/>
          </a:p>
        </p:txBody>
      </p:sp>
    </p:spTree>
    <p:extLst>
      <p:ext uri="{BB962C8B-B14F-4D97-AF65-F5344CB8AC3E}">
        <p14:creationId xmlns:p14="http://schemas.microsoft.com/office/powerpoint/2010/main" val="2573474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ekst og to indholdsobjekter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da-DK" dirty="0"/>
          </a:p>
        </p:txBody>
      </p:sp>
      <p:sp>
        <p:nvSpPr>
          <p:cNvPr id="3" name="Pladsholder til indhold 2"/>
          <p:cNvSpPr>
            <a:spLocks noGrp="1"/>
          </p:cNvSpPr>
          <p:nvPr>
            <p:ph sz="half" idx="1"/>
          </p:nvPr>
        </p:nvSpPr>
        <p:spPr>
          <a:xfrm>
            <a:off x="628647" y="3356992"/>
            <a:ext cx="3816000" cy="2519933"/>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p:cNvSpPr>
            <a:spLocks noGrp="1"/>
          </p:cNvSpPr>
          <p:nvPr>
            <p:ph sz="half" idx="2"/>
          </p:nvPr>
        </p:nvSpPr>
        <p:spPr>
          <a:xfrm>
            <a:off x="4716813" y="3356992"/>
            <a:ext cx="3816000" cy="2519933"/>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ladsholder til dato 13"/>
          <p:cNvSpPr>
            <a:spLocks noGrp="1"/>
          </p:cNvSpPr>
          <p:nvPr>
            <p:ph type="dt" sz="half" idx="14"/>
          </p:nvPr>
        </p:nvSpPr>
        <p:spPr/>
        <p:txBody>
          <a:bodyPr/>
          <a:lstStyle/>
          <a:p>
            <a:fld id="{97B4C28A-7D31-4164-AFC2-1B2E7EAA8BBB}" type="datetime2">
              <a:rPr lang="da-DK" smtClean="0"/>
              <a:t>1. februar 2023</a:t>
            </a:fld>
            <a:endParaRPr lang="da-DK" dirty="0"/>
          </a:p>
        </p:txBody>
      </p:sp>
      <p:sp>
        <p:nvSpPr>
          <p:cNvPr id="15" name="Pladsholder til sidefod 14"/>
          <p:cNvSpPr>
            <a:spLocks noGrp="1"/>
          </p:cNvSpPr>
          <p:nvPr>
            <p:ph type="ftr" sz="quarter" idx="15"/>
          </p:nvPr>
        </p:nvSpPr>
        <p:spPr/>
        <p:txBody>
          <a:bodyPr/>
          <a:lstStyle/>
          <a:p>
            <a:r>
              <a:rPr lang="da-DK" dirty="0"/>
              <a:t>Gruppeforløb for hjemmeboende unge med autisme - UDKAST</a:t>
            </a:r>
          </a:p>
        </p:txBody>
      </p:sp>
      <p:sp>
        <p:nvSpPr>
          <p:cNvPr id="16" name="Pladsholder til slidenummer 15"/>
          <p:cNvSpPr>
            <a:spLocks noGrp="1"/>
          </p:cNvSpPr>
          <p:nvPr>
            <p:ph type="sldNum" sz="quarter" idx="16"/>
          </p:nvPr>
        </p:nvSpPr>
        <p:spPr/>
        <p:txBody>
          <a:bodyPr/>
          <a:lstStyle/>
          <a:p>
            <a:fld id="{1C4DB2EE-0873-4EBD-BD17-6A767A2B9A33}" type="slidenum">
              <a:rPr lang="da-DK" smtClean="0"/>
              <a:pPr/>
              <a:t>‹nr.›</a:t>
            </a:fld>
            <a:endParaRPr lang="da-DK" dirty="0"/>
          </a:p>
        </p:txBody>
      </p:sp>
      <p:sp>
        <p:nvSpPr>
          <p:cNvPr id="17" name="Tekstfelt 16"/>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29614203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ekst og to billeder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da-DK"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6" name="Pladsholder til billede 5"/>
          <p:cNvSpPr>
            <a:spLocks noGrp="1"/>
          </p:cNvSpPr>
          <p:nvPr>
            <p:ph type="pic" sz="quarter" idx="14"/>
          </p:nvPr>
        </p:nvSpPr>
        <p:spPr>
          <a:xfrm>
            <a:off x="611187" y="3357563"/>
            <a:ext cx="3815999" cy="2519362"/>
          </a:xfrm>
          <a:prstGeom prst="rect">
            <a:avLst/>
          </a:prstGeom>
        </p:spPr>
        <p:txBody>
          <a:bodyPr/>
          <a:lstStyle>
            <a:lvl1pPr marL="0" indent="0" algn="ctr">
              <a:buNone/>
              <a:defRPr/>
            </a:lvl1pPr>
          </a:lstStyle>
          <a:p>
            <a:r>
              <a:rPr lang="da-DK"/>
              <a:t>Klik på ikonet for at tilføje et billede</a:t>
            </a:r>
            <a:endParaRPr lang="da-DK" dirty="0"/>
          </a:p>
        </p:txBody>
      </p:sp>
      <p:sp>
        <p:nvSpPr>
          <p:cNvPr id="11" name="Pladsholder til billede 5"/>
          <p:cNvSpPr>
            <a:spLocks noGrp="1"/>
          </p:cNvSpPr>
          <p:nvPr>
            <p:ph type="pic" sz="quarter" idx="15"/>
          </p:nvPr>
        </p:nvSpPr>
        <p:spPr>
          <a:xfrm>
            <a:off x="4716000" y="3357563"/>
            <a:ext cx="3816000" cy="2519362"/>
          </a:xfrm>
          <a:prstGeom prst="rect">
            <a:avLst/>
          </a:prstGeom>
        </p:spPr>
        <p:txBody>
          <a:bodyPr/>
          <a:lstStyle>
            <a:lvl1pPr marL="0" indent="0" algn="ctr">
              <a:buNone/>
              <a:defRPr/>
            </a:lvl1pPr>
          </a:lstStyle>
          <a:p>
            <a:r>
              <a:rPr lang="da-DK"/>
              <a:t>Klik på ikonet for at tilføje et billede</a:t>
            </a:r>
            <a:endParaRPr lang="da-DK" dirty="0"/>
          </a:p>
        </p:txBody>
      </p:sp>
      <p:sp>
        <p:nvSpPr>
          <p:cNvPr id="7" name="Pladsholder til dato 6"/>
          <p:cNvSpPr>
            <a:spLocks noGrp="1"/>
          </p:cNvSpPr>
          <p:nvPr>
            <p:ph type="dt" sz="half" idx="16"/>
          </p:nvPr>
        </p:nvSpPr>
        <p:spPr/>
        <p:txBody>
          <a:bodyPr/>
          <a:lstStyle/>
          <a:p>
            <a:fld id="{288D491C-FCCA-40DF-B9F7-C38F5EF27627}" type="datetime2">
              <a:rPr lang="da-DK" smtClean="0"/>
              <a:t>1. februar 2023</a:t>
            </a:fld>
            <a:endParaRPr lang="da-DK" dirty="0"/>
          </a:p>
        </p:txBody>
      </p:sp>
      <p:sp>
        <p:nvSpPr>
          <p:cNvPr id="12" name="Pladsholder til sidefod 11"/>
          <p:cNvSpPr>
            <a:spLocks noGrp="1"/>
          </p:cNvSpPr>
          <p:nvPr>
            <p:ph type="ftr" sz="quarter" idx="17"/>
          </p:nvPr>
        </p:nvSpPr>
        <p:spPr/>
        <p:txBody>
          <a:bodyPr/>
          <a:lstStyle/>
          <a:p>
            <a:r>
              <a:rPr lang="da-DK" dirty="0"/>
              <a:t>Gruppeforløb for hjemmeboende unge med autisme - UDKAST</a:t>
            </a:r>
          </a:p>
        </p:txBody>
      </p:sp>
      <p:sp>
        <p:nvSpPr>
          <p:cNvPr id="14" name="Pladsholder til slidenummer 13"/>
          <p:cNvSpPr>
            <a:spLocks noGrp="1"/>
          </p:cNvSpPr>
          <p:nvPr>
            <p:ph type="sldNum" sz="quarter" idx="18"/>
          </p:nvPr>
        </p:nvSpPr>
        <p:spPr/>
        <p:txBody>
          <a:bodyPr/>
          <a:lstStyle/>
          <a:p>
            <a:fld id="{1C4DB2EE-0873-4EBD-BD17-6A767A2B9A33}" type="slidenum">
              <a:rPr lang="da-DK" smtClean="0"/>
              <a:pPr/>
              <a:t>‹nr.›</a:t>
            </a:fld>
            <a:endParaRPr lang="da-DK" dirty="0"/>
          </a:p>
        </p:txBody>
      </p:sp>
      <p:sp>
        <p:nvSpPr>
          <p:cNvPr id="15" name="Tekstfelt 14"/>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2776381676"/>
      </p:ext>
    </p:extLst>
  </p:cSld>
  <p:clrMapOvr>
    <a:masterClrMapping/>
  </p:clrMapOvr>
  <p:extLst>
    <p:ext uri="{DCECCB84-F9BA-43D5-87BE-67443E8EF086}">
      <p15:sldGuideLst xmlns:p15="http://schemas.microsoft.com/office/powerpoint/2012/main">
        <p15:guide id="10" orient="horz" pos="2160">
          <p15:clr>
            <a:srgbClr val="FBAE40"/>
          </p15:clr>
        </p15:guide>
        <p15:guide id="1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ekst og Indhold til venstre">
    <p:spTree>
      <p:nvGrpSpPr>
        <p:cNvPr id="1" name=""/>
        <p:cNvGrpSpPr/>
        <p:nvPr/>
      </p:nvGrpSpPr>
      <p:grpSpPr>
        <a:xfrm>
          <a:off x="0" y="0"/>
          <a:ext cx="0" cy="0"/>
          <a:chOff x="0" y="0"/>
          <a:chExt cx="0" cy="0"/>
        </a:xfrm>
      </p:grpSpPr>
      <p:sp>
        <p:nvSpPr>
          <p:cNvPr id="4" name="Pladsholder til indhold 3"/>
          <p:cNvSpPr>
            <a:spLocks noGrp="1"/>
          </p:cNvSpPr>
          <p:nvPr>
            <p:ph sz="half" idx="2"/>
          </p:nvPr>
        </p:nvSpPr>
        <p:spPr>
          <a:xfrm>
            <a:off x="4211960" y="945072"/>
            <a:ext cx="4320853" cy="4931853"/>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Pladsholder til tekst 12"/>
          <p:cNvSpPr>
            <a:spLocks noGrp="1"/>
          </p:cNvSpPr>
          <p:nvPr>
            <p:ph type="body" sz="quarter" idx="13"/>
          </p:nvPr>
        </p:nvSpPr>
        <p:spPr>
          <a:xfrm>
            <a:off x="628648" y="2204864"/>
            <a:ext cx="3475300" cy="3672061"/>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p:cNvSpPr>
            <a:spLocks noGrp="1"/>
          </p:cNvSpPr>
          <p:nvPr>
            <p:ph type="dt" sz="half" idx="14"/>
          </p:nvPr>
        </p:nvSpPr>
        <p:spPr/>
        <p:txBody>
          <a:bodyPr/>
          <a:lstStyle/>
          <a:p>
            <a:fld id="{F7D6C98F-620E-44C9-A609-1FD9F93B0EE6}" type="datetime2">
              <a:rPr lang="da-DK" smtClean="0"/>
              <a:t>1. februar 2023</a:t>
            </a:fld>
            <a:endParaRPr lang="da-DK" dirty="0"/>
          </a:p>
        </p:txBody>
      </p:sp>
      <p:sp>
        <p:nvSpPr>
          <p:cNvPr id="6" name="Pladsholder til sidefod 5"/>
          <p:cNvSpPr>
            <a:spLocks noGrp="1"/>
          </p:cNvSpPr>
          <p:nvPr>
            <p:ph type="ftr" sz="quarter" idx="15"/>
          </p:nvPr>
        </p:nvSpPr>
        <p:spPr/>
        <p:txBody>
          <a:bodyPr/>
          <a:lstStyle/>
          <a:p>
            <a:r>
              <a:rPr lang="da-DK" dirty="0"/>
              <a:t>Gruppeforløb for hjemmeboende unge med autisme - UDKAST</a:t>
            </a:r>
          </a:p>
        </p:txBody>
      </p:sp>
      <p:sp>
        <p:nvSpPr>
          <p:cNvPr id="7" name="Pladsholder til slidenummer 6"/>
          <p:cNvSpPr>
            <a:spLocks noGrp="1"/>
          </p:cNvSpPr>
          <p:nvPr>
            <p:ph type="sldNum" sz="quarter" idx="16"/>
          </p:nvPr>
        </p:nvSpPr>
        <p:spPr/>
        <p:txBody>
          <a:bodyPr/>
          <a:lstStyle/>
          <a:p>
            <a:fld id="{1C4DB2EE-0873-4EBD-BD17-6A767A2B9A33}" type="slidenum">
              <a:rPr lang="da-DK" smtClean="0"/>
              <a:pPr/>
              <a:t>‹nr.›</a:t>
            </a:fld>
            <a:endParaRPr lang="da-DK" dirty="0"/>
          </a:p>
        </p:txBody>
      </p:sp>
      <p:sp>
        <p:nvSpPr>
          <p:cNvPr id="12" name="Tekstfelt 11"/>
          <p:cNvSpPr txBox="1"/>
          <p:nvPr/>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
        <p:nvSpPr>
          <p:cNvPr id="10" name="Titel 1"/>
          <p:cNvSpPr>
            <a:spLocks noGrp="1"/>
          </p:cNvSpPr>
          <p:nvPr>
            <p:ph type="title"/>
          </p:nvPr>
        </p:nvSpPr>
        <p:spPr>
          <a:xfrm>
            <a:off x="628649" y="945071"/>
            <a:ext cx="3475299" cy="1043769"/>
          </a:xfrm>
        </p:spPr>
        <p:txBody>
          <a:bodyPr anchor="t"/>
          <a:lstStyle/>
          <a:p>
            <a:r>
              <a:rPr lang="da-DK"/>
              <a:t>Klik for at redigere i master</a:t>
            </a:r>
            <a:endParaRPr lang="da-DK" dirty="0"/>
          </a:p>
        </p:txBody>
      </p:sp>
    </p:spTree>
    <p:extLst>
      <p:ext uri="{BB962C8B-B14F-4D97-AF65-F5344CB8AC3E}">
        <p14:creationId xmlns:p14="http://schemas.microsoft.com/office/powerpoint/2010/main" val="3212586653"/>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ekst og billede til venstre">
    <p:spTree>
      <p:nvGrpSpPr>
        <p:cNvPr id="1" name=""/>
        <p:cNvGrpSpPr/>
        <p:nvPr/>
      </p:nvGrpSpPr>
      <p:grpSpPr>
        <a:xfrm>
          <a:off x="0" y="0"/>
          <a:ext cx="0" cy="0"/>
          <a:chOff x="0" y="0"/>
          <a:chExt cx="0" cy="0"/>
        </a:xfrm>
      </p:grpSpPr>
      <p:sp>
        <p:nvSpPr>
          <p:cNvPr id="13" name="Pladsholder til tekst 12"/>
          <p:cNvSpPr>
            <a:spLocks noGrp="1"/>
          </p:cNvSpPr>
          <p:nvPr>
            <p:ph type="body" sz="quarter" idx="13"/>
          </p:nvPr>
        </p:nvSpPr>
        <p:spPr>
          <a:xfrm>
            <a:off x="628648" y="2204864"/>
            <a:ext cx="3475300" cy="3672061"/>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p:cNvSpPr>
            <a:spLocks noGrp="1"/>
          </p:cNvSpPr>
          <p:nvPr>
            <p:ph type="dt" sz="half" idx="14"/>
          </p:nvPr>
        </p:nvSpPr>
        <p:spPr/>
        <p:txBody>
          <a:bodyPr/>
          <a:lstStyle/>
          <a:p>
            <a:fld id="{CF23A5FB-DDCF-4567-9127-6D88CF006196}" type="datetime2">
              <a:rPr lang="da-DK" smtClean="0"/>
              <a:t>1. februar 2023</a:t>
            </a:fld>
            <a:endParaRPr lang="da-DK" dirty="0"/>
          </a:p>
        </p:txBody>
      </p:sp>
      <p:sp>
        <p:nvSpPr>
          <p:cNvPr id="6" name="Pladsholder til sidefod 5"/>
          <p:cNvSpPr>
            <a:spLocks noGrp="1"/>
          </p:cNvSpPr>
          <p:nvPr>
            <p:ph type="ftr" sz="quarter" idx="15"/>
          </p:nvPr>
        </p:nvSpPr>
        <p:spPr/>
        <p:txBody>
          <a:bodyPr/>
          <a:lstStyle/>
          <a:p>
            <a:r>
              <a:rPr lang="da-DK" dirty="0"/>
              <a:t>Gruppeforløb for hjemmeboende unge med autisme - UDKAST</a:t>
            </a:r>
          </a:p>
        </p:txBody>
      </p:sp>
      <p:sp>
        <p:nvSpPr>
          <p:cNvPr id="7" name="Pladsholder til slidenummer 6"/>
          <p:cNvSpPr>
            <a:spLocks noGrp="1"/>
          </p:cNvSpPr>
          <p:nvPr>
            <p:ph type="sldNum" sz="quarter" idx="16"/>
          </p:nvPr>
        </p:nvSpPr>
        <p:spPr/>
        <p:txBody>
          <a:bodyPr/>
          <a:lstStyle/>
          <a:p>
            <a:fld id="{1C4DB2EE-0873-4EBD-BD17-6A767A2B9A33}" type="slidenum">
              <a:rPr lang="da-DK" smtClean="0"/>
              <a:pPr/>
              <a:t>‹nr.›</a:t>
            </a:fld>
            <a:endParaRPr lang="da-DK" dirty="0"/>
          </a:p>
        </p:txBody>
      </p:sp>
      <p:sp>
        <p:nvSpPr>
          <p:cNvPr id="12" name="Tekstfelt 11"/>
          <p:cNvSpPr txBox="1"/>
          <p:nvPr/>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
        <p:nvSpPr>
          <p:cNvPr id="8" name="Pladsholder til billede 7"/>
          <p:cNvSpPr>
            <a:spLocks noGrp="1"/>
          </p:cNvSpPr>
          <p:nvPr>
            <p:ph type="pic" sz="quarter" idx="17"/>
          </p:nvPr>
        </p:nvSpPr>
        <p:spPr>
          <a:xfrm>
            <a:off x="4211638" y="945071"/>
            <a:ext cx="4321175" cy="4931854"/>
          </a:xfrm>
          <a:prstGeom prst="rect">
            <a:avLst/>
          </a:prstGeom>
        </p:spPr>
        <p:txBody>
          <a:bodyPr/>
          <a:lstStyle/>
          <a:p>
            <a:r>
              <a:rPr lang="da-DK"/>
              <a:t>Klik på ikonet for at tilføje et billede</a:t>
            </a:r>
            <a:endParaRPr lang="da-DK" dirty="0"/>
          </a:p>
        </p:txBody>
      </p:sp>
      <p:sp>
        <p:nvSpPr>
          <p:cNvPr id="11" name="Titel 1"/>
          <p:cNvSpPr>
            <a:spLocks noGrp="1"/>
          </p:cNvSpPr>
          <p:nvPr>
            <p:ph type="title"/>
          </p:nvPr>
        </p:nvSpPr>
        <p:spPr>
          <a:xfrm>
            <a:off x="628649" y="945071"/>
            <a:ext cx="3475299" cy="1043769"/>
          </a:xfrm>
        </p:spPr>
        <p:txBody>
          <a:bodyPr anchor="t"/>
          <a:lstStyle/>
          <a:p>
            <a:r>
              <a:rPr lang="da-DK"/>
              <a:t>Klik for at redigere i master</a:t>
            </a:r>
            <a:endParaRPr lang="da-DK" dirty="0"/>
          </a:p>
        </p:txBody>
      </p:sp>
    </p:spTree>
    <p:extLst>
      <p:ext uri="{BB962C8B-B14F-4D97-AF65-F5344CB8AC3E}">
        <p14:creationId xmlns:p14="http://schemas.microsoft.com/office/powerpoint/2010/main" val="4239771982"/>
      </p:ext>
    </p:extLst>
  </p:cSld>
  <p:clrMapOvr>
    <a:masterClrMapping/>
  </p:clrMapOvr>
  <p:extLst>
    <p:ext uri="{DCECCB84-F9BA-43D5-87BE-67443E8EF086}">
      <p15:sldGuideLst xmlns:p15="http://schemas.microsoft.com/office/powerpoint/2012/main">
        <p15:guide id="1" pos="26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auseslide mørk grå">
    <p:bg>
      <p:bgPr>
        <a:solidFill>
          <a:srgbClr val="BCB5B2"/>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256427555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ekst og 1 billede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en-GB"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5" name="Pladsholder til billede 4"/>
          <p:cNvSpPr>
            <a:spLocks noGrp="1"/>
          </p:cNvSpPr>
          <p:nvPr>
            <p:ph type="pic" sz="quarter" idx="14"/>
          </p:nvPr>
        </p:nvSpPr>
        <p:spPr>
          <a:xfrm>
            <a:off x="629074" y="3357563"/>
            <a:ext cx="7904165" cy="2519362"/>
          </a:xfrm>
          <a:prstGeom prst="rect">
            <a:avLst/>
          </a:prstGeom>
        </p:spPr>
        <p:txBody>
          <a:bodyPr/>
          <a:lstStyle>
            <a:lvl1pPr marL="0" indent="0" algn="ctr">
              <a:buNone/>
              <a:defRPr/>
            </a:lvl1pPr>
          </a:lstStyle>
          <a:p>
            <a:r>
              <a:rPr lang="da-DK"/>
              <a:t>Klik på ikonet for at tilføje et billede</a:t>
            </a:r>
            <a:endParaRPr lang="en-GB" dirty="0"/>
          </a:p>
        </p:txBody>
      </p:sp>
      <p:sp>
        <p:nvSpPr>
          <p:cNvPr id="6" name="Pladsholder til dato 5"/>
          <p:cNvSpPr>
            <a:spLocks noGrp="1"/>
          </p:cNvSpPr>
          <p:nvPr>
            <p:ph type="dt" sz="half" idx="15"/>
          </p:nvPr>
        </p:nvSpPr>
        <p:spPr/>
        <p:txBody>
          <a:bodyPr/>
          <a:lstStyle/>
          <a:p>
            <a:fld id="{E38A3A06-058E-4C20-BE07-8A2F6FE8325A}" type="datetime2">
              <a:rPr lang="da-DK" smtClean="0"/>
              <a:t>1. februar 2023</a:t>
            </a:fld>
            <a:endParaRPr lang="en-GB" dirty="0"/>
          </a:p>
        </p:txBody>
      </p:sp>
      <p:sp>
        <p:nvSpPr>
          <p:cNvPr id="7" name="Pladsholder til sidefod 6"/>
          <p:cNvSpPr>
            <a:spLocks noGrp="1"/>
          </p:cNvSpPr>
          <p:nvPr>
            <p:ph type="ftr" sz="quarter" idx="16"/>
          </p:nvPr>
        </p:nvSpPr>
        <p:spPr/>
        <p:txBody>
          <a:bodyPr/>
          <a:lstStyle/>
          <a:p>
            <a:r>
              <a:rPr lang="da-DK"/>
              <a:t>Gruppeforløb for hjemmeboende unge med autisme</a:t>
            </a:r>
            <a:endParaRPr lang="en-GB" dirty="0"/>
          </a:p>
        </p:txBody>
      </p:sp>
      <p:sp>
        <p:nvSpPr>
          <p:cNvPr id="11" name="Pladsholder til slidenummer 10"/>
          <p:cNvSpPr>
            <a:spLocks noGrp="1"/>
          </p:cNvSpPr>
          <p:nvPr>
            <p:ph type="sldNum" sz="quarter" idx="17"/>
          </p:nvPr>
        </p:nvSpPr>
        <p:spPr/>
        <p:txBody>
          <a:bodyPr/>
          <a:lstStyle/>
          <a:p>
            <a:fld id="{1C4DB2EE-0873-4EBD-BD17-6A767A2B9A33}" type="slidenum">
              <a:rPr lang="en-GB" smtClean="0"/>
              <a:pPr/>
              <a:t>‹nr.›</a:t>
            </a:fld>
            <a:endParaRPr lang="en-GB" dirty="0"/>
          </a:p>
        </p:txBody>
      </p:sp>
      <p:sp>
        <p:nvSpPr>
          <p:cNvPr id="10" name="Tekstfelt 9"/>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2241765381"/>
      </p:ext>
    </p:extLst>
  </p:cSld>
  <p:clrMapOvr>
    <a:masterClrMapping/>
  </p:clrMapOvr>
  <p:extLst>
    <p:ext uri="{DCECCB84-F9BA-43D5-87BE-67443E8EF086}">
      <p15:sldGuideLst xmlns:p15="http://schemas.microsoft.com/office/powerpoint/2012/main">
        <p15:guide id="1" orient="horz" pos="2115">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ekst og 1 indhold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en-GB"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4" name="Pladsholder til indhold 3"/>
          <p:cNvSpPr>
            <a:spLocks noGrp="1"/>
          </p:cNvSpPr>
          <p:nvPr>
            <p:ph sz="quarter" idx="14"/>
          </p:nvPr>
        </p:nvSpPr>
        <p:spPr>
          <a:xfrm>
            <a:off x="628649" y="3357563"/>
            <a:ext cx="7904164" cy="2519362"/>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6" name="Pladsholder til dato 5"/>
          <p:cNvSpPr>
            <a:spLocks noGrp="1"/>
          </p:cNvSpPr>
          <p:nvPr>
            <p:ph type="dt" sz="half" idx="15"/>
          </p:nvPr>
        </p:nvSpPr>
        <p:spPr/>
        <p:txBody>
          <a:bodyPr/>
          <a:lstStyle/>
          <a:p>
            <a:fld id="{0B4F93A2-E309-4CFC-8572-9BCDD4647728}" type="datetime2">
              <a:rPr lang="da-DK" smtClean="0"/>
              <a:t>1. februar 2023</a:t>
            </a:fld>
            <a:endParaRPr lang="en-GB" dirty="0"/>
          </a:p>
        </p:txBody>
      </p:sp>
      <p:sp>
        <p:nvSpPr>
          <p:cNvPr id="7" name="Pladsholder til sidefod 6"/>
          <p:cNvSpPr>
            <a:spLocks noGrp="1"/>
          </p:cNvSpPr>
          <p:nvPr>
            <p:ph type="ftr" sz="quarter" idx="16"/>
          </p:nvPr>
        </p:nvSpPr>
        <p:spPr/>
        <p:txBody>
          <a:bodyPr/>
          <a:lstStyle/>
          <a:p>
            <a:r>
              <a:rPr lang="da-DK"/>
              <a:t>Gruppeforløb for hjemmeboende unge med autisme</a:t>
            </a:r>
            <a:endParaRPr lang="en-GB" dirty="0"/>
          </a:p>
        </p:txBody>
      </p:sp>
      <p:sp>
        <p:nvSpPr>
          <p:cNvPr id="11" name="Pladsholder til slidenummer 10"/>
          <p:cNvSpPr>
            <a:spLocks noGrp="1"/>
          </p:cNvSpPr>
          <p:nvPr>
            <p:ph type="sldNum" sz="quarter" idx="17"/>
          </p:nvPr>
        </p:nvSpPr>
        <p:spPr/>
        <p:txBody>
          <a:bodyPr/>
          <a:lstStyle/>
          <a:p>
            <a:fld id="{1C4DB2EE-0873-4EBD-BD17-6A767A2B9A33}" type="slidenum">
              <a:rPr lang="en-GB" smtClean="0"/>
              <a:pPr/>
              <a:t>‹nr.›</a:t>
            </a:fld>
            <a:endParaRPr lang="en-GB" dirty="0"/>
          </a:p>
        </p:txBody>
      </p:sp>
      <p:sp>
        <p:nvSpPr>
          <p:cNvPr id="10" name="Tekstfelt 9"/>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1109542940"/>
      </p:ext>
    </p:extLst>
  </p:cSld>
  <p:clrMapOvr>
    <a:masterClrMapping/>
  </p:clrMapOvr>
  <p:extLst>
    <p:ext uri="{DCECCB84-F9BA-43D5-87BE-67443E8EF086}">
      <p15:sldGuideLst xmlns:p15="http://schemas.microsoft.com/office/powerpoint/2012/main">
        <p15:guide id="1" orient="horz" pos="2115">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auseslide med billede">
    <p:spTree>
      <p:nvGrpSpPr>
        <p:cNvPr id="1" name=""/>
        <p:cNvGrpSpPr/>
        <p:nvPr/>
      </p:nvGrpSpPr>
      <p:grpSpPr>
        <a:xfrm>
          <a:off x="0" y="0"/>
          <a:ext cx="0" cy="0"/>
          <a:chOff x="0" y="0"/>
          <a:chExt cx="0" cy="0"/>
        </a:xfrm>
      </p:grpSpPr>
      <p:sp>
        <p:nvSpPr>
          <p:cNvPr id="15"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6"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10" name="Tekstfelt 9"/>
          <p:cNvSpPr txBox="1"/>
          <p:nvPr userDrawn="1"/>
        </p:nvSpPr>
        <p:spPr>
          <a:xfrm>
            <a:off x="-1188640" y="152636"/>
            <a:ext cx="1116124" cy="2092881"/>
          </a:xfrm>
          <a:prstGeom prst="rect">
            <a:avLst/>
          </a:prstGeom>
          <a:noFill/>
        </p:spPr>
        <p:txBody>
          <a:bodyPr wrap="square" rtlCol="0">
            <a:spAutoFit/>
          </a:bodyPr>
          <a:lstStyle/>
          <a:p>
            <a:pPr algn="l"/>
            <a:r>
              <a:rPr lang="en-GB" sz="1000" b="1" noProof="1"/>
              <a:t>For at indsætte</a:t>
            </a:r>
            <a:r>
              <a:rPr lang="en-GB" sz="1000" b="1" baseline="0" noProof="1"/>
              <a:t> et billede</a:t>
            </a:r>
            <a:r>
              <a:rPr lang="en-GB" sz="1000" baseline="0" noProof="1"/>
              <a:t>:</a:t>
            </a:r>
          </a:p>
          <a:p>
            <a:pPr algn="l"/>
            <a:endParaRPr lang="en-GB" sz="1000" baseline="0" noProof="1"/>
          </a:p>
          <a:p>
            <a:pPr algn="l"/>
            <a:r>
              <a:rPr lang="en-GB" sz="1000" baseline="0" noProof="1"/>
              <a:t>Brug ikonet i midten til at vælg et billede, læg herefter billedet bagerst, ved at højreklikke i billedet, og vælge ”send bagerst”.</a:t>
            </a:r>
            <a:endParaRPr lang="en-GB" sz="1000" noProof="1"/>
          </a:p>
        </p:txBody>
      </p:sp>
      <p:sp>
        <p:nvSpPr>
          <p:cNvPr id="13"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4"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8" name="Pladsholder til billede 3"/>
          <p:cNvSpPr>
            <a:spLocks noGrp="1"/>
          </p:cNvSpPr>
          <p:nvPr>
            <p:ph type="pic" sz="quarter" idx="10" hasCustomPrompt="1"/>
          </p:nvPr>
        </p:nvSpPr>
        <p:spPr>
          <a:xfrm>
            <a:off x="7201" y="-13389"/>
            <a:ext cx="9144000" cy="6858000"/>
          </a:xfrm>
          <a:prstGeom prst="rect">
            <a:avLst/>
          </a:prstGeom>
          <a:solidFill>
            <a:schemeClr val="bg1"/>
          </a:solidFill>
        </p:spPr>
        <p:txBody>
          <a:bodyPr/>
          <a:lstStyle>
            <a:lvl1pPr marL="0" indent="0" algn="ctr">
              <a:lnSpc>
                <a:spcPct val="100000"/>
              </a:lnSpc>
              <a:spcBef>
                <a:spcPts val="0"/>
              </a:spcBef>
              <a:buNone/>
              <a:defRPr sz="1200"/>
            </a:lvl1pPr>
          </a:lstStyle>
          <a:p>
            <a:r>
              <a:rPr lang="en-GB" dirty="0"/>
              <a:t>For at </a:t>
            </a:r>
            <a:r>
              <a:rPr lang="en-GB" dirty="0" err="1"/>
              <a:t>indsætte</a:t>
            </a:r>
            <a:r>
              <a:rPr lang="en-GB" dirty="0"/>
              <a:t> et </a:t>
            </a:r>
            <a:r>
              <a:rPr lang="en-GB" dirty="0" err="1"/>
              <a:t>billede</a:t>
            </a:r>
            <a:r>
              <a:rPr lang="en-GB" dirty="0"/>
              <a:t>:</a:t>
            </a:r>
          </a:p>
          <a:p>
            <a:r>
              <a:rPr lang="en-GB" dirty="0" err="1"/>
              <a:t>Brug</a:t>
            </a:r>
            <a:r>
              <a:rPr lang="en-GB" dirty="0"/>
              <a:t> </a:t>
            </a:r>
            <a:r>
              <a:rPr lang="en-GB" dirty="0" err="1"/>
              <a:t>ikonet</a:t>
            </a:r>
            <a:r>
              <a:rPr lang="en-GB" dirty="0"/>
              <a:t> </a:t>
            </a:r>
            <a:r>
              <a:rPr lang="en-GB" dirty="0" err="1"/>
              <a:t>i</a:t>
            </a:r>
            <a:r>
              <a:rPr lang="en-GB" dirty="0"/>
              <a:t> </a:t>
            </a:r>
            <a:r>
              <a:rPr lang="en-GB" dirty="0" err="1"/>
              <a:t>midten</a:t>
            </a:r>
            <a:r>
              <a:rPr lang="en-GB" dirty="0"/>
              <a:t>, </a:t>
            </a:r>
            <a:r>
              <a:rPr lang="en-GB" dirty="0" err="1"/>
              <a:t>vælg</a:t>
            </a:r>
            <a:r>
              <a:rPr lang="en-GB" dirty="0"/>
              <a:t> et </a:t>
            </a:r>
            <a:r>
              <a:rPr lang="en-GB" dirty="0" err="1"/>
              <a:t>billede</a:t>
            </a:r>
            <a:r>
              <a:rPr lang="en-GB" dirty="0"/>
              <a:t>, </a:t>
            </a:r>
            <a:r>
              <a:rPr lang="en-GB" dirty="0" err="1"/>
              <a:t>læg</a:t>
            </a:r>
            <a:r>
              <a:rPr lang="en-GB" dirty="0"/>
              <a:t> </a:t>
            </a:r>
            <a:r>
              <a:rPr lang="en-GB" dirty="0" err="1"/>
              <a:t>herefter</a:t>
            </a:r>
            <a:r>
              <a:rPr lang="en-GB" dirty="0"/>
              <a:t> </a:t>
            </a:r>
            <a:r>
              <a:rPr lang="en-GB" dirty="0" err="1"/>
              <a:t>billedet</a:t>
            </a:r>
            <a:r>
              <a:rPr lang="en-GB" dirty="0"/>
              <a:t> </a:t>
            </a:r>
            <a:r>
              <a:rPr lang="en-GB" dirty="0" err="1"/>
              <a:t>bagerst</a:t>
            </a:r>
            <a:r>
              <a:rPr lang="en-GB" dirty="0"/>
              <a:t>, </a:t>
            </a:r>
          </a:p>
          <a:p>
            <a:r>
              <a:rPr lang="en-GB" dirty="0" err="1"/>
              <a:t>ved</a:t>
            </a:r>
            <a:r>
              <a:rPr lang="en-GB" dirty="0"/>
              <a:t> at højreklikke </a:t>
            </a:r>
            <a:r>
              <a:rPr lang="en-GB" dirty="0" err="1"/>
              <a:t>i</a:t>
            </a:r>
            <a:r>
              <a:rPr lang="en-GB" dirty="0"/>
              <a:t> </a:t>
            </a:r>
            <a:r>
              <a:rPr lang="en-GB" dirty="0" err="1"/>
              <a:t>billedet</a:t>
            </a:r>
            <a:r>
              <a:rPr lang="en-GB" dirty="0"/>
              <a:t>, </a:t>
            </a:r>
            <a:r>
              <a:rPr lang="en-GB" dirty="0" err="1"/>
              <a:t>og</a:t>
            </a:r>
            <a:r>
              <a:rPr lang="en-GB" dirty="0"/>
              <a:t> </a:t>
            </a:r>
            <a:r>
              <a:rPr lang="en-GB" dirty="0" err="1"/>
              <a:t>vælge</a:t>
            </a:r>
            <a:r>
              <a:rPr lang="en-GB" dirty="0"/>
              <a:t> ”send </a:t>
            </a:r>
            <a:r>
              <a:rPr lang="en-GB" dirty="0" err="1"/>
              <a:t>bagerst</a:t>
            </a:r>
            <a:r>
              <a:rPr lang="en-GB" dirty="0"/>
              <a:t>”.</a:t>
            </a:r>
          </a:p>
          <a:p>
            <a:endParaRPr lang="en-GB" dirty="0"/>
          </a:p>
        </p:txBody>
      </p:sp>
    </p:spTree>
    <p:extLst>
      <p:ext uri="{BB962C8B-B14F-4D97-AF65-F5344CB8AC3E}">
        <p14:creationId xmlns:p14="http://schemas.microsoft.com/office/powerpoint/2010/main" val="76746500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GB" dirty="0"/>
          </a:p>
        </p:txBody>
      </p:sp>
      <p:sp>
        <p:nvSpPr>
          <p:cNvPr id="10" name="Pladsholder til dato 9"/>
          <p:cNvSpPr>
            <a:spLocks noGrp="1"/>
          </p:cNvSpPr>
          <p:nvPr>
            <p:ph type="dt" sz="half" idx="10"/>
          </p:nvPr>
        </p:nvSpPr>
        <p:spPr/>
        <p:txBody>
          <a:bodyPr/>
          <a:lstStyle/>
          <a:p>
            <a:fld id="{F876FB67-8E23-423A-A143-C081958EFBEC}" type="datetime2">
              <a:rPr lang="da-DK" smtClean="0"/>
              <a:t>1. februar 2023</a:t>
            </a:fld>
            <a:endParaRPr lang="en-GB" dirty="0"/>
          </a:p>
        </p:txBody>
      </p:sp>
      <p:sp>
        <p:nvSpPr>
          <p:cNvPr id="11" name="Pladsholder til sidefod 10"/>
          <p:cNvSpPr>
            <a:spLocks noGrp="1"/>
          </p:cNvSpPr>
          <p:nvPr>
            <p:ph type="ftr" sz="quarter" idx="11"/>
          </p:nvPr>
        </p:nvSpPr>
        <p:spPr/>
        <p:txBody>
          <a:bodyPr/>
          <a:lstStyle/>
          <a:p>
            <a:r>
              <a:rPr lang="da-DK"/>
              <a:t>Gruppeforløb for hjemmeboende unge med autisme</a:t>
            </a:r>
            <a:endParaRPr lang="en-GB" dirty="0"/>
          </a:p>
        </p:txBody>
      </p:sp>
      <p:sp>
        <p:nvSpPr>
          <p:cNvPr id="12" name="Pladsholder til slidenummer 11"/>
          <p:cNvSpPr>
            <a:spLocks noGrp="1"/>
          </p:cNvSpPr>
          <p:nvPr>
            <p:ph type="sldNum" sz="quarter" idx="12"/>
          </p:nvPr>
        </p:nvSpPr>
        <p:spPr/>
        <p:txBody>
          <a:bodyPr/>
          <a:lstStyle/>
          <a:p>
            <a:fld id="{1C4DB2EE-0873-4EBD-BD17-6A767A2B9A33}" type="slidenum">
              <a:rPr lang="en-GB" smtClean="0"/>
              <a:pPr/>
              <a:t>‹nr.›</a:t>
            </a:fld>
            <a:endParaRPr lang="en-GB" dirty="0"/>
          </a:p>
        </p:txBody>
      </p:sp>
      <p:sp>
        <p:nvSpPr>
          <p:cNvPr id="8" name="Tekstfelt 7"/>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406953457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11" name="Pladsholder til dato 10"/>
          <p:cNvSpPr>
            <a:spLocks noGrp="1"/>
          </p:cNvSpPr>
          <p:nvPr>
            <p:ph type="dt" sz="half" idx="10"/>
          </p:nvPr>
        </p:nvSpPr>
        <p:spPr/>
        <p:txBody>
          <a:bodyPr/>
          <a:lstStyle/>
          <a:p>
            <a:fld id="{56AFDAC2-ED3F-4FBD-A939-E9B2C3B5513A}" type="datetime2">
              <a:rPr lang="da-DK" smtClean="0"/>
              <a:t>1. februar 2023</a:t>
            </a:fld>
            <a:endParaRPr lang="en-GB" dirty="0"/>
          </a:p>
        </p:txBody>
      </p:sp>
      <p:sp>
        <p:nvSpPr>
          <p:cNvPr id="12" name="Pladsholder til sidefod 11"/>
          <p:cNvSpPr>
            <a:spLocks noGrp="1"/>
          </p:cNvSpPr>
          <p:nvPr>
            <p:ph type="ftr" sz="quarter" idx="11"/>
          </p:nvPr>
        </p:nvSpPr>
        <p:spPr/>
        <p:txBody>
          <a:bodyPr/>
          <a:lstStyle/>
          <a:p>
            <a:r>
              <a:rPr lang="da-DK"/>
              <a:t>Gruppeforløb for hjemmeboende unge med autisme</a:t>
            </a:r>
            <a:endParaRPr lang="en-GB" dirty="0"/>
          </a:p>
        </p:txBody>
      </p:sp>
      <p:sp>
        <p:nvSpPr>
          <p:cNvPr id="13" name="Pladsholder til slidenummer 12"/>
          <p:cNvSpPr>
            <a:spLocks noGrp="1"/>
          </p:cNvSpPr>
          <p:nvPr>
            <p:ph type="sldNum" sz="quarter" idx="12"/>
          </p:nvPr>
        </p:nvSpPr>
        <p:spPr/>
        <p:txBody>
          <a:bodyPr/>
          <a:lstStyle/>
          <a:p>
            <a:fld id="{1C4DB2EE-0873-4EBD-BD17-6A767A2B9A33}" type="slidenum">
              <a:rPr lang="en-GB" smtClean="0"/>
              <a:pPr/>
              <a:t>‹nr.›</a:t>
            </a:fld>
            <a:endParaRPr lang="en-GB" dirty="0"/>
          </a:p>
        </p:txBody>
      </p:sp>
      <p:sp>
        <p:nvSpPr>
          <p:cNvPr id="7" name="Tekstfelt 6"/>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417074004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illede 1">
    <p:spTree>
      <p:nvGrpSpPr>
        <p:cNvPr id="1" name=""/>
        <p:cNvGrpSpPr/>
        <p:nvPr/>
      </p:nvGrpSpPr>
      <p:grpSpPr>
        <a:xfrm>
          <a:off x="0" y="0"/>
          <a:ext cx="0" cy="0"/>
          <a:chOff x="0" y="0"/>
          <a:chExt cx="0" cy="0"/>
        </a:xfrm>
      </p:grpSpPr>
      <p:pic>
        <p:nvPicPr>
          <p:cNvPr id="13" name="Billede 12"/>
          <p:cNvPicPr>
            <a:picLocks noChangeAspect="1"/>
          </p:cNvPicPr>
          <p:nvPr userDrawn="1"/>
        </p:nvPicPr>
        <p:blipFill>
          <a:blip r:embed="rId2"/>
          <a:stretch>
            <a:fillRect/>
          </a:stretch>
        </p:blipFill>
        <p:spPr>
          <a:xfrm>
            <a:off x="0" y="0"/>
            <a:ext cx="9144000" cy="6858000"/>
          </a:xfrm>
          <a:prstGeom prst="rect">
            <a:avLst/>
          </a:prstGeom>
        </p:spPr>
      </p:pic>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9"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23171190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nr.›</a:t>
            </a:fld>
            <a:endParaRPr lang="en-US"/>
          </a:p>
        </p:txBody>
      </p:sp>
    </p:spTree>
    <p:extLst>
      <p:ext uri="{BB962C8B-B14F-4D97-AF65-F5344CB8AC3E}">
        <p14:creationId xmlns:p14="http://schemas.microsoft.com/office/powerpoint/2010/main" val="154288152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elslide hvi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noProof="0"/>
              <a:t>Klik for at redigere i master</a:t>
            </a:r>
          </a:p>
        </p:txBody>
      </p:sp>
      <p:sp>
        <p:nvSpPr>
          <p:cNvPr id="25"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6"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noProof="0"/>
              <a:t>Rediger typografien i masterens</a:t>
            </a:r>
          </a:p>
        </p:txBody>
      </p:sp>
      <p:sp>
        <p:nvSpPr>
          <p:cNvPr id="8" name="Pladsholder til tekst 5" descr="Socialstyrelsen Pay-off" title="Socialstyrelsen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85372856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elslide mørk gul">
    <p:bg>
      <p:bgPr>
        <a:solidFill>
          <a:srgbClr val="E9D392"/>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58413484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Pauseslide mørk gul">
    <p:bg>
      <p:bgPr>
        <a:solidFill>
          <a:srgbClr val="E9D392"/>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36028757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lede 7">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137574490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illede 6">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65761853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elslide grøn">
    <p:bg>
      <p:bgPr>
        <a:solidFill>
          <a:srgbClr val="BAD9C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31647155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auseslide grøn">
    <p:bg>
      <p:bgPr>
        <a:solidFill>
          <a:srgbClr val="BAD9C1"/>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418655156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illede 3">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9"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424871904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illede 4">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19088681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illede 10">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99188778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llede 13">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2"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8037065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elslide mørk grå">
    <p:bg>
      <p:bgPr>
        <a:solidFill>
          <a:srgbClr val="BCB5B2"/>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403463417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auseslide mørk grå">
    <p:bg>
      <p:bgPr>
        <a:solidFill>
          <a:srgbClr val="BCB5B2"/>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196311754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illede 7">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3506549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lede 12">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77294708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illede 12">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60580819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elslide lys gul">
    <p:bg>
      <p:bgPr>
        <a:solidFill>
          <a:srgbClr val="ECE38A"/>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0261219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auseslide gul">
    <p:bg>
      <p:bgPr>
        <a:solidFill>
          <a:srgbClr val="ECE38A"/>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422401911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illede 2">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19"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24" name="Tekstfelt 23"/>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Tree>
    <p:extLst>
      <p:ext uri="{BB962C8B-B14F-4D97-AF65-F5344CB8AC3E}">
        <p14:creationId xmlns:p14="http://schemas.microsoft.com/office/powerpoint/2010/main" val="49566204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illede 14">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6"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0"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421640964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elslide blå">
    <p:bg>
      <p:bgPr>
        <a:solidFill>
          <a:srgbClr val="CDE7EE"/>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84748675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auseslide blå">
    <p:bg>
      <p:bgPr>
        <a:solidFill>
          <a:srgbClr val="CDE7EE"/>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194739841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illede 5">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47107236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illede 9">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417182548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illede 11">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8170764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slide lys gul">
    <p:bg>
      <p:bgPr>
        <a:solidFill>
          <a:srgbClr val="ECE38A"/>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400009973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elslide grå">
    <p:bg>
      <p:bgPr>
        <a:solidFill>
          <a:srgbClr val="C6C7C9"/>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29" name="Pladsholder til tekst 5"/>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rgbClr val="C6C7C9"/>
                </a:solidFill>
              </a:defRPr>
            </a:lvl1pPr>
          </a:lstStyle>
          <a:p>
            <a:pPr lvl="0"/>
            <a:r>
              <a:rPr lang="da-DK"/>
              <a:t>Rediger typografien i masterens</a:t>
            </a:r>
          </a:p>
        </p:txBody>
      </p:sp>
      <p:sp>
        <p:nvSpPr>
          <p:cNvPr id="7" name="Pladsholder til tekst 5"/>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134426960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auseslide grå">
    <p:bg>
      <p:bgPr>
        <a:solidFill>
          <a:srgbClr val="C6C7C9"/>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397477666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illede 8">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99047591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elslide med billede">
    <p:spTree>
      <p:nvGrpSpPr>
        <p:cNvPr id="1" name=""/>
        <p:cNvGrpSpPr/>
        <p:nvPr/>
      </p:nvGrpSpPr>
      <p:grpSpPr>
        <a:xfrm>
          <a:off x="0" y="0"/>
          <a:ext cx="0" cy="0"/>
          <a:chOff x="0" y="0"/>
          <a:chExt cx="0" cy="0"/>
        </a:xfrm>
      </p:grpSpPr>
      <p:sp>
        <p:nvSpPr>
          <p:cNvPr id="16" name="Pladsholder til billede 3"/>
          <p:cNvSpPr>
            <a:spLocks noGrp="1"/>
          </p:cNvSpPr>
          <p:nvPr>
            <p:ph type="pic" sz="quarter" idx="10" hasCustomPrompt="1"/>
          </p:nvPr>
        </p:nvSpPr>
        <p:spPr>
          <a:xfrm>
            <a:off x="0" y="0"/>
            <a:ext cx="9144000" cy="6858000"/>
          </a:xfrm>
          <a:prstGeom prst="rect">
            <a:avLst/>
          </a:prstGeom>
          <a:noFill/>
        </p:spPr>
        <p:txBody>
          <a:bodyPr/>
          <a:lstStyle>
            <a:lvl1pPr marL="0" indent="0" algn="ctr">
              <a:lnSpc>
                <a:spcPct val="100000"/>
              </a:lnSpc>
              <a:spcBef>
                <a:spcPts val="0"/>
              </a:spcBef>
              <a:buNone/>
              <a:defRPr sz="1200"/>
            </a:lvl1pPr>
          </a:lstStyle>
          <a:p>
            <a:r>
              <a:rPr lang="da-DK" dirty="0"/>
              <a:t>For at indsætte et billede:</a:t>
            </a:r>
          </a:p>
          <a:p>
            <a:r>
              <a:rPr lang="da-DK" dirty="0"/>
              <a:t>Brug ikonet i midten, vælg et billede, læg herefter billedet bagerst, </a:t>
            </a:r>
          </a:p>
          <a:p>
            <a:r>
              <a:rPr lang="da-DK" dirty="0"/>
              <a:t>ved at højreklikke i billedet, og vælge ”send bagerst”.</a:t>
            </a:r>
          </a:p>
          <a:p>
            <a:endParaRPr lang="da-DK" dirty="0"/>
          </a:p>
        </p:txBody>
      </p:sp>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17"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2"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23" name="Tekstfelt 22"/>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Tree>
    <p:extLst>
      <p:ext uri="{BB962C8B-B14F-4D97-AF65-F5344CB8AC3E}">
        <p14:creationId xmlns:p14="http://schemas.microsoft.com/office/powerpoint/2010/main" val="67469460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idx="1"/>
          </p:nvPr>
        </p:nvSpPr>
        <p:spPr>
          <a:xfrm>
            <a:off x="628649" y="1628775"/>
            <a:ext cx="7904163" cy="4248150"/>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Tekstfelt 9"/>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
        <p:nvSpPr>
          <p:cNvPr id="11" name="Pladsholder til dato 10"/>
          <p:cNvSpPr>
            <a:spLocks noGrp="1"/>
          </p:cNvSpPr>
          <p:nvPr>
            <p:ph type="dt" sz="half" idx="10"/>
          </p:nvPr>
        </p:nvSpPr>
        <p:spPr>
          <a:xfrm>
            <a:off x="6457950" y="6052207"/>
            <a:ext cx="2057400" cy="365125"/>
          </a:xfrm>
        </p:spPr>
        <p:txBody>
          <a:bodyPr/>
          <a:lstStyle/>
          <a:p>
            <a:fld id="{32093634-C20B-404D-9B32-160DF8596A0B}" type="datetime2">
              <a:rPr lang="da-DK" smtClean="0"/>
              <a:t>1. februar 2023</a:t>
            </a:fld>
            <a:endParaRPr lang="da-DK" dirty="0"/>
          </a:p>
        </p:txBody>
      </p:sp>
      <p:sp>
        <p:nvSpPr>
          <p:cNvPr id="12" name="Pladsholder til sidefod 11"/>
          <p:cNvSpPr>
            <a:spLocks noGrp="1"/>
          </p:cNvSpPr>
          <p:nvPr>
            <p:ph type="ftr" sz="quarter" idx="11"/>
          </p:nvPr>
        </p:nvSpPr>
        <p:spPr/>
        <p:txBody>
          <a:bodyPr/>
          <a:lstStyle/>
          <a:p>
            <a:r>
              <a:rPr lang="da-DK" dirty="0"/>
              <a:t>Gruppeforløb for hjemmeboende unge med autisme - UDKAST</a:t>
            </a:r>
          </a:p>
        </p:txBody>
      </p:sp>
      <p:sp>
        <p:nvSpPr>
          <p:cNvPr id="13" name="Pladsholder til slidenummer 12"/>
          <p:cNvSpPr>
            <a:spLocks noGrp="1"/>
          </p:cNvSpPr>
          <p:nvPr>
            <p:ph type="sldNum" sz="quarter" idx="12"/>
          </p:nvPr>
        </p:nvSpPr>
        <p:spPr/>
        <p:txBody>
          <a:bodyPr/>
          <a:lstStyle/>
          <a:p>
            <a:fld id="{1C4DB2EE-0873-4EBD-BD17-6A767A2B9A33}" type="slidenum">
              <a:rPr lang="da-DK" smtClean="0"/>
              <a:pPr/>
              <a:t>‹nr.›</a:t>
            </a:fld>
            <a:endParaRPr lang="da-DK" dirty="0"/>
          </a:p>
        </p:txBody>
      </p:sp>
    </p:spTree>
    <p:extLst>
      <p:ext uri="{BB962C8B-B14F-4D97-AF65-F5344CB8AC3E}">
        <p14:creationId xmlns:p14="http://schemas.microsoft.com/office/powerpoint/2010/main" val="242840296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ekst og to indholdsobjekter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da-DK" dirty="0"/>
          </a:p>
        </p:txBody>
      </p:sp>
      <p:sp>
        <p:nvSpPr>
          <p:cNvPr id="3" name="Pladsholder til indhold 2"/>
          <p:cNvSpPr>
            <a:spLocks noGrp="1"/>
          </p:cNvSpPr>
          <p:nvPr>
            <p:ph sz="half" idx="1"/>
          </p:nvPr>
        </p:nvSpPr>
        <p:spPr>
          <a:xfrm>
            <a:off x="628647" y="3356992"/>
            <a:ext cx="3816000" cy="2519933"/>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p:cNvSpPr>
            <a:spLocks noGrp="1"/>
          </p:cNvSpPr>
          <p:nvPr>
            <p:ph sz="half" idx="2"/>
          </p:nvPr>
        </p:nvSpPr>
        <p:spPr>
          <a:xfrm>
            <a:off x="4716813" y="3356992"/>
            <a:ext cx="3816000" cy="2519933"/>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ladsholder til dato 13"/>
          <p:cNvSpPr>
            <a:spLocks noGrp="1"/>
          </p:cNvSpPr>
          <p:nvPr>
            <p:ph type="dt" sz="half" idx="14"/>
          </p:nvPr>
        </p:nvSpPr>
        <p:spPr/>
        <p:txBody>
          <a:bodyPr/>
          <a:lstStyle/>
          <a:p>
            <a:fld id="{97B4C28A-7D31-4164-AFC2-1B2E7EAA8BBB}" type="datetime2">
              <a:rPr lang="da-DK" smtClean="0"/>
              <a:t>1. februar 2023</a:t>
            </a:fld>
            <a:endParaRPr lang="da-DK" dirty="0"/>
          </a:p>
        </p:txBody>
      </p:sp>
      <p:sp>
        <p:nvSpPr>
          <p:cNvPr id="15" name="Pladsholder til sidefod 14"/>
          <p:cNvSpPr>
            <a:spLocks noGrp="1"/>
          </p:cNvSpPr>
          <p:nvPr>
            <p:ph type="ftr" sz="quarter" idx="15"/>
          </p:nvPr>
        </p:nvSpPr>
        <p:spPr/>
        <p:txBody>
          <a:bodyPr/>
          <a:lstStyle/>
          <a:p>
            <a:r>
              <a:rPr lang="da-DK" dirty="0"/>
              <a:t>Gruppeforløb for hjemmeboende unge med autisme - UDKAST</a:t>
            </a:r>
          </a:p>
        </p:txBody>
      </p:sp>
      <p:sp>
        <p:nvSpPr>
          <p:cNvPr id="16" name="Pladsholder til slidenummer 15"/>
          <p:cNvSpPr>
            <a:spLocks noGrp="1"/>
          </p:cNvSpPr>
          <p:nvPr>
            <p:ph type="sldNum" sz="quarter" idx="16"/>
          </p:nvPr>
        </p:nvSpPr>
        <p:spPr/>
        <p:txBody>
          <a:bodyPr/>
          <a:lstStyle/>
          <a:p>
            <a:fld id="{1C4DB2EE-0873-4EBD-BD17-6A767A2B9A33}" type="slidenum">
              <a:rPr lang="da-DK" smtClean="0"/>
              <a:pPr/>
              <a:t>‹nr.›</a:t>
            </a:fld>
            <a:endParaRPr lang="da-DK" dirty="0"/>
          </a:p>
        </p:txBody>
      </p:sp>
      <p:sp>
        <p:nvSpPr>
          <p:cNvPr id="17" name="Tekstfelt 16"/>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376579779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ekst og to billeder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da-DK"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6" name="Pladsholder til billede 5"/>
          <p:cNvSpPr>
            <a:spLocks noGrp="1"/>
          </p:cNvSpPr>
          <p:nvPr>
            <p:ph type="pic" sz="quarter" idx="14"/>
          </p:nvPr>
        </p:nvSpPr>
        <p:spPr>
          <a:xfrm>
            <a:off x="611187" y="3357563"/>
            <a:ext cx="3815999" cy="2519362"/>
          </a:xfrm>
          <a:prstGeom prst="rect">
            <a:avLst/>
          </a:prstGeom>
        </p:spPr>
        <p:txBody>
          <a:bodyPr/>
          <a:lstStyle>
            <a:lvl1pPr marL="0" indent="0" algn="ctr">
              <a:buNone/>
              <a:defRPr/>
            </a:lvl1pPr>
          </a:lstStyle>
          <a:p>
            <a:r>
              <a:rPr lang="da-DK"/>
              <a:t>Klik på ikonet for at tilføje et billede</a:t>
            </a:r>
            <a:endParaRPr lang="da-DK" dirty="0"/>
          </a:p>
        </p:txBody>
      </p:sp>
      <p:sp>
        <p:nvSpPr>
          <p:cNvPr id="11" name="Pladsholder til billede 5"/>
          <p:cNvSpPr>
            <a:spLocks noGrp="1"/>
          </p:cNvSpPr>
          <p:nvPr>
            <p:ph type="pic" sz="quarter" idx="15"/>
          </p:nvPr>
        </p:nvSpPr>
        <p:spPr>
          <a:xfrm>
            <a:off x="4716000" y="3357563"/>
            <a:ext cx="3816000" cy="2519362"/>
          </a:xfrm>
          <a:prstGeom prst="rect">
            <a:avLst/>
          </a:prstGeom>
        </p:spPr>
        <p:txBody>
          <a:bodyPr/>
          <a:lstStyle>
            <a:lvl1pPr marL="0" indent="0" algn="ctr">
              <a:buNone/>
              <a:defRPr/>
            </a:lvl1pPr>
          </a:lstStyle>
          <a:p>
            <a:r>
              <a:rPr lang="da-DK"/>
              <a:t>Klik på ikonet for at tilføje et billede</a:t>
            </a:r>
            <a:endParaRPr lang="da-DK" dirty="0"/>
          </a:p>
        </p:txBody>
      </p:sp>
      <p:sp>
        <p:nvSpPr>
          <p:cNvPr id="7" name="Pladsholder til dato 6"/>
          <p:cNvSpPr>
            <a:spLocks noGrp="1"/>
          </p:cNvSpPr>
          <p:nvPr>
            <p:ph type="dt" sz="half" idx="16"/>
          </p:nvPr>
        </p:nvSpPr>
        <p:spPr/>
        <p:txBody>
          <a:bodyPr/>
          <a:lstStyle/>
          <a:p>
            <a:fld id="{288D491C-FCCA-40DF-B9F7-C38F5EF27627}" type="datetime2">
              <a:rPr lang="da-DK" smtClean="0"/>
              <a:t>1. februar 2023</a:t>
            </a:fld>
            <a:endParaRPr lang="da-DK" dirty="0"/>
          </a:p>
        </p:txBody>
      </p:sp>
      <p:sp>
        <p:nvSpPr>
          <p:cNvPr id="12" name="Pladsholder til sidefod 11"/>
          <p:cNvSpPr>
            <a:spLocks noGrp="1"/>
          </p:cNvSpPr>
          <p:nvPr>
            <p:ph type="ftr" sz="quarter" idx="17"/>
          </p:nvPr>
        </p:nvSpPr>
        <p:spPr/>
        <p:txBody>
          <a:bodyPr/>
          <a:lstStyle/>
          <a:p>
            <a:r>
              <a:rPr lang="da-DK" dirty="0"/>
              <a:t>Gruppeforløb for hjemmeboende unge med autisme - UDKAST</a:t>
            </a:r>
          </a:p>
        </p:txBody>
      </p:sp>
      <p:sp>
        <p:nvSpPr>
          <p:cNvPr id="14" name="Pladsholder til slidenummer 13"/>
          <p:cNvSpPr>
            <a:spLocks noGrp="1"/>
          </p:cNvSpPr>
          <p:nvPr>
            <p:ph type="sldNum" sz="quarter" idx="18"/>
          </p:nvPr>
        </p:nvSpPr>
        <p:spPr/>
        <p:txBody>
          <a:bodyPr/>
          <a:lstStyle/>
          <a:p>
            <a:fld id="{1C4DB2EE-0873-4EBD-BD17-6A767A2B9A33}" type="slidenum">
              <a:rPr lang="da-DK" smtClean="0"/>
              <a:pPr/>
              <a:t>‹nr.›</a:t>
            </a:fld>
            <a:endParaRPr lang="da-DK" dirty="0"/>
          </a:p>
        </p:txBody>
      </p:sp>
      <p:sp>
        <p:nvSpPr>
          <p:cNvPr id="15" name="Tekstfelt 14"/>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589705451"/>
      </p:ext>
    </p:extLst>
  </p:cSld>
  <p:clrMapOvr>
    <a:masterClrMapping/>
  </p:clrMapOvr>
  <p:extLst>
    <p:ext uri="{DCECCB84-F9BA-43D5-87BE-67443E8EF086}">
      <p15:sldGuideLst xmlns:p15="http://schemas.microsoft.com/office/powerpoint/2012/main">
        <p15:guide id="10" orient="horz" pos="2160">
          <p15:clr>
            <a:srgbClr val="FBAE40"/>
          </p15:clr>
        </p15:guide>
        <p15:guide id="1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ekst og Indhold til venstre">
    <p:spTree>
      <p:nvGrpSpPr>
        <p:cNvPr id="1" name=""/>
        <p:cNvGrpSpPr/>
        <p:nvPr/>
      </p:nvGrpSpPr>
      <p:grpSpPr>
        <a:xfrm>
          <a:off x="0" y="0"/>
          <a:ext cx="0" cy="0"/>
          <a:chOff x="0" y="0"/>
          <a:chExt cx="0" cy="0"/>
        </a:xfrm>
      </p:grpSpPr>
      <p:sp>
        <p:nvSpPr>
          <p:cNvPr id="4" name="Pladsholder til indhold 3"/>
          <p:cNvSpPr>
            <a:spLocks noGrp="1"/>
          </p:cNvSpPr>
          <p:nvPr>
            <p:ph sz="half" idx="2"/>
          </p:nvPr>
        </p:nvSpPr>
        <p:spPr>
          <a:xfrm>
            <a:off x="4211960" y="945072"/>
            <a:ext cx="4320853" cy="4931853"/>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Pladsholder til tekst 12"/>
          <p:cNvSpPr>
            <a:spLocks noGrp="1"/>
          </p:cNvSpPr>
          <p:nvPr>
            <p:ph type="body" sz="quarter" idx="13"/>
          </p:nvPr>
        </p:nvSpPr>
        <p:spPr>
          <a:xfrm>
            <a:off x="628648" y="2204864"/>
            <a:ext cx="3475300" cy="3672061"/>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p:cNvSpPr>
            <a:spLocks noGrp="1"/>
          </p:cNvSpPr>
          <p:nvPr>
            <p:ph type="dt" sz="half" idx="14"/>
          </p:nvPr>
        </p:nvSpPr>
        <p:spPr/>
        <p:txBody>
          <a:bodyPr/>
          <a:lstStyle/>
          <a:p>
            <a:fld id="{F7D6C98F-620E-44C9-A609-1FD9F93B0EE6}" type="datetime2">
              <a:rPr lang="da-DK" smtClean="0"/>
              <a:t>1. februar 2023</a:t>
            </a:fld>
            <a:endParaRPr lang="da-DK" dirty="0"/>
          </a:p>
        </p:txBody>
      </p:sp>
      <p:sp>
        <p:nvSpPr>
          <p:cNvPr id="6" name="Pladsholder til sidefod 5"/>
          <p:cNvSpPr>
            <a:spLocks noGrp="1"/>
          </p:cNvSpPr>
          <p:nvPr>
            <p:ph type="ftr" sz="quarter" idx="15"/>
          </p:nvPr>
        </p:nvSpPr>
        <p:spPr/>
        <p:txBody>
          <a:bodyPr/>
          <a:lstStyle/>
          <a:p>
            <a:r>
              <a:rPr lang="da-DK" dirty="0"/>
              <a:t>Gruppeforløb for hjemmeboende unge med autisme - UDKAST</a:t>
            </a:r>
          </a:p>
        </p:txBody>
      </p:sp>
      <p:sp>
        <p:nvSpPr>
          <p:cNvPr id="7" name="Pladsholder til slidenummer 6"/>
          <p:cNvSpPr>
            <a:spLocks noGrp="1"/>
          </p:cNvSpPr>
          <p:nvPr>
            <p:ph type="sldNum" sz="quarter" idx="16"/>
          </p:nvPr>
        </p:nvSpPr>
        <p:spPr/>
        <p:txBody>
          <a:bodyPr/>
          <a:lstStyle/>
          <a:p>
            <a:fld id="{1C4DB2EE-0873-4EBD-BD17-6A767A2B9A33}" type="slidenum">
              <a:rPr lang="da-DK" smtClean="0"/>
              <a:pPr/>
              <a:t>‹nr.›</a:t>
            </a:fld>
            <a:endParaRPr lang="da-DK" dirty="0"/>
          </a:p>
        </p:txBody>
      </p:sp>
      <p:sp>
        <p:nvSpPr>
          <p:cNvPr id="12" name="Tekstfelt 11"/>
          <p:cNvSpPr txBox="1"/>
          <p:nvPr/>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
        <p:nvSpPr>
          <p:cNvPr id="10" name="Titel 1"/>
          <p:cNvSpPr>
            <a:spLocks noGrp="1"/>
          </p:cNvSpPr>
          <p:nvPr>
            <p:ph type="title"/>
          </p:nvPr>
        </p:nvSpPr>
        <p:spPr>
          <a:xfrm>
            <a:off x="628649" y="945071"/>
            <a:ext cx="3475299" cy="1043769"/>
          </a:xfrm>
        </p:spPr>
        <p:txBody>
          <a:bodyPr anchor="t"/>
          <a:lstStyle/>
          <a:p>
            <a:r>
              <a:rPr lang="da-DK"/>
              <a:t>Klik for at redigere i master</a:t>
            </a:r>
            <a:endParaRPr lang="da-DK" dirty="0"/>
          </a:p>
        </p:txBody>
      </p:sp>
    </p:spTree>
    <p:extLst>
      <p:ext uri="{BB962C8B-B14F-4D97-AF65-F5344CB8AC3E}">
        <p14:creationId xmlns:p14="http://schemas.microsoft.com/office/powerpoint/2010/main" val="2023834589"/>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ekst og billede til venstre">
    <p:spTree>
      <p:nvGrpSpPr>
        <p:cNvPr id="1" name=""/>
        <p:cNvGrpSpPr/>
        <p:nvPr/>
      </p:nvGrpSpPr>
      <p:grpSpPr>
        <a:xfrm>
          <a:off x="0" y="0"/>
          <a:ext cx="0" cy="0"/>
          <a:chOff x="0" y="0"/>
          <a:chExt cx="0" cy="0"/>
        </a:xfrm>
      </p:grpSpPr>
      <p:sp>
        <p:nvSpPr>
          <p:cNvPr id="13" name="Pladsholder til tekst 12"/>
          <p:cNvSpPr>
            <a:spLocks noGrp="1"/>
          </p:cNvSpPr>
          <p:nvPr>
            <p:ph type="body" sz="quarter" idx="13"/>
          </p:nvPr>
        </p:nvSpPr>
        <p:spPr>
          <a:xfrm>
            <a:off x="628648" y="2204864"/>
            <a:ext cx="3475300" cy="3672061"/>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p:cNvSpPr>
            <a:spLocks noGrp="1"/>
          </p:cNvSpPr>
          <p:nvPr>
            <p:ph type="dt" sz="half" idx="14"/>
          </p:nvPr>
        </p:nvSpPr>
        <p:spPr/>
        <p:txBody>
          <a:bodyPr/>
          <a:lstStyle/>
          <a:p>
            <a:fld id="{CF23A5FB-DDCF-4567-9127-6D88CF006196}" type="datetime2">
              <a:rPr lang="da-DK" smtClean="0"/>
              <a:t>1. februar 2023</a:t>
            </a:fld>
            <a:endParaRPr lang="da-DK" dirty="0"/>
          </a:p>
        </p:txBody>
      </p:sp>
      <p:sp>
        <p:nvSpPr>
          <p:cNvPr id="6" name="Pladsholder til sidefod 5"/>
          <p:cNvSpPr>
            <a:spLocks noGrp="1"/>
          </p:cNvSpPr>
          <p:nvPr>
            <p:ph type="ftr" sz="quarter" idx="15"/>
          </p:nvPr>
        </p:nvSpPr>
        <p:spPr/>
        <p:txBody>
          <a:bodyPr/>
          <a:lstStyle/>
          <a:p>
            <a:r>
              <a:rPr lang="da-DK" dirty="0"/>
              <a:t>Gruppeforløb for hjemmeboende unge med autisme - UDKAST</a:t>
            </a:r>
          </a:p>
        </p:txBody>
      </p:sp>
      <p:sp>
        <p:nvSpPr>
          <p:cNvPr id="7" name="Pladsholder til slidenummer 6"/>
          <p:cNvSpPr>
            <a:spLocks noGrp="1"/>
          </p:cNvSpPr>
          <p:nvPr>
            <p:ph type="sldNum" sz="quarter" idx="16"/>
          </p:nvPr>
        </p:nvSpPr>
        <p:spPr/>
        <p:txBody>
          <a:bodyPr/>
          <a:lstStyle/>
          <a:p>
            <a:fld id="{1C4DB2EE-0873-4EBD-BD17-6A767A2B9A33}" type="slidenum">
              <a:rPr lang="da-DK" smtClean="0"/>
              <a:pPr/>
              <a:t>‹nr.›</a:t>
            </a:fld>
            <a:endParaRPr lang="da-DK" dirty="0"/>
          </a:p>
        </p:txBody>
      </p:sp>
      <p:sp>
        <p:nvSpPr>
          <p:cNvPr id="12" name="Tekstfelt 11"/>
          <p:cNvSpPr txBox="1"/>
          <p:nvPr/>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
        <p:nvSpPr>
          <p:cNvPr id="8" name="Pladsholder til billede 7"/>
          <p:cNvSpPr>
            <a:spLocks noGrp="1"/>
          </p:cNvSpPr>
          <p:nvPr>
            <p:ph type="pic" sz="quarter" idx="17"/>
          </p:nvPr>
        </p:nvSpPr>
        <p:spPr>
          <a:xfrm>
            <a:off x="4211638" y="945071"/>
            <a:ext cx="4321175" cy="4931854"/>
          </a:xfrm>
          <a:prstGeom prst="rect">
            <a:avLst/>
          </a:prstGeom>
        </p:spPr>
        <p:txBody>
          <a:bodyPr/>
          <a:lstStyle/>
          <a:p>
            <a:r>
              <a:rPr lang="da-DK"/>
              <a:t>Klik på ikonet for at tilføje et billede</a:t>
            </a:r>
            <a:endParaRPr lang="da-DK" dirty="0"/>
          </a:p>
        </p:txBody>
      </p:sp>
      <p:sp>
        <p:nvSpPr>
          <p:cNvPr id="11" name="Titel 1"/>
          <p:cNvSpPr>
            <a:spLocks noGrp="1"/>
          </p:cNvSpPr>
          <p:nvPr>
            <p:ph type="title"/>
          </p:nvPr>
        </p:nvSpPr>
        <p:spPr>
          <a:xfrm>
            <a:off x="628649" y="945071"/>
            <a:ext cx="3475299" cy="1043769"/>
          </a:xfrm>
        </p:spPr>
        <p:txBody>
          <a:bodyPr anchor="t"/>
          <a:lstStyle/>
          <a:p>
            <a:r>
              <a:rPr lang="da-DK"/>
              <a:t>Klik for at redigere i master</a:t>
            </a:r>
            <a:endParaRPr lang="da-DK" dirty="0"/>
          </a:p>
        </p:txBody>
      </p:sp>
    </p:spTree>
    <p:extLst>
      <p:ext uri="{BB962C8B-B14F-4D97-AF65-F5344CB8AC3E}">
        <p14:creationId xmlns:p14="http://schemas.microsoft.com/office/powerpoint/2010/main" val="2330301248"/>
      </p:ext>
    </p:extLst>
  </p:cSld>
  <p:clrMapOvr>
    <a:masterClrMapping/>
  </p:clrMapOvr>
  <p:extLst>
    <p:ext uri="{DCECCB84-F9BA-43D5-87BE-67443E8EF086}">
      <p15:sldGuideLst xmlns:p15="http://schemas.microsoft.com/office/powerpoint/2012/main">
        <p15:guide id="1" pos="2653">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ekst og 1 billede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en-GB"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5" name="Pladsholder til billede 4"/>
          <p:cNvSpPr>
            <a:spLocks noGrp="1"/>
          </p:cNvSpPr>
          <p:nvPr>
            <p:ph type="pic" sz="quarter" idx="14"/>
          </p:nvPr>
        </p:nvSpPr>
        <p:spPr>
          <a:xfrm>
            <a:off x="629074" y="3357563"/>
            <a:ext cx="7904165" cy="2519362"/>
          </a:xfrm>
          <a:prstGeom prst="rect">
            <a:avLst/>
          </a:prstGeom>
        </p:spPr>
        <p:txBody>
          <a:bodyPr/>
          <a:lstStyle>
            <a:lvl1pPr marL="0" indent="0" algn="ctr">
              <a:buNone/>
              <a:defRPr/>
            </a:lvl1pPr>
          </a:lstStyle>
          <a:p>
            <a:r>
              <a:rPr lang="da-DK"/>
              <a:t>Klik på ikonet for at tilføje et billede</a:t>
            </a:r>
            <a:endParaRPr lang="en-GB" dirty="0"/>
          </a:p>
        </p:txBody>
      </p:sp>
      <p:sp>
        <p:nvSpPr>
          <p:cNvPr id="6" name="Pladsholder til dato 5"/>
          <p:cNvSpPr>
            <a:spLocks noGrp="1"/>
          </p:cNvSpPr>
          <p:nvPr>
            <p:ph type="dt" sz="half" idx="15"/>
          </p:nvPr>
        </p:nvSpPr>
        <p:spPr/>
        <p:txBody>
          <a:bodyPr/>
          <a:lstStyle/>
          <a:p>
            <a:fld id="{E38A3A06-058E-4C20-BE07-8A2F6FE8325A}" type="datetime2">
              <a:rPr lang="da-DK" smtClean="0"/>
              <a:t>1. februar 2023</a:t>
            </a:fld>
            <a:endParaRPr lang="en-GB" dirty="0"/>
          </a:p>
        </p:txBody>
      </p:sp>
      <p:sp>
        <p:nvSpPr>
          <p:cNvPr id="7" name="Pladsholder til sidefod 6"/>
          <p:cNvSpPr>
            <a:spLocks noGrp="1"/>
          </p:cNvSpPr>
          <p:nvPr>
            <p:ph type="ftr" sz="quarter" idx="16"/>
          </p:nvPr>
        </p:nvSpPr>
        <p:spPr/>
        <p:txBody>
          <a:bodyPr/>
          <a:lstStyle/>
          <a:p>
            <a:r>
              <a:rPr lang="da-DK"/>
              <a:t>Gruppeforløb for hjemmeboende unge med autisme</a:t>
            </a:r>
            <a:endParaRPr lang="en-GB" dirty="0"/>
          </a:p>
        </p:txBody>
      </p:sp>
      <p:sp>
        <p:nvSpPr>
          <p:cNvPr id="11" name="Pladsholder til slidenummer 10"/>
          <p:cNvSpPr>
            <a:spLocks noGrp="1"/>
          </p:cNvSpPr>
          <p:nvPr>
            <p:ph type="sldNum" sz="quarter" idx="17"/>
          </p:nvPr>
        </p:nvSpPr>
        <p:spPr/>
        <p:txBody>
          <a:bodyPr/>
          <a:lstStyle/>
          <a:p>
            <a:fld id="{1C4DB2EE-0873-4EBD-BD17-6A767A2B9A33}" type="slidenum">
              <a:rPr lang="en-GB" smtClean="0"/>
              <a:pPr/>
              <a:t>‹nr.›</a:t>
            </a:fld>
            <a:endParaRPr lang="en-GB" dirty="0"/>
          </a:p>
        </p:txBody>
      </p:sp>
      <p:sp>
        <p:nvSpPr>
          <p:cNvPr id="10" name="Tekstfelt 9"/>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3992612797"/>
      </p:ext>
    </p:extLst>
  </p:cSld>
  <p:clrMapOvr>
    <a:masterClrMapping/>
  </p:clrMapOvr>
  <p:extLst>
    <p:ext uri="{DCECCB84-F9BA-43D5-87BE-67443E8EF086}">
      <p15:sldGuideLst xmlns:p15="http://schemas.microsoft.com/office/powerpoint/2012/main">
        <p15:guide id="1" orient="horz" pos="211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auseslide gul">
    <p:bg>
      <p:bgPr>
        <a:solidFill>
          <a:srgbClr val="ECE38A"/>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353575775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ekst og 1 indhold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en-GB"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4" name="Pladsholder til indhold 3"/>
          <p:cNvSpPr>
            <a:spLocks noGrp="1"/>
          </p:cNvSpPr>
          <p:nvPr>
            <p:ph sz="quarter" idx="14"/>
          </p:nvPr>
        </p:nvSpPr>
        <p:spPr>
          <a:xfrm>
            <a:off x="628649" y="3357563"/>
            <a:ext cx="7904164" cy="2519362"/>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6" name="Pladsholder til dato 5"/>
          <p:cNvSpPr>
            <a:spLocks noGrp="1"/>
          </p:cNvSpPr>
          <p:nvPr>
            <p:ph type="dt" sz="half" idx="15"/>
          </p:nvPr>
        </p:nvSpPr>
        <p:spPr/>
        <p:txBody>
          <a:bodyPr/>
          <a:lstStyle/>
          <a:p>
            <a:fld id="{0B4F93A2-E309-4CFC-8572-9BCDD4647728}" type="datetime2">
              <a:rPr lang="da-DK" smtClean="0"/>
              <a:t>1. februar 2023</a:t>
            </a:fld>
            <a:endParaRPr lang="en-GB" dirty="0"/>
          </a:p>
        </p:txBody>
      </p:sp>
      <p:sp>
        <p:nvSpPr>
          <p:cNvPr id="7" name="Pladsholder til sidefod 6"/>
          <p:cNvSpPr>
            <a:spLocks noGrp="1"/>
          </p:cNvSpPr>
          <p:nvPr>
            <p:ph type="ftr" sz="quarter" idx="16"/>
          </p:nvPr>
        </p:nvSpPr>
        <p:spPr/>
        <p:txBody>
          <a:bodyPr/>
          <a:lstStyle/>
          <a:p>
            <a:r>
              <a:rPr lang="da-DK"/>
              <a:t>Gruppeforløb for hjemmeboende unge med autisme</a:t>
            </a:r>
            <a:endParaRPr lang="en-GB" dirty="0"/>
          </a:p>
        </p:txBody>
      </p:sp>
      <p:sp>
        <p:nvSpPr>
          <p:cNvPr id="11" name="Pladsholder til slidenummer 10"/>
          <p:cNvSpPr>
            <a:spLocks noGrp="1"/>
          </p:cNvSpPr>
          <p:nvPr>
            <p:ph type="sldNum" sz="quarter" idx="17"/>
          </p:nvPr>
        </p:nvSpPr>
        <p:spPr/>
        <p:txBody>
          <a:bodyPr/>
          <a:lstStyle/>
          <a:p>
            <a:fld id="{1C4DB2EE-0873-4EBD-BD17-6A767A2B9A33}" type="slidenum">
              <a:rPr lang="en-GB" smtClean="0"/>
              <a:pPr/>
              <a:t>‹nr.›</a:t>
            </a:fld>
            <a:endParaRPr lang="en-GB" dirty="0"/>
          </a:p>
        </p:txBody>
      </p:sp>
      <p:sp>
        <p:nvSpPr>
          <p:cNvPr id="10" name="Tekstfelt 9"/>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3008794134"/>
      </p:ext>
    </p:extLst>
  </p:cSld>
  <p:clrMapOvr>
    <a:masterClrMapping/>
  </p:clrMapOvr>
  <p:extLst>
    <p:ext uri="{DCECCB84-F9BA-43D5-87BE-67443E8EF086}">
      <p15:sldGuideLst xmlns:p15="http://schemas.microsoft.com/office/powerpoint/2012/main">
        <p15:guide id="1" orient="horz" pos="2115">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auseslide med billede">
    <p:spTree>
      <p:nvGrpSpPr>
        <p:cNvPr id="1" name=""/>
        <p:cNvGrpSpPr/>
        <p:nvPr/>
      </p:nvGrpSpPr>
      <p:grpSpPr>
        <a:xfrm>
          <a:off x="0" y="0"/>
          <a:ext cx="0" cy="0"/>
          <a:chOff x="0" y="0"/>
          <a:chExt cx="0" cy="0"/>
        </a:xfrm>
      </p:grpSpPr>
      <p:sp>
        <p:nvSpPr>
          <p:cNvPr id="15"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6"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10" name="Tekstfelt 9"/>
          <p:cNvSpPr txBox="1"/>
          <p:nvPr userDrawn="1"/>
        </p:nvSpPr>
        <p:spPr>
          <a:xfrm>
            <a:off x="-1188640" y="152636"/>
            <a:ext cx="1116124" cy="2092881"/>
          </a:xfrm>
          <a:prstGeom prst="rect">
            <a:avLst/>
          </a:prstGeom>
          <a:noFill/>
        </p:spPr>
        <p:txBody>
          <a:bodyPr wrap="square" rtlCol="0">
            <a:spAutoFit/>
          </a:bodyPr>
          <a:lstStyle/>
          <a:p>
            <a:pPr algn="l"/>
            <a:r>
              <a:rPr lang="en-GB" sz="1000" b="1" noProof="1"/>
              <a:t>For at indsætte</a:t>
            </a:r>
            <a:r>
              <a:rPr lang="en-GB" sz="1000" b="1" baseline="0" noProof="1"/>
              <a:t> et billede</a:t>
            </a:r>
            <a:r>
              <a:rPr lang="en-GB" sz="1000" baseline="0" noProof="1"/>
              <a:t>:</a:t>
            </a:r>
          </a:p>
          <a:p>
            <a:pPr algn="l"/>
            <a:endParaRPr lang="en-GB" sz="1000" baseline="0" noProof="1"/>
          </a:p>
          <a:p>
            <a:pPr algn="l"/>
            <a:r>
              <a:rPr lang="en-GB" sz="1000" baseline="0" noProof="1"/>
              <a:t>Brug ikonet i midten til at vælg et billede, læg herefter billedet bagerst, ved at højreklikke i billedet, og vælge ”send bagerst”.</a:t>
            </a:r>
            <a:endParaRPr lang="en-GB" sz="1000" noProof="1"/>
          </a:p>
        </p:txBody>
      </p:sp>
      <p:sp>
        <p:nvSpPr>
          <p:cNvPr id="13"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4"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8" name="Pladsholder til billede 3"/>
          <p:cNvSpPr>
            <a:spLocks noGrp="1"/>
          </p:cNvSpPr>
          <p:nvPr>
            <p:ph type="pic" sz="quarter" idx="10" hasCustomPrompt="1"/>
          </p:nvPr>
        </p:nvSpPr>
        <p:spPr>
          <a:xfrm>
            <a:off x="7201" y="-13389"/>
            <a:ext cx="9144000" cy="6858000"/>
          </a:xfrm>
          <a:prstGeom prst="rect">
            <a:avLst/>
          </a:prstGeom>
          <a:solidFill>
            <a:schemeClr val="bg1"/>
          </a:solidFill>
        </p:spPr>
        <p:txBody>
          <a:bodyPr/>
          <a:lstStyle>
            <a:lvl1pPr marL="0" indent="0" algn="ctr">
              <a:lnSpc>
                <a:spcPct val="100000"/>
              </a:lnSpc>
              <a:spcBef>
                <a:spcPts val="0"/>
              </a:spcBef>
              <a:buNone/>
              <a:defRPr sz="1200"/>
            </a:lvl1pPr>
          </a:lstStyle>
          <a:p>
            <a:r>
              <a:rPr lang="en-GB" dirty="0"/>
              <a:t>For at </a:t>
            </a:r>
            <a:r>
              <a:rPr lang="en-GB" dirty="0" err="1"/>
              <a:t>indsætte</a:t>
            </a:r>
            <a:r>
              <a:rPr lang="en-GB" dirty="0"/>
              <a:t> et </a:t>
            </a:r>
            <a:r>
              <a:rPr lang="en-GB" dirty="0" err="1"/>
              <a:t>billede</a:t>
            </a:r>
            <a:r>
              <a:rPr lang="en-GB" dirty="0"/>
              <a:t>:</a:t>
            </a:r>
          </a:p>
          <a:p>
            <a:r>
              <a:rPr lang="en-GB" dirty="0" err="1"/>
              <a:t>Brug</a:t>
            </a:r>
            <a:r>
              <a:rPr lang="en-GB" dirty="0"/>
              <a:t> </a:t>
            </a:r>
            <a:r>
              <a:rPr lang="en-GB" dirty="0" err="1"/>
              <a:t>ikonet</a:t>
            </a:r>
            <a:r>
              <a:rPr lang="en-GB" dirty="0"/>
              <a:t> </a:t>
            </a:r>
            <a:r>
              <a:rPr lang="en-GB" dirty="0" err="1"/>
              <a:t>i</a:t>
            </a:r>
            <a:r>
              <a:rPr lang="en-GB" dirty="0"/>
              <a:t> </a:t>
            </a:r>
            <a:r>
              <a:rPr lang="en-GB" dirty="0" err="1"/>
              <a:t>midten</a:t>
            </a:r>
            <a:r>
              <a:rPr lang="en-GB" dirty="0"/>
              <a:t>, </a:t>
            </a:r>
            <a:r>
              <a:rPr lang="en-GB" dirty="0" err="1"/>
              <a:t>vælg</a:t>
            </a:r>
            <a:r>
              <a:rPr lang="en-GB" dirty="0"/>
              <a:t> et </a:t>
            </a:r>
            <a:r>
              <a:rPr lang="en-GB" dirty="0" err="1"/>
              <a:t>billede</a:t>
            </a:r>
            <a:r>
              <a:rPr lang="en-GB" dirty="0"/>
              <a:t>, </a:t>
            </a:r>
            <a:r>
              <a:rPr lang="en-GB" dirty="0" err="1"/>
              <a:t>læg</a:t>
            </a:r>
            <a:r>
              <a:rPr lang="en-GB" dirty="0"/>
              <a:t> </a:t>
            </a:r>
            <a:r>
              <a:rPr lang="en-GB" dirty="0" err="1"/>
              <a:t>herefter</a:t>
            </a:r>
            <a:r>
              <a:rPr lang="en-GB" dirty="0"/>
              <a:t> </a:t>
            </a:r>
            <a:r>
              <a:rPr lang="en-GB" dirty="0" err="1"/>
              <a:t>billedet</a:t>
            </a:r>
            <a:r>
              <a:rPr lang="en-GB" dirty="0"/>
              <a:t> </a:t>
            </a:r>
            <a:r>
              <a:rPr lang="en-GB" dirty="0" err="1"/>
              <a:t>bagerst</a:t>
            </a:r>
            <a:r>
              <a:rPr lang="en-GB" dirty="0"/>
              <a:t>, </a:t>
            </a:r>
          </a:p>
          <a:p>
            <a:r>
              <a:rPr lang="en-GB" dirty="0" err="1"/>
              <a:t>ved</a:t>
            </a:r>
            <a:r>
              <a:rPr lang="en-GB" dirty="0"/>
              <a:t> at højreklikke </a:t>
            </a:r>
            <a:r>
              <a:rPr lang="en-GB" dirty="0" err="1"/>
              <a:t>i</a:t>
            </a:r>
            <a:r>
              <a:rPr lang="en-GB" dirty="0"/>
              <a:t> </a:t>
            </a:r>
            <a:r>
              <a:rPr lang="en-GB" dirty="0" err="1"/>
              <a:t>billedet</a:t>
            </a:r>
            <a:r>
              <a:rPr lang="en-GB" dirty="0"/>
              <a:t>, </a:t>
            </a:r>
            <a:r>
              <a:rPr lang="en-GB" dirty="0" err="1"/>
              <a:t>og</a:t>
            </a:r>
            <a:r>
              <a:rPr lang="en-GB" dirty="0"/>
              <a:t> </a:t>
            </a:r>
            <a:r>
              <a:rPr lang="en-GB" dirty="0" err="1"/>
              <a:t>vælge</a:t>
            </a:r>
            <a:r>
              <a:rPr lang="en-GB" dirty="0"/>
              <a:t> ”send </a:t>
            </a:r>
            <a:r>
              <a:rPr lang="en-GB" dirty="0" err="1"/>
              <a:t>bagerst</a:t>
            </a:r>
            <a:r>
              <a:rPr lang="en-GB" dirty="0"/>
              <a:t>”.</a:t>
            </a:r>
          </a:p>
          <a:p>
            <a:endParaRPr lang="en-GB" dirty="0"/>
          </a:p>
        </p:txBody>
      </p:sp>
    </p:spTree>
    <p:extLst>
      <p:ext uri="{BB962C8B-B14F-4D97-AF65-F5344CB8AC3E}">
        <p14:creationId xmlns:p14="http://schemas.microsoft.com/office/powerpoint/2010/main" val="261207434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GB" dirty="0"/>
          </a:p>
        </p:txBody>
      </p:sp>
      <p:sp>
        <p:nvSpPr>
          <p:cNvPr id="10" name="Pladsholder til dato 9"/>
          <p:cNvSpPr>
            <a:spLocks noGrp="1"/>
          </p:cNvSpPr>
          <p:nvPr>
            <p:ph type="dt" sz="half" idx="10"/>
          </p:nvPr>
        </p:nvSpPr>
        <p:spPr/>
        <p:txBody>
          <a:bodyPr/>
          <a:lstStyle/>
          <a:p>
            <a:fld id="{F876FB67-8E23-423A-A143-C081958EFBEC}" type="datetime2">
              <a:rPr lang="da-DK" smtClean="0"/>
              <a:t>1. februar 2023</a:t>
            </a:fld>
            <a:endParaRPr lang="en-GB" dirty="0"/>
          </a:p>
        </p:txBody>
      </p:sp>
      <p:sp>
        <p:nvSpPr>
          <p:cNvPr id="11" name="Pladsholder til sidefod 10"/>
          <p:cNvSpPr>
            <a:spLocks noGrp="1"/>
          </p:cNvSpPr>
          <p:nvPr>
            <p:ph type="ftr" sz="quarter" idx="11"/>
          </p:nvPr>
        </p:nvSpPr>
        <p:spPr/>
        <p:txBody>
          <a:bodyPr/>
          <a:lstStyle/>
          <a:p>
            <a:r>
              <a:rPr lang="da-DK"/>
              <a:t>Gruppeforløb for hjemmeboende unge med autisme</a:t>
            </a:r>
            <a:endParaRPr lang="en-GB" dirty="0"/>
          </a:p>
        </p:txBody>
      </p:sp>
      <p:sp>
        <p:nvSpPr>
          <p:cNvPr id="12" name="Pladsholder til slidenummer 11"/>
          <p:cNvSpPr>
            <a:spLocks noGrp="1"/>
          </p:cNvSpPr>
          <p:nvPr>
            <p:ph type="sldNum" sz="quarter" idx="12"/>
          </p:nvPr>
        </p:nvSpPr>
        <p:spPr/>
        <p:txBody>
          <a:bodyPr/>
          <a:lstStyle/>
          <a:p>
            <a:fld id="{1C4DB2EE-0873-4EBD-BD17-6A767A2B9A33}" type="slidenum">
              <a:rPr lang="en-GB" smtClean="0"/>
              <a:pPr/>
              <a:t>‹nr.›</a:t>
            </a:fld>
            <a:endParaRPr lang="en-GB" dirty="0"/>
          </a:p>
        </p:txBody>
      </p:sp>
      <p:sp>
        <p:nvSpPr>
          <p:cNvPr id="8" name="Tekstfelt 7"/>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267642248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11" name="Pladsholder til dato 10"/>
          <p:cNvSpPr>
            <a:spLocks noGrp="1"/>
          </p:cNvSpPr>
          <p:nvPr>
            <p:ph type="dt" sz="half" idx="10"/>
          </p:nvPr>
        </p:nvSpPr>
        <p:spPr/>
        <p:txBody>
          <a:bodyPr/>
          <a:lstStyle/>
          <a:p>
            <a:fld id="{56AFDAC2-ED3F-4FBD-A939-E9B2C3B5513A}" type="datetime2">
              <a:rPr lang="da-DK" smtClean="0"/>
              <a:t>1. februar 2023</a:t>
            </a:fld>
            <a:endParaRPr lang="en-GB" dirty="0"/>
          </a:p>
        </p:txBody>
      </p:sp>
      <p:sp>
        <p:nvSpPr>
          <p:cNvPr id="12" name="Pladsholder til sidefod 11"/>
          <p:cNvSpPr>
            <a:spLocks noGrp="1"/>
          </p:cNvSpPr>
          <p:nvPr>
            <p:ph type="ftr" sz="quarter" idx="11"/>
          </p:nvPr>
        </p:nvSpPr>
        <p:spPr/>
        <p:txBody>
          <a:bodyPr/>
          <a:lstStyle/>
          <a:p>
            <a:r>
              <a:rPr lang="da-DK"/>
              <a:t>Gruppeforløb for hjemmeboende unge med autisme</a:t>
            </a:r>
            <a:endParaRPr lang="en-GB" dirty="0"/>
          </a:p>
        </p:txBody>
      </p:sp>
      <p:sp>
        <p:nvSpPr>
          <p:cNvPr id="13" name="Pladsholder til slidenummer 12"/>
          <p:cNvSpPr>
            <a:spLocks noGrp="1"/>
          </p:cNvSpPr>
          <p:nvPr>
            <p:ph type="sldNum" sz="quarter" idx="12"/>
          </p:nvPr>
        </p:nvSpPr>
        <p:spPr/>
        <p:txBody>
          <a:bodyPr/>
          <a:lstStyle/>
          <a:p>
            <a:fld id="{1C4DB2EE-0873-4EBD-BD17-6A767A2B9A33}" type="slidenum">
              <a:rPr lang="en-GB" smtClean="0"/>
              <a:pPr/>
              <a:t>‹nr.›</a:t>
            </a:fld>
            <a:endParaRPr lang="en-GB" dirty="0"/>
          </a:p>
        </p:txBody>
      </p:sp>
      <p:sp>
        <p:nvSpPr>
          <p:cNvPr id="7" name="Tekstfelt 6"/>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159414174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illede 1">
    <p:spTree>
      <p:nvGrpSpPr>
        <p:cNvPr id="1" name=""/>
        <p:cNvGrpSpPr/>
        <p:nvPr/>
      </p:nvGrpSpPr>
      <p:grpSpPr>
        <a:xfrm>
          <a:off x="0" y="0"/>
          <a:ext cx="0" cy="0"/>
          <a:chOff x="0" y="0"/>
          <a:chExt cx="0" cy="0"/>
        </a:xfrm>
      </p:grpSpPr>
      <p:pic>
        <p:nvPicPr>
          <p:cNvPr id="13" name="Billede 12"/>
          <p:cNvPicPr>
            <a:picLocks noChangeAspect="1"/>
          </p:cNvPicPr>
          <p:nvPr userDrawn="1"/>
        </p:nvPicPr>
        <p:blipFill>
          <a:blip r:embed="rId2"/>
          <a:stretch>
            <a:fillRect/>
          </a:stretch>
        </p:blipFill>
        <p:spPr>
          <a:xfrm>
            <a:off x="0" y="0"/>
            <a:ext cx="9144000" cy="6858000"/>
          </a:xfrm>
          <a:prstGeom prst="rect">
            <a:avLst/>
          </a:prstGeom>
        </p:spPr>
      </p:pic>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9"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129200634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nr.›</a:t>
            </a:fld>
            <a:endParaRPr lang="en-US"/>
          </a:p>
        </p:txBody>
      </p:sp>
    </p:spTree>
    <p:extLst>
      <p:ext uri="{BB962C8B-B14F-4D97-AF65-F5344CB8AC3E}">
        <p14:creationId xmlns:p14="http://schemas.microsoft.com/office/powerpoint/2010/main" val="33221640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lede 2">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19"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24" name="Tekstfelt 23"/>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Tree>
    <p:extLst>
      <p:ext uri="{BB962C8B-B14F-4D97-AF65-F5344CB8AC3E}">
        <p14:creationId xmlns:p14="http://schemas.microsoft.com/office/powerpoint/2010/main" val="21409095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lede 14">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6"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0"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32109446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slide blå">
    <p:bg>
      <p:bgPr>
        <a:solidFill>
          <a:srgbClr val="CDE7EE"/>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9280513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slide mørk gul">
    <p:bg>
      <p:bgPr>
        <a:solidFill>
          <a:srgbClr val="E9D392"/>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4154882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auseslide blå">
    <p:bg>
      <p:bgPr>
        <a:solidFill>
          <a:srgbClr val="CDE7EE"/>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30627403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llede 5">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7841727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illede 9">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7218187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illede 11">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4397022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slide grå">
    <p:bg>
      <p:bgPr>
        <a:solidFill>
          <a:srgbClr val="C6C7C9"/>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29" name="Pladsholder til tekst 5"/>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rgbClr val="C6C7C9"/>
                </a:solidFill>
              </a:defRPr>
            </a:lvl1pPr>
          </a:lstStyle>
          <a:p>
            <a:pPr lvl="0"/>
            <a:r>
              <a:rPr lang="da-DK"/>
              <a:t>Rediger typografien i masterens</a:t>
            </a:r>
          </a:p>
        </p:txBody>
      </p:sp>
      <p:sp>
        <p:nvSpPr>
          <p:cNvPr id="7" name="Pladsholder til tekst 5"/>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42376963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auseslide grå">
    <p:bg>
      <p:bgPr>
        <a:solidFill>
          <a:srgbClr val="C6C7C9"/>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23352711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llede 8">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16259025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slide med billede">
    <p:spTree>
      <p:nvGrpSpPr>
        <p:cNvPr id="1" name=""/>
        <p:cNvGrpSpPr/>
        <p:nvPr/>
      </p:nvGrpSpPr>
      <p:grpSpPr>
        <a:xfrm>
          <a:off x="0" y="0"/>
          <a:ext cx="0" cy="0"/>
          <a:chOff x="0" y="0"/>
          <a:chExt cx="0" cy="0"/>
        </a:xfrm>
      </p:grpSpPr>
      <p:sp>
        <p:nvSpPr>
          <p:cNvPr id="16" name="Pladsholder til billede 3"/>
          <p:cNvSpPr>
            <a:spLocks noGrp="1"/>
          </p:cNvSpPr>
          <p:nvPr>
            <p:ph type="pic" sz="quarter" idx="10" hasCustomPrompt="1"/>
          </p:nvPr>
        </p:nvSpPr>
        <p:spPr>
          <a:xfrm>
            <a:off x="0" y="0"/>
            <a:ext cx="9144000" cy="6858000"/>
          </a:xfrm>
          <a:prstGeom prst="rect">
            <a:avLst/>
          </a:prstGeom>
          <a:noFill/>
        </p:spPr>
        <p:txBody>
          <a:bodyPr/>
          <a:lstStyle>
            <a:lvl1pPr marL="0" indent="0" algn="ctr">
              <a:lnSpc>
                <a:spcPct val="100000"/>
              </a:lnSpc>
              <a:spcBef>
                <a:spcPts val="0"/>
              </a:spcBef>
              <a:buNone/>
              <a:defRPr sz="1200"/>
            </a:lvl1pPr>
          </a:lstStyle>
          <a:p>
            <a:r>
              <a:rPr lang="da-DK" dirty="0"/>
              <a:t>For at indsætte et billede:</a:t>
            </a:r>
          </a:p>
          <a:p>
            <a:r>
              <a:rPr lang="da-DK" dirty="0"/>
              <a:t>Brug ikonet i midten, vælg et billede, læg herefter billedet bagerst, </a:t>
            </a:r>
          </a:p>
          <a:p>
            <a:r>
              <a:rPr lang="da-DK" dirty="0"/>
              <a:t>ved at højreklikke i billedet, og vælge ”send bagerst”.</a:t>
            </a:r>
          </a:p>
          <a:p>
            <a:endParaRPr lang="da-DK" dirty="0"/>
          </a:p>
        </p:txBody>
      </p:sp>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17"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2"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23" name="Tekstfelt 22"/>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Tree>
    <p:extLst>
      <p:ext uri="{BB962C8B-B14F-4D97-AF65-F5344CB8AC3E}">
        <p14:creationId xmlns:p14="http://schemas.microsoft.com/office/powerpoint/2010/main" val="2426000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idx="1"/>
          </p:nvPr>
        </p:nvSpPr>
        <p:spPr>
          <a:xfrm>
            <a:off x="628649" y="1628775"/>
            <a:ext cx="7904163" cy="4248150"/>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pic>
        <p:nvPicPr>
          <p:cNvPr id="4" name="Billede 3">
            <a:extLst>
              <a:ext uri="{FF2B5EF4-FFF2-40B4-BE49-F238E27FC236}">
                <a16:creationId xmlns:a16="http://schemas.microsoft.com/office/drawing/2014/main" id="{10847269-366A-A791-C042-BD4807A318F3}"/>
              </a:ext>
            </a:extLst>
          </p:cNvPr>
          <p:cNvPicPr>
            <a:picLocks noChangeAspect="1"/>
          </p:cNvPicPr>
          <p:nvPr userDrawn="1"/>
        </p:nvPicPr>
        <p:blipFill>
          <a:blip r:embed="rId2"/>
          <a:srcRect/>
          <a:stretch/>
        </p:blipFill>
        <p:spPr>
          <a:xfrm>
            <a:off x="0" y="5868000"/>
            <a:ext cx="9151200" cy="1194740"/>
          </a:xfrm>
          <a:prstGeom prst="rect">
            <a:avLst/>
          </a:prstGeom>
        </p:spPr>
      </p:pic>
    </p:spTree>
    <p:extLst>
      <p:ext uri="{BB962C8B-B14F-4D97-AF65-F5344CB8AC3E}">
        <p14:creationId xmlns:p14="http://schemas.microsoft.com/office/powerpoint/2010/main" val="6027142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kst og to indholdsobjekter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da-DK" dirty="0"/>
          </a:p>
        </p:txBody>
      </p:sp>
      <p:sp>
        <p:nvSpPr>
          <p:cNvPr id="3" name="Pladsholder til indhold 2"/>
          <p:cNvSpPr>
            <a:spLocks noGrp="1"/>
          </p:cNvSpPr>
          <p:nvPr>
            <p:ph sz="half" idx="1"/>
          </p:nvPr>
        </p:nvSpPr>
        <p:spPr>
          <a:xfrm>
            <a:off x="628647" y="3356992"/>
            <a:ext cx="3816000" cy="2519933"/>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p:cNvSpPr>
            <a:spLocks noGrp="1"/>
          </p:cNvSpPr>
          <p:nvPr>
            <p:ph sz="half" idx="2"/>
          </p:nvPr>
        </p:nvSpPr>
        <p:spPr>
          <a:xfrm>
            <a:off x="4716813" y="3356992"/>
            <a:ext cx="3816000" cy="2519933"/>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ladsholder til dato 13"/>
          <p:cNvSpPr>
            <a:spLocks noGrp="1"/>
          </p:cNvSpPr>
          <p:nvPr>
            <p:ph type="dt" sz="half" idx="14"/>
          </p:nvPr>
        </p:nvSpPr>
        <p:spPr/>
        <p:txBody>
          <a:bodyPr/>
          <a:lstStyle/>
          <a:p>
            <a:fld id="{37C52F80-7649-45CD-A3F0-C4D76C88C385}" type="datetime2">
              <a:rPr lang="da-DK" smtClean="0"/>
              <a:t>1. februar 2023</a:t>
            </a:fld>
            <a:endParaRPr lang="da-DK" dirty="0"/>
          </a:p>
        </p:txBody>
      </p:sp>
      <p:sp>
        <p:nvSpPr>
          <p:cNvPr id="15" name="Pladsholder til sidefod 14"/>
          <p:cNvSpPr>
            <a:spLocks noGrp="1"/>
          </p:cNvSpPr>
          <p:nvPr>
            <p:ph type="ftr" sz="quarter" idx="15"/>
          </p:nvPr>
        </p:nvSpPr>
        <p:spPr/>
        <p:txBody>
          <a:bodyPr/>
          <a:lstStyle/>
          <a:p>
            <a:r>
              <a:rPr lang="da-DK"/>
              <a:t>Indsæt titel på præsentationen i "Indsæt"- "Sidehoved/Sidefod"</a:t>
            </a:r>
            <a:endParaRPr lang="da-DK" dirty="0"/>
          </a:p>
        </p:txBody>
      </p:sp>
      <p:sp>
        <p:nvSpPr>
          <p:cNvPr id="16" name="Pladsholder til slidenummer 15"/>
          <p:cNvSpPr>
            <a:spLocks noGrp="1"/>
          </p:cNvSpPr>
          <p:nvPr>
            <p:ph type="sldNum" sz="quarter" idx="16"/>
          </p:nvPr>
        </p:nvSpPr>
        <p:spPr/>
        <p:txBody>
          <a:bodyPr/>
          <a:lstStyle/>
          <a:p>
            <a:fld id="{1C4DB2EE-0873-4EBD-BD17-6A767A2B9A33}" type="slidenum">
              <a:rPr lang="da-DK" smtClean="0"/>
              <a:pPr/>
              <a:t>‹nr.›</a:t>
            </a:fld>
            <a:endParaRPr lang="da-DK" dirty="0"/>
          </a:p>
        </p:txBody>
      </p:sp>
      <p:sp>
        <p:nvSpPr>
          <p:cNvPr id="17" name="Tekstfelt 16"/>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24606787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auseslide mørk gul">
    <p:bg>
      <p:bgPr>
        <a:solidFill>
          <a:srgbClr val="E9D392"/>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24883472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kst og to billeder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da-DK"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6" name="Pladsholder til billede 5"/>
          <p:cNvSpPr>
            <a:spLocks noGrp="1"/>
          </p:cNvSpPr>
          <p:nvPr>
            <p:ph type="pic" sz="quarter" idx="14"/>
          </p:nvPr>
        </p:nvSpPr>
        <p:spPr>
          <a:xfrm>
            <a:off x="611187" y="3357563"/>
            <a:ext cx="3815999" cy="2519362"/>
          </a:xfrm>
          <a:prstGeom prst="rect">
            <a:avLst/>
          </a:prstGeom>
        </p:spPr>
        <p:txBody>
          <a:bodyPr/>
          <a:lstStyle>
            <a:lvl1pPr marL="0" indent="0" algn="ctr">
              <a:buNone/>
              <a:defRPr/>
            </a:lvl1pPr>
          </a:lstStyle>
          <a:p>
            <a:r>
              <a:rPr lang="da-DK"/>
              <a:t>Klik på ikonet for at tilføje et billede</a:t>
            </a:r>
            <a:endParaRPr lang="da-DK" dirty="0"/>
          </a:p>
        </p:txBody>
      </p:sp>
      <p:sp>
        <p:nvSpPr>
          <p:cNvPr id="11" name="Pladsholder til billede 5"/>
          <p:cNvSpPr>
            <a:spLocks noGrp="1"/>
          </p:cNvSpPr>
          <p:nvPr>
            <p:ph type="pic" sz="quarter" idx="15"/>
          </p:nvPr>
        </p:nvSpPr>
        <p:spPr>
          <a:xfrm>
            <a:off x="4716000" y="3357563"/>
            <a:ext cx="3816000" cy="2519362"/>
          </a:xfrm>
          <a:prstGeom prst="rect">
            <a:avLst/>
          </a:prstGeom>
        </p:spPr>
        <p:txBody>
          <a:bodyPr/>
          <a:lstStyle>
            <a:lvl1pPr marL="0" indent="0" algn="ctr">
              <a:buNone/>
              <a:defRPr/>
            </a:lvl1pPr>
          </a:lstStyle>
          <a:p>
            <a:r>
              <a:rPr lang="da-DK"/>
              <a:t>Klik på ikonet for at tilføje et billede</a:t>
            </a:r>
            <a:endParaRPr lang="da-DK" dirty="0"/>
          </a:p>
        </p:txBody>
      </p:sp>
      <p:sp>
        <p:nvSpPr>
          <p:cNvPr id="7" name="Pladsholder til dato 6"/>
          <p:cNvSpPr>
            <a:spLocks noGrp="1"/>
          </p:cNvSpPr>
          <p:nvPr>
            <p:ph type="dt" sz="half" idx="16"/>
          </p:nvPr>
        </p:nvSpPr>
        <p:spPr/>
        <p:txBody>
          <a:bodyPr/>
          <a:lstStyle/>
          <a:p>
            <a:fld id="{6047E9DE-EA5B-4C07-9D6F-B3B170DD407E}" type="datetime2">
              <a:rPr lang="da-DK" smtClean="0"/>
              <a:t>1. februar 2023</a:t>
            </a:fld>
            <a:endParaRPr lang="da-DK" dirty="0"/>
          </a:p>
        </p:txBody>
      </p:sp>
      <p:sp>
        <p:nvSpPr>
          <p:cNvPr id="12" name="Pladsholder til sidefod 11"/>
          <p:cNvSpPr>
            <a:spLocks noGrp="1"/>
          </p:cNvSpPr>
          <p:nvPr>
            <p:ph type="ftr" sz="quarter" idx="17"/>
          </p:nvPr>
        </p:nvSpPr>
        <p:spPr/>
        <p:txBody>
          <a:bodyPr/>
          <a:lstStyle/>
          <a:p>
            <a:r>
              <a:rPr lang="da-DK"/>
              <a:t>Indsæt titel på præsentationen i "Indsæt"- "Sidehoved/Sidefod"</a:t>
            </a:r>
            <a:endParaRPr lang="da-DK" dirty="0"/>
          </a:p>
        </p:txBody>
      </p:sp>
      <p:sp>
        <p:nvSpPr>
          <p:cNvPr id="14" name="Pladsholder til slidenummer 13"/>
          <p:cNvSpPr>
            <a:spLocks noGrp="1"/>
          </p:cNvSpPr>
          <p:nvPr>
            <p:ph type="sldNum" sz="quarter" idx="18"/>
          </p:nvPr>
        </p:nvSpPr>
        <p:spPr/>
        <p:txBody>
          <a:bodyPr/>
          <a:lstStyle/>
          <a:p>
            <a:fld id="{1C4DB2EE-0873-4EBD-BD17-6A767A2B9A33}" type="slidenum">
              <a:rPr lang="da-DK" smtClean="0"/>
              <a:pPr/>
              <a:t>‹nr.›</a:t>
            </a:fld>
            <a:endParaRPr lang="da-DK" dirty="0"/>
          </a:p>
        </p:txBody>
      </p:sp>
      <p:sp>
        <p:nvSpPr>
          <p:cNvPr id="15" name="Tekstfelt 14"/>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1521048548"/>
      </p:ext>
    </p:extLst>
  </p:cSld>
  <p:clrMapOvr>
    <a:masterClrMapping/>
  </p:clrMapOvr>
  <p:extLst>
    <p:ext uri="{DCECCB84-F9BA-43D5-87BE-67443E8EF086}">
      <p15:sldGuideLst xmlns:p15="http://schemas.microsoft.com/office/powerpoint/2012/main">
        <p15:guide id="10" orient="horz" pos="2160" userDrawn="1">
          <p15:clr>
            <a:srgbClr val="FBAE40"/>
          </p15:clr>
        </p15:guide>
        <p15:guide id="11"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kst og Indhold til venstre">
    <p:spTree>
      <p:nvGrpSpPr>
        <p:cNvPr id="1" name=""/>
        <p:cNvGrpSpPr/>
        <p:nvPr/>
      </p:nvGrpSpPr>
      <p:grpSpPr>
        <a:xfrm>
          <a:off x="0" y="0"/>
          <a:ext cx="0" cy="0"/>
          <a:chOff x="0" y="0"/>
          <a:chExt cx="0" cy="0"/>
        </a:xfrm>
      </p:grpSpPr>
      <p:sp>
        <p:nvSpPr>
          <p:cNvPr id="4" name="Pladsholder til indhold 3"/>
          <p:cNvSpPr>
            <a:spLocks noGrp="1"/>
          </p:cNvSpPr>
          <p:nvPr>
            <p:ph sz="half" idx="2"/>
          </p:nvPr>
        </p:nvSpPr>
        <p:spPr>
          <a:xfrm>
            <a:off x="4211960" y="945072"/>
            <a:ext cx="4320853" cy="4931853"/>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Pladsholder til tekst 12"/>
          <p:cNvSpPr>
            <a:spLocks noGrp="1"/>
          </p:cNvSpPr>
          <p:nvPr>
            <p:ph type="body" sz="quarter" idx="13"/>
          </p:nvPr>
        </p:nvSpPr>
        <p:spPr>
          <a:xfrm>
            <a:off x="628648" y="2204864"/>
            <a:ext cx="3475300" cy="3672061"/>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p:cNvSpPr>
            <a:spLocks noGrp="1"/>
          </p:cNvSpPr>
          <p:nvPr>
            <p:ph type="dt" sz="half" idx="14"/>
          </p:nvPr>
        </p:nvSpPr>
        <p:spPr/>
        <p:txBody>
          <a:bodyPr/>
          <a:lstStyle/>
          <a:p>
            <a:fld id="{49EF03B9-0CDB-4EE7-A94D-B040DCCD4BB1}" type="datetime2">
              <a:rPr lang="da-DK" smtClean="0"/>
              <a:t>1. februar 2023</a:t>
            </a:fld>
            <a:endParaRPr lang="da-DK" dirty="0"/>
          </a:p>
        </p:txBody>
      </p:sp>
      <p:sp>
        <p:nvSpPr>
          <p:cNvPr id="6" name="Pladsholder til sidefod 5"/>
          <p:cNvSpPr>
            <a:spLocks noGrp="1"/>
          </p:cNvSpPr>
          <p:nvPr>
            <p:ph type="ftr" sz="quarter" idx="15"/>
          </p:nvPr>
        </p:nvSpPr>
        <p:spPr/>
        <p:txBody>
          <a:bodyPr/>
          <a:lstStyle/>
          <a:p>
            <a:r>
              <a:rPr lang="da-DK"/>
              <a:t>Indsæt titel på præsentationen i "Indsæt"- "Sidehoved/Sidefod"</a:t>
            </a:r>
            <a:endParaRPr lang="da-DK" dirty="0"/>
          </a:p>
        </p:txBody>
      </p:sp>
      <p:sp>
        <p:nvSpPr>
          <p:cNvPr id="7" name="Pladsholder til slidenummer 6"/>
          <p:cNvSpPr>
            <a:spLocks noGrp="1"/>
          </p:cNvSpPr>
          <p:nvPr>
            <p:ph type="sldNum" sz="quarter" idx="16"/>
          </p:nvPr>
        </p:nvSpPr>
        <p:spPr/>
        <p:txBody>
          <a:bodyPr/>
          <a:lstStyle/>
          <a:p>
            <a:fld id="{1C4DB2EE-0873-4EBD-BD17-6A767A2B9A33}" type="slidenum">
              <a:rPr lang="da-DK" smtClean="0"/>
              <a:pPr/>
              <a:t>‹nr.›</a:t>
            </a:fld>
            <a:endParaRPr lang="da-DK" dirty="0"/>
          </a:p>
        </p:txBody>
      </p:sp>
      <p:sp>
        <p:nvSpPr>
          <p:cNvPr id="12" name="Tekstfelt 11"/>
          <p:cNvSpPr txBox="1"/>
          <p:nvPr/>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
        <p:nvSpPr>
          <p:cNvPr id="10" name="Titel 1"/>
          <p:cNvSpPr>
            <a:spLocks noGrp="1"/>
          </p:cNvSpPr>
          <p:nvPr>
            <p:ph type="title"/>
          </p:nvPr>
        </p:nvSpPr>
        <p:spPr>
          <a:xfrm>
            <a:off x="628649" y="945071"/>
            <a:ext cx="3475299" cy="1043769"/>
          </a:xfrm>
        </p:spPr>
        <p:txBody>
          <a:bodyPr anchor="t"/>
          <a:lstStyle/>
          <a:p>
            <a:r>
              <a:rPr lang="da-DK"/>
              <a:t>Klik for at redigere i master</a:t>
            </a:r>
            <a:endParaRPr lang="da-DK" dirty="0"/>
          </a:p>
        </p:txBody>
      </p:sp>
    </p:spTree>
    <p:extLst>
      <p:ext uri="{BB962C8B-B14F-4D97-AF65-F5344CB8AC3E}">
        <p14:creationId xmlns:p14="http://schemas.microsoft.com/office/powerpoint/2010/main" val="85301653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kst og billede til venstre">
    <p:spTree>
      <p:nvGrpSpPr>
        <p:cNvPr id="1" name=""/>
        <p:cNvGrpSpPr/>
        <p:nvPr/>
      </p:nvGrpSpPr>
      <p:grpSpPr>
        <a:xfrm>
          <a:off x="0" y="0"/>
          <a:ext cx="0" cy="0"/>
          <a:chOff x="0" y="0"/>
          <a:chExt cx="0" cy="0"/>
        </a:xfrm>
      </p:grpSpPr>
      <p:sp>
        <p:nvSpPr>
          <p:cNvPr id="13" name="Pladsholder til tekst 12"/>
          <p:cNvSpPr>
            <a:spLocks noGrp="1"/>
          </p:cNvSpPr>
          <p:nvPr>
            <p:ph type="body" sz="quarter" idx="13"/>
          </p:nvPr>
        </p:nvSpPr>
        <p:spPr>
          <a:xfrm>
            <a:off x="628648" y="2204864"/>
            <a:ext cx="3475300" cy="3672061"/>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p:cNvSpPr>
            <a:spLocks noGrp="1"/>
          </p:cNvSpPr>
          <p:nvPr>
            <p:ph type="dt" sz="half" idx="14"/>
          </p:nvPr>
        </p:nvSpPr>
        <p:spPr/>
        <p:txBody>
          <a:bodyPr/>
          <a:lstStyle/>
          <a:p>
            <a:fld id="{320726CD-6D3A-47B2-B212-84B462D4BAE4}" type="datetime2">
              <a:rPr lang="da-DK" smtClean="0"/>
              <a:t>1. februar 2023</a:t>
            </a:fld>
            <a:endParaRPr lang="da-DK" dirty="0"/>
          </a:p>
        </p:txBody>
      </p:sp>
      <p:sp>
        <p:nvSpPr>
          <p:cNvPr id="6" name="Pladsholder til sidefod 5"/>
          <p:cNvSpPr>
            <a:spLocks noGrp="1"/>
          </p:cNvSpPr>
          <p:nvPr>
            <p:ph type="ftr" sz="quarter" idx="15"/>
          </p:nvPr>
        </p:nvSpPr>
        <p:spPr/>
        <p:txBody>
          <a:bodyPr/>
          <a:lstStyle/>
          <a:p>
            <a:r>
              <a:rPr lang="da-DK"/>
              <a:t>Indsæt titel på præsentationen i "Indsæt"- "Sidehoved/Sidefod"</a:t>
            </a:r>
            <a:endParaRPr lang="da-DK" dirty="0"/>
          </a:p>
        </p:txBody>
      </p:sp>
      <p:sp>
        <p:nvSpPr>
          <p:cNvPr id="7" name="Pladsholder til slidenummer 6"/>
          <p:cNvSpPr>
            <a:spLocks noGrp="1"/>
          </p:cNvSpPr>
          <p:nvPr>
            <p:ph type="sldNum" sz="quarter" idx="16"/>
          </p:nvPr>
        </p:nvSpPr>
        <p:spPr/>
        <p:txBody>
          <a:bodyPr/>
          <a:lstStyle/>
          <a:p>
            <a:fld id="{1C4DB2EE-0873-4EBD-BD17-6A767A2B9A33}" type="slidenum">
              <a:rPr lang="da-DK" smtClean="0"/>
              <a:pPr/>
              <a:t>‹nr.›</a:t>
            </a:fld>
            <a:endParaRPr lang="da-DK" dirty="0"/>
          </a:p>
        </p:txBody>
      </p:sp>
      <p:sp>
        <p:nvSpPr>
          <p:cNvPr id="12" name="Tekstfelt 11"/>
          <p:cNvSpPr txBox="1"/>
          <p:nvPr/>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
        <p:nvSpPr>
          <p:cNvPr id="8" name="Pladsholder til billede 7"/>
          <p:cNvSpPr>
            <a:spLocks noGrp="1"/>
          </p:cNvSpPr>
          <p:nvPr>
            <p:ph type="pic" sz="quarter" idx="17"/>
          </p:nvPr>
        </p:nvSpPr>
        <p:spPr>
          <a:xfrm>
            <a:off x="4211638" y="945071"/>
            <a:ext cx="4321175" cy="4931854"/>
          </a:xfrm>
          <a:prstGeom prst="rect">
            <a:avLst/>
          </a:prstGeom>
        </p:spPr>
        <p:txBody>
          <a:bodyPr/>
          <a:lstStyle/>
          <a:p>
            <a:r>
              <a:rPr lang="da-DK"/>
              <a:t>Klik på ikonet for at tilføje et billede</a:t>
            </a:r>
            <a:endParaRPr lang="da-DK" dirty="0"/>
          </a:p>
        </p:txBody>
      </p:sp>
      <p:sp>
        <p:nvSpPr>
          <p:cNvPr id="11" name="Titel 1"/>
          <p:cNvSpPr>
            <a:spLocks noGrp="1"/>
          </p:cNvSpPr>
          <p:nvPr>
            <p:ph type="title"/>
          </p:nvPr>
        </p:nvSpPr>
        <p:spPr>
          <a:xfrm>
            <a:off x="628649" y="945071"/>
            <a:ext cx="3475299" cy="1043769"/>
          </a:xfrm>
        </p:spPr>
        <p:txBody>
          <a:bodyPr anchor="t"/>
          <a:lstStyle/>
          <a:p>
            <a:r>
              <a:rPr lang="da-DK"/>
              <a:t>Klik for at redigere i master</a:t>
            </a:r>
            <a:endParaRPr lang="da-DK" dirty="0"/>
          </a:p>
        </p:txBody>
      </p:sp>
    </p:spTree>
    <p:extLst>
      <p:ext uri="{BB962C8B-B14F-4D97-AF65-F5344CB8AC3E}">
        <p14:creationId xmlns:p14="http://schemas.microsoft.com/office/powerpoint/2010/main" val="121991266"/>
      </p:ext>
    </p:extLst>
  </p:cSld>
  <p:clrMapOvr>
    <a:masterClrMapping/>
  </p:clrMapOvr>
  <p:extLst>
    <p:ext uri="{DCECCB84-F9BA-43D5-87BE-67443E8EF086}">
      <p15:sldGuideLst xmlns:p15="http://schemas.microsoft.com/office/powerpoint/2012/main">
        <p15:guide id="1" pos="2653"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ekst og 1 billede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en-GB"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5" name="Pladsholder til billede 4"/>
          <p:cNvSpPr>
            <a:spLocks noGrp="1"/>
          </p:cNvSpPr>
          <p:nvPr>
            <p:ph type="pic" sz="quarter" idx="14"/>
          </p:nvPr>
        </p:nvSpPr>
        <p:spPr>
          <a:xfrm>
            <a:off x="629074" y="3357563"/>
            <a:ext cx="7904165" cy="2519362"/>
          </a:xfrm>
          <a:prstGeom prst="rect">
            <a:avLst/>
          </a:prstGeom>
        </p:spPr>
        <p:txBody>
          <a:bodyPr/>
          <a:lstStyle>
            <a:lvl1pPr marL="0" indent="0" algn="ctr">
              <a:buNone/>
              <a:defRPr/>
            </a:lvl1pPr>
          </a:lstStyle>
          <a:p>
            <a:r>
              <a:rPr lang="da-DK"/>
              <a:t>Klik på ikonet for at tilføje et billede</a:t>
            </a:r>
            <a:endParaRPr lang="en-GB" dirty="0"/>
          </a:p>
        </p:txBody>
      </p:sp>
      <p:sp>
        <p:nvSpPr>
          <p:cNvPr id="6" name="Pladsholder til dato 5"/>
          <p:cNvSpPr>
            <a:spLocks noGrp="1"/>
          </p:cNvSpPr>
          <p:nvPr>
            <p:ph type="dt" sz="half" idx="15"/>
          </p:nvPr>
        </p:nvSpPr>
        <p:spPr/>
        <p:txBody>
          <a:bodyPr/>
          <a:lstStyle/>
          <a:p>
            <a:fld id="{C06E4A08-EC70-4514-951E-B6298A6ACC45}" type="datetime2">
              <a:rPr lang="da-DK" smtClean="0"/>
              <a:t>1. februar 2023</a:t>
            </a:fld>
            <a:endParaRPr lang="en-GB" dirty="0"/>
          </a:p>
        </p:txBody>
      </p:sp>
      <p:sp>
        <p:nvSpPr>
          <p:cNvPr id="7" name="Pladsholder til sidefod 6"/>
          <p:cNvSpPr>
            <a:spLocks noGrp="1"/>
          </p:cNvSpPr>
          <p:nvPr>
            <p:ph type="ftr" sz="quarter" idx="16"/>
          </p:nvPr>
        </p:nvSpPr>
        <p:spPr/>
        <p:txBody>
          <a:bodyPr/>
          <a:lstStyle/>
          <a:p>
            <a:r>
              <a:rPr lang="da-DK"/>
              <a:t>Indsæt titel på præsentationen i "Indsæt"- "Sidehoved/Sidefod"</a:t>
            </a:r>
            <a:endParaRPr lang="en-GB" dirty="0"/>
          </a:p>
        </p:txBody>
      </p:sp>
      <p:sp>
        <p:nvSpPr>
          <p:cNvPr id="11" name="Pladsholder til slidenummer 10"/>
          <p:cNvSpPr>
            <a:spLocks noGrp="1"/>
          </p:cNvSpPr>
          <p:nvPr>
            <p:ph type="sldNum" sz="quarter" idx="17"/>
          </p:nvPr>
        </p:nvSpPr>
        <p:spPr/>
        <p:txBody>
          <a:bodyPr/>
          <a:lstStyle/>
          <a:p>
            <a:fld id="{1C4DB2EE-0873-4EBD-BD17-6A767A2B9A33}" type="slidenum">
              <a:rPr lang="en-GB" smtClean="0"/>
              <a:pPr/>
              <a:t>‹nr.›</a:t>
            </a:fld>
            <a:endParaRPr lang="en-GB" dirty="0"/>
          </a:p>
        </p:txBody>
      </p:sp>
      <p:sp>
        <p:nvSpPr>
          <p:cNvPr id="10" name="Tekstfelt 9"/>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1977547794"/>
      </p:ext>
    </p:extLst>
  </p:cSld>
  <p:clrMapOvr>
    <a:masterClrMapping/>
  </p:clrMapOvr>
  <p:extLst>
    <p:ext uri="{DCECCB84-F9BA-43D5-87BE-67443E8EF086}">
      <p15:sldGuideLst xmlns:p15="http://schemas.microsoft.com/office/powerpoint/2012/main">
        <p15:guide id="1" orient="horz" pos="211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kst og 1 indhold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en-GB"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4" name="Pladsholder til indhold 3"/>
          <p:cNvSpPr>
            <a:spLocks noGrp="1"/>
          </p:cNvSpPr>
          <p:nvPr>
            <p:ph sz="quarter" idx="14"/>
          </p:nvPr>
        </p:nvSpPr>
        <p:spPr>
          <a:xfrm>
            <a:off x="628649" y="3357563"/>
            <a:ext cx="7904164" cy="2519362"/>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6" name="Pladsholder til dato 5"/>
          <p:cNvSpPr>
            <a:spLocks noGrp="1"/>
          </p:cNvSpPr>
          <p:nvPr>
            <p:ph type="dt" sz="half" idx="15"/>
          </p:nvPr>
        </p:nvSpPr>
        <p:spPr/>
        <p:txBody>
          <a:bodyPr/>
          <a:lstStyle/>
          <a:p>
            <a:fld id="{6C08FA49-7B9B-472D-A387-3493BBF8DBB3}" type="datetime2">
              <a:rPr lang="da-DK" smtClean="0"/>
              <a:t>1. februar 2023</a:t>
            </a:fld>
            <a:endParaRPr lang="en-GB" dirty="0"/>
          </a:p>
        </p:txBody>
      </p:sp>
      <p:sp>
        <p:nvSpPr>
          <p:cNvPr id="7" name="Pladsholder til sidefod 6"/>
          <p:cNvSpPr>
            <a:spLocks noGrp="1"/>
          </p:cNvSpPr>
          <p:nvPr>
            <p:ph type="ftr" sz="quarter" idx="16"/>
          </p:nvPr>
        </p:nvSpPr>
        <p:spPr/>
        <p:txBody>
          <a:bodyPr/>
          <a:lstStyle/>
          <a:p>
            <a:r>
              <a:rPr lang="da-DK"/>
              <a:t>Indsæt titel på præsentationen i "Indsæt"- "Sidehoved/Sidefod"</a:t>
            </a:r>
            <a:endParaRPr lang="en-GB" dirty="0"/>
          </a:p>
        </p:txBody>
      </p:sp>
      <p:sp>
        <p:nvSpPr>
          <p:cNvPr id="11" name="Pladsholder til slidenummer 10"/>
          <p:cNvSpPr>
            <a:spLocks noGrp="1"/>
          </p:cNvSpPr>
          <p:nvPr>
            <p:ph type="sldNum" sz="quarter" idx="17"/>
          </p:nvPr>
        </p:nvSpPr>
        <p:spPr/>
        <p:txBody>
          <a:bodyPr/>
          <a:lstStyle/>
          <a:p>
            <a:fld id="{1C4DB2EE-0873-4EBD-BD17-6A767A2B9A33}" type="slidenum">
              <a:rPr lang="en-GB" smtClean="0"/>
              <a:pPr/>
              <a:t>‹nr.›</a:t>
            </a:fld>
            <a:endParaRPr lang="en-GB" dirty="0"/>
          </a:p>
        </p:txBody>
      </p:sp>
      <p:sp>
        <p:nvSpPr>
          <p:cNvPr id="10" name="Tekstfelt 9"/>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3888934250"/>
      </p:ext>
    </p:extLst>
  </p:cSld>
  <p:clrMapOvr>
    <a:masterClrMapping/>
  </p:clrMapOvr>
  <p:extLst>
    <p:ext uri="{DCECCB84-F9BA-43D5-87BE-67443E8EF086}">
      <p15:sldGuideLst xmlns:p15="http://schemas.microsoft.com/office/powerpoint/2012/main">
        <p15:guide id="1" orient="horz" pos="211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auseslide med billede">
    <p:spTree>
      <p:nvGrpSpPr>
        <p:cNvPr id="1" name=""/>
        <p:cNvGrpSpPr/>
        <p:nvPr/>
      </p:nvGrpSpPr>
      <p:grpSpPr>
        <a:xfrm>
          <a:off x="0" y="0"/>
          <a:ext cx="0" cy="0"/>
          <a:chOff x="0" y="0"/>
          <a:chExt cx="0" cy="0"/>
        </a:xfrm>
      </p:grpSpPr>
      <p:sp>
        <p:nvSpPr>
          <p:cNvPr id="15"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6"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10" name="Tekstfelt 9"/>
          <p:cNvSpPr txBox="1"/>
          <p:nvPr userDrawn="1"/>
        </p:nvSpPr>
        <p:spPr>
          <a:xfrm>
            <a:off x="-1188640" y="152636"/>
            <a:ext cx="1116124" cy="2092881"/>
          </a:xfrm>
          <a:prstGeom prst="rect">
            <a:avLst/>
          </a:prstGeom>
          <a:noFill/>
        </p:spPr>
        <p:txBody>
          <a:bodyPr wrap="square" rtlCol="0">
            <a:spAutoFit/>
          </a:bodyPr>
          <a:lstStyle/>
          <a:p>
            <a:pPr algn="l"/>
            <a:r>
              <a:rPr lang="en-GB" sz="1000" b="1" noProof="1"/>
              <a:t>For at indsætte</a:t>
            </a:r>
            <a:r>
              <a:rPr lang="en-GB" sz="1000" b="1" baseline="0" noProof="1"/>
              <a:t> et billede</a:t>
            </a:r>
            <a:r>
              <a:rPr lang="en-GB" sz="1000" baseline="0" noProof="1"/>
              <a:t>:</a:t>
            </a:r>
          </a:p>
          <a:p>
            <a:pPr algn="l"/>
            <a:endParaRPr lang="en-GB" sz="1000" baseline="0" noProof="1"/>
          </a:p>
          <a:p>
            <a:pPr algn="l"/>
            <a:r>
              <a:rPr lang="en-GB" sz="1000" baseline="0" noProof="1"/>
              <a:t>Brug ikonet i midten til at vælg et billede, læg herefter billedet bagerst, ved at højreklikke i billedet, og vælge ”send bagerst”.</a:t>
            </a:r>
            <a:endParaRPr lang="en-GB" sz="1000" noProof="1"/>
          </a:p>
        </p:txBody>
      </p:sp>
      <p:sp>
        <p:nvSpPr>
          <p:cNvPr id="13"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4"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8" name="Pladsholder til billede 3"/>
          <p:cNvSpPr>
            <a:spLocks noGrp="1"/>
          </p:cNvSpPr>
          <p:nvPr>
            <p:ph type="pic" sz="quarter" idx="10" hasCustomPrompt="1"/>
          </p:nvPr>
        </p:nvSpPr>
        <p:spPr>
          <a:xfrm>
            <a:off x="7201" y="-13389"/>
            <a:ext cx="9144000" cy="6858000"/>
          </a:xfrm>
          <a:prstGeom prst="rect">
            <a:avLst/>
          </a:prstGeom>
          <a:solidFill>
            <a:schemeClr val="bg1"/>
          </a:solidFill>
        </p:spPr>
        <p:txBody>
          <a:bodyPr/>
          <a:lstStyle>
            <a:lvl1pPr marL="0" indent="0" algn="ctr">
              <a:lnSpc>
                <a:spcPct val="100000"/>
              </a:lnSpc>
              <a:spcBef>
                <a:spcPts val="0"/>
              </a:spcBef>
              <a:buNone/>
              <a:defRPr sz="1200"/>
            </a:lvl1pPr>
          </a:lstStyle>
          <a:p>
            <a:r>
              <a:rPr lang="en-GB" dirty="0"/>
              <a:t>For at </a:t>
            </a:r>
            <a:r>
              <a:rPr lang="en-GB" dirty="0" err="1"/>
              <a:t>indsætte</a:t>
            </a:r>
            <a:r>
              <a:rPr lang="en-GB" dirty="0"/>
              <a:t> et </a:t>
            </a:r>
            <a:r>
              <a:rPr lang="en-GB" dirty="0" err="1"/>
              <a:t>billede</a:t>
            </a:r>
            <a:r>
              <a:rPr lang="en-GB" dirty="0"/>
              <a:t>:</a:t>
            </a:r>
          </a:p>
          <a:p>
            <a:r>
              <a:rPr lang="en-GB" dirty="0" err="1"/>
              <a:t>Brug</a:t>
            </a:r>
            <a:r>
              <a:rPr lang="en-GB" dirty="0"/>
              <a:t> </a:t>
            </a:r>
            <a:r>
              <a:rPr lang="en-GB" dirty="0" err="1"/>
              <a:t>ikonet</a:t>
            </a:r>
            <a:r>
              <a:rPr lang="en-GB" dirty="0"/>
              <a:t> </a:t>
            </a:r>
            <a:r>
              <a:rPr lang="en-GB" dirty="0" err="1"/>
              <a:t>i</a:t>
            </a:r>
            <a:r>
              <a:rPr lang="en-GB" dirty="0"/>
              <a:t> </a:t>
            </a:r>
            <a:r>
              <a:rPr lang="en-GB" dirty="0" err="1"/>
              <a:t>midten</a:t>
            </a:r>
            <a:r>
              <a:rPr lang="en-GB" dirty="0"/>
              <a:t>, </a:t>
            </a:r>
            <a:r>
              <a:rPr lang="en-GB" dirty="0" err="1"/>
              <a:t>vælg</a:t>
            </a:r>
            <a:r>
              <a:rPr lang="en-GB" dirty="0"/>
              <a:t> et </a:t>
            </a:r>
            <a:r>
              <a:rPr lang="en-GB" dirty="0" err="1"/>
              <a:t>billede</a:t>
            </a:r>
            <a:r>
              <a:rPr lang="en-GB" dirty="0"/>
              <a:t>, </a:t>
            </a:r>
            <a:r>
              <a:rPr lang="en-GB" dirty="0" err="1"/>
              <a:t>læg</a:t>
            </a:r>
            <a:r>
              <a:rPr lang="en-GB" dirty="0"/>
              <a:t> </a:t>
            </a:r>
            <a:r>
              <a:rPr lang="en-GB" dirty="0" err="1"/>
              <a:t>herefter</a:t>
            </a:r>
            <a:r>
              <a:rPr lang="en-GB" dirty="0"/>
              <a:t> </a:t>
            </a:r>
            <a:r>
              <a:rPr lang="en-GB" dirty="0" err="1"/>
              <a:t>billedet</a:t>
            </a:r>
            <a:r>
              <a:rPr lang="en-GB" dirty="0"/>
              <a:t> </a:t>
            </a:r>
            <a:r>
              <a:rPr lang="en-GB" dirty="0" err="1"/>
              <a:t>bagerst</a:t>
            </a:r>
            <a:r>
              <a:rPr lang="en-GB" dirty="0"/>
              <a:t>, </a:t>
            </a:r>
          </a:p>
          <a:p>
            <a:r>
              <a:rPr lang="en-GB" dirty="0" err="1"/>
              <a:t>ved</a:t>
            </a:r>
            <a:r>
              <a:rPr lang="en-GB" dirty="0"/>
              <a:t> at højreklikke </a:t>
            </a:r>
            <a:r>
              <a:rPr lang="en-GB" dirty="0" err="1"/>
              <a:t>i</a:t>
            </a:r>
            <a:r>
              <a:rPr lang="en-GB" dirty="0"/>
              <a:t> </a:t>
            </a:r>
            <a:r>
              <a:rPr lang="en-GB" dirty="0" err="1"/>
              <a:t>billedet</a:t>
            </a:r>
            <a:r>
              <a:rPr lang="en-GB" dirty="0"/>
              <a:t>, </a:t>
            </a:r>
            <a:r>
              <a:rPr lang="en-GB" dirty="0" err="1"/>
              <a:t>og</a:t>
            </a:r>
            <a:r>
              <a:rPr lang="en-GB" dirty="0"/>
              <a:t> </a:t>
            </a:r>
            <a:r>
              <a:rPr lang="en-GB" dirty="0" err="1"/>
              <a:t>vælge</a:t>
            </a:r>
            <a:r>
              <a:rPr lang="en-GB" dirty="0"/>
              <a:t> ”send </a:t>
            </a:r>
            <a:r>
              <a:rPr lang="en-GB" dirty="0" err="1"/>
              <a:t>bagerst</a:t>
            </a:r>
            <a:r>
              <a:rPr lang="en-GB" dirty="0"/>
              <a:t>”.</a:t>
            </a:r>
          </a:p>
          <a:p>
            <a:endParaRPr lang="en-GB" dirty="0"/>
          </a:p>
        </p:txBody>
      </p:sp>
    </p:spTree>
    <p:extLst>
      <p:ext uri="{BB962C8B-B14F-4D97-AF65-F5344CB8AC3E}">
        <p14:creationId xmlns:p14="http://schemas.microsoft.com/office/powerpoint/2010/main" val="2852209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GB" dirty="0"/>
          </a:p>
        </p:txBody>
      </p:sp>
      <p:sp>
        <p:nvSpPr>
          <p:cNvPr id="10" name="Pladsholder til dato 9"/>
          <p:cNvSpPr>
            <a:spLocks noGrp="1"/>
          </p:cNvSpPr>
          <p:nvPr>
            <p:ph type="dt" sz="half" idx="10"/>
          </p:nvPr>
        </p:nvSpPr>
        <p:spPr/>
        <p:txBody>
          <a:bodyPr/>
          <a:lstStyle/>
          <a:p>
            <a:fld id="{4E520063-E981-4DAA-95FD-9061BC6DB133}" type="datetime2">
              <a:rPr lang="da-DK" smtClean="0"/>
              <a:t>1. februar 2023</a:t>
            </a:fld>
            <a:endParaRPr lang="en-GB" dirty="0"/>
          </a:p>
        </p:txBody>
      </p:sp>
      <p:sp>
        <p:nvSpPr>
          <p:cNvPr id="11" name="Pladsholder til sidefod 10"/>
          <p:cNvSpPr>
            <a:spLocks noGrp="1"/>
          </p:cNvSpPr>
          <p:nvPr>
            <p:ph type="ftr" sz="quarter" idx="11"/>
          </p:nvPr>
        </p:nvSpPr>
        <p:spPr/>
        <p:txBody>
          <a:bodyPr/>
          <a:lstStyle/>
          <a:p>
            <a:r>
              <a:rPr lang="da-DK"/>
              <a:t>Indsæt titel på præsentationen i "Indsæt"- "Sidehoved/Sidefod"</a:t>
            </a:r>
            <a:endParaRPr lang="en-GB" dirty="0"/>
          </a:p>
        </p:txBody>
      </p:sp>
      <p:sp>
        <p:nvSpPr>
          <p:cNvPr id="12" name="Pladsholder til slidenummer 11"/>
          <p:cNvSpPr>
            <a:spLocks noGrp="1"/>
          </p:cNvSpPr>
          <p:nvPr>
            <p:ph type="sldNum" sz="quarter" idx="12"/>
          </p:nvPr>
        </p:nvSpPr>
        <p:spPr/>
        <p:txBody>
          <a:bodyPr/>
          <a:lstStyle/>
          <a:p>
            <a:fld id="{1C4DB2EE-0873-4EBD-BD17-6A767A2B9A33}" type="slidenum">
              <a:rPr lang="en-GB" smtClean="0"/>
              <a:pPr/>
              <a:t>‹nr.›</a:t>
            </a:fld>
            <a:endParaRPr lang="en-GB" dirty="0"/>
          </a:p>
        </p:txBody>
      </p:sp>
      <p:sp>
        <p:nvSpPr>
          <p:cNvPr id="8" name="Tekstfelt 7"/>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24566763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11" name="Pladsholder til dato 10"/>
          <p:cNvSpPr>
            <a:spLocks noGrp="1"/>
          </p:cNvSpPr>
          <p:nvPr>
            <p:ph type="dt" sz="half" idx="10"/>
          </p:nvPr>
        </p:nvSpPr>
        <p:spPr/>
        <p:txBody>
          <a:bodyPr/>
          <a:lstStyle/>
          <a:p>
            <a:fld id="{3635CCDA-D3AB-409C-995A-EBFC0AB3DFA8}" type="datetime2">
              <a:rPr lang="da-DK" smtClean="0"/>
              <a:t>1. februar 2023</a:t>
            </a:fld>
            <a:endParaRPr lang="en-GB" dirty="0"/>
          </a:p>
        </p:txBody>
      </p:sp>
      <p:sp>
        <p:nvSpPr>
          <p:cNvPr id="12" name="Pladsholder til sidefod 11"/>
          <p:cNvSpPr>
            <a:spLocks noGrp="1"/>
          </p:cNvSpPr>
          <p:nvPr>
            <p:ph type="ftr" sz="quarter" idx="11"/>
          </p:nvPr>
        </p:nvSpPr>
        <p:spPr/>
        <p:txBody>
          <a:bodyPr/>
          <a:lstStyle/>
          <a:p>
            <a:r>
              <a:rPr lang="da-DK"/>
              <a:t>Indsæt titel på præsentationen i "Indsæt"- "Sidehoved/Sidefod"</a:t>
            </a:r>
            <a:endParaRPr lang="en-GB" dirty="0"/>
          </a:p>
        </p:txBody>
      </p:sp>
      <p:sp>
        <p:nvSpPr>
          <p:cNvPr id="13" name="Pladsholder til slidenummer 12"/>
          <p:cNvSpPr>
            <a:spLocks noGrp="1"/>
          </p:cNvSpPr>
          <p:nvPr>
            <p:ph type="sldNum" sz="quarter" idx="12"/>
          </p:nvPr>
        </p:nvSpPr>
        <p:spPr/>
        <p:txBody>
          <a:bodyPr/>
          <a:lstStyle/>
          <a:p>
            <a:fld id="{1C4DB2EE-0873-4EBD-BD17-6A767A2B9A33}" type="slidenum">
              <a:rPr lang="en-GB" smtClean="0"/>
              <a:pPr/>
              <a:t>‹nr.›</a:t>
            </a:fld>
            <a:endParaRPr lang="en-GB" dirty="0"/>
          </a:p>
        </p:txBody>
      </p:sp>
      <p:sp>
        <p:nvSpPr>
          <p:cNvPr id="7" name="Tekstfelt 6"/>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27494174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llede 1">
    <p:spTree>
      <p:nvGrpSpPr>
        <p:cNvPr id="1" name=""/>
        <p:cNvGrpSpPr/>
        <p:nvPr/>
      </p:nvGrpSpPr>
      <p:grpSpPr>
        <a:xfrm>
          <a:off x="0" y="0"/>
          <a:ext cx="0" cy="0"/>
          <a:chOff x="0" y="0"/>
          <a:chExt cx="0" cy="0"/>
        </a:xfrm>
      </p:grpSpPr>
      <p:pic>
        <p:nvPicPr>
          <p:cNvPr id="13" name="Billede 12"/>
          <p:cNvPicPr>
            <a:picLocks noChangeAspect="1"/>
          </p:cNvPicPr>
          <p:nvPr userDrawn="1"/>
        </p:nvPicPr>
        <p:blipFill>
          <a:blip r:embed="rId2"/>
          <a:stretch>
            <a:fillRect/>
          </a:stretch>
        </p:blipFill>
        <p:spPr>
          <a:xfrm>
            <a:off x="0" y="0"/>
            <a:ext cx="9144000" cy="6858000"/>
          </a:xfrm>
          <a:prstGeom prst="rect">
            <a:avLst/>
          </a:prstGeom>
        </p:spPr>
      </p:pic>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9"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8595114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0000" y="2062800"/>
            <a:ext cx="8784000" cy="1440000"/>
          </a:xfrm>
        </p:spPr>
        <p:txBody>
          <a:bodyPr/>
          <a:lstStyle>
            <a:lvl1pPr>
              <a:defRPr/>
            </a:lvl1pPr>
          </a:lstStyle>
          <a:p>
            <a:r>
              <a:rPr lang="en-US" dirty="0"/>
              <a:t>Click to edit Master title style</a:t>
            </a:r>
            <a:endParaRPr lang="da-DK" dirty="0"/>
          </a:p>
        </p:txBody>
      </p:sp>
      <p:sp>
        <p:nvSpPr>
          <p:cNvPr id="3" name="Subtitle 2"/>
          <p:cNvSpPr>
            <a:spLocks noGrp="1"/>
          </p:cNvSpPr>
          <p:nvPr>
            <p:ph type="subTitle" idx="1"/>
          </p:nvPr>
        </p:nvSpPr>
        <p:spPr>
          <a:xfrm>
            <a:off x="1371600" y="3189600"/>
            <a:ext cx="6400800" cy="175260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dirty="0"/>
              <a:t>Click to edit Master subtitle style</a:t>
            </a:r>
            <a:endParaRPr lang="da-DK" dirty="0"/>
          </a:p>
        </p:txBody>
      </p:sp>
      <p:sp>
        <p:nvSpPr>
          <p:cNvPr id="4" name="Rectangle 4"/>
          <p:cNvSpPr>
            <a:spLocks noGrp="1" noChangeArrowheads="1"/>
          </p:cNvSpPr>
          <p:nvPr>
            <p:ph type="dt" sz="half" idx="10"/>
          </p:nvPr>
        </p:nvSpPr>
        <p:spPr/>
        <p:txBody>
          <a:bodyPr/>
          <a:lstStyle>
            <a:lvl1pPr>
              <a:defRPr/>
            </a:lvl1pPr>
          </a:lstStyle>
          <a:p>
            <a:pPr>
              <a:defRPr/>
            </a:pPr>
            <a:endParaRPr lang="da-DK" altLang="da-DK">
              <a:solidFill>
                <a:srgbClr val="808080"/>
              </a:solidFill>
            </a:endParaRPr>
          </a:p>
        </p:txBody>
      </p:sp>
      <p:sp>
        <p:nvSpPr>
          <p:cNvPr id="5" name="Rectangle 5"/>
          <p:cNvSpPr>
            <a:spLocks noGrp="1" noChangeArrowheads="1"/>
          </p:cNvSpPr>
          <p:nvPr>
            <p:ph type="ftr" sz="quarter" idx="11"/>
          </p:nvPr>
        </p:nvSpPr>
        <p:spPr/>
        <p:txBody>
          <a:bodyPr/>
          <a:lstStyle>
            <a:lvl1pPr>
              <a:defRPr/>
            </a:lvl1pPr>
          </a:lstStyle>
          <a:p>
            <a:pPr>
              <a:defRPr/>
            </a:pPr>
            <a:r>
              <a:rPr lang="en-US">
                <a:solidFill>
                  <a:srgbClr val="000000"/>
                </a:solidFill>
              </a:rPr>
              <a:t>  © The Kempler Institute of Scandinavia A/S </a:t>
            </a:r>
            <a:endParaRPr lang="da-DK">
              <a:solidFill>
                <a:srgbClr val="000000"/>
              </a:solidFill>
            </a:endParaRPr>
          </a:p>
        </p:txBody>
      </p:sp>
    </p:spTree>
    <p:extLst>
      <p:ext uri="{BB962C8B-B14F-4D97-AF65-F5344CB8AC3E}">
        <p14:creationId xmlns:p14="http://schemas.microsoft.com/office/powerpoint/2010/main" val="24063737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illede 6">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144333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413792"/>
            <a:ext cx="8229600" cy="1143000"/>
          </a:xfrm>
        </p:spPr>
        <p:txBody>
          <a:bodyPr/>
          <a:lstStyle>
            <a:lvl1pPr>
              <a:defRPr/>
            </a:lvl1pPr>
          </a:lstStyle>
          <a:p>
            <a:r>
              <a:rPr lang="en-US" dirty="0"/>
              <a:t>Click to edit Master title style</a:t>
            </a:r>
            <a:endParaRPr lang="da-DK" dirty="0"/>
          </a:p>
        </p:txBody>
      </p:sp>
      <p:sp>
        <p:nvSpPr>
          <p:cNvPr id="3" name="Content Placeholder 2"/>
          <p:cNvSpPr>
            <a:spLocks noGrp="1"/>
          </p:cNvSpPr>
          <p:nvPr>
            <p:ph idx="1"/>
          </p:nvPr>
        </p:nvSpPr>
        <p:spPr>
          <a:xfrm>
            <a:off x="457200" y="1711351"/>
            <a:ext cx="8229600" cy="4453955"/>
          </a:xfrm>
        </p:spPr>
        <p:txBody>
          <a:bodyPr/>
          <a:lstStyle>
            <a:lvl1pPr>
              <a:defRPr sz="2100"/>
            </a:lvl1pPr>
            <a:lvl2pPr>
              <a:defRPr sz="1950"/>
            </a:lvl2pPr>
            <a:lvl3pPr>
              <a:defRPr sz="15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4" name="Rectangle 4"/>
          <p:cNvSpPr>
            <a:spLocks noGrp="1" noChangeArrowheads="1"/>
          </p:cNvSpPr>
          <p:nvPr>
            <p:ph type="dt" sz="half" idx="10"/>
          </p:nvPr>
        </p:nvSpPr>
        <p:spPr/>
        <p:txBody>
          <a:bodyPr/>
          <a:lstStyle>
            <a:lvl1pPr>
              <a:defRPr/>
            </a:lvl1pPr>
          </a:lstStyle>
          <a:p>
            <a:pPr>
              <a:defRPr/>
            </a:pPr>
            <a:endParaRPr lang="da-DK" altLang="da-DK">
              <a:solidFill>
                <a:srgbClr val="808080"/>
              </a:solidFill>
            </a:endParaRPr>
          </a:p>
        </p:txBody>
      </p:sp>
      <p:sp>
        <p:nvSpPr>
          <p:cNvPr id="5" name="Rectangle 5"/>
          <p:cNvSpPr>
            <a:spLocks noGrp="1" noChangeArrowheads="1"/>
          </p:cNvSpPr>
          <p:nvPr>
            <p:ph type="ftr" sz="quarter" idx="11"/>
          </p:nvPr>
        </p:nvSpPr>
        <p:spPr/>
        <p:txBody>
          <a:bodyPr/>
          <a:lstStyle>
            <a:lvl1pPr>
              <a:defRPr/>
            </a:lvl1pPr>
          </a:lstStyle>
          <a:p>
            <a:pPr>
              <a:defRPr/>
            </a:pPr>
            <a:r>
              <a:rPr lang="en-US">
                <a:solidFill>
                  <a:srgbClr val="000000"/>
                </a:solidFill>
              </a:rPr>
              <a:t>  © The Kempler Institute of Scandinavia A/S </a:t>
            </a:r>
            <a:endParaRPr lang="da-DK">
              <a:solidFill>
                <a:srgbClr val="000000"/>
              </a:solidFill>
            </a:endParaRPr>
          </a:p>
        </p:txBody>
      </p:sp>
    </p:spTree>
    <p:extLst>
      <p:ext uri="{BB962C8B-B14F-4D97-AF65-F5344CB8AC3E}">
        <p14:creationId xmlns:p14="http://schemas.microsoft.com/office/powerpoint/2010/main" val="39428005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a:t>Click to edit Master title style</a:t>
            </a:r>
            <a:endParaRPr lang="da-DK"/>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4"/>
          <p:cNvSpPr>
            <a:spLocks noGrp="1" noChangeArrowheads="1"/>
          </p:cNvSpPr>
          <p:nvPr>
            <p:ph type="dt" sz="half" idx="10"/>
          </p:nvPr>
        </p:nvSpPr>
        <p:spPr/>
        <p:txBody>
          <a:bodyPr/>
          <a:lstStyle>
            <a:lvl1pPr>
              <a:defRPr/>
            </a:lvl1pPr>
          </a:lstStyle>
          <a:p>
            <a:pPr>
              <a:defRPr/>
            </a:pPr>
            <a:endParaRPr lang="da-DK" altLang="da-DK">
              <a:solidFill>
                <a:srgbClr val="808080"/>
              </a:solidFill>
            </a:endParaRPr>
          </a:p>
        </p:txBody>
      </p:sp>
      <p:sp>
        <p:nvSpPr>
          <p:cNvPr id="5" name="Rectangle 5"/>
          <p:cNvSpPr>
            <a:spLocks noGrp="1" noChangeArrowheads="1"/>
          </p:cNvSpPr>
          <p:nvPr>
            <p:ph type="ftr" sz="quarter" idx="11"/>
          </p:nvPr>
        </p:nvSpPr>
        <p:spPr/>
        <p:txBody>
          <a:bodyPr/>
          <a:lstStyle>
            <a:lvl1pPr>
              <a:defRPr/>
            </a:lvl1pPr>
          </a:lstStyle>
          <a:p>
            <a:pPr>
              <a:defRPr/>
            </a:pPr>
            <a:r>
              <a:rPr lang="en-US">
                <a:solidFill>
                  <a:srgbClr val="000000"/>
                </a:solidFill>
              </a:rPr>
              <a:t>  © The Kempler Institute of Scandinavia A/S </a:t>
            </a:r>
            <a:endParaRPr lang="da-DK">
              <a:solidFill>
                <a:srgbClr val="000000"/>
              </a:solidFill>
            </a:endParaRPr>
          </a:p>
        </p:txBody>
      </p:sp>
    </p:spTree>
    <p:extLst>
      <p:ext uri="{BB962C8B-B14F-4D97-AF65-F5344CB8AC3E}">
        <p14:creationId xmlns:p14="http://schemas.microsoft.com/office/powerpoint/2010/main" val="21634498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da-DK" dirty="0"/>
          </a:p>
        </p:txBody>
      </p:sp>
      <p:sp>
        <p:nvSpPr>
          <p:cNvPr id="3" name="Content Placeholder 2"/>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4" name="Content Placeholder 3"/>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5" name="Rectangle 4"/>
          <p:cNvSpPr>
            <a:spLocks noGrp="1" noChangeArrowheads="1"/>
          </p:cNvSpPr>
          <p:nvPr>
            <p:ph type="dt" sz="half" idx="10"/>
          </p:nvPr>
        </p:nvSpPr>
        <p:spPr/>
        <p:txBody>
          <a:bodyPr/>
          <a:lstStyle>
            <a:lvl1pPr>
              <a:defRPr/>
            </a:lvl1pPr>
          </a:lstStyle>
          <a:p>
            <a:pPr>
              <a:defRPr/>
            </a:pPr>
            <a:endParaRPr lang="da-DK" altLang="da-DK">
              <a:solidFill>
                <a:srgbClr val="808080"/>
              </a:solidFill>
            </a:endParaRPr>
          </a:p>
        </p:txBody>
      </p:sp>
      <p:sp>
        <p:nvSpPr>
          <p:cNvPr id="6" name="Rectangle 5"/>
          <p:cNvSpPr>
            <a:spLocks noGrp="1" noChangeArrowheads="1"/>
          </p:cNvSpPr>
          <p:nvPr>
            <p:ph type="ftr" sz="quarter" idx="11"/>
          </p:nvPr>
        </p:nvSpPr>
        <p:spPr/>
        <p:txBody>
          <a:bodyPr/>
          <a:lstStyle>
            <a:lvl1pPr>
              <a:defRPr/>
            </a:lvl1pPr>
          </a:lstStyle>
          <a:p>
            <a:pPr>
              <a:defRPr/>
            </a:pPr>
            <a:r>
              <a:rPr lang="en-US">
                <a:solidFill>
                  <a:srgbClr val="000000"/>
                </a:solidFill>
              </a:rPr>
              <a:t>  © The Kempler Institute of Scandinavia A/S </a:t>
            </a:r>
            <a:endParaRPr lang="da-DK">
              <a:solidFill>
                <a:srgbClr val="000000"/>
              </a:solidFill>
            </a:endParaRPr>
          </a:p>
        </p:txBody>
      </p:sp>
    </p:spTree>
    <p:extLst>
      <p:ext uri="{BB962C8B-B14F-4D97-AF65-F5344CB8AC3E}">
        <p14:creationId xmlns:p14="http://schemas.microsoft.com/office/powerpoint/2010/main" val="13914645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da-DK"/>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Rectangle 4"/>
          <p:cNvSpPr>
            <a:spLocks noGrp="1" noChangeArrowheads="1"/>
          </p:cNvSpPr>
          <p:nvPr>
            <p:ph type="dt" sz="half" idx="10"/>
          </p:nvPr>
        </p:nvSpPr>
        <p:spPr/>
        <p:txBody>
          <a:bodyPr/>
          <a:lstStyle>
            <a:lvl1pPr>
              <a:defRPr/>
            </a:lvl1pPr>
          </a:lstStyle>
          <a:p>
            <a:pPr>
              <a:defRPr/>
            </a:pPr>
            <a:endParaRPr lang="da-DK" altLang="da-DK">
              <a:solidFill>
                <a:srgbClr val="808080"/>
              </a:solidFill>
            </a:endParaRPr>
          </a:p>
        </p:txBody>
      </p:sp>
      <p:sp>
        <p:nvSpPr>
          <p:cNvPr id="8" name="Rectangle 5"/>
          <p:cNvSpPr>
            <a:spLocks noGrp="1" noChangeArrowheads="1"/>
          </p:cNvSpPr>
          <p:nvPr>
            <p:ph type="ftr" sz="quarter" idx="11"/>
          </p:nvPr>
        </p:nvSpPr>
        <p:spPr/>
        <p:txBody>
          <a:bodyPr/>
          <a:lstStyle>
            <a:lvl1pPr>
              <a:defRPr/>
            </a:lvl1pPr>
          </a:lstStyle>
          <a:p>
            <a:pPr>
              <a:defRPr/>
            </a:pPr>
            <a:r>
              <a:rPr lang="en-US">
                <a:solidFill>
                  <a:srgbClr val="000000"/>
                </a:solidFill>
              </a:rPr>
              <a:t>  © The Kempler Institute of Scandinavia A/S </a:t>
            </a:r>
            <a:endParaRPr lang="da-DK">
              <a:solidFill>
                <a:srgbClr val="000000"/>
              </a:solidFill>
            </a:endParaRPr>
          </a:p>
        </p:txBody>
      </p:sp>
    </p:spTree>
    <p:extLst>
      <p:ext uri="{BB962C8B-B14F-4D97-AF65-F5344CB8AC3E}">
        <p14:creationId xmlns:p14="http://schemas.microsoft.com/office/powerpoint/2010/main" val="7865952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a-DK"/>
          </a:p>
        </p:txBody>
      </p:sp>
      <p:sp>
        <p:nvSpPr>
          <p:cNvPr id="3" name="Rectangle 4"/>
          <p:cNvSpPr>
            <a:spLocks noGrp="1" noChangeArrowheads="1"/>
          </p:cNvSpPr>
          <p:nvPr>
            <p:ph type="dt" sz="half" idx="10"/>
          </p:nvPr>
        </p:nvSpPr>
        <p:spPr/>
        <p:txBody>
          <a:bodyPr/>
          <a:lstStyle>
            <a:lvl1pPr>
              <a:defRPr/>
            </a:lvl1pPr>
          </a:lstStyle>
          <a:p>
            <a:pPr>
              <a:defRPr/>
            </a:pPr>
            <a:endParaRPr lang="da-DK" altLang="da-DK">
              <a:solidFill>
                <a:srgbClr val="808080"/>
              </a:solidFill>
            </a:endParaRPr>
          </a:p>
        </p:txBody>
      </p:sp>
      <p:sp>
        <p:nvSpPr>
          <p:cNvPr id="4" name="Rectangle 5"/>
          <p:cNvSpPr>
            <a:spLocks noGrp="1" noChangeArrowheads="1"/>
          </p:cNvSpPr>
          <p:nvPr>
            <p:ph type="ftr" sz="quarter" idx="11"/>
          </p:nvPr>
        </p:nvSpPr>
        <p:spPr/>
        <p:txBody>
          <a:bodyPr/>
          <a:lstStyle>
            <a:lvl1pPr>
              <a:defRPr/>
            </a:lvl1pPr>
          </a:lstStyle>
          <a:p>
            <a:pPr>
              <a:defRPr/>
            </a:pPr>
            <a:r>
              <a:rPr lang="en-US">
                <a:solidFill>
                  <a:srgbClr val="000000"/>
                </a:solidFill>
              </a:rPr>
              <a:t>  © The Kempler Institute of Scandinavia A/S </a:t>
            </a:r>
            <a:endParaRPr lang="da-DK">
              <a:solidFill>
                <a:srgbClr val="000000"/>
              </a:solidFill>
            </a:endParaRPr>
          </a:p>
        </p:txBody>
      </p:sp>
    </p:spTree>
    <p:extLst>
      <p:ext uri="{BB962C8B-B14F-4D97-AF65-F5344CB8AC3E}">
        <p14:creationId xmlns:p14="http://schemas.microsoft.com/office/powerpoint/2010/main" val="32645760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da-DK" altLang="da-DK">
              <a:solidFill>
                <a:srgbClr val="808080"/>
              </a:solidFill>
            </a:endParaRPr>
          </a:p>
        </p:txBody>
      </p:sp>
      <p:sp>
        <p:nvSpPr>
          <p:cNvPr id="3" name="Rectangle 5"/>
          <p:cNvSpPr>
            <a:spLocks noGrp="1" noChangeArrowheads="1"/>
          </p:cNvSpPr>
          <p:nvPr>
            <p:ph type="ftr" sz="quarter" idx="11"/>
          </p:nvPr>
        </p:nvSpPr>
        <p:spPr/>
        <p:txBody>
          <a:bodyPr/>
          <a:lstStyle>
            <a:lvl1pPr>
              <a:defRPr/>
            </a:lvl1pPr>
          </a:lstStyle>
          <a:p>
            <a:pPr>
              <a:defRPr/>
            </a:pPr>
            <a:r>
              <a:rPr lang="en-US">
                <a:solidFill>
                  <a:srgbClr val="000000"/>
                </a:solidFill>
              </a:rPr>
              <a:t>  © The Kempler Institute of Scandinavia A/S </a:t>
            </a:r>
            <a:endParaRPr lang="da-DK">
              <a:solidFill>
                <a:srgbClr val="000000"/>
              </a:solidFill>
            </a:endParaRPr>
          </a:p>
        </p:txBody>
      </p:sp>
    </p:spTree>
    <p:extLst>
      <p:ext uri="{BB962C8B-B14F-4D97-AF65-F5344CB8AC3E}">
        <p14:creationId xmlns:p14="http://schemas.microsoft.com/office/powerpoint/2010/main" val="365372163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500" b="1"/>
            </a:lvl1pPr>
          </a:lstStyle>
          <a:p>
            <a:r>
              <a:rPr lang="en-US"/>
              <a:t>Click to edit Master title style</a:t>
            </a:r>
            <a:endParaRPr lang="da-DK"/>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4"/>
          <p:cNvSpPr>
            <a:spLocks noGrp="1" noChangeArrowheads="1"/>
          </p:cNvSpPr>
          <p:nvPr>
            <p:ph type="dt" sz="half" idx="10"/>
          </p:nvPr>
        </p:nvSpPr>
        <p:spPr/>
        <p:txBody>
          <a:bodyPr/>
          <a:lstStyle>
            <a:lvl1pPr>
              <a:defRPr/>
            </a:lvl1pPr>
          </a:lstStyle>
          <a:p>
            <a:pPr>
              <a:defRPr/>
            </a:pPr>
            <a:endParaRPr lang="da-DK" altLang="da-DK">
              <a:solidFill>
                <a:srgbClr val="808080"/>
              </a:solidFill>
            </a:endParaRPr>
          </a:p>
        </p:txBody>
      </p:sp>
      <p:sp>
        <p:nvSpPr>
          <p:cNvPr id="6" name="Rectangle 5"/>
          <p:cNvSpPr>
            <a:spLocks noGrp="1" noChangeArrowheads="1"/>
          </p:cNvSpPr>
          <p:nvPr>
            <p:ph type="ftr" sz="quarter" idx="11"/>
          </p:nvPr>
        </p:nvSpPr>
        <p:spPr/>
        <p:txBody>
          <a:bodyPr/>
          <a:lstStyle>
            <a:lvl1pPr>
              <a:defRPr/>
            </a:lvl1pPr>
          </a:lstStyle>
          <a:p>
            <a:pPr>
              <a:defRPr/>
            </a:pPr>
            <a:r>
              <a:rPr lang="en-US">
                <a:solidFill>
                  <a:srgbClr val="000000"/>
                </a:solidFill>
              </a:rPr>
              <a:t>  © The Kempler Institute of Scandinavia A/S </a:t>
            </a:r>
            <a:endParaRPr lang="da-DK">
              <a:solidFill>
                <a:srgbClr val="000000"/>
              </a:solidFill>
            </a:endParaRPr>
          </a:p>
        </p:txBody>
      </p:sp>
    </p:spTree>
    <p:extLst>
      <p:ext uri="{BB962C8B-B14F-4D97-AF65-F5344CB8AC3E}">
        <p14:creationId xmlns:p14="http://schemas.microsoft.com/office/powerpoint/2010/main" val="30034903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endParaRPr lang="da-DK"/>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a:t>Click icon to add picture</a:t>
            </a:r>
            <a:endParaRPr lang="da-DK"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4"/>
          <p:cNvSpPr>
            <a:spLocks noGrp="1" noChangeArrowheads="1"/>
          </p:cNvSpPr>
          <p:nvPr>
            <p:ph type="dt" sz="half" idx="10"/>
          </p:nvPr>
        </p:nvSpPr>
        <p:spPr/>
        <p:txBody>
          <a:bodyPr/>
          <a:lstStyle>
            <a:lvl1pPr>
              <a:defRPr/>
            </a:lvl1pPr>
          </a:lstStyle>
          <a:p>
            <a:pPr>
              <a:defRPr/>
            </a:pPr>
            <a:endParaRPr lang="da-DK" altLang="da-DK">
              <a:solidFill>
                <a:srgbClr val="808080"/>
              </a:solidFill>
            </a:endParaRPr>
          </a:p>
        </p:txBody>
      </p:sp>
      <p:sp>
        <p:nvSpPr>
          <p:cNvPr id="6" name="Rectangle 5"/>
          <p:cNvSpPr>
            <a:spLocks noGrp="1" noChangeArrowheads="1"/>
          </p:cNvSpPr>
          <p:nvPr>
            <p:ph type="ftr" sz="quarter" idx="11"/>
          </p:nvPr>
        </p:nvSpPr>
        <p:spPr/>
        <p:txBody>
          <a:bodyPr/>
          <a:lstStyle>
            <a:lvl1pPr>
              <a:defRPr/>
            </a:lvl1pPr>
          </a:lstStyle>
          <a:p>
            <a:pPr>
              <a:defRPr/>
            </a:pPr>
            <a:r>
              <a:rPr lang="en-US">
                <a:solidFill>
                  <a:srgbClr val="000000"/>
                </a:solidFill>
              </a:rPr>
              <a:t>  © The Kempler Institute of Scandinavia A/S </a:t>
            </a:r>
            <a:endParaRPr lang="da-DK">
              <a:solidFill>
                <a:srgbClr val="000000"/>
              </a:solidFill>
            </a:endParaRPr>
          </a:p>
        </p:txBody>
      </p:sp>
    </p:spTree>
    <p:extLst>
      <p:ext uri="{BB962C8B-B14F-4D97-AF65-F5344CB8AC3E}">
        <p14:creationId xmlns:p14="http://schemas.microsoft.com/office/powerpoint/2010/main" val="27320510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a-DK"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Rectangle 4"/>
          <p:cNvSpPr>
            <a:spLocks noGrp="1" noChangeArrowheads="1"/>
          </p:cNvSpPr>
          <p:nvPr>
            <p:ph type="dt" sz="half" idx="10"/>
          </p:nvPr>
        </p:nvSpPr>
        <p:spPr/>
        <p:txBody>
          <a:bodyPr/>
          <a:lstStyle>
            <a:lvl1pPr>
              <a:defRPr/>
            </a:lvl1pPr>
          </a:lstStyle>
          <a:p>
            <a:pPr>
              <a:defRPr/>
            </a:pPr>
            <a:endParaRPr lang="da-DK" altLang="da-DK">
              <a:solidFill>
                <a:srgbClr val="808080"/>
              </a:solidFill>
            </a:endParaRPr>
          </a:p>
        </p:txBody>
      </p:sp>
      <p:sp>
        <p:nvSpPr>
          <p:cNvPr id="5" name="Rectangle 5"/>
          <p:cNvSpPr>
            <a:spLocks noGrp="1" noChangeArrowheads="1"/>
          </p:cNvSpPr>
          <p:nvPr>
            <p:ph type="ftr" sz="quarter" idx="11"/>
          </p:nvPr>
        </p:nvSpPr>
        <p:spPr/>
        <p:txBody>
          <a:bodyPr/>
          <a:lstStyle>
            <a:lvl1pPr>
              <a:defRPr/>
            </a:lvl1pPr>
          </a:lstStyle>
          <a:p>
            <a:pPr>
              <a:defRPr/>
            </a:pPr>
            <a:r>
              <a:rPr lang="en-US">
                <a:solidFill>
                  <a:srgbClr val="000000"/>
                </a:solidFill>
              </a:rPr>
              <a:t>  © The Kempler Institute of Scandinavia A/S </a:t>
            </a:r>
            <a:endParaRPr lang="da-DK">
              <a:solidFill>
                <a:srgbClr val="000000"/>
              </a:solidFill>
            </a:endParaRPr>
          </a:p>
        </p:txBody>
      </p:sp>
    </p:spTree>
    <p:extLst>
      <p:ext uri="{BB962C8B-B14F-4D97-AF65-F5344CB8AC3E}">
        <p14:creationId xmlns:p14="http://schemas.microsoft.com/office/powerpoint/2010/main" val="35467246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a:t>Click to edit Master title style</a:t>
            </a:r>
            <a:endParaRPr lang="da-DK"/>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Rectangle 4"/>
          <p:cNvSpPr>
            <a:spLocks noGrp="1" noChangeArrowheads="1"/>
          </p:cNvSpPr>
          <p:nvPr>
            <p:ph type="dt" sz="half" idx="10"/>
          </p:nvPr>
        </p:nvSpPr>
        <p:spPr/>
        <p:txBody>
          <a:bodyPr/>
          <a:lstStyle>
            <a:lvl1pPr>
              <a:defRPr/>
            </a:lvl1pPr>
          </a:lstStyle>
          <a:p>
            <a:pPr>
              <a:defRPr/>
            </a:pPr>
            <a:endParaRPr lang="da-DK" altLang="da-DK">
              <a:solidFill>
                <a:srgbClr val="808080"/>
              </a:solidFill>
            </a:endParaRPr>
          </a:p>
        </p:txBody>
      </p:sp>
      <p:sp>
        <p:nvSpPr>
          <p:cNvPr id="5" name="Rectangle 5"/>
          <p:cNvSpPr>
            <a:spLocks noGrp="1" noChangeArrowheads="1"/>
          </p:cNvSpPr>
          <p:nvPr>
            <p:ph type="ftr" sz="quarter" idx="11"/>
          </p:nvPr>
        </p:nvSpPr>
        <p:spPr/>
        <p:txBody>
          <a:bodyPr/>
          <a:lstStyle>
            <a:lvl1pPr>
              <a:defRPr/>
            </a:lvl1pPr>
          </a:lstStyle>
          <a:p>
            <a:pPr>
              <a:defRPr/>
            </a:pPr>
            <a:r>
              <a:rPr lang="en-US">
                <a:solidFill>
                  <a:srgbClr val="000000"/>
                </a:solidFill>
              </a:rPr>
              <a:t>  © The Kempler Institute of Scandinavia A/S </a:t>
            </a:r>
            <a:endParaRPr lang="da-DK">
              <a:solidFill>
                <a:srgbClr val="000000"/>
              </a:solidFill>
            </a:endParaRPr>
          </a:p>
        </p:txBody>
      </p:sp>
    </p:spTree>
    <p:extLst>
      <p:ext uri="{BB962C8B-B14F-4D97-AF65-F5344CB8AC3E}">
        <p14:creationId xmlns:p14="http://schemas.microsoft.com/office/powerpoint/2010/main" val="23826962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slide grøn">
    <p:bg>
      <p:bgPr>
        <a:solidFill>
          <a:srgbClr val="BAD9C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7603534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elslide hvi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noProof="0"/>
              <a:t>Klik for at redigere i master</a:t>
            </a:r>
          </a:p>
        </p:txBody>
      </p:sp>
      <p:sp>
        <p:nvSpPr>
          <p:cNvPr id="25"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6"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noProof="0"/>
              <a:t>Rediger typografien i masterens</a:t>
            </a:r>
          </a:p>
        </p:txBody>
      </p:sp>
      <p:sp>
        <p:nvSpPr>
          <p:cNvPr id="8" name="Pladsholder til tekst 5" descr="Socialstyrelsen Pay-off" title="Socialstyrelsen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10076268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slide mørk gul">
    <p:bg>
      <p:bgPr>
        <a:solidFill>
          <a:srgbClr val="E9D392"/>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8299261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auseslide mørk gul">
    <p:bg>
      <p:bgPr>
        <a:solidFill>
          <a:srgbClr val="E9D392"/>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31922014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llede 6">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16777736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slide grøn">
    <p:bg>
      <p:bgPr>
        <a:solidFill>
          <a:srgbClr val="BAD9C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9095345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auseslide grøn">
    <p:bg>
      <p:bgPr>
        <a:solidFill>
          <a:srgbClr val="BAD9C1"/>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30738330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llede 3">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9"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6924470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llede 4">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9455346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llede 10">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16154329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llede 13">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2"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783274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auseslide grøn">
    <p:bg>
      <p:bgPr>
        <a:solidFill>
          <a:srgbClr val="BAD9C1"/>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3831322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elslide mørk grå">
    <p:bg>
      <p:bgPr>
        <a:solidFill>
          <a:srgbClr val="BCB5B2"/>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4136803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auseslide mørk grå">
    <p:bg>
      <p:bgPr>
        <a:solidFill>
          <a:srgbClr val="BCB5B2"/>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168422123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illede 7">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19028571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illede 12">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12707002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elslide lys gul">
    <p:bg>
      <p:bgPr>
        <a:solidFill>
          <a:srgbClr val="ECE38A"/>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8533217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auseslide gul">
    <p:bg>
      <p:bgPr>
        <a:solidFill>
          <a:srgbClr val="ECE38A"/>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12645908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llede 2">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19"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24" name="Tekstfelt 23"/>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Tree>
    <p:extLst>
      <p:ext uri="{BB962C8B-B14F-4D97-AF65-F5344CB8AC3E}">
        <p14:creationId xmlns:p14="http://schemas.microsoft.com/office/powerpoint/2010/main" val="21558612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llede 14">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6"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0"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23928068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elslide blå">
    <p:bg>
      <p:bgPr>
        <a:solidFill>
          <a:srgbClr val="CDE7EE"/>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8261931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auseslide blå">
    <p:bg>
      <p:bgPr>
        <a:solidFill>
          <a:srgbClr val="CDE7EE"/>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294580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llede 3">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9"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8199941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illede 5">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40562949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illede 9">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15105885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illede 11">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18536353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elslide grå">
    <p:bg>
      <p:bgPr>
        <a:solidFill>
          <a:srgbClr val="C6C7C9"/>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29" name="Pladsholder til tekst 5"/>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rgbClr val="C6C7C9"/>
                </a:solidFill>
              </a:defRPr>
            </a:lvl1pPr>
          </a:lstStyle>
          <a:p>
            <a:pPr lvl="0"/>
            <a:r>
              <a:rPr lang="da-DK"/>
              <a:t>Rediger typografien i masterens</a:t>
            </a:r>
          </a:p>
        </p:txBody>
      </p:sp>
      <p:sp>
        <p:nvSpPr>
          <p:cNvPr id="7" name="Pladsholder til tekst 5"/>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37665283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auseslide grå">
    <p:bg>
      <p:bgPr>
        <a:solidFill>
          <a:srgbClr val="C6C7C9"/>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274773462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illede 8">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14925599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elslide med billede">
    <p:spTree>
      <p:nvGrpSpPr>
        <p:cNvPr id="1" name=""/>
        <p:cNvGrpSpPr/>
        <p:nvPr/>
      </p:nvGrpSpPr>
      <p:grpSpPr>
        <a:xfrm>
          <a:off x="0" y="0"/>
          <a:ext cx="0" cy="0"/>
          <a:chOff x="0" y="0"/>
          <a:chExt cx="0" cy="0"/>
        </a:xfrm>
      </p:grpSpPr>
      <p:sp>
        <p:nvSpPr>
          <p:cNvPr id="16" name="Pladsholder til billede 3"/>
          <p:cNvSpPr>
            <a:spLocks noGrp="1"/>
          </p:cNvSpPr>
          <p:nvPr>
            <p:ph type="pic" sz="quarter" idx="10" hasCustomPrompt="1"/>
          </p:nvPr>
        </p:nvSpPr>
        <p:spPr>
          <a:xfrm>
            <a:off x="0" y="0"/>
            <a:ext cx="9144000" cy="6858000"/>
          </a:xfrm>
          <a:prstGeom prst="rect">
            <a:avLst/>
          </a:prstGeom>
          <a:noFill/>
        </p:spPr>
        <p:txBody>
          <a:bodyPr/>
          <a:lstStyle>
            <a:lvl1pPr marL="0" indent="0" algn="ctr">
              <a:lnSpc>
                <a:spcPct val="100000"/>
              </a:lnSpc>
              <a:spcBef>
                <a:spcPts val="0"/>
              </a:spcBef>
              <a:buNone/>
              <a:defRPr sz="1200"/>
            </a:lvl1pPr>
          </a:lstStyle>
          <a:p>
            <a:r>
              <a:rPr lang="da-DK" dirty="0"/>
              <a:t>For at indsætte et billede:</a:t>
            </a:r>
          </a:p>
          <a:p>
            <a:r>
              <a:rPr lang="da-DK" dirty="0"/>
              <a:t>Brug ikonet i midten, vælg et billede, læg herefter billedet bagerst, </a:t>
            </a:r>
          </a:p>
          <a:p>
            <a:r>
              <a:rPr lang="da-DK" dirty="0"/>
              <a:t>ved at højreklikke i billedet, og vælge ”send bagerst”.</a:t>
            </a:r>
          </a:p>
          <a:p>
            <a:endParaRPr lang="da-DK" dirty="0"/>
          </a:p>
        </p:txBody>
      </p:sp>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17"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2"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23" name="Tekstfelt 22"/>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Tree>
    <p:extLst>
      <p:ext uri="{BB962C8B-B14F-4D97-AF65-F5344CB8AC3E}">
        <p14:creationId xmlns:p14="http://schemas.microsoft.com/office/powerpoint/2010/main" val="41772419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idx="1"/>
          </p:nvPr>
        </p:nvSpPr>
        <p:spPr>
          <a:xfrm>
            <a:off x="628649" y="1628775"/>
            <a:ext cx="7904163" cy="4248150"/>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Tekstfelt 9"/>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
        <p:nvSpPr>
          <p:cNvPr id="11" name="Pladsholder til dato 10"/>
          <p:cNvSpPr>
            <a:spLocks noGrp="1"/>
          </p:cNvSpPr>
          <p:nvPr>
            <p:ph type="dt" sz="half" idx="10"/>
          </p:nvPr>
        </p:nvSpPr>
        <p:spPr>
          <a:xfrm>
            <a:off x="6457950" y="6052207"/>
            <a:ext cx="2057400" cy="365125"/>
          </a:xfrm>
        </p:spPr>
        <p:txBody>
          <a:bodyPr/>
          <a:lstStyle/>
          <a:p>
            <a:fld id="{C9B7A7B5-14A0-4077-8FDA-80E8234A7667}" type="datetime2">
              <a:rPr lang="da-DK" smtClean="0"/>
              <a:t>1. februar 2023</a:t>
            </a:fld>
            <a:endParaRPr lang="da-DK" dirty="0"/>
          </a:p>
        </p:txBody>
      </p:sp>
      <p:sp>
        <p:nvSpPr>
          <p:cNvPr id="12" name="Pladsholder til sidefod 11"/>
          <p:cNvSpPr>
            <a:spLocks noGrp="1"/>
          </p:cNvSpPr>
          <p:nvPr>
            <p:ph type="ftr" sz="quarter" idx="11"/>
          </p:nvPr>
        </p:nvSpPr>
        <p:spPr/>
        <p:txBody>
          <a:bodyPr/>
          <a:lstStyle/>
          <a:p>
            <a:r>
              <a:rPr lang="da-DK"/>
              <a:t>Indsæt titel på præsentationen i "Indsæt"- "Sidehoved/Sidefod"</a:t>
            </a:r>
            <a:endParaRPr lang="da-DK" dirty="0"/>
          </a:p>
        </p:txBody>
      </p:sp>
      <p:sp>
        <p:nvSpPr>
          <p:cNvPr id="13" name="Pladsholder til slidenummer 12"/>
          <p:cNvSpPr>
            <a:spLocks noGrp="1"/>
          </p:cNvSpPr>
          <p:nvPr>
            <p:ph type="sldNum" sz="quarter" idx="12"/>
          </p:nvPr>
        </p:nvSpPr>
        <p:spPr/>
        <p:txBody>
          <a:bodyPr/>
          <a:lstStyle/>
          <a:p>
            <a:fld id="{1C4DB2EE-0873-4EBD-BD17-6A767A2B9A33}" type="slidenum">
              <a:rPr lang="da-DK" smtClean="0"/>
              <a:pPr/>
              <a:t>‹nr.›</a:t>
            </a:fld>
            <a:endParaRPr lang="da-DK" dirty="0"/>
          </a:p>
        </p:txBody>
      </p:sp>
    </p:spTree>
    <p:extLst>
      <p:ext uri="{BB962C8B-B14F-4D97-AF65-F5344CB8AC3E}">
        <p14:creationId xmlns:p14="http://schemas.microsoft.com/office/powerpoint/2010/main" val="273446330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ekst og to indholdsobjekter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da-DK" dirty="0"/>
          </a:p>
        </p:txBody>
      </p:sp>
      <p:sp>
        <p:nvSpPr>
          <p:cNvPr id="3" name="Pladsholder til indhold 2"/>
          <p:cNvSpPr>
            <a:spLocks noGrp="1"/>
          </p:cNvSpPr>
          <p:nvPr>
            <p:ph sz="half" idx="1"/>
          </p:nvPr>
        </p:nvSpPr>
        <p:spPr>
          <a:xfrm>
            <a:off x="628647" y="3356992"/>
            <a:ext cx="3816000" cy="2519933"/>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p:cNvSpPr>
            <a:spLocks noGrp="1"/>
          </p:cNvSpPr>
          <p:nvPr>
            <p:ph sz="half" idx="2"/>
          </p:nvPr>
        </p:nvSpPr>
        <p:spPr>
          <a:xfrm>
            <a:off x="4716813" y="3356992"/>
            <a:ext cx="3816000" cy="2519933"/>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4" name="Pladsholder til dato 13"/>
          <p:cNvSpPr>
            <a:spLocks noGrp="1"/>
          </p:cNvSpPr>
          <p:nvPr>
            <p:ph type="dt" sz="half" idx="14"/>
          </p:nvPr>
        </p:nvSpPr>
        <p:spPr/>
        <p:txBody>
          <a:bodyPr/>
          <a:lstStyle/>
          <a:p>
            <a:fld id="{37C52F80-7649-45CD-A3F0-C4D76C88C385}" type="datetime2">
              <a:rPr lang="da-DK" smtClean="0"/>
              <a:t>1. februar 2023</a:t>
            </a:fld>
            <a:endParaRPr lang="da-DK" dirty="0"/>
          </a:p>
        </p:txBody>
      </p:sp>
      <p:sp>
        <p:nvSpPr>
          <p:cNvPr id="15" name="Pladsholder til sidefod 14"/>
          <p:cNvSpPr>
            <a:spLocks noGrp="1"/>
          </p:cNvSpPr>
          <p:nvPr>
            <p:ph type="ftr" sz="quarter" idx="15"/>
          </p:nvPr>
        </p:nvSpPr>
        <p:spPr/>
        <p:txBody>
          <a:bodyPr/>
          <a:lstStyle/>
          <a:p>
            <a:r>
              <a:rPr lang="da-DK"/>
              <a:t>Indsæt titel på præsentationen i "Indsæt"- "Sidehoved/Sidefod"</a:t>
            </a:r>
            <a:endParaRPr lang="da-DK" dirty="0"/>
          </a:p>
        </p:txBody>
      </p:sp>
      <p:sp>
        <p:nvSpPr>
          <p:cNvPr id="16" name="Pladsholder til slidenummer 15"/>
          <p:cNvSpPr>
            <a:spLocks noGrp="1"/>
          </p:cNvSpPr>
          <p:nvPr>
            <p:ph type="sldNum" sz="quarter" idx="16"/>
          </p:nvPr>
        </p:nvSpPr>
        <p:spPr/>
        <p:txBody>
          <a:bodyPr/>
          <a:lstStyle/>
          <a:p>
            <a:fld id="{1C4DB2EE-0873-4EBD-BD17-6A767A2B9A33}" type="slidenum">
              <a:rPr lang="da-DK" smtClean="0"/>
              <a:pPr/>
              <a:t>‹nr.›</a:t>
            </a:fld>
            <a:endParaRPr lang="da-DK" dirty="0"/>
          </a:p>
        </p:txBody>
      </p:sp>
      <p:sp>
        <p:nvSpPr>
          <p:cNvPr id="17" name="Tekstfelt 16"/>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308917285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ekst og to billeder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da-DK"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6" name="Pladsholder til billede 5"/>
          <p:cNvSpPr>
            <a:spLocks noGrp="1"/>
          </p:cNvSpPr>
          <p:nvPr>
            <p:ph type="pic" sz="quarter" idx="14"/>
          </p:nvPr>
        </p:nvSpPr>
        <p:spPr>
          <a:xfrm>
            <a:off x="611187" y="3357563"/>
            <a:ext cx="3815999" cy="2519362"/>
          </a:xfrm>
          <a:prstGeom prst="rect">
            <a:avLst/>
          </a:prstGeom>
        </p:spPr>
        <p:txBody>
          <a:bodyPr/>
          <a:lstStyle>
            <a:lvl1pPr marL="0" indent="0" algn="ctr">
              <a:buNone/>
              <a:defRPr/>
            </a:lvl1pPr>
          </a:lstStyle>
          <a:p>
            <a:r>
              <a:rPr lang="da-DK"/>
              <a:t>Klik på ikonet for at tilføje et billede</a:t>
            </a:r>
            <a:endParaRPr lang="da-DK" dirty="0"/>
          </a:p>
        </p:txBody>
      </p:sp>
      <p:sp>
        <p:nvSpPr>
          <p:cNvPr id="11" name="Pladsholder til billede 5"/>
          <p:cNvSpPr>
            <a:spLocks noGrp="1"/>
          </p:cNvSpPr>
          <p:nvPr>
            <p:ph type="pic" sz="quarter" idx="15"/>
          </p:nvPr>
        </p:nvSpPr>
        <p:spPr>
          <a:xfrm>
            <a:off x="4716000" y="3357563"/>
            <a:ext cx="3816000" cy="2519362"/>
          </a:xfrm>
          <a:prstGeom prst="rect">
            <a:avLst/>
          </a:prstGeom>
        </p:spPr>
        <p:txBody>
          <a:bodyPr/>
          <a:lstStyle>
            <a:lvl1pPr marL="0" indent="0" algn="ctr">
              <a:buNone/>
              <a:defRPr/>
            </a:lvl1pPr>
          </a:lstStyle>
          <a:p>
            <a:r>
              <a:rPr lang="da-DK"/>
              <a:t>Klik på ikonet for at tilføje et billede</a:t>
            </a:r>
            <a:endParaRPr lang="da-DK" dirty="0"/>
          </a:p>
        </p:txBody>
      </p:sp>
      <p:sp>
        <p:nvSpPr>
          <p:cNvPr id="7" name="Pladsholder til dato 6"/>
          <p:cNvSpPr>
            <a:spLocks noGrp="1"/>
          </p:cNvSpPr>
          <p:nvPr>
            <p:ph type="dt" sz="half" idx="16"/>
          </p:nvPr>
        </p:nvSpPr>
        <p:spPr/>
        <p:txBody>
          <a:bodyPr/>
          <a:lstStyle/>
          <a:p>
            <a:fld id="{6047E9DE-EA5B-4C07-9D6F-B3B170DD407E}" type="datetime2">
              <a:rPr lang="da-DK" smtClean="0"/>
              <a:t>1. februar 2023</a:t>
            </a:fld>
            <a:endParaRPr lang="da-DK" dirty="0"/>
          </a:p>
        </p:txBody>
      </p:sp>
      <p:sp>
        <p:nvSpPr>
          <p:cNvPr id="12" name="Pladsholder til sidefod 11"/>
          <p:cNvSpPr>
            <a:spLocks noGrp="1"/>
          </p:cNvSpPr>
          <p:nvPr>
            <p:ph type="ftr" sz="quarter" idx="17"/>
          </p:nvPr>
        </p:nvSpPr>
        <p:spPr/>
        <p:txBody>
          <a:bodyPr/>
          <a:lstStyle/>
          <a:p>
            <a:r>
              <a:rPr lang="da-DK"/>
              <a:t>Indsæt titel på præsentationen i "Indsæt"- "Sidehoved/Sidefod"</a:t>
            </a:r>
            <a:endParaRPr lang="da-DK" dirty="0"/>
          </a:p>
        </p:txBody>
      </p:sp>
      <p:sp>
        <p:nvSpPr>
          <p:cNvPr id="14" name="Pladsholder til slidenummer 13"/>
          <p:cNvSpPr>
            <a:spLocks noGrp="1"/>
          </p:cNvSpPr>
          <p:nvPr>
            <p:ph type="sldNum" sz="quarter" idx="18"/>
          </p:nvPr>
        </p:nvSpPr>
        <p:spPr/>
        <p:txBody>
          <a:bodyPr/>
          <a:lstStyle/>
          <a:p>
            <a:fld id="{1C4DB2EE-0873-4EBD-BD17-6A767A2B9A33}" type="slidenum">
              <a:rPr lang="da-DK" smtClean="0"/>
              <a:pPr/>
              <a:t>‹nr.›</a:t>
            </a:fld>
            <a:endParaRPr lang="da-DK" dirty="0"/>
          </a:p>
        </p:txBody>
      </p:sp>
      <p:sp>
        <p:nvSpPr>
          <p:cNvPr id="15" name="Tekstfelt 14"/>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1625231963"/>
      </p:ext>
    </p:extLst>
  </p:cSld>
  <p:clrMapOvr>
    <a:masterClrMapping/>
  </p:clrMapOvr>
  <p:extLst>
    <p:ext uri="{DCECCB84-F9BA-43D5-87BE-67443E8EF086}">
      <p15:sldGuideLst xmlns:p15="http://schemas.microsoft.com/office/powerpoint/2012/main">
        <p15:guide id="10" orient="horz" pos="2160">
          <p15:clr>
            <a:srgbClr val="FBAE40"/>
          </p15:clr>
        </p15:guide>
        <p15:guide id="1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lede 4">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16624736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ekst og Indhold til venstre">
    <p:spTree>
      <p:nvGrpSpPr>
        <p:cNvPr id="1" name=""/>
        <p:cNvGrpSpPr/>
        <p:nvPr/>
      </p:nvGrpSpPr>
      <p:grpSpPr>
        <a:xfrm>
          <a:off x="0" y="0"/>
          <a:ext cx="0" cy="0"/>
          <a:chOff x="0" y="0"/>
          <a:chExt cx="0" cy="0"/>
        </a:xfrm>
      </p:grpSpPr>
      <p:sp>
        <p:nvSpPr>
          <p:cNvPr id="4" name="Pladsholder til indhold 3"/>
          <p:cNvSpPr>
            <a:spLocks noGrp="1"/>
          </p:cNvSpPr>
          <p:nvPr>
            <p:ph sz="half" idx="2"/>
          </p:nvPr>
        </p:nvSpPr>
        <p:spPr>
          <a:xfrm>
            <a:off x="4211960" y="945072"/>
            <a:ext cx="4320853" cy="4931853"/>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Pladsholder til tekst 12"/>
          <p:cNvSpPr>
            <a:spLocks noGrp="1"/>
          </p:cNvSpPr>
          <p:nvPr>
            <p:ph type="body" sz="quarter" idx="13"/>
          </p:nvPr>
        </p:nvSpPr>
        <p:spPr>
          <a:xfrm>
            <a:off x="628648" y="2204864"/>
            <a:ext cx="3475300" cy="3672061"/>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p:cNvSpPr>
            <a:spLocks noGrp="1"/>
          </p:cNvSpPr>
          <p:nvPr>
            <p:ph type="dt" sz="half" idx="14"/>
          </p:nvPr>
        </p:nvSpPr>
        <p:spPr/>
        <p:txBody>
          <a:bodyPr/>
          <a:lstStyle/>
          <a:p>
            <a:fld id="{49EF03B9-0CDB-4EE7-A94D-B040DCCD4BB1}" type="datetime2">
              <a:rPr lang="da-DK" smtClean="0"/>
              <a:t>1. februar 2023</a:t>
            </a:fld>
            <a:endParaRPr lang="da-DK" dirty="0"/>
          </a:p>
        </p:txBody>
      </p:sp>
      <p:sp>
        <p:nvSpPr>
          <p:cNvPr id="6" name="Pladsholder til sidefod 5"/>
          <p:cNvSpPr>
            <a:spLocks noGrp="1"/>
          </p:cNvSpPr>
          <p:nvPr>
            <p:ph type="ftr" sz="quarter" idx="15"/>
          </p:nvPr>
        </p:nvSpPr>
        <p:spPr/>
        <p:txBody>
          <a:bodyPr/>
          <a:lstStyle/>
          <a:p>
            <a:r>
              <a:rPr lang="da-DK"/>
              <a:t>Indsæt titel på præsentationen i "Indsæt"- "Sidehoved/Sidefod"</a:t>
            </a:r>
            <a:endParaRPr lang="da-DK" dirty="0"/>
          </a:p>
        </p:txBody>
      </p:sp>
      <p:sp>
        <p:nvSpPr>
          <p:cNvPr id="7" name="Pladsholder til slidenummer 6"/>
          <p:cNvSpPr>
            <a:spLocks noGrp="1"/>
          </p:cNvSpPr>
          <p:nvPr>
            <p:ph type="sldNum" sz="quarter" idx="16"/>
          </p:nvPr>
        </p:nvSpPr>
        <p:spPr/>
        <p:txBody>
          <a:bodyPr/>
          <a:lstStyle/>
          <a:p>
            <a:fld id="{1C4DB2EE-0873-4EBD-BD17-6A767A2B9A33}" type="slidenum">
              <a:rPr lang="da-DK" smtClean="0"/>
              <a:pPr/>
              <a:t>‹nr.›</a:t>
            </a:fld>
            <a:endParaRPr lang="da-DK" dirty="0"/>
          </a:p>
        </p:txBody>
      </p:sp>
      <p:sp>
        <p:nvSpPr>
          <p:cNvPr id="12" name="Tekstfelt 11"/>
          <p:cNvSpPr txBox="1"/>
          <p:nvPr/>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
        <p:nvSpPr>
          <p:cNvPr id="10" name="Titel 1"/>
          <p:cNvSpPr>
            <a:spLocks noGrp="1"/>
          </p:cNvSpPr>
          <p:nvPr>
            <p:ph type="title"/>
          </p:nvPr>
        </p:nvSpPr>
        <p:spPr>
          <a:xfrm>
            <a:off x="628649" y="945071"/>
            <a:ext cx="3475299" cy="1043769"/>
          </a:xfrm>
        </p:spPr>
        <p:txBody>
          <a:bodyPr anchor="t"/>
          <a:lstStyle/>
          <a:p>
            <a:r>
              <a:rPr lang="da-DK"/>
              <a:t>Klik for at redigere i master</a:t>
            </a:r>
            <a:endParaRPr lang="da-DK" dirty="0"/>
          </a:p>
        </p:txBody>
      </p:sp>
    </p:spTree>
    <p:extLst>
      <p:ext uri="{BB962C8B-B14F-4D97-AF65-F5344CB8AC3E}">
        <p14:creationId xmlns:p14="http://schemas.microsoft.com/office/powerpoint/2010/main" val="100272085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ekst og billede til venstre">
    <p:spTree>
      <p:nvGrpSpPr>
        <p:cNvPr id="1" name=""/>
        <p:cNvGrpSpPr/>
        <p:nvPr/>
      </p:nvGrpSpPr>
      <p:grpSpPr>
        <a:xfrm>
          <a:off x="0" y="0"/>
          <a:ext cx="0" cy="0"/>
          <a:chOff x="0" y="0"/>
          <a:chExt cx="0" cy="0"/>
        </a:xfrm>
      </p:grpSpPr>
      <p:sp>
        <p:nvSpPr>
          <p:cNvPr id="13" name="Pladsholder til tekst 12"/>
          <p:cNvSpPr>
            <a:spLocks noGrp="1"/>
          </p:cNvSpPr>
          <p:nvPr>
            <p:ph type="body" sz="quarter" idx="13"/>
          </p:nvPr>
        </p:nvSpPr>
        <p:spPr>
          <a:xfrm>
            <a:off x="628648" y="2204864"/>
            <a:ext cx="3475300" cy="3672061"/>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p:cNvSpPr>
            <a:spLocks noGrp="1"/>
          </p:cNvSpPr>
          <p:nvPr>
            <p:ph type="dt" sz="half" idx="14"/>
          </p:nvPr>
        </p:nvSpPr>
        <p:spPr/>
        <p:txBody>
          <a:bodyPr/>
          <a:lstStyle/>
          <a:p>
            <a:fld id="{320726CD-6D3A-47B2-B212-84B462D4BAE4}" type="datetime2">
              <a:rPr lang="da-DK" smtClean="0"/>
              <a:t>1. februar 2023</a:t>
            </a:fld>
            <a:endParaRPr lang="da-DK" dirty="0"/>
          </a:p>
        </p:txBody>
      </p:sp>
      <p:sp>
        <p:nvSpPr>
          <p:cNvPr id="6" name="Pladsholder til sidefod 5"/>
          <p:cNvSpPr>
            <a:spLocks noGrp="1"/>
          </p:cNvSpPr>
          <p:nvPr>
            <p:ph type="ftr" sz="quarter" idx="15"/>
          </p:nvPr>
        </p:nvSpPr>
        <p:spPr/>
        <p:txBody>
          <a:bodyPr/>
          <a:lstStyle/>
          <a:p>
            <a:r>
              <a:rPr lang="da-DK"/>
              <a:t>Indsæt titel på præsentationen i "Indsæt"- "Sidehoved/Sidefod"</a:t>
            </a:r>
            <a:endParaRPr lang="da-DK" dirty="0"/>
          </a:p>
        </p:txBody>
      </p:sp>
      <p:sp>
        <p:nvSpPr>
          <p:cNvPr id="7" name="Pladsholder til slidenummer 6"/>
          <p:cNvSpPr>
            <a:spLocks noGrp="1"/>
          </p:cNvSpPr>
          <p:nvPr>
            <p:ph type="sldNum" sz="quarter" idx="16"/>
          </p:nvPr>
        </p:nvSpPr>
        <p:spPr/>
        <p:txBody>
          <a:bodyPr/>
          <a:lstStyle/>
          <a:p>
            <a:fld id="{1C4DB2EE-0873-4EBD-BD17-6A767A2B9A33}" type="slidenum">
              <a:rPr lang="da-DK" smtClean="0"/>
              <a:pPr/>
              <a:t>‹nr.›</a:t>
            </a:fld>
            <a:endParaRPr lang="da-DK" dirty="0"/>
          </a:p>
        </p:txBody>
      </p:sp>
      <p:sp>
        <p:nvSpPr>
          <p:cNvPr id="12" name="Tekstfelt 11"/>
          <p:cNvSpPr txBox="1"/>
          <p:nvPr/>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
        <p:nvSpPr>
          <p:cNvPr id="8" name="Pladsholder til billede 7"/>
          <p:cNvSpPr>
            <a:spLocks noGrp="1"/>
          </p:cNvSpPr>
          <p:nvPr>
            <p:ph type="pic" sz="quarter" idx="17"/>
          </p:nvPr>
        </p:nvSpPr>
        <p:spPr>
          <a:xfrm>
            <a:off x="4211638" y="945071"/>
            <a:ext cx="4321175" cy="4931854"/>
          </a:xfrm>
          <a:prstGeom prst="rect">
            <a:avLst/>
          </a:prstGeom>
        </p:spPr>
        <p:txBody>
          <a:bodyPr/>
          <a:lstStyle/>
          <a:p>
            <a:r>
              <a:rPr lang="da-DK"/>
              <a:t>Klik på ikonet for at tilføje et billede</a:t>
            </a:r>
            <a:endParaRPr lang="da-DK" dirty="0"/>
          </a:p>
        </p:txBody>
      </p:sp>
      <p:sp>
        <p:nvSpPr>
          <p:cNvPr id="11" name="Titel 1"/>
          <p:cNvSpPr>
            <a:spLocks noGrp="1"/>
          </p:cNvSpPr>
          <p:nvPr>
            <p:ph type="title"/>
          </p:nvPr>
        </p:nvSpPr>
        <p:spPr>
          <a:xfrm>
            <a:off x="628649" y="945071"/>
            <a:ext cx="3475299" cy="1043769"/>
          </a:xfrm>
        </p:spPr>
        <p:txBody>
          <a:bodyPr anchor="t"/>
          <a:lstStyle/>
          <a:p>
            <a:r>
              <a:rPr lang="da-DK"/>
              <a:t>Klik for at redigere i master</a:t>
            </a:r>
            <a:endParaRPr lang="da-DK" dirty="0"/>
          </a:p>
        </p:txBody>
      </p:sp>
    </p:spTree>
    <p:extLst>
      <p:ext uri="{BB962C8B-B14F-4D97-AF65-F5344CB8AC3E}">
        <p14:creationId xmlns:p14="http://schemas.microsoft.com/office/powerpoint/2010/main" val="233013015"/>
      </p:ext>
    </p:extLst>
  </p:cSld>
  <p:clrMapOvr>
    <a:masterClrMapping/>
  </p:clrMapOvr>
  <p:extLst>
    <p:ext uri="{DCECCB84-F9BA-43D5-87BE-67443E8EF086}">
      <p15:sldGuideLst xmlns:p15="http://schemas.microsoft.com/office/powerpoint/2012/main">
        <p15:guide id="1" pos="2653">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ekst og 1 billede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en-GB"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5" name="Pladsholder til billede 4"/>
          <p:cNvSpPr>
            <a:spLocks noGrp="1"/>
          </p:cNvSpPr>
          <p:nvPr>
            <p:ph type="pic" sz="quarter" idx="14"/>
          </p:nvPr>
        </p:nvSpPr>
        <p:spPr>
          <a:xfrm>
            <a:off x="629074" y="3357563"/>
            <a:ext cx="7904165" cy="2519362"/>
          </a:xfrm>
          <a:prstGeom prst="rect">
            <a:avLst/>
          </a:prstGeom>
        </p:spPr>
        <p:txBody>
          <a:bodyPr/>
          <a:lstStyle>
            <a:lvl1pPr marL="0" indent="0" algn="ctr">
              <a:buNone/>
              <a:defRPr/>
            </a:lvl1pPr>
          </a:lstStyle>
          <a:p>
            <a:r>
              <a:rPr lang="da-DK"/>
              <a:t>Klik på ikonet for at tilføje et billede</a:t>
            </a:r>
            <a:endParaRPr lang="en-GB" dirty="0"/>
          </a:p>
        </p:txBody>
      </p:sp>
      <p:sp>
        <p:nvSpPr>
          <p:cNvPr id="6" name="Pladsholder til dato 5"/>
          <p:cNvSpPr>
            <a:spLocks noGrp="1"/>
          </p:cNvSpPr>
          <p:nvPr>
            <p:ph type="dt" sz="half" idx="15"/>
          </p:nvPr>
        </p:nvSpPr>
        <p:spPr/>
        <p:txBody>
          <a:bodyPr/>
          <a:lstStyle/>
          <a:p>
            <a:fld id="{C06E4A08-EC70-4514-951E-B6298A6ACC45}" type="datetime2">
              <a:rPr lang="da-DK" smtClean="0"/>
              <a:t>1. februar 2023</a:t>
            </a:fld>
            <a:endParaRPr lang="en-GB" dirty="0"/>
          </a:p>
        </p:txBody>
      </p:sp>
      <p:sp>
        <p:nvSpPr>
          <p:cNvPr id="7" name="Pladsholder til sidefod 6"/>
          <p:cNvSpPr>
            <a:spLocks noGrp="1"/>
          </p:cNvSpPr>
          <p:nvPr>
            <p:ph type="ftr" sz="quarter" idx="16"/>
          </p:nvPr>
        </p:nvSpPr>
        <p:spPr/>
        <p:txBody>
          <a:bodyPr/>
          <a:lstStyle/>
          <a:p>
            <a:r>
              <a:rPr lang="da-DK"/>
              <a:t>Indsæt titel på præsentationen i "Indsæt"- "Sidehoved/Sidefod"</a:t>
            </a:r>
            <a:endParaRPr lang="en-GB" dirty="0"/>
          </a:p>
        </p:txBody>
      </p:sp>
      <p:sp>
        <p:nvSpPr>
          <p:cNvPr id="11" name="Pladsholder til slidenummer 10"/>
          <p:cNvSpPr>
            <a:spLocks noGrp="1"/>
          </p:cNvSpPr>
          <p:nvPr>
            <p:ph type="sldNum" sz="quarter" idx="17"/>
          </p:nvPr>
        </p:nvSpPr>
        <p:spPr/>
        <p:txBody>
          <a:bodyPr/>
          <a:lstStyle/>
          <a:p>
            <a:fld id="{1C4DB2EE-0873-4EBD-BD17-6A767A2B9A33}" type="slidenum">
              <a:rPr lang="en-GB" smtClean="0"/>
              <a:pPr/>
              <a:t>‹nr.›</a:t>
            </a:fld>
            <a:endParaRPr lang="en-GB" dirty="0"/>
          </a:p>
        </p:txBody>
      </p:sp>
      <p:sp>
        <p:nvSpPr>
          <p:cNvPr id="10" name="Tekstfelt 9"/>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3550563570"/>
      </p:ext>
    </p:extLst>
  </p:cSld>
  <p:clrMapOvr>
    <a:masterClrMapping/>
  </p:clrMapOvr>
  <p:extLst>
    <p:ext uri="{DCECCB84-F9BA-43D5-87BE-67443E8EF086}">
      <p15:sldGuideLst xmlns:p15="http://schemas.microsoft.com/office/powerpoint/2012/main">
        <p15:guide id="1" orient="horz" pos="2115">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ekst og 1 indhold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en-GB"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4" name="Pladsholder til indhold 3"/>
          <p:cNvSpPr>
            <a:spLocks noGrp="1"/>
          </p:cNvSpPr>
          <p:nvPr>
            <p:ph sz="quarter" idx="14"/>
          </p:nvPr>
        </p:nvSpPr>
        <p:spPr>
          <a:xfrm>
            <a:off x="628649" y="3357563"/>
            <a:ext cx="7904164" cy="2519362"/>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6" name="Pladsholder til dato 5"/>
          <p:cNvSpPr>
            <a:spLocks noGrp="1"/>
          </p:cNvSpPr>
          <p:nvPr>
            <p:ph type="dt" sz="half" idx="15"/>
          </p:nvPr>
        </p:nvSpPr>
        <p:spPr/>
        <p:txBody>
          <a:bodyPr/>
          <a:lstStyle/>
          <a:p>
            <a:fld id="{6C08FA49-7B9B-472D-A387-3493BBF8DBB3}" type="datetime2">
              <a:rPr lang="da-DK" smtClean="0"/>
              <a:t>1. februar 2023</a:t>
            </a:fld>
            <a:endParaRPr lang="en-GB" dirty="0"/>
          </a:p>
        </p:txBody>
      </p:sp>
      <p:sp>
        <p:nvSpPr>
          <p:cNvPr id="7" name="Pladsholder til sidefod 6"/>
          <p:cNvSpPr>
            <a:spLocks noGrp="1"/>
          </p:cNvSpPr>
          <p:nvPr>
            <p:ph type="ftr" sz="quarter" idx="16"/>
          </p:nvPr>
        </p:nvSpPr>
        <p:spPr/>
        <p:txBody>
          <a:bodyPr/>
          <a:lstStyle/>
          <a:p>
            <a:r>
              <a:rPr lang="da-DK"/>
              <a:t>Indsæt titel på præsentationen i "Indsæt"- "Sidehoved/Sidefod"</a:t>
            </a:r>
            <a:endParaRPr lang="en-GB" dirty="0"/>
          </a:p>
        </p:txBody>
      </p:sp>
      <p:sp>
        <p:nvSpPr>
          <p:cNvPr id="11" name="Pladsholder til slidenummer 10"/>
          <p:cNvSpPr>
            <a:spLocks noGrp="1"/>
          </p:cNvSpPr>
          <p:nvPr>
            <p:ph type="sldNum" sz="quarter" idx="17"/>
          </p:nvPr>
        </p:nvSpPr>
        <p:spPr/>
        <p:txBody>
          <a:bodyPr/>
          <a:lstStyle/>
          <a:p>
            <a:fld id="{1C4DB2EE-0873-4EBD-BD17-6A767A2B9A33}" type="slidenum">
              <a:rPr lang="en-GB" smtClean="0"/>
              <a:pPr/>
              <a:t>‹nr.›</a:t>
            </a:fld>
            <a:endParaRPr lang="en-GB" dirty="0"/>
          </a:p>
        </p:txBody>
      </p:sp>
      <p:sp>
        <p:nvSpPr>
          <p:cNvPr id="10" name="Tekstfelt 9"/>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2418056296"/>
      </p:ext>
    </p:extLst>
  </p:cSld>
  <p:clrMapOvr>
    <a:masterClrMapping/>
  </p:clrMapOvr>
  <p:extLst>
    <p:ext uri="{DCECCB84-F9BA-43D5-87BE-67443E8EF086}">
      <p15:sldGuideLst xmlns:p15="http://schemas.microsoft.com/office/powerpoint/2012/main">
        <p15:guide id="1" orient="horz" pos="2115">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auseslide med billede">
    <p:spTree>
      <p:nvGrpSpPr>
        <p:cNvPr id="1" name=""/>
        <p:cNvGrpSpPr/>
        <p:nvPr/>
      </p:nvGrpSpPr>
      <p:grpSpPr>
        <a:xfrm>
          <a:off x="0" y="0"/>
          <a:ext cx="0" cy="0"/>
          <a:chOff x="0" y="0"/>
          <a:chExt cx="0" cy="0"/>
        </a:xfrm>
      </p:grpSpPr>
      <p:sp>
        <p:nvSpPr>
          <p:cNvPr id="15"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6"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10" name="Tekstfelt 9"/>
          <p:cNvSpPr txBox="1"/>
          <p:nvPr userDrawn="1"/>
        </p:nvSpPr>
        <p:spPr>
          <a:xfrm>
            <a:off x="-1188640" y="152636"/>
            <a:ext cx="1116124" cy="2092881"/>
          </a:xfrm>
          <a:prstGeom prst="rect">
            <a:avLst/>
          </a:prstGeom>
          <a:noFill/>
        </p:spPr>
        <p:txBody>
          <a:bodyPr wrap="square" rtlCol="0">
            <a:spAutoFit/>
          </a:bodyPr>
          <a:lstStyle/>
          <a:p>
            <a:pPr algn="l"/>
            <a:r>
              <a:rPr lang="en-GB" sz="1000" b="1" noProof="1"/>
              <a:t>For at indsætte</a:t>
            </a:r>
            <a:r>
              <a:rPr lang="en-GB" sz="1000" b="1" baseline="0" noProof="1"/>
              <a:t> et billede</a:t>
            </a:r>
            <a:r>
              <a:rPr lang="en-GB" sz="1000" baseline="0" noProof="1"/>
              <a:t>:</a:t>
            </a:r>
          </a:p>
          <a:p>
            <a:pPr algn="l"/>
            <a:endParaRPr lang="en-GB" sz="1000" baseline="0" noProof="1"/>
          </a:p>
          <a:p>
            <a:pPr algn="l"/>
            <a:r>
              <a:rPr lang="en-GB" sz="1000" baseline="0" noProof="1"/>
              <a:t>Brug ikonet i midten til at vælg et billede, læg herefter billedet bagerst, ved at højreklikke i billedet, og vælge ”send bagerst”.</a:t>
            </a:r>
            <a:endParaRPr lang="en-GB" sz="1000" noProof="1"/>
          </a:p>
        </p:txBody>
      </p:sp>
      <p:sp>
        <p:nvSpPr>
          <p:cNvPr id="13"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4"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8" name="Pladsholder til billede 3"/>
          <p:cNvSpPr>
            <a:spLocks noGrp="1"/>
          </p:cNvSpPr>
          <p:nvPr>
            <p:ph type="pic" sz="quarter" idx="10" hasCustomPrompt="1"/>
          </p:nvPr>
        </p:nvSpPr>
        <p:spPr>
          <a:xfrm>
            <a:off x="7201" y="-13389"/>
            <a:ext cx="9144000" cy="6858000"/>
          </a:xfrm>
          <a:prstGeom prst="rect">
            <a:avLst/>
          </a:prstGeom>
          <a:solidFill>
            <a:schemeClr val="bg1"/>
          </a:solidFill>
        </p:spPr>
        <p:txBody>
          <a:bodyPr/>
          <a:lstStyle>
            <a:lvl1pPr marL="0" indent="0" algn="ctr">
              <a:lnSpc>
                <a:spcPct val="100000"/>
              </a:lnSpc>
              <a:spcBef>
                <a:spcPts val="0"/>
              </a:spcBef>
              <a:buNone/>
              <a:defRPr sz="1200"/>
            </a:lvl1pPr>
          </a:lstStyle>
          <a:p>
            <a:r>
              <a:rPr lang="en-GB" dirty="0"/>
              <a:t>For at </a:t>
            </a:r>
            <a:r>
              <a:rPr lang="en-GB" dirty="0" err="1"/>
              <a:t>indsætte</a:t>
            </a:r>
            <a:r>
              <a:rPr lang="en-GB" dirty="0"/>
              <a:t> et </a:t>
            </a:r>
            <a:r>
              <a:rPr lang="en-GB" dirty="0" err="1"/>
              <a:t>billede</a:t>
            </a:r>
            <a:r>
              <a:rPr lang="en-GB" dirty="0"/>
              <a:t>:</a:t>
            </a:r>
          </a:p>
          <a:p>
            <a:r>
              <a:rPr lang="en-GB" dirty="0" err="1"/>
              <a:t>Brug</a:t>
            </a:r>
            <a:r>
              <a:rPr lang="en-GB" dirty="0"/>
              <a:t> </a:t>
            </a:r>
            <a:r>
              <a:rPr lang="en-GB" dirty="0" err="1"/>
              <a:t>ikonet</a:t>
            </a:r>
            <a:r>
              <a:rPr lang="en-GB" dirty="0"/>
              <a:t> </a:t>
            </a:r>
            <a:r>
              <a:rPr lang="en-GB" dirty="0" err="1"/>
              <a:t>i</a:t>
            </a:r>
            <a:r>
              <a:rPr lang="en-GB" dirty="0"/>
              <a:t> </a:t>
            </a:r>
            <a:r>
              <a:rPr lang="en-GB" dirty="0" err="1"/>
              <a:t>midten</a:t>
            </a:r>
            <a:r>
              <a:rPr lang="en-GB" dirty="0"/>
              <a:t>, </a:t>
            </a:r>
            <a:r>
              <a:rPr lang="en-GB" dirty="0" err="1"/>
              <a:t>vælg</a:t>
            </a:r>
            <a:r>
              <a:rPr lang="en-GB" dirty="0"/>
              <a:t> et </a:t>
            </a:r>
            <a:r>
              <a:rPr lang="en-GB" dirty="0" err="1"/>
              <a:t>billede</a:t>
            </a:r>
            <a:r>
              <a:rPr lang="en-GB" dirty="0"/>
              <a:t>, </a:t>
            </a:r>
            <a:r>
              <a:rPr lang="en-GB" dirty="0" err="1"/>
              <a:t>læg</a:t>
            </a:r>
            <a:r>
              <a:rPr lang="en-GB" dirty="0"/>
              <a:t> </a:t>
            </a:r>
            <a:r>
              <a:rPr lang="en-GB" dirty="0" err="1"/>
              <a:t>herefter</a:t>
            </a:r>
            <a:r>
              <a:rPr lang="en-GB" dirty="0"/>
              <a:t> </a:t>
            </a:r>
            <a:r>
              <a:rPr lang="en-GB" dirty="0" err="1"/>
              <a:t>billedet</a:t>
            </a:r>
            <a:r>
              <a:rPr lang="en-GB" dirty="0"/>
              <a:t> </a:t>
            </a:r>
            <a:r>
              <a:rPr lang="en-GB" dirty="0" err="1"/>
              <a:t>bagerst</a:t>
            </a:r>
            <a:r>
              <a:rPr lang="en-GB" dirty="0"/>
              <a:t>, </a:t>
            </a:r>
          </a:p>
          <a:p>
            <a:r>
              <a:rPr lang="en-GB" dirty="0" err="1"/>
              <a:t>ved</a:t>
            </a:r>
            <a:r>
              <a:rPr lang="en-GB" dirty="0"/>
              <a:t> at højreklikke </a:t>
            </a:r>
            <a:r>
              <a:rPr lang="en-GB" dirty="0" err="1"/>
              <a:t>i</a:t>
            </a:r>
            <a:r>
              <a:rPr lang="en-GB" dirty="0"/>
              <a:t> </a:t>
            </a:r>
            <a:r>
              <a:rPr lang="en-GB" dirty="0" err="1"/>
              <a:t>billedet</a:t>
            </a:r>
            <a:r>
              <a:rPr lang="en-GB" dirty="0"/>
              <a:t>, </a:t>
            </a:r>
            <a:r>
              <a:rPr lang="en-GB" dirty="0" err="1"/>
              <a:t>og</a:t>
            </a:r>
            <a:r>
              <a:rPr lang="en-GB" dirty="0"/>
              <a:t> </a:t>
            </a:r>
            <a:r>
              <a:rPr lang="en-GB" dirty="0" err="1"/>
              <a:t>vælge</a:t>
            </a:r>
            <a:r>
              <a:rPr lang="en-GB" dirty="0"/>
              <a:t> ”send </a:t>
            </a:r>
            <a:r>
              <a:rPr lang="en-GB" dirty="0" err="1"/>
              <a:t>bagerst</a:t>
            </a:r>
            <a:r>
              <a:rPr lang="en-GB" dirty="0"/>
              <a:t>”.</a:t>
            </a:r>
          </a:p>
          <a:p>
            <a:endParaRPr lang="en-GB" dirty="0"/>
          </a:p>
        </p:txBody>
      </p:sp>
    </p:spTree>
    <p:extLst>
      <p:ext uri="{BB962C8B-B14F-4D97-AF65-F5344CB8AC3E}">
        <p14:creationId xmlns:p14="http://schemas.microsoft.com/office/powerpoint/2010/main" val="213957389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GB" dirty="0"/>
          </a:p>
        </p:txBody>
      </p:sp>
      <p:sp>
        <p:nvSpPr>
          <p:cNvPr id="10" name="Pladsholder til dato 9"/>
          <p:cNvSpPr>
            <a:spLocks noGrp="1"/>
          </p:cNvSpPr>
          <p:nvPr>
            <p:ph type="dt" sz="half" idx="10"/>
          </p:nvPr>
        </p:nvSpPr>
        <p:spPr/>
        <p:txBody>
          <a:bodyPr/>
          <a:lstStyle/>
          <a:p>
            <a:fld id="{4E520063-E981-4DAA-95FD-9061BC6DB133}" type="datetime2">
              <a:rPr lang="da-DK" smtClean="0"/>
              <a:t>1. februar 2023</a:t>
            </a:fld>
            <a:endParaRPr lang="en-GB" dirty="0"/>
          </a:p>
        </p:txBody>
      </p:sp>
      <p:sp>
        <p:nvSpPr>
          <p:cNvPr id="11" name="Pladsholder til sidefod 10"/>
          <p:cNvSpPr>
            <a:spLocks noGrp="1"/>
          </p:cNvSpPr>
          <p:nvPr>
            <p:ph type="ftr" sz="quarter" idx="11"/>
          </p:nvPr>
        </p:nvSpPr>
        <p:spPr/>
        <p:txBody>
          <a:bodyPr/>
          <a:lstStyle/>
          <a:p>
            <a:r>
              <a:rPr lang="da-DK"/>
              <a:t>Indsæt titel på præsentationen i "Indsæt"- "Sidehoved/Sidefod"</a:t>
            </a:r>
            <a:endParaRPr lang="en-GB" dirty="0"/>
          </a:p>
        </p:txBody>
      </p:sp>
      <p:sp>
        <p:nvSpPr>
          <p:cNvPr id="12" name="Pladsholder til slidenummer 11"/>
          <p:cNvSpPr>
            <a:spLocks noGrp="1"/>
          </p:cNvSpPr>
          <p:nvPr>
            <p:ph type="sldNum" sz="quarter" idx="12"/>
          </p:nvPr>
        </p:nvSpPr>
        <p:spPr/>
        <p:txBody>
          <a:bodyPr/>
          <a:lstStyle/>
          <a:p>
            <a:fld id="{1C4DB2EE-0873-4EBD-BD17-6A767A2B9A33}" type="slidenum">
              <a:rPr lang="en-GB" smtClean="0"/>
              <a:pPr/>
              <a:t>‹nr.›</a:t>
            </a:fld>
            <a:endParaRPr lang="en-GB" dirty="0"/>
          </a:p>
        </p:txBody>
      </p:sp>
      <p:sp>
        <p:nvSpPr>
          <p:cNvPr id="8" name="Tekstfelt 7"/>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17533946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11" name="Pladsholder til dato 10"/>
          <p:cNvSpPr>
            <a:spLocks noGrp="1"/>
          </p:cNvSpPr>
          <p:nvPr>
            <p:ph type="dt" sz="half" idx="10"/>
          </p:nvPr>
        </p:nvSpPr>
        <p:spPr/>
        <p:txBody>
          <a:bodyPr/>
          <a:lstStyle/>
          <a:p>
            <a:fld id="{3635CCDA-D3AB-409C-995A-EBFC0AB3DFA8}" type="datetime2">
              <a:rPr lang="da-DK" smtClean="0"/>
              <a:t>1. februar 2023</a:t>
            </a:fld>
            <a:endParaRPr lang="en-GB" dirty="0"/>
          </a:p>
        </p:txBody>
      </p:sp>
      <p:sp>
        <p:nvSpPr>
          <p:cNvPr id="12" name="Pladsholder til sidefod 11"/>
          <p:cNvSpPr>
            <a:spLocks noGrp="1"/>
          </p:cNvSpPr>
          <p:nvPr>
            <p:ph type="ftr" sz="quarter" idx="11"/>
          </p:nvPr>
        </p:nvSpPr>
        <p:spPr/>
        <p:txBody>
          <a:bodyPr/>
          <a:lstStyle/>
          <a:p>
            <a:r>
              <a:rPr lang="da-DK"/>
              <a:t>Indsæt titel på præsentationen i "Indsæt"- "Sidehoved/Sidefod"</a:t>
            </a:r>
            <a:endParaRPr lang="en-GB" dirty="0"/>
          </a:p>
        </p:txBody>
      </p:sp>
      <p:sp>
        <p:nvSpPr>
          <p:cNvPr id="13" name="Pladsholder til slidenummer 12"/>
          <p:cNvSpPr>
            <a:spLocks noGrp="1"/>
          </p:cNvSpPr>
          <p:nvPr>
            <p:ph type="sldNum" sz="quarter" idx="12"/>
          </p:nvPr>
        </p:nvSpPr>
        <p:spPr/>
        <p:txBody>
          <a:bodyPr/>
          <a:lstStyle/>
          <a:p>
            <a:fld id="{1C4DB2EE-0873-4EBD-BD17-6A767A2B9A33}" type="slidenum">
              <a:rPr lang="en-GB" smtClean="0"/>
              <a:pPr/>
              <a:t>‹nr.›</a:t>
            </a:fld>
            <a:endParaRPr lang="en-GB" dirty="0"/>
          </a:p>
        </p:txBody>
      </p:sp>
      <p:sp>
        <p:nvSpPr>
          <p:cNvPr id="7" name="Tekstfelt 6"/>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208855589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illede 1">
    <p:spTree>
      <p:nvGrpSpPr>
        <p:cNvPr id="1" name=""/>
        <p:cNvGrpSpPr/>
        <p:nvPr/>
      </p:nvGrpSpPr>
      <p:grpSpPr>
        <a:xfrm>
          <a:off x="0" y="0"/>
          <a:ext cx="0" cy="0"/>
          <a:chOff x="0" y="0"/>
          <a:chExt cx="0" cy="0"/>
        </a:xfrm>
      </p:grpSpPr>
      <p:pic>
        <p:nvPicPr>
          <p:cNvPr id="13" name="Billede 12"/>
          <p:cNvPicPr>
            <a:picLocks noChangeAspect="1"/>
          </p:cNvPicPr>
          <p:nvPr userDrawn="1"/>
        </p:nvPicPr>
        <p:blipFill>
          <a:blip r:embed="rId2"/>
          <a:stretch>
            <a:fillRect/>
          </a:stretch>
        </p:blipFill>
        <p:spPr>
          <a:xfrm>
            <a:off x="0" y="0"/>
            <a:ext cx="9144000" cy="6858000"/>
          </a:xfrm>
          <a:prstGeom prst="rect">
            <a:avLst/>
          </a:prstGeom>
        </p:spPr>
      </p:pic>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9"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68999129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elslide hvi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noProof="0"/>
              <a:t>Klik for at redigere i master</a:t>
            </a:r>
          </a:p>
        </p:txBody>
      </p:sp>
      <p:sp>
        <p:nvSpPr>
          <p:cNvPr id="25"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6"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noProof="0"/>
              <a:t>Rediger typografien i masterens</a:t>
            </a:r>
          </a:p>
        </p:txBody>
      </p:sp>
      <p:sp>
        <p:nvSpPr>
          <p:cNvPr id="8" name="Pladsholder til tekst 5" descr="Socialstyrelsen Pay-off" title="Socialstyrelsen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13641051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elslide mørk gul">
    <p:bg>
      <p:bgPr>
        <a:solidFill>
          <a:srgbClr val="E9D392"/>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4763522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lede 10">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62926241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auseslide mørk gul">
    <p:bg>
      <p:bgPr>
        <a:solidFill>
          <a:srgbClr val="E9D392"/>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272937881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illede 6">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46048534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elslide grøn">
    <p:bg>
      <p:bgPr>
        <a:solidFill>
          <a:srgbClr val="BAD9C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10306036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auseslide grøn">
    <p:bg>
      <p:bgPr>
        <a:solidFill>
          <a:srgbClr val="BAD9C1"/>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217947969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illede 3">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9"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44986886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illede 4">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75869092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illede 10">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6006123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illede 13">
    <p:spTree>
      <p:nvGrpSpPr>
        <p:cNvPr id="1" name=""/>
        <p:cNvGrpSpPr/>
        <p:nvPr/>
      </p:nvGrpSpPr>
      <p:grpSpPr>
        <a:xfrm>
          <a:off x="0" y="0"/>
          <a:ext cx="0" cy="0"/>
          <a:chOff x="0" y="0"/>
          <a:chExt cx="0" cy="0"/>
        </a:xfrm>
      </p:grpSpPr>
      <p:pic>
        <p:nvPicPr>
          <p:cNvPr id="3" name="Billede 2"/>
          <p:cNvPicPr>
            <a:picLocks noChangeAspect="1"/>
          </p:cNvPicPr>
          <p:nvPr/>
        </p:nvPicPr>
        <p:blipFill>
          <a:blip r:embed="rId2"/>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2"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4"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6511097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elslide mørk grå">
    <p:bg>
      <p:bgPr>
        <a:solidFill>
          <a:srgbClr val="BCB5B2"/>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5408492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auseslide mørk grå">
    <p:bg>
      <p:bgPr>
        <a:solidFill>
          <a:srgbClr val="BCB5B2"/>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28744322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vmlDrawing" Target="../drawings/vmlDrawing2.v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2.xml"/><Relationship Id="rId17" Type="http://schemas.openxmlformats.org/officeDocument/2006/relationships/image" Target="../media/image21.png"/><Relationship Id="rId2" Type="http://schemas.openxmlformats.org/officeDocument/2006/relationships/slideLayout" Target="../slideLayouts/slideLayout40.xml"/><Relationship Id="rId16" Type="http://schemas.openxmlformats.org/officeDocument/2006/relationships/image" Target="../media/image1.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oleObject" Target="../embeddings/oleObject2.bin"/><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theme" Target="../theme/theme3.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oleObject" Target="../embeddings/oleObject3.bin"/><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41" Type="http://schemas.openxmlformats.org/officeDocument/2006/relationships/tags" Target="../tags/tag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vmlDrawing" Target="../drawings/vmlDrawing3.v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9" Type="http://schemas.openxmlformats.org/officeDocument/2006/relationships/slideLayout" Target="../slideLayouts/slideLayout126.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34" Type="http://schemas.openxmlformats.org/officeDocument/2006/relationships/slideLayout" Target="../slideLayouts/slideLayout121.xml"/><Relationship Id="rId42" Type="http://schemas.openxmlformats.org/officeDocument/2006/relationships/tags" Target="../tags/tag5.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38" Type="http://schemas.openxmlformats.org/officeDocument/2006/relationships/slideLayout" Target="../slideLayouts/slideLayout125.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41" Type="http://schemas.openxmlformats.org/officeDocument/2006/relationships/vmlDrawing" Target="../drawings/vmlDrawing4.v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slideLayout" Target="../slideLayouts/slideLayout119.xml"/><Relationship Id="rId37" Type="http://schemas.openxmlformats.org/officeDocument/2006/relationships/slideLayout" Target="../slideLayouts/slideLayout124.xml"/><Relationship Id="rId40" Type="http://schemas.openxmlformats.org/officeDocument/2006/relationships/theme" Target="../theme/theme4.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slideLayout" Target="../slideLayouts/slideLayout123.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slideLayout" Target="../slideLayouts/slideLayout118.xml"/><Relationship Id="rId44" Type="http://schemas.openxmlformats.org/officeDocument/2006/relationships/image" Target="../media/image22.emf"/><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slideLayout" Target="../slideLayouts/slideLayout122.xml"/><Relationship Id="rId43"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9" Type="http://schemas.openxmlformats.org/officeDocument/2006/relationships/slideLayout" Target="../slideLayouts/slideLayout165.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34" Type="http://schemas.openxmlformats.org/officeDocument/2006/relationships/slideLayout" Target="../slideLayouts/slideLayout160.xml"/><Relationship Id="rId42" Type="http://schemas.openxmlformats.org/officeDocument/2006/relationships/tags" Target="../tags/tag6.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33" Type="http://schemas.openxmlformats.org/officeDocument/2006/relationships/slideLayout" Target="../slideLayouts/slideLayout159.xml"/><Relationship Id="rId38" Type="http://schemas.openxmlformats.org/officeDocument/2006/relationships/slideLayout" Target="../slideLayouts/slideLayout164.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slideLayout" Target="../slideLayouts/slideLayout155.xml"/><Relationship Id="rId41" Type="http://schemas.openxmlformats.org/officeDocument/2006/relationships/vmlDrawing" Target="../drawings/vmlDrawing5.v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slideLayout" Target="../slideLayouts/slideLayout158.xml"/><Relationship Id="rId37" Type="http://schemas.openxmlformats.org/officeDocument/2006/relationships/slideLayout" Target="../slideLayouts/slideLayout163.xml"/><Relationship Id="rId40" Type="http://schemas.openxmlformats.org/officeDocument/2006/relationships/theme" Target="../theme/theme5.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36" Type="http://schemas.openxmlformats.org/officeDocument/2006/relationships/slideLayout" Target="../slideLayouts/slideLayout162.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4" Type="http://schemas.openxmlformats.org/officeDocument/2006/relationships/image" Target="../media/image22.emf"/><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 Id="rId35" Type="http://schemas.openxmlformats.org/officeDocument/2006/relationships/slideLayout" Target="../slideLayouts/slideLayout161.xml"/><Relationship Id="rId43"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1E7F41-A390-43FC-9DAC-75D4E452450C}"/>
              </a:ext>
            </a:extLst>
          </p:cNvPr>
          <p:cNvGraphicFramePr>
            <a:graphicFrameLocks noChangeAspect="1"/>
          </p:cNvGraphicFramePr>
          <p:nvPr userDrawn="1">
            <p:custDataLst>
              <p:tags r:id="rId41"/>
            </p:custDataLst>
            <p:extLst>
              <p:ext uri="{D42A27DB-BD31-4B8C-83A1-F6EECF244321}">
                <p14:modId xmlns:p14="http://schemas.microsoft.com/office/powerpoint/2010/main" val="70119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2" imgW="342" imgH="337" progId="TCLayout.ActiveDocument.1">
                  <p:embed/>
                </p:oleObj>
              </mc:Choice>
              <mc:Fallback>
                <p:oleObj name="think-cell Slide" r:id="rId42" imgW="342" imgH="337" progId="TCLayout.ActiveDocument.1">
                  <p:embed/>
                  <p:pic>
                    <p:nvPicPr>
                      <p:cNvPr id="0" name=""/>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628649" y="764704"/>
            <a:ext cx="7904163" cy="756084"/>
          </a:xfrm>
          <a:prstGeom prst="rect">
            <a:avLst/>
          </a:prstGeom>
        </p:spPr>
        <p:txBody>
          <a:bodyPr vert="horz" lIns="0" tIns="0" rIns="0" bIns="0" rtlCol="0" anchor="ctr">
            <a:noAutofit/>
          </a:bodyPr>
          <a:lstStyle/>
          <a:p>
            <a:endParaRPr lang="da-DK" dirty="0"/>
          </a:p>
        </p:txBody>
      </p:sp>
      <p:sp>
        <p:nvSpPr>
          <p:cNvPr id="4" name="Pladsholder til dato 3"/>
          <p:cNvSpPr>
            <a:spLocks noGrp="1"/>
          </p:cNvSpPr>
          <p:nvPr>
            <p:ph type="dt" sz="half" idx="2"/>
          </p:nvPr>
        </p:nvSpPr>
        <p:spPr>
          <a:xfrm>
            <a:off x="6457950" y="6052207"/>
            <a:ext cx="2057400" cy="365125"/>
          </a:xfrm>
          <a:prstGeom prst="rect">
            <a:avLst/>
          </a:prstGeom>
        </p:spPr>
        <p:txBody>
          <a:bodyPr vert="horz" lIns="0" tIns="0" rIns="0" bIns="0" rtlCol="0" anchor="ctr">
            <a:noAutofit/>
          </a:bodyPr>
          <a:lstStyle>
            <a:lvl1pPr algn="r">
              <a:defRPr sz="900" b="1">
                <a:solidFill>
                  <a:schemeClr val="tx2"/>
                </a:solidFill>
              </a:defRPr>
            </a:lvl1pPr>
          </a:lstStyle>
          <a:p>
            <a:fld id="{6979A6E8-73DD-4533-B914-46A87207867A}" type="datetime2">
              <a:rPr lang="da-DK" smtClean="0"/>
              <a:t>1. februar 2023</a:t>
            </a:fld>
            <a:endParaRPr lang="da-DK" dirty="0"/>
          </a:p>
        </p:txBody>
      </p:sp>
      <p:sp>
        <p:nvSpPr>
          <p:cNvPr id="5" name="Pladsholder til sidefod 4"/>
          <p:cNvSpPr>
            <a:spLocks noGrp="1"/>
          </p:cNvSpPr>
          <p:nvPr>
            <p:ph type="ftr" sz="quarter" idx="3"/>
          </p:nvPr>
        </p:nvSpPr>
        <p:spPr>
          <a:xfrm>
            <a:off x="628649" y="6273316"/>
            <a:ext cx="4759559" cy="180020"/>
          </a:xfrm>
          <a:prstGeom prst="rect">
            <a:avLst/>
          </a:prstGeom>
        </p:spPr>
        <p:txBody>
          <a:bodyPr vert="horz" lIns="0" tIns="0" rIns="0" bIns="0" rtlCol="0" anchor="b">
            <a:noAutofit/>
          </a:bodyPr>
          <a:lstStyle>
            <a:lvl1pPr algn="l">
              <a:defRPr sz="900" b="0">
                <a:solidFill>
                  <a:schemeClr val="bg2"/>
                </a:solidFill>
              </a:defRPr>
            </a:lvl1pPr>
          </a:lstStyle>
          <a:p>
            <a:r>
              <a:rPr lang="da-DK"/>
              <a:t>Indsæt titel på præsentationen i "Indsæt"- "Sidehoved/Sidefod"</a:t>
            </a:r>
            <a:endParaRPr lang="da-DK" dirty="0"/>
          </a:p>
        </p:txBody>
      </p:sp>
      <p:sp>
        <p:nvSpPr>
          <p:cNvPr id="6" name="Pladsholder til slidenummer 5"/>
          <p:cNvSpPr>
            <a:spLocks noGrp="1"/>
          </p:cNvSpPr>
          <p:nvPr>
            <p:ph type="sldNum" sz="quarter" idx="4"/>
          </p:nvPr>
        </p:nvSpPr>
        <p:spPr>
          <a:xfrm>
            <a:off x="6457950" y="6356351"/>
            <a:ext cx="2057400" cy="365125"/>
          </a:xfrm>
          <a:prstGeom prst="rect">
            <a:avLst/>
          </a:prstGeom>
        </p:spPr>
        <p:txBody>
          <a:bodyPr vert="horz" lIns="0" tIns="0" rIns="0" bIns="0" rtlCol="0" anchor="ctr">
            <a:noAutofit/>
          </a:bodyPr>
          <a:lstStyle>
            <a:lvl1pPr algn="r">
              <a:defRPr sz="900">
                <a:solidFill>
                  <a:schemeClr val="bg1"/>
                </a:solidFill>
              </a:defRPr>
            </a:lvl1pPr>
          </a:lstStyle>
          <a:p>
            <a:fld id="{1C4DB2EE-0873-4EBD-BD17-6A767A2B9A33}" type="slidenum">
              <a:rPr lang="da-DK" smtClean="0"/>
              <a:pPr/>
              <a:t>‹nr.›</a:t>
            </a:fld>
            <a:endParaRPr lang="da-DK" dirty="0"/>
          </a:p>
        </p:txBody>
      </p:sp>
      <p:sp>
        <p:nvSpPr>
          <p:cNvPr id="8" name="Pladsholder til tekst 7"/>
          <p:cNvSpPr>
            <a:spLocks noGrp="1"/>
          </p:cNvSpPr>
          <p:nvPr>
            <p:ph type="body" idx="1"/>
          </p:nvPr>
        </p:nvSpPr>
        <p:spPr>
          <a:xfrm>
            <a:off x="628650" y="1628775"/>
            <a:ext cx="7886700" cy="4248497"/>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endParaRPr lang="en-GB" dirty="0"/>
          </a:p>
        </p:txBody>
      </p:sp>
    </p:spTree>
    <p:extLst>
      <p:ext uri="{BB962C8B-B14F-4D97-AF65-F5344CB8AC3E}">
        <p14:creationId xmlns:p14="http://schemas.microsoft.com/office/powerpoint/2010/main" val="20910055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88" r:id="rId3"/>
    <p:sldLayoutId id="2147483772" r:id="rId4"/>
    <p:sldLayoutId id="2147483761" r:id="rId5"/>
    <p:sldLayoutId id="2147483789" r:id="rId6"/>
    <p:sldLayoutId id="2147483769" r:id="rId7"/>
    <p:sldLayoutId id="2147483770" r:id="rId8"/>
    <p:sldLayoutId id="2147483776" r:id="rId9"/>
    <p:sldLayoutId id="2147483779" r:id="rId10"/>
    <p:sldLayoutId id="2147483765" r:id="rId11"/>
    <p:sldLayoutId id="2147483793" r:id="rId12"/>
    <p:sldLayoutId id="2147483773" r:id="rId13"/>
    <p:sldLayoutId id="2147483778" r:id="rId14"/>
    <p:sldLayoutId id="2147483763" r:id="rId15"/>
    <p:sldLayoutId id="2147483791" r:id="rId16"/>
    <p:sldLayoutId id="2147483768" r:id="rId17"/>
    <p:sldLayoutId id="2147483780" r:id="rId18"/>
    <p:sldLayoutId id="2147483764" r:id="rId19"/>
    <p:sldLayoutId id="2147483792" r:id="rId20"/>
    <p:sldLayoutId id="2147483771" r:id="rId21"/>
    <p:sldLayoutId id="2147483775" r:id="rId22"/>
    <p:sldLayoutId id="2147483777" r:id="rId23"/>
    <p:sldLayoutId id="2147483762" r:id="rId24"/>
    <p:sldLayoutId id="2147483790" r:id="rId25"/>
    <p:sldLayoutId id="2147483774" r:id="rId26"/>
    <p:sldLayoutId id="2147483766" r:id="rId27"/>
    <p:sldLayoutId id="2147483781" r:id="rId28"/>
    <p:sldLayoutId id="2147483782" r:id="rId29"/>
    <p:sldLayoutId id="2147483783" r:id="rId30"/>
    <p:sldLayoutId id="2147483784" r:id="rId31"/>
    <p:sldLayoutId id="2147483785" r:id="rId32"/>
    <p:sldLayoutId id="2147483786" r:id="rId33"/>
    <p:sldLayoutId id="2147483787" r:id="rId34"/>
    <p:sldLayoutId id="2147483794" r:id="rId35"/>
    <p:sldLayoutId id="2147483795" r:id="rId36"/>
    <p:sldLayoutId id="2147483796" r:id="rId37"/>
    <p:sldLayoutId id="2147483767" r:id="rId38"/>
  </p:sldLayoutIdLst>
  <p:hf hdr="0" ftr="0" dt="0"/>
  <p:txStyles>
    <p:title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p:titleStyle>
    <p:bodyStyle>
      <a:lvl1pPr marL="180000" indent="-180000" algn="l" defTabSz="685800" rtl="0" eaLnBrk="1" latinLnBrk="0" hangingPunct="1">
        <a:lnSpc>
          <a:spcPct val="100000"/>
        </a:lnSpc>
        <a:spcBef>
          <a:spcPts val="750"/>
        </a:spcBef>
        <a:buFont typeface="Arial" panose="020B0604020202020204" pitchFamily="34" charset="0"/>
        <a:buChar char="•"/>
        <a:defRPr sz="1800" kern="1200">
          <a:solidFill>
            <a:schemeClr val="tx1"/>
          </a:solidFill>
          <a:latin typeface="+mn-lt"/>
          <a:ea typeface="+mn-ea"/>
          <a:cs typeface="+mn-cs"/>
        </a:defRPr>
      </a:lvl1pPr>
      <a:lvl2pPr marL="36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2pPr>
      <a:lvl3pPr marL="54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3pPr>
      <a:lvl4pPr marL="72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4pPr>
      <a:lvl5pPr marL="90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a-DK"/>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2" orient="horz" pos="1026" userDrawn="1">
          <p15:clr>
            <a:srgbClr val="F26B43"/>
          </p15:clr>
        </p15:guide>
        <p15:guide id="13" pos="385" userDrawn="1">
          <p15:clr>
            <a:srgbClr val="F26B43"/>
          </p15:clr>
        </p15:guide>
        <p15:guide id="14" pos="5375" userDrawn="1">
          <p15:clr>
            <a:srgbClr val="F26B43"/>
          </p15:clr>
        </p15:guide>
        <p15:guide id="15" orient="horz" pos="370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52962B-FDA9-4C4E-A7D6-2E801D423740}"/>
              </a:ext>
            </a:extLst>
          </p:cNvPr>
          <p:cNvGraphicFramePr>
            <a:graphicFrameLocks noChangeAspect="1"/>
          </p:cNvGraphicFramePr>
          <p:nvPr userDrawn="1">
            <p:custDataLst>
              <p:tags r:id="rId14"/>
            </p:custDataLst>
            <p:extLst>
              <p:ext uri="{D42A27DB-BD31-4B8C-83A1-F6EECF244321}">
                <p14:modId xmlns:p14="http://schemas.microsoft.com/office/powerpoint/2010/main" val="2890361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15" imgW="342" imgH="337" progId="TCLayout.ActiveDocument.1">
                  <p:embed/>
                </p:oleObj>
              </mc:Choice>
              <mc:Fallback>
                <p:oleObj name="think-cell Slide" r:id="rId15" imgW="342" imgH="337" progId="TCLayout.ActiveDocument.1">
                  <p:embed/>
                  <p:pic>
                    <p:nvPicPr>
                      <p:cNvPr id="2" name="Object 1" hidden="1">
                        <a:extLst>
                          <a:ext uri="{FF2B5EF4-FFF2-40B4-BE49-F238E27FC236}">
                            <a16:creationId xmlns:a16="http://schemas.microsoft.com/office/drawing/2014/main" id="{4C52962B-FDA9-4C4E-A7D6-2E801D42374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grpSp>
        <p:nvGrpSpPr>
          <p:cNvPr id="1026" name="Group 61"/>
          <p:cNvGrpSpPr>
            <a:grpSpLocks noChangeAspect="1"/>
          </p:cNvGrpSpPr>
          <p:nvPr/>
        </p:nvGrpSpPr>
        <p:grpSpPr bwMode="auto">
          <a:xfrm>
            <a:off x="-2573338" y="3789365"/>
            <a:ext cx="10240963" cy="6911975"/>
            <a:chOff x="-1007" y="2886"/>
            <a:chExt cx="6767" cy="4568"/>
          </a:xfrm>
        </p:grpSpPr>
        <p:sp>
          <p:nvSpPr>
            <p:cNvPr id="1032" name="AutoShape 60"/>
            <p:cNvSpPr>
              <a:spLocks noChangeAspect="1" noChangeArrowheads="1" noTextEdit="1"/>
            </p:cNvSpPr>
            <p:nvPr userDrawn="1"/>
          </p:nvSpPr>
          <p:spPr bwMode="auto">
            <a:xfrm>
              <a:off x="-1007" y="2886"/>
              <a:ext cx="6767" cy="4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33" name="Freeform 62"/>
            <p:cNvSpPr>
              <a:spLocks noEditPoints="1"/>
            </p:cNvSpPr>
            <p:nvPr userDrawn="1"/>
          </p:nvSpPr>
          <p:spPr bwMode="auto">
            <a:xfrm>
              <a:off x="-1005" y="3916"/>
              <a:ext cx="4509" cy="2375"/>
            </a:xfrm>
            <a:custGeom>
              <a:avLst/>
              <a:gdLst>
                <a:gd name="T0" fmla="*/ 2147483646 w 2225"/>
                <a:gd name="T1" fmla="*/ 2147483646 h 1172"/>
                <a:gd name="T2" fmla="*/ 2147483646 w 2225"/>
                <a:gd name="T3" fmla="*/ 2147483646 h 1172"/>
                <a:gd name="T4" fmla="*/ 2147483646 w 2225"/>
                <a:gd name="T5" fmla="*/ 2147483646 h 1172"/>
                <a:gd name="T6" fmla="*/ 2147483646 w 2225"/>
                <a:gd name="T7" fmla="*/ 2147483646 h 1172"/>
                <a:gd name="T8" fmla="*/ 2147483646 w 2225"/>
                <a:gd name="T9" fmla="*/ 2147483646 h 1172"/>
                <a:gd name="T10" fmla="*/ 2147483646 w 2225"/>
                <a:gd name="T11" fmla="*/ 2147483646 h 1172"/>
                <a:gd name="T12" fmla="*/ 2147483646 w 2225"/>
                <a:gd name="T13" fmla="*/ 2147483646 h 1172"/>
                <a:gd name="T14" fmla="*/ 2147483646 w 2225"/>
                <a:gd name="T15" fmla="*/ 2147483646 h 1172"/>
                <a:gd name="T16" fmla="*/ 2147483646 w 2225"/>
                <a:gd name="T17" fmla="*/ 2147483646 h 1172"/>
                <a:gd name="T18" fmla="*/ 2147483646 w 2225"/>
                <a:gd name="T19" fmla="*/ 2147483646 h 1172"/>
                <a:gd name="T20" fmla="*/ 2147483646 w 2225"/>
                <a:gd name="T21" fmla="*/ 2147483646 h 1172"/>
                <a:gd name="T22" fmla="*/ 2147483646 w 2225"/>
                <a:gd name="T23" fmla="*/ 2147483646 h 1172"/>
                <a:gd name="T24" fmla="*/ 2147483646 w 2225"/>
                <a:gd name="T25" fmla="*/ 2147483646 h 1172"/>
                <a:gd name="T26" fmla="*/ 2147483646 w 2225"/>
                <a:gd name="T27" fmla="*/ 2147483646 h 1172"/>
                <a:gd name="T28" fmla="*/ 2147483646 w 2225"/>
                <a:gd name="T29" fmla="*/ 2147483646 h 1172"/>
                <a:gd name="T30" fmla="*/ 2147483646 w 2225"/>
                <a:gd name="T31" fmla="*/ 2147483646 h 1172"/>
                <a:gd name="T32" fmla="*/ 2147483646 w 2225"/>
                <a:gd name="T33" fmla="*/ 2147483646 h 1172"/>
                <a:gd name="T34" fmla="*/ 2147483646 w 2225"/>
                <a:gd name="T35" fmla="*/ 2147483646 h 1172"/>
                <a:gd name="T36" fmla="*/ 2147483646 w 2225"/>
                <a:gd name="T37" fmla="*/ 2147483646 h 1172"/>
                <a:gd name="T38" fmla="*/ 2147483646 w 2225"/>
                <a:gd name="T39" fmla="*/ 2147483646 h 1172"/>
                <a:gd name="T40" fmla="*/ 2147483646 w 2225"/>
                <a:gd name="T41" fmla="*/ 2147483646 h 1172"/>
                <a:gd name="T42" fmla="*/ 2147483646 w 2225"/>
                <a:gd name="T43" fmla="*/ 2147483646 h 1172"/>
                <a:gd name="T44" fmla="*/ 2147483646 w 2225"/>
                <a:gd name="T45" fmla="*/ 2147483646 h 1172"/>
                <a:gd name="T46" fmla="*/ 2147483646 w 2225"/>
                <a:gd name="T47" fmla="*/ 2147483646 h 1172"/>
                <a:gd name="T48" fmla="*/ 2147483646 w 2225"/>
                <a:gd name="T49" fmla="*/ 2147483646 h 1172"/>
                <a:gd name="T50" fmla="*/ 2147483646 w 2225"/>
                <a:gd name="T51" fmla="*/ 2147483646 h 1172"/>
                <a:gd name="T52" fmla="*/ 2147483646 w 2225"/>
                <a:gd name="T53" fmla="*/ 2147483646 h 1172"/>
                <a:gd name="T54" fmla="*/ 2147483646 w 2225"/>
                <a:gd name="T55" fmla="*/ 2147483646 h 1172"/>
                <a:gd name="T56" fmla="*/ 2147483646 w 2225"/>
                <a:gd name="T57" fmla="*/ 2147483646 h 1172"/>
                <a:gd name="T58" fmla="*/ 2147483646 w 2225"/>
                <a:gd name="T59" fmla="*/ 2147483646 h 1172"/>
                <a:gd name="T60" fmla="*/ 2147483646 w 2225"/>
                <a:gd name="T61" fmla="*/ 2147483646 h 1172"/>
                <a:gd name="T62" fmla="*/ 2147483646 w 2225"/>
                <a:gd name="T63" fmla="*/ 2147483646 h 1172"/>
                <a:gd name="T64" fmla="*/ 2147483646 w 2225"/>
                <a:gd name="T65" fmla="*/ 2147483646 h 1172"/>
                <a:gd name="T66" fmla="*/ 2147483646 w 2225"/>
                <a:gd name="T67" fmla="*/ 2147483646 h 1172"/>
                <a:gd name="T68" fmla="*/ 2147483646 w 2225"/>
                <a:gd name="T69" fmla="*/ 2147483646 h 1172"/>
                <a:gd name="T70" fmla="*/ 2147483646 w 2225"/>
                <a:gd name="T71" fmla="*/ 2147483646 h 1172"/>
                <a:gd name="T72" fmla="*/ 2147483646 w 2225"/>
                <a:gd name="T73" fmla="*/ 2147483646 h 1172"/>
                <a:gd name="T74" fmla="*/ 2147483646 w 2225"/>
                <a:gd name="T75" fmla="*/ 2147483646 h 1172"/>
                <a:gd name="T76" fmla="*/ 2147483646 w 2225"/>
                <a:gd name="T77" fmla="*/ 2147483646 h 1172"/>
                <a:gd name="T78" fmla="*/ 2147483646 w 2225"/>
                <a:gd name="T79" fmla="*/ 2147483646 h 1172"/>
                <a:gd name="T80" fmla="*/ 2147483646 w 2225"/>
                <a:gd name="T81" fmla="*/ 2147483646 h 1172"/>
                <a:gd name="T82" fmla="*/ 2147483646 w 2225"/>
                <a:gd name="T83" fmla="*/ 2147483646 h 1172"/>
                <a:gd name="T84" fmla="*/ 2147483646 w 2225"/>
                <a:gd name="T85" fmla="*/ 2147483646 h 1172"/>
                <a:gd name="T86" fmla="*/ 2147483646 w 2225"/>
                <a:gd name="T87" fmla="*/ 2147483646 h 1172"/>
                <a:gd name="T88" fmla="*/ 2147483646 w 2225"/>
                <a:gd name="T89" fmla="*/ 2147483646 h 1172"/>
                <a:gd name="T90" fmla="*/ 2147483646 w 2225"/>
                <a:gd name="T91" fmla="*/ 2147483646 h 1172"/>
                <a:gd name="T92" fmla="*/ 2147483646 w 2225"/>
                <a:gd name="T93" fmla="*/ 2147483646 h 1172"/>
                <a:gd name="T94" fmla="*/ 2147483646 w 2225"/>
                <a:gd name="T95" fmla="*/ 2147483646 h 1172"/>
                <a:gd name="T96" fmla="*/ 2147483646 w 2225"/>
                <a:gd name="T97" fmla="*/ 2147483646 h 1172"/>
                <a:gd name="T98" fmla="*/ 2147483646 w 2225"/>
                <a:gd name="T99" fmla="*/ 2147483646 h 1172"/>
                <a:gd name="T100" fmla="*/ 2147483646 w 2225"/>
                <a:gd name="T101" fmla="*/ 2147483646 h 1172"/>
                <a:gd name="T102" fmla="*/ 2147483646 w 2225"/>
                <a:gd name="T103" fmla="*/ 2147483646 h 1172"/>
                <a:gd name="T104" fmla="*/ 2147483646 w 2225"/>
                <a:gd name="T105" fmla="*/ 2147483646 h 1172"/>
                <a:gd name="T106" fmla="*/ 2147483646 w 2225"/>
                <a:gd name="T107" fmla="*/ 2147483646 h 1172"/>
                <a:gd name="T108" fmla="*/ 2147483646 w 2225"/>
                <a:gd name="T109" fmla="*/ 2147483646 h 1172"/>
                <a:gd name="T110" fmla="*/ 2147483646 w 2225"/>
                <a:gd name="T111" fmla="*/ 2147483646 h 1172"/>
                <a:gd name="T112" fmla="*/ 2147483646 w 2225"/>
                <a:gd name="T113" fmla="*/ 2147483646 h 1172"/>
                <a:gd name="T114" fmla="*/ 2147483646 w 2225"/>
                <a:gd name="T115" fmla="*/ 2147483646 h 1172"/>
                <a:gd name="T116" fmla="*/ 2147483646 w 2225"/>
                <a:gd name="T117" fmla="*/ 2147483646 h 1172"/>
                <a:gd name="T118" fmla="*/ 2147483646 w 2225"/>
                <a:gd name="T119" fmla="*/ 2147483646 h 1172"/>
                <a:gd name="T120" fmla="*/ 2147483646 w 2225"/>
                <a:gd name="T121" fmla="*/ 2147483646 h 1172"/>
                <a:gd name="T122" fmla="*/ 2147483646 w 2225"/>
                <a:gd name="T123" fmla="*/ 2147483646 h 11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225" h="1172">
                  <a:moveTo>
                    <a:pt x="114" y="0"/>
                  </a:moveTo>
                  <a:cubicBezTo>
                    <a:pt x="43" y="0"/>
                    <a:pt x="0" y="13"/>
                    <a:pt x="0" y="44"/>
                  </a:cubicBezTo>
                  <a:cubicBezTo>
                    <a:pt x="0" y="86"/>
                    <a:pt x="84" y="161"/>
                    <a:pt x="291" y="278"/>
                  </a:cubicBezTo>
                  <a:cubicBezTo>
                    <a:pt x="718" y="520"/>
                    <a:pt x="1061" y="628"/>
                    <a:pt x="1298" y="680"/>
                  </a:cubicBezTo>
                  <a:cubicBezTo>
                    <a:pt x="1326" y="686"/>
                    <a:pt x="1353" y="691"/>
                    <a:pt x="1379" y="696"/>
                  </a:cubicBezTo>
                  <a:cubicBezTo>
                    <a:pt x="1379" y="696"/>
                    <a:pt x="1379" y="696"/>
                    <a:pt x="1380" y="695"/>
                  </a:cubicBezTo>
                  <a:cubicBezTo>
                    <a:pt x="1144" y="652"/>
                    <a:pt x="771" y="549"/>
                    <a:pt x="291" y="277"/>
                  </a:cubicBezTo>
                  <a:cubicBezTo>
                    <a:pt x="84" y="160"/>
                    <a:pt x="0" y="85"/>
                    <a:pt x="1" y="44"/>
                  </a:cubicBezTo>
                  <a:cubicBezTo>
                    <a:pt x="1" y="29"/>
                    <a:pt x="11" y="18"/>
                    <a:pt x="30" y="11"/>
                  </a:cubicBezTo>
                  <a:cubicBezTo>
                    <a:pt x="50" y="4"/>
                    <a:pt x="78" y="1"/>
                    <a:pt x="114" y="1"/>
                  </a:cubicBezTo>
                  <a:cubicBezTo>
                    <a:pt x="114" y="1"/>
                    <a:pt x="114" y="1"/>
                    <a:pt x="114" y="1"/>
                  </a:cubicBezTo>
                  <a:cubicBezTo>
                    <a:pt x="358" y="1"/>
                    <a:pt x="939" y="158"/>
                    <a:pt x="1290" y="338"/>
                  </a:cubicBezTo>
                  <a:cubicBezTo>
                    <a:pt x="1309" y="347"/>
                    <a:pt x="1327" y="357"/>
                    <a:pt x="1345" y="366"/>
                  </a:cubicBezTo>
                  <a:cubicBezTo>
                    <a:pt x="1004" y="175"/>
                    <a:pt x="371" y="0"/>
                    <a:pt x="114" y="0"/>
                  </a:cubicBezTo>
                  <a:moveTo>
                    <a:pt x="1714" y="139"/>
                  </a:moveTo>
                  <a:cubicBezTo>
                    <a:pt x="1710" y="139"/>
                    <a:pt x="1706" y="139"/>
                    <a:pt x="1702" y="139"/>
                  </a:cubicBezTo>
                  <a:cubicBezTo>
                    <a:pt x="1701" y="140"/>
                    <a:pt x="1700" y="140"/>
                    <a:pt x="1700" y="141"/>
                  </a:cubicBezTo>
                  <a:cubicBezTo>
                    <a:pt x="1704" y="140"/>
                    <a:pt x="1709" y="140"/>
                    <a:pt x="1714" y="140"/>
                  </a:cubicBezTo>
                  <a:cubicBezTo>
                    <a:pt x="1716" y="140"/>
                    <a:pt x="1718" y="140"/>
                    <a:pt x="1720" y="140"/>
                  </a:cubicBezTo>
                  <a:cubicBezTo>
                    <a:pt x="1720" y="140"/>
                    <a:pt x="1721" y="139"/>
                    <a:pt x="1721" y="139"/>
                  </a:cubicBezTo>
                  <a:cubicBezTo>
                    <a:pt x="1719" y="139"/>
                    <a:pt x="1716" y="139"/>
                    <a:pt x="1714" y="139"/>
                  </a:cubicBezTo>
                  <a:moveTo>
                    <a:pt x="1722" y="139"/>
                  </a:moveTo>
                  <a:cubicBezTo>
                    <a:pt x="1722" y="139"/>
                    <a:pt x="1722" y="140"/>
                    <a:pt x="1721" y="140"/>
                  </a:cubicBezTo>
                  <a:cubicBezTo>
                    <a:pt x="1729" y="140"/>
                    <a:pt x="1737" y="141"/>
                    <a:pt x="1746" y="142"/>
                  </a:cubicBezTo>
                  <a:cubicBezTo>
                    <a:pt x="1746" y="142"/>
                    <a:pt x="1746" y="141"/>
                    <a:pt x="1746" y="141"/>
                  </a:cubicBezTo>
                  <a:cubicBezTo>
                    <a:pt x="1737" y="140"/>
                    <a:pt x="1730" y="139"/>
                    <a:pt x="1722" y="139"/>
                  </a:cubicBezTo>
                  <a:moveTo>
                    <a:pt x="1699" y="140"/>
                  </a:moveTo>
                  <a:cubicBezTo>
                    <a:pt x="1671" y="142"/>
                    <a:pt x="1654" y="152"/>
                    <a:pt x="1654" y="172"/>
                  </a:cubicBezTo>
                  <a:cubicBezTo>
                    <a:pt x="1654" y="181"/>
                    <a:pt x="1658" y="193"/>
                    <a:pt x="1666" y="206"/>
                  </a:cubicBezTo>
                  <a:cubicBezTo>
                    <a:pt x="1712" y="284"/>
                    <a:pt x="1753" y="339"/>
                    <a:pt x="1781" y="380"/>
                  </a:cubicBezTo>
                  <a:cubicBezTo>
                    <a:pt x="1782" y="380"/>
                    <a:pt x="1782" y="380"/>
                    <a:pt x="1783" y="380"/>
                  </a:cubicBezTo>
                  <a:cubicBezTo>
                    <a:pt x="1754" y="339"/>
                    <a:pt x="1713" y="284"/>
                    <a:pt x="1667" y="206"/>
                  </a:cubicBezTo>
                  <a:cubicBezTo>
                    <a:pt x="1659" y="192"/>
                    <a:pt x="1655" y="181"/>
                    <a:pt x="1655" y="172"/>
                  </a:cubicBezTo>
                  <a:cubicBezTo>
                    <a:pt x="1655" y="153"/>
                    <a:pt x="1671" y="143"/>
                    <a:pt x="1698" y="141"/>
                  </a:cubicBezTo>
                  <a:cubicBezTo>
                    <a:pt x="1698" y="140"/>
                    <a:pt x="1699" y="140"/>
                    <a:pt x="1699" y="140"/>
                  </a:cubicBezTo>
                  <a:moveTo>
                    <a:pt x="1747" y="141"/>
                  </a:moveTo>
                  <a:cubicBezTo>
                    <a:pt x="1747" y="141"/>
                    <a:pt x="1747" y="142"/>
                    <a:pt x="1747" y="142"/>
                  </a:cubicBezTo>
                  <a:cubicBezTo>
                    <a:pt x="1756" y="143"/>
                    <a:pt x="1766" y="145"/>
                    <a:pt x="1776" y="146"/>
                  </a:cubicBezTo>
                  <a:cubicBezTo>
                    <a:pt x="1776" y="146"/>
                    <a:pt x="1776" y="146"/>
                    <a:pt x="1776" y="145"/>
                  </a:cubicBezTo>
                  <a:cubicBezTo>
                    <a:pt x="1766" y="144"/>
                    <a:pt x="1756" y="142"/>
                    <a:pt x="1747" y="141"/>
                  </a:cubicBezTo>
                  <a:moveTo>
                    <a:pt x="1777" y="146"/>
                  </a:moveTo>
                  <a:cubicBezTo>
                    <a:pt x="1777" y="146"/>
                    <a:pt x="1777" y="146"/>
                    <a:pt x="1777" y="147"/>
                  </a:cubicBezTo>
                  <a:cubicBezTo>
                    <a:pt x="1787" y="148"/>
                    <a:pt x="1797" y="151"/>
                    <a:pt x="1808" y="153"/>
                  </a:cubicBezTo>
                  <a:cubicBezTo>
                    <a:pt x="1808" y="153"/>
                    <a:pt x="1808" y="152"/>
                    <a:pt x="1809" y="152"/>
                  </a:cubicBezTo>
                  <a:cubicBezTo>
                    <a:pt x="1798" y="150"/>
                    <a:pt x="1787" y="147"/>
                    <a:pt x="1777" y="146"/>
                  </a:cubicBezTo>
                  <a:moveTo>
                    <a:pt x="1810" y="152"/>
                  </a:moveTo>
                  <a:cubicBezTo>
                    <a:pt x="1809" y="153"/>
                    <a:pt x="1809" y="153"/>
                    <a:pt x="1809" y="153"/>
                  </a:cubicBezTo>
                  <a:cubicBezTo>
                    <a:pt x="1819" y="156"/>
                    <a:pt x="1829" y="158"/>
                    <a:pt x="1840" y="161"/>
                  </a:cubicBezTo>
                  <a:cubicBezTo>
                    <a:pt x="1840" y="161"/>
                    <a:pt x="1840" y="160"/>
                    <a:pt x="1840" y="160"/>
                  </a:cubicBezTo>
                  <a:cubicBezTo>
                    <a:pt x="1830" y="157"/>
                    <a:pt x="1820" y="155"/>
                    <a:pt x="1810" y="152"/>
                  </a:cubicBezTo>
                  <a:moveTo>
                    <a:pt x="1841" y="160"/>
                  </a:moveTo>
                  <a:cubicBezTo>
                    <a:pt x="1841" y="161"/>
                    <a:pt x="1841" y="161"/>
                    <a:pt x="1841" y="161"/>
                  </a:cubicBezTo>
                  <a:cubicBezTo>
                    <a:pt x="1850" y="164"/>
                    <a:pt x="1860" y="167"/>
                    <a:pt x="1870" y="170"/>
                  </a:cubicBezTo>
                  <a:cubicBezTo>
                    <a:pt x="1870" y="169"/>
                    <a:pt x="1870" y="169"/>
                    <a:pt x="1871" y="169"/>
                  </a:cubicBezTo>
                  <a:cubicBezTo>
                    <a:pt x="1861" y="166"/>
                    <a:pt x="1851" y="163"/>
                    <a:pt x="1841" y="160"/>
                  </a:cubicBezTo>
                  <a:moveTo>
                    <a:pt x="1872" y="169"/>
                  </a:moveTo>
                  <a:cubicBezTo>
                    <a:pt x="1871" y="169"/>
                    <a:pt x="1871" y="170"/>
                    <a:pt x="1871" y="170"/>
                  </a:cubicBezTo>
                  <a:cubicBezTo>
                    <a:pt x="1877" y="172"/>
                    <a:pt x="1883" y="174"/>
                    <a:pt x="1889" y="176"/>
                  </a:cubicBezTo>
                  <a:cubicBezTo>
                    <a:pt x="1889" y="175"/>
                    <a:pt x="1889" y="175"/>
                    <a:pt x="1889" y="175"/>
                  </a:cubicBezTo>
                  <a:cubicBezTo>
                    <a:pt x="1883" y="173"/>
                    <a:pt x="1877" y="171"/>
                    <a:pt x="1872" y="169"/>
                  </a:cubicBezTo>
                  <a:moveTo>
                    <a:pt x="1890" y="175"/>
                  </a:moveTo>
                  <a:cubicBezTo>
                    <a:pt x="1890" y="175"/>
                    <a:pt x="1890" y="176"/>
                    <a:pt x="1890" y="176"/>
                  </a:cubicBezTo>
                  <a:cubicBezTo>
                    <a:pt x="1893" y="177"/>
                    <a:pt x="1896" y="178"/>
                    <a:pt x="1899" y="179"/>
                  </a:cubicBezTo>
                  <a:cubicBezTo>
                    <a:pt x="1899" y="179"/>
                    <a:pt x="1899" y="178"/>
                    <a:pt x="1899" y="178"/>
                  </a:cubicBezTo>
                  <a:cubicBezTo>
                    <a:pt x="1896" y="177"/>
                    <a:pt x="1893" y="176"/>
                    <a:pt x="1890" y="175"/>
                  </a:cubicBezTo>
                  <a:moveTo>
                    <a:pt x="1900" y="178"/>
                  </a:moveTo>
                  <a:cubicBezTo>
                    <a:pt x="1900" y="179"/>
                    <a:pt x="1900" y="179"/>
                    <a:pt x="1900" y="179"/>
                  </a:cubicBezTo>
                  <a:cubicBezTo>
                    <a:pt x="1904" y="181"/>
                    <a:pt x="1907" y="182"/>
                    <a:pt x="1911" y="183"/>
                  </a:cubicBezTo>
                  <a:cubicBezTo>
                    <a:pt x="1911" y="183"/>
                    <a:pt x="1911" y="182"/>
                    <a:pt x="1911" y="182"/>
                  </a:cubicBezTo>
                  <a:cubicBezTo>
                    <a:pt x="1907" y="181"/>
                    <a:pt x="1904" y="180"/>
                    <a:pt x="1900" y="178"/>
                  </a:cubicBezTo>
                  <a:moveTo>
                    <a:pt x="1912" y="182"/>
                  </a:moveTo>
                  <a:cubicBezTo>
                    <a:pt x="1912" y="183"/>
                    <a:pt x="1912" y="183"/>
                    <a:pt x="1912" y="183"/>
                  </a:cubicBezTo>
                  <a:cubicBezTo>
                    <a:pt x="1918" y="185"/>
                    <a:pt x="1923" y="188"/>
                    <a:pt x="1929" y="190"/>
                  </a:cubicBezTo>
                  <a:cubicBezTo>
                    <a:pt x="1929" y="189"/>
                    <a:pt x="1929" y="189"/>
                    <a:pt x="1929" y="189"/>
                  </a:cubicBezTo>
                  <a:cubicBezTo>
                    <a:pt x="1923" y="186"/>
                    <a:pt x="1917" y="184"/>
                    <a:pt x="1912" y="182"/>
                  </a:cubicBezTo>
                  <a:moveTo>
                    <a:pt x="1930" y="189"/>
                  </a:moveTo>
                  <a:cubicBezTo>
                    <a:pt x="1930" y="189"/>
                    <a:pt x="1930" y="190"/>
                    <a:pt x="1931" y="190"/>
                  </a:cubicBezTo>
                  <a:cubicBezTo>
                    <a:pt x="1936" y="192"/>
                    <a:pt x="1941" y="194"/>
                    <a:pt x="1946" y="196"/>
                  </a:cubicBezTo>
                  <a:cubicBezTo>
                    <a:pt x="1946" y="196"/>
                    <a:pt x="1946" y="195"/>
                    <a:pt x="1946" y="195"/>
                  </a:cubicBezTo>
                  <a:cubicBezTo>
                    <a:pt x="1941" y="193"/>
                    <a:pt x="1935" y="191"/>
                    <a:pt x="1930" y="189"/>
                  </a:cubicBezTo>
                  <a:moveTo>
                    <a:pt x="1947" y="195"/>
                  </a:moveTo>
                  <a:cubicBezTo>
                    <a:pt x="1947" y="196"/>
                    <a:pt x="1947" y="196"/>
                    <a:pt x="1947" y="196"/>
                  </a:cubicBezTo>
                  <a:cubicBezTo>
                    <a:pt x="1949" y="197"/>
                    <a:pt x="1951" y="198"/>
                    <a:pt x="1953" y="198"/>
                  </a:cubicBezTo>
                  <a:cubicBezTo>
                    <a:pt x="1953" y="198"/>
                    <a:pt x="1953" y="198"/>
                    <a:pt x="1953" y="197"/>
                  </a:cubicBezTo>
                  <a:cubicBezTo>
                    <a:pt x="1951" y="197"/>
                    <a:pt x="1949" y="196"/>
                    <a:pt x="1947" y="195"/>
                  </a:cubicBezTo>
                  <a:moveTo>
                    <a:pt x="1954" y="198"/>
                  </a:moveTo>
                  <a:cubicBezTo>
                    <a:pt x="1954" y="198"/>
                    <a:pt x="1954" y="199"/>
                    <a:pt x="1954" y="199"/>
                  </a:cubicBezTo>
                  <a:cubicBezTo>
                    <a:pt x="1964" y="203"/>
                    <a:pt x="1973" y="207"/>
                    <a:pt x="1983" y="211"/>
                  </a:cubicBezTo>
                  <a:cubicBezTo>
                    <a:pt x="1983" y="210"/>
                    <a:pt x="1983" y="210"/>
                    <a:pt x="1983" y="210"/>
                  </a:cubicBezTo>
                  <a:cubicBezTo>
                    <a:pt x="1973" y="206"/>
                    <a:pt x="1964" y="202"/>
                    <a:pt x="1954" y="198"/>
                  </a:cubicBezTo>
                  <a:moveTo>
                    <a:pt x="1984" y="210"/>
                  </a:moveTo>
                  <a:cubicBezTo>
                    <a:pt x="1984" y="210"/>
                    <a:pt x="1984" y="211"/>
                    <a:pt x="1984" y="211"/>
                  </a:cubicBezTo>
                  <a:cubicBezTo>
                    <a:pt x="1998" y="217"/>
                    <a:pt x="2011" y="223"/>
                    <a:pt x="2024" y="229"/>
                  </a:cubicBezTo>
                  <a:cubicBezTo>
                    <a:pt x="2027" y="230"/>
                    <a:pt x="2029" y="231"/>
                    <a:pt x="2032" y="232"/>
                  </a:cubicBezTo>
                  <a:cubicBezTo>
                    <a:pt x="2032" y="232"/>
                    <a:pt x="2032" y="232"/>
                    <a:pt x="2032" y="231"/>
                  </a:cubicBezTo>
                  <a:cubicBezTo>
                    <a:pt x="2016" y="224"/>
                    <a:pt x="2000" y="217"/>
                    <a:pt x="1984" y="210"/>
                  </a:cubicBezTo>
                  <a:moveTo>
                    <a:pt x="2033" y="232"/>
                  </a:moveTo>
                  <a:cubicBezTo>
                    <a:pt x="2033" y="232"/>
                    <a:pt x="2033" y="232"/>
                    <a:pt x="2033" y="233"/>
                  </a:cubicBezTo>
                  <a:cubicBezTo>
                    <a:pt x="2033" y="233"/>
                    <a:pt x="2034" y="233"/>
                    <a:pt x="2034" y="234"/>
                  </a:cubicBezTo>
                  <a:cubicBezTo>
                    <a:pt x="2035" y="233"/>
                    <a:pt x="2035" y="233"/>
                    <a:pt x="2036" y="233"/>
                  </a:cubicBezTo>
                  <a:cubicBezTo>
                    <a:pt x="2035" y="233"/>
                    <a:pt x="2034" y="232"/>
                    <a:pt x="2033" y="232"/>
                  </a:cubicBezTo>
                  <a:moveTo>
                    <a:pt x="2037" y="234"/>
                  </a:moveTo>
                  <a:cubicBezTo>
                    <a:pt x="2036" y="234"/>
                    <a:pt x="2036" y="234"/>
                    <a:pt x="2036" y="234"/>
                  </a:cubicBezTo>
                  <a:cubicBezTo>
                    <a:pt x="2039" y="236"/>
                    <a:pt x="2042" y="237"/>
                    <a:pt x="2046" y="239"/>
                  </a:cubicBezTo>
                  <a:cubicBezTo>
                    <a:pt x="2046" y="239"/>
                    <a:pt x="2047" y="239"/>
                    <a:pt x="2047" y="239"/>
                  </a:cubicBezTo>
                  <a:cubicBezTo>
                    <a:pt x="2044" y="237"/>
                    <a:pt x="2040" y="235"/>
                    <a:pt x="2037" y="234"/>
                  </a:cubicBezTo>
                  <a:moveTo>
                    <a:pt x="2049" y="239"/>
                  </a:moveTo>
                  <a:cubicBezTo>
                    <a:pt x="2048" y="240"/>
                    <a:pt x="2048" y="240"/>
                    <a:pt x="2047" y="240"/>
                  </a:cubicBezTo>
                  <a:cubicBezTo>
                    <a:pt x="2052" y="242"/>
                    <a:pt x="2056" y="244"/>
                    <a:pt x="2061" y="246"/>
                  </a:cubicBezTo>
                  <a:cubicBezTo>
                    <a:pt x="2061" y="246"/>
                    <a:pt x="2061" y="246"/>
                    <a:pt x="2061" y="246"/>
                  </a:cubicBezTo>
                  <a:cubicBezTo>
                    <a:pt x="2057" y="244"/>
                    <a:pt x="2053" y="241"/>
                    <a:pt x="2049" y="239"/>
                  </a:cubicBezTo>
                  <a:moveTo>
                    <a:pt x="2062" y="246"/>
                  </a:moveTo>
                  <a:cubicBezTo>
                    <a:pt x="2062" y="246"/>
                    <a:pt x="2062" y="247"/>
                    <a:pt x="2062" y="247"/>
                  </a:cubicBezTo>
                  <a:cubicBezTo>
                    <a:pt x="2065" y="249"/>
                    <a:pt x="2068" y="250"/>
                    <a:pt x="2071" y="252"/>
                  </a:cubicBezTo>
                  <a:cubicBezTo>
                    <a:pt x="2071" y="251"/>
                    <a:pt x="2071" y="251"/>
                    <a:pt x="2071" y="251"/>
                  </a:cubicBezTo>
                  <a:cubicBezTo>
                    <a:pt x="2068" y="249"/>
                    <a:pt x="2065" y="248"/>
                    <a:pt x="2062" y="246"/>
                  </a:cubicBezTo>
                  <a:moveTo>
                    <a:pt x="2072" y="251"/>
                  </a:moveTo>
                  <a:cubicBezTo>
                    <a:pt x="2072" y="252"/>
                    <a:pt x="2072" y="252"/>
                    <a:pt x="2072" y="252"/>
                  </a:cubicBezTo>
                  <a:cubicBezTo>
                    <a:pt x="2082" y="258"/>
                    <a:pt x="2092" y="263"/>
                    <a:pt x="2102" y="269"/>
                  </a:cubicBezTo>
                  <a:cubicBezTo>
                    <a:pt x="2102" y="269"/>
                    <a:pt x="2103" y="268"/>
                    <a:pt x="2103" y="268"/>
                  </a:cubicBezTo>
                  <a:cubicBezTo>
                    <a:pt x="2093" y="262"/>
                    <a:pt x="2083" y="257"/>
                    <a:pt x="2072" y="251"/>
                  </a:cubicBezTo>
                  <a:moveTo>
                    <a:pt x="2104" y="269"/>
                  </a:moveTo>
                  <a:cubicBezTo>
                    <a:pt x="2104" y="269"/>
                    <a:pt x="2103" y="269"/>
                    <a:pt x="2103" y="269"/>
                  </a:cubicBezTo>
                  <a:cubicBezTo>
                    <a:pt x="2108" y="272"/>
                    <a:pt x="2112" y="275"/>
                    <a:pt x="2116" y="277"/>
                  </a:cubicBezTo>
                  <a:cubicBezTo>
                    <a:pt x="2116" y="277"/>
                    <a:pt x="2116" y="276"/>
                    <a:pt x="2116" y="276"/>
                  </a:cubicBezTo>
                  <a:cubicBezTo>
                    <a:pt x="2112" y="274"/>
                    <a:pt x="2108" y="271"/>
                    <a:pt x="2104" y="269"/>
                  </a:cubicBezTo>
                  <a:moveTo>
                    <a:pt x="2117" y="277"/>
                  </a:moveTo>
                  <a:cubicBezTo>
                    <a:pt x="2117" y="277"/>
                    <a:pt x="2117" y="277"/>
                    <a:pt x="2117" y="278"/>
                  </a:cubicBezTo>
                  <a:cubicBezTo>
                    <a:pt x="2121" y="280"/>
                    <a:pt x="2124" y="282"/>
                    <a:pt x="2128" y="284"/>
                  </a:cubicBezTo>
                  <a:cubicBezTo>
                    <a:pt x="2128" y="284"/>
                    <a:pt x="2128" y="284"/>
                    <a:pt x="2128" y="283"/>
                  </a:cubicBezTo>
                  <a:cubicBezTo>
                    <a:pt x="2125" y="281"/>
                    <a:pt x="2121" y="279"/>
                    <a:pt x="2117" y="277"/>
                  </a:cubicBezTo>
                  <a:moveTo>
                    <a:pt x="2129" y="284"/>
                  </a:moveTo>
                  <a:cubicBezTo>
                    <a:pt x="2129" y="284"/>
                    <a:pt x="2129" y="285"/>
                    <a:pt x="2129" y="285"/>
                  </a:cubicBezTo>
                  <a:cubicBezTo>
                    <a:pt x="2135" y="289"/>
                    <a:pt x="2142" y="294"/>
                    <a:pt x="2148" y="298"/>
                  </a:cubicBezTo>
                  <a:cubicBezTo>
                    <a:pt x="2149" y="298"/>
                    <a:pt x="2149" y="297"/>
                    <a:pt x="2149" y="297"/>
                  </a:cubicBezTo>
                  <a:cubicBezTo>
                    <a:pt x="2143" y="293"/>
                    <a:pt x="2136" y="288"/>
                    <a:pt x="2129" y="284"/>
                  </a:cubicBezTo>
                  <a:moveTo>
                    <a:pt x="2150" y="298"/>
                  </a:moveTo>
                  <a:cubicBezTo>
                    <a:pt x="2150" y="298"/>
                    <a:pt x="2150" y="298"/>
                    <a:pt x="2149" y="299"/>
                  </a:cubicBezTo>
                  <a:cubicBezTo>
                    <a:pt x="2153" y="301"/>
                    <a:pt x="2157" y="304"/>
                    <a:pt x="2160" y="307"/>
                  </a:cubicBezTo>
                  <a:cubicBezTo>
                    <a:pt x="2160" y="306"/>
                    <a:pt x="2159" y="305"/>
                    <a:pt x="2159" y="304"/>
                  </a:cubicBezTo>
                  <a:cubicBezTo>
                    <a:pt x="2156" y="302"/>
                    <a:pt x="2153" y="300"/>
                    <a:pt x="2150" y="298"/>
                  </a:cubicBezTo>
                  <a:moveTo>
                    <a:pt x="2161" y="306"/>
                  </a:moveTo>
                  <a:cubicBezTo>
                    <a:pt x="2162" y="307"/>
                    <a:pt x="2163" y="308"/>
                    <a:pt x="2164" y="309"/>
                  </a:cubicBezTo>
                  <a:cubicBezTo>
                    <a:pt x="2164" y="309"/>
                    <a:pt x="2165" y="310"/>
                    <a:pt x="2165" y="310"/>
                  </a:cubicBezTo>
                  <a:cubicBezTo>
                    <a:pt x="2165" y="310"/>
                    <a:pt x="2165" y="309"/>
                    <a:pt x="2165" y="309"/>
                  </a:cubicBezTo>
                  <a:cubicBezTo>
                    <a:pt x="2164" y="308"/>
                    <a:pt x="2163" y="307"/>
                    <a:pt x="2161" y="306"/>
                  </a:cubicBezTo>
                  <a:moveTo>
                    <a:pt x="2167" y="310"/>
                  </a:moveTo>
                  <a:cubicBezTo>
                    <a:pt x="2167" y="310"/>
                    <a:pt x="2166" y="311"/>
                    <a:pt x="2166" y="311"/>
                  </a:cubicBezTo>
                  <a:cubicBezTo>
                    <a:pt x="2168" y="312"/>
                    <a:pt x="2169" y="313"/>
                    <a:pt x="2171" y="315"/>
                  </a:cubicBezTo>
                  <a:cubicBezTo>
                    <a:pt x="2172" y="316"/>
                    <a:pt x="2174" y="316"/>
                    <a:pt x="2176" y="317"/>
                  </a:cubicBezTo>
                  <a:cubicBezTo>
                    <a:pt x="2173" y="315"/>
                    <a:pt x="2170" y="313"/>
                    <a:pt x="2167" y="310"/>
                  </a:cubicBezTo>
                  <a:moveTo>
                    <a:pt x="2175" y="318"/>
                  </a:moveTo>
                  <a:cubicBezTo>
                    <a:pt x="2176" y="319"/>
                    <a:pt x="2177" y="320"/>
                    <a:pt x="2178" y="321"/>
                  </a:cubicBezTo>
                  <a:cubicBezTo>
                    <a:pt x="2179" y="321"/>
                    <a:pt x="2179" y="321"/>
                    <a:pt x="2179" y="320"/>
                  </a:cubicBezTo>
                  <a:cubicBezTo>
                    <a:pt x="2179" y="320"/>
                    <a:pt x="2179" y="320"/>
                    <a:pt x="2178" y="319"/>
                  </a:cubicBezTo>
                  <a:cubicBezTo>
                    <a:pt x="2177" y="319"/>
                    <a:pt x="2176" y="318"/>
                    <a:pt x="2175" y="318"/>
                  </a:cubicBezTo>
                  <a:moveTo>
                    <a:pt x="2180" y="321"/>
                  </a:moveTo>
                  <a:cubicBezTo>
                    <a:pt x="2180" y="321"/>
                    <a:pt x="2180" y="321"/>
                    <a:pt x="2179" y="322"/>
                  </a:cubicBezTo>
                  <a:cubicBezTo>
                    <a:pt x="2180" y="323"/>
                    <a:pt x="2181" y="323"/>
                    <a:pt x="2183" y="324"/>
                  </a:cubicBezTo>
                  <a:cubicBezTo>
                    <a:pt x="2183" y="324"/>
                    <a:pt x="2182" y="323"/>
                    <a:pt x="2182" y="323"/>
                  </a:cubicBezTo>
                  <a:cubicBezTo>
                    <a:pt x="2182" y="322"/>
                    <a:pt x="2181" y="322"/>
                    <a:pt x="2180" y="321"/>
                  </a:cubicBezTo>
                  <a:moveTo>
                    <a:pt x="2184" y="324"/>
                  </a:moveTo>
                  <a:cubicBezTo>
                    <a:pt x="2184" y="324"/>
                    <a:pt x="2184" y="325"/>
                    <a:pt x="2184" y="325"/>
                  </a:cubicBezTo>
                  <a:cubicBezTo>
                    <a:pt x="2184" y="326"/>
                    <a:pt x="2184" y="326"/>
                    <a:pt x="2185" y="326"/>
                  </a:cubicBezTo>
                  <a:cubicBezTo>
                    <a:pt x="2185" y="326"/>
                    <a:pt x="2185" y="326"/>
                    <a:pt x="2185" y="326"/>
                  </a:cubicBezTo>
                  <a:cubicBezTo>
                    <a:pt x="2185" y="325"/>
                    <a:pt x="2184" y="325"/>
                    <a:pt x="2184" y="324"/>
                  </a:cubicBezTo>
                  <a:moveTo>
                    <a:pt x="2186" y="326"/>
                  </a:moveTo>
                  <a:cubicBezTo>
                    <a:pt x="2186" y="327"/>
                    <a:pt x="2186" y="327"/>
                    <a:pt x="2186" y="327"/>
                  </a:cubicBezTo>
                  <a:cubicBezTo>
                    <a:pt x="2186" y="328"/>
                    <a:pt x="2187" y="328"/>
                    <a:pt x="2188" y="329"/>
                  </a:cubicBezTo>
                  <a:cubicBezTo>
                    <a:pt x="2188" y="329"/>
                    <a:pt x="2188" y="329"/>
                    <a:pt x="2189" y="329"/>
                  </a:cubicBezTo>
                  <a:cubicBezTo>
                    <a:pt x="2188" y="328"/>
                    <a:pt x="2187" y="327"/>
                    <a:pt x="2186" y="326"/>
                  </a:cubicBezTo>
                  <a:moveTo>
                    <a:pt x="2189" y="329"/>
                  </a:moveTo>
                  <a:cubicBezTo>
                    <a:pt x="2189" y="329"/>
                    <a:pt x="2189" y="330"/>
                    <a:pt x="2188" y="330"/>
                  </a:cubicBezTo>
                  <a:cubicBezTo>
                    <a:pt x="2191" y="332"/>
                    <a:pt x="2193" y="334"/>
                    <a:pt x="2195" y="337"/>
                  </a:cubicBezTo>
                  <a:cubicBezTo>
                    <a:pt x="2196" y="336"/>
                    <a:pt x="2196" y="336"/>
                    <a:pt x="2196" y="336"/>
                  </a:cubicBezTo>
                  <a:cubicBezTo>
                    <a:pt x="2194" y="334"/>
                    <a:pt x="2192" y="332"/>
                    <a:pt x="2189" y="329"/>
                  </a:cubicBezTo>
                  <a:moveTo>
                    <a:pt x="2197" y="337"/>
                  </a:moveTo>
                  <a:cubicBezTo>
                    <a:pt x="2197" y="337"/>
                    <a:pt x="2196" y="337"/>
                    <a:pt x="2196" y="337"/>
                  </a:cubicBezTo>
                  <a:cubicBezTo>
                    <a:pt x="2198" y="339"/>
                    <a:pt x="2200" y="341"/>
                    <a:pt x="2202" y="343"/>
                  </a:cubicBezTo>
                  <a:cubicBezTo>
                    <a:pt x="2202" y="343"/>
                    <a:pt x="2202" y="343"/>
                    <a:pt x="2202" y="343"/>
                  </a:cubicBezTo>
                  <a:cubicBezTo>
                    <a:pt x="2201" y="341"/>
                    <a:pt x="2199" y="339"/>
                    <a:pt x="2197" y="337"/>
                  </a:cubicBezTo>
                  <a:moveTo>
                    <a:pt x="2203" y="344"/>
                  </a:moveTo>
                  <a:cubicBezTo>
                    <a:pt x="2203" y="344"/>
                    <a:pt x="2203" y="344"/>
                    <a:pt x="2202" y="344"/>
                  </a:cubicBezTo>
                  <a:cubicBezTo>
                    <a:pt x="2204" y="346"/>
                    <a:pt x="2205" y="348"/>
                    <a:pt x="2207" y="349"/>
                  </a:cubicBezTo>
                  <a:cubicBezTo>
                    <a:pt x="2207" y="349"/>
                    <a:pt x="2207" y="349"/>
                    <a:pt x="2207" y="349"/>
                  </a:cubicBezTo>
                  <a:cubicBezTo>
                    <a:pt x="2206" y="347"/>
                    <a:pt x="2205" y="345"/>
                    <a:pt x="2203" y="344"/>
                  </a:cubicBezTo>
                  <a:moveTo>
                    <a:pt x="2208" y="349"/>
                  </a:moveTo>
                  <a:cubicBezTo>
                    <a:pt x="2208" y="350"/>
                    <a:pt x="2207" y="350"/>
                    <a:pt x="2207" y="350"/>
                  </a:cubicBezTo>
                  <a:cubicBezTo>
                    <a:pt x="2207" y="350"/>
                    <a:pt x="2207" y="350"/>
                    <a:pt x="2207" y="350"/>
                  </a:cubicBezTo>
                  <a:cubicBezTo>
                    <a:pt x="2208" y="350"/>
                    <a:pt x="2208" y="350"/>
                    <a:pt x="2208" y="350"/>
                  </a:cubicBezTo>
                  <a:cubicBezTo>
                    <a:pt x="2208" y="350"/>
                    <a:pt x="2208" y="350"/>
                    <a:pt x="2208" y="349"/>
                  </a:cubicBezTo>
                  <a:moveTo>
                    <a:pt x="2209" y="351"/>
                  </a:moveTo>
                  <a:cubicBezTo>
                    <a:pt x="2209" y="351"/>
                    <a:pt x="2208" y="351"/>
                    <a:pt x="2208" y="351"/>
                  </a:cubicBezTo>
                  <a:cubicBezTo>
                    <a:pt x="2209" y="352"/>
                    <a:pt x="2210" y="353"/>
                    <a:pt x="2211" y="354"/>
                  </a:cubicBezTo>
                  <a:cubicBezTo>
                    <a:pt x="2211" y="354"/>
                    <a:pt x="2211" y="354"/>
                    <a:pt x="2211" y="354"/>
                  </a:cubicBezTo>
                  <a:cubicBezTo>
                    <a:pt x="2211" y="353"/>
                    <a:pt x="2210" y="352"/>
                    <a:pt x="2209" y="351"/>
                  </a:cubicBezTo>
                  <a:moveTo>
                    <a:pt x="2212" y="355"/>
                  </a:moveTo>
                  <a:cubicBezTo>
                    <a:pt x="2212" y="355"/>
                    <a:pt x="2211" y="355"/>
                    <a:pt x="2211" y="355"/>
                  </a:cubicBezTo>
                  <a:cubicBezTo>
                    <a:pt x="2213" y="358"/>
                    <a:pt x="2214" y="360"/>
                    <a:pt x="2216" y="362"/>
                  </a:cubicBezTo>
                  <a:cubicBezTo>
                    <a:pt x="2216" y="362"/>
                    <a:pt x="2216" y="362"/>
                    <a:pt x="2216" y="362"/>
                  </a:cubicBezTo>
                  <a:cubicBezTo>
                    <a:pt x="2215" y="359"/>
                    <a:pt x="2214" y="357"/>
                    <a:pt x="2212" y="355"/>
                  </a:cubicBezTo>
                  <a:moveTo>
                    <a:pt x="2217" y="363"/>
                  </a:moveTo>
                  <a:cubicBezTo>
                    <a:pt x="2217" y="363"/>
                    <a:pt x="2217" y="364"/>
                    <a:pt x="2216" y="364"/>
                  </a:cubicBezTo>
                  <a:cubicBezTo>
                    <a:pt x="2217" y="365"/>
                    <a:pt x="2218" y="367"/>
                    <a:pt x="2219" y="368"/>
                  </a:cubicBezTo>
                  <a:cubicBezTo>
                    <a:pt x="2219" y="368"/>
                    <a:pt x="2219" y="368"/>
                    <a:pt x="2220" y="368"/>
                  </a:cubicBezTo>
                  <a:cubicBezTo>
                    <a:pt x="2219" y="366"/>
                    <a:pt x="2218" y="365"/>
                    <a:pt x="2217" y="363"/>
                  </a:cubicBezTo>
                  <a:moveTo>
                    <a:pt x="2220" y="369"/>
                  </a:moveTo>
                  <a:cubicBezTo>
                    <a:pt x="2220" y="369"/>
                    <a:pt x="2219" y="369"/>
                    <a:pt x="2219" y="369"/>
                  </a:cubicBezTo>
                  <a:cubicBezTo>
                    <a:pt x="2219" y="370"/>
                    <a:pt x="2219" y="370"/>
                    <a:pt x="2219" y="370"/>
                  </a:cubicBezTo>
                  <a:cubicBezTo>
                    <a:pt x="2220" y="369"/>
                    <a:pt x="2220" y="369"/>
                    <a:pt x="2220" y="369"/>
                  </a:cubicBezTo>
                  <a:moveTo>
                    <a:pt x="2221" y="370"/>
                  </a:moveTo>
                  <a:cubicBezTo>
                    <a:pt x="2220" y="371"/>
                    <a:pt x="2220" y="371"/>
                    <a:pt x="2220" y="371"/>
                  </a:cubicBezTo>
                  <a:cubicBezTo>
                    <a:pt x="2220" y="372"/>
                    <a:pt x="2221" y="372"/>
                    <a:pt x="2221" y="373"/>
                  </a:cubicBezTo>
                  <a:cubicBezTo>
                    <a:pt x="2221" y="373"/>
                    <a:pt x="2221" y="373"/>
                    <a:pt x="2222" y="372"/>
                  </a:cubicBezTo>
                  <a:cubicBezTo>
                    <a:pt x="2221" y="372"/>
                    <a:pt x="2221" y="371"/>
                    <a:pt x="2221" y="370"/>
                  </a:cubicBezTo>
                  <a:moveTo>
                    <a:pt x="1353" y="372"/>
                  </a:moveTo>
                  <a:cubicBezTo>
                    <a:pt x="1388" y="392"/>
                    <a:pt x="1419" y="412"/>
                    <a:pt x="1446" y="431"/>
                  </a:cubicBezTo>
                  <a:cubicBezTo>
                    <a:pt x="1446" y="431"/>
                    <a:pt x="1447" y="431"/>
                    <a:pt x="1447" y="431"/>
                  </a:cubicBezTo>
                  <a:cubicBezTo>
                    <a:pt x="1432" y="420"/>
                    <a:pt x="1415" y="408"/>
                    <a:pt x="1397" y="397"/>
                  </a:cubicBezTo>
                  <a:cubicBezTo>
                    <a:pt x="1385" y="390"/>
                    <a:pt x="1371" y="382"/>
                    <a:pt x="1357" y="374"/>
                  </a:cubicBezTo>
                  <a:cubicBezTo>
                    <a:pt x="1357" y="374"/>
                    <a:pt x="1357" y="374"/>
                    <a:pt x="1357" y="374"/>
                  </a:cubicBezTo>
                  <a:cubicBezTo>
                    <a:pt x="1356" y="373"/>
                    <a:pt x="1355" y="373"/>
                    <a:pt x="1353" y="372"/>
                  </a:cubicBezTo>
                  <a:moveTo>
                    <a:pt x="2222" y="374"/>
                  </a:moveTo>
                  <a:cubicBezTo>
                    <a:pt x="2222" y="374"/>
                    <a:pt x="2221" y="374"/>
                    <a:pt x="2221" y="374"/>
                  </a:cubicBezTo>
                  <a:cubicBezTo>
                    <a:pt x="2222" y="375"/>
                    <a:pt x="2222" y="376"/>
                    <a:pt x="2222" y="377"/>
                  </a:cubicBezTo>
                  <a:cubicBezTo>
                    <a:pt x="2222" y="377"/>
                    <a:pt x="2223" y="377"/>
                    <a:pt x="2223" y="376"/>
                  </a:cubicBezTo>
                  <a:cubicBezTo>
                    <a:pt x="2223" y="375"/>
                    <a:pt x="2222" y="375"/>
                    <a:pt x="2222" y="374"/>
                  </a:cubicBezTo>
                  <a:moveTo>
                    <a:pt x="2223" y="378"/>
                  </a:moveTo>
                  <a:cubicBezTo>
                    <a:pt x="2223" y="378"/>
                    <a:pt x="2223" y="379"/>
                    <a:pt x="2223" y="379"/>
                  </a:cubicBezTo>
                  <a:cubicBezTo>
                    <a:pt x="2223" y="379"/>
                    <a:pt x="2223" y="380"/>
                    <a:pt x="2223" y="381"/>
                  </a:cubicBezTo>
                  <a:cubicBezTo>
                    <a:pt x="2223" y="380"/>
                    <a:pt x="2224" y="380"/>
                    <a:pt x="2224" y="380"/>
                  </a:cubicBezTo>
                  <a:cubicBezTo>
                    <a:pt x="2224" y="379"/>
                    <a:pt x="2224" y="379"/>
                    <a:pt x="2223" y="378"/>
                  </a:cubicBezTo>
                  <a:moveTo>
                    <a:pt x="2224" y="381"/>
                  </a:moveTo>
                  <a:cubicBezTo>
                    <a:pt x="2224" y="381"/>
                    <a:pt x="2224" y="382"/>
                    <a:pt x="2223" y="382"/>
                  </a:cubicBezTo>
                  <a:cubicBezTo>
                    <a:pt x="2223" y="382"/>
                    <a:pt x="2223" y="382"/>
                    <a:pt x="2223" y="382"/>
                  </a:cubicBezTo>
                  <a:cubicBezTo>
                    <a:pt x="2224" y="382"/>
                    <a:pt x="2224" y="382"/>
                    <a:pt x="2224" y="381"/>
                  </a:cubicBezTo>
                  <a:cubicBezTo>
                    <a:pt x="2224" y="381"/>
                    <a:pt x="2224" y="381"/>
                    <a:pt x="2224" y="381"/>
                  </a:cubicBezTo>
                  <a:moveTo>
                    <a:pt x="1782" y="381"/>
                  </a:moveTo>
                  <a:cubicBezTo>
                    <a:pt x="1784" y="384"/>
                    <a:pt x="1785" y="386"/>
                    <a:pt x="1787" y="388"/>
                  </a:cubicBezTo>
                  <a:cubicBezTo>
                    <a:pt x="1787" y="388"/>
                    <a:pt x="1787" y="388"/>
                    <a:pt x="1788" y="388"/>
                  </a:cubicBezTo>
                  <a:cubicBezTo>
                    <a:pt x="1786" y="386"/>
                    <a:pt x="1785" y="384"/>
                    <a:pt x="1783" y="381"/>
                  </a:cubicBezTo>
                  <a:cubicBezTo>
                    <a:pt x="1783" y="381"/>
                    <a:pt x="1782" y="381"/>
                    <a:pt x="1782" y="381"/>
                  </a:cubicBezTo>
                  <a:moveTo>
                    <a:pt x="2224" y="383"/>
                  </a:moveTo>
                  <a:cubicBezTo>
                    <a:pt x="2224" y="383"/>
                    <a:pt x="2224" y="384"/>
                    <a:pt x="2224" y="384"/>
                  </a:cubicBezTo>
                  <a:cubicBezTo>
                    <a:pt x="2224" y="384"/>
                    <a:pt x="2224" y="384"/>
                    <a:pt x="2224" y="384"/>
                  </a:cubicBezTo>
                  <a:cubicBezTo>
                    <a:pt x="2224" y="384"/>
                    <a:pt x="2224" y="383"/>
                    <a:pt x="2224" y="383"/>
                  </a:cubicBezTo>
                  <a:cubicBezTo>
                    <a:pt x="2224" y="383"/>
                    <a:pt x="2224" y="383"/>
                    <a:pt x="2224" y="383"/>
                  </a:cubicBezTo>
                  <a:moveTo>
                    <a:pt x="2225" y="384"/>
                  </a:moveTo>
                  <a:cubicBezTo>
                    <a:pt x="2224" y="385"/>
                    <a:pt x="2224" y="385"/>
                    <a:pt x="2224" y="385"/>
                  </a:cubicBezTo>
                  <a:cubicBezTo>
                    <a:pt x="2224" y="385"/>
                    <a:pt x="2224" y="386"/>
                    <a:pt x="2224" y="386"/>
                  </a:cubicBezTo>
                  <a:cubicBezTo>
                    <a:pt x="2224" y="386"/>
                    <a:pt x="2224" y="386"/>
                    <a:pt x="2224" y="386"/>
                  </a:cubicBezTo>
                  <a:cubicBezTo>
                    <a:pt x="2224" y="386"/>
                    <a:pt x="2225" y="386"/>
                    <a:pt x="2225" y="386"/>
                  </a:cubicBezTo>
                  <a:cubicBezTo>
                    <a:pt x="2225" y="385"/>
                    <a:pt x="2225" y="385"/>
                    <a:pt x="2225" y="384"/>
                  </a:cubicBezTo>
                  <a:moveTo>
                    <a:pt x="2224" y="387"/>
                  </a:moveTo>
                  <a:cubicBezTo>
                    <a:pt x="2224" y="387"/>
                    <a:pt x="2224" y="387"/>
                    <a:pt x="2224" y="387"/>
                  </a:cubicBezTo>
                  <a:cubicBezTo>
                    <a:pt x="2224" y="387"/>
                    <a:pt x="2224" y="387"/>
                    <a:pt x="2224" y="387"/>
                  </a:cubicBezTo>
                  <a:cubicBezTo>
                    <a:pt x="2224" y="387"/>
                    <a:pt x="2224" y="387"/>
                    <a:pt x="2224" y="387"/>
                  </a:cubicBezTo>
                  <a:cubicBezTo>
                    <a:pt x="2224" y="387"/>
                    <a:pt x="2224" y="387"/>
                    <a:pt x="2224" y="387"/>
                  </a:cubicBezTo>
                  <a:moveTo>
                    <a:pt x="2225" y="388"/>
                  </a:moveTo>
                  <a:cubicBezTo>
                    <a:pt x="2225" y="388"/>
                    <a:pt x="2224" y="388"/>
                    <a:pt x="2224" y="389"/>
                  </a:cubicBezTo>
                  <a:cubicBezTo>
                    <a:pt x="2224" y="389"/>
                    <a:pt x="2224" y="389"/>
                    <a:pt x="2224" y="389"/>
                  </a:cubicBezTo>
                  <a:cubicBezTo>
                    <a:pt x="2224" y="390"/>
                    <a:pt x="2224" y="390"/>
                    <a:pt x="2224" y="391"/>
                  </a:cubicBezTo>
                  <a:cubicBezTo>
                    <a:pt x="2224" y="390"/>
                    <a:pt x="2225" y="390"/>
                    <a:pt x="2225" y="390"/>
                  </a:cubicBezTo>
                  <a:cubicBezTo>
                    <a:pt x="2225" y="390"/>
                    <a:pt x="2225" y="389"/>
                    <a:pt x="2225" y="389"/>
                  </a:cubicBezTo>
                  <a:cubicBezTo>
                    <a:pt x="2225" y="389"/>
                    <a:pt x="2225" y="388"/>
                    <a:pt x="2225" y="388"/>
                  </a:cubicBezTo>
                  <a:moveTo>
                    <a:pt x="1788" y="389"/>
                  </a:moveTo>
                  <a:cubicBezTo>
                    <a:pt x="1788" y="389"/>
                    <a:pt x="1788" y="389"/>
                    <a:pt x="1787" y="389"/>
                  </a:cubicBezTo>
                  <a:cubicBezTo>
                    <a:pt x="1788" y="391"/>
                    <a:pt x="1790" y="393"/>
                    <a:pt x="1791" y="395"/>
                  </a:cubicBezTo>
                  <a:cubicBezTo>
                    <a:pt x="1791" y="395"/>
                    <a:pt x="1792" y="395"/>
                    <a:pt x="1792" y="395"/>
                  </a:cubicBezTo>
                  <a:cubicBezTo>
                    <a:pt x="1791" y="393"/>
                    <a:pt x="1790" y="391"/>
                    <a:pt x="1788" y="389"/>
                  </a:cubicBezTo>
                  <a:moveTo>
                    <a:pt x="2225" y="391"/>
                  </a:moveTo>
                  <a:cubicBezTo>
                    <a:pt x="2225" y="392"/>
                    <a:pt x="2224" y="392"/>
                    <a:pt x="2224" y="392"/>
                  </a:cubicBezTo>
                  <a:cubicBezTo>
                    <a:pt x="2224" y="393"/>
                    <a:pt x="2224" y="394"/>
                    <a:pt x="2224" y="395"/>
                  </a:cubicBezTo>
                  <a:cubicBezTo>
                    <a:pt x="2224" y="395"/>
                    <a:pt x="2224" y="395"/>
                    <a:pt x="2224" y="395"/>
                  </a:cubicBezTo>
                  <a:cubicBezTo>
                    <a:pt x="2224" y="394"/>
                    <a:pt x="2224" y="394"/>
                    <a:pt x="2225" y="393"/>
                  </a:cubicBezTo>
                  <a:cubicBezTo>
                    <a:pt x="2225" y="393"/>
                    <a:pt x="2225" y="392"/>
                    <a:pt x="2225" y="391"/>
                  </a:cubicBezTo>
                  <a:moveTo>
                    <a:pt x="2225" y="395"/>
                  </a:moveTo>
                  <a:cubicBezTo>
                    <a:pt x="2224" y="395"/>
                    <a:pt x="2224" y="395"/>
                    <a:pt x="2224" y="395"/>
                  </a:cubicBezTo>
                  <a:cubicBezTo>
                    <a:pt x="2224" y="396"/>
                    <a:pt x="2224" y="396"/>
                    <a:pt x="2224" y="396"/>
                  </a:cubicBezTo>
                  <a:cubicBezTo>
                    <a:pt x="2224" y="396"/>
                    <a:pt x="2224" y="395"/>
                    <a:pt x="2225" y="395"/>
                  </a:cubicBezTo>
                  <a:moveTo>
                    <a:pt x="1793" y="396"/>
                  </a:moveTo>
                  <a:cubicBezTo>
                    <a:pt x="1792" y="396"/>
                    <a:pt x="1792" y="396"/>
                    <a:pt x="1792" y="396"/>
                  </a:cubicBezTo>
                  <a:cubicBezTo>
                    <a:pt x="1792" y="396"/>
                    <a:pt x="1792" y="396"/>
                    <a:pt x="1792" y="397"/>
                  </a:cubicBezTo>
                  <a:cubicBezTo>
                    <a:pt x="1793" y="397"/>
                    <a:pt x="1793" y="397"/>
                    <a:pt x="1793" y="397"/>
                  </a:cubicBezTo>
                  <a:cubicBezTo>
                    <a:pt x="1793" y="396"/>
                    <a:pt x="1793" y="396"/>
                    <a:pt x="1793" y="396"/>
                  </a:cubicBezTo>
                  <a:moveTo>
                    <a:pt x="2223" y="396"/>
                  </a:moveTo>
                  <a:cubicBezTo>
                    <a:pt x="2223" y="396"/>
                    <a:pt x="2223" y="396"/>
                    <a:pt x="2223" y="396"/>
                  </a:cubicBezTo>
                  <a:cubicBezTo>
                    <a:pt x="2221" y="407"/>
                    <a:pt x="2214" y="417"/>
                    <a:pt x="2201" y="425"/>
                  </a:cubicBezTo>
                  <a:cubicBezTo>
                    <a:pt x="2201" y="426"/>
                    <a:pt x="2201" y="426"/>
                    <a:pt x="2201" y="426"/>
                  </a:cubicBezTo>
                  <a:cubicBezTo>
                    <a:pt x="2214" y="418"/>
                    <a:pt x="2221" y="408"/>
                    <a:pt x="2224" y="398"/>
                  </a:cubicBezTo>
                  <a:cubicBezTo>
                    <a:pt x="2224" y="397"/>
                    <a:pt x="2224" y="397"/>
                    <a:pt x="2223" y="396"/>
                  </a:cubicBezTo>
                  <a:moveTo>
                    <a:pt x="1794" y="398"/>
                  </a:moveTo>
                  <a:cubicBezTo>
                    <a:pt x="1794" y="398"/>
                    <a:pt x="1793" y="398"/>
                    <a:pt x="1793" y="398"/>
                  </a:cubicBezTo>
                  <a:cubicBezTo>
                    <a:pt x="1793" y="398"/>
                    <a:pt x="1794" y="399"/>
                    <a:pt x="1794" y="400"/>
                  </a:cubicBezTo>
                  <a:cubicBezTo>
                    <a:pt x="1795" y="400"/>
                    <a:pt x="1795" y="400"/>
                    <a:pt x="1795" y="400"/>
                  </a:cubicBezTo>
                  <a:cubicBezTo>
                    <a:pt x="1795" y="399"/>
                    <a:pt x="1794" y="398"/>
                    <a:pt x="1794" y="398"/>
                  </a:cubicBezTo>
                  <a:moveTo>
                    <a:pt x="1796" y="401"/>
                  </a:moveTo>
                  <a:cubicBezTo>
                    <a:pt x="1796" y="401"/>
                    <a:pt x="1795" y="401"/>
                    <a:pt x="1795" y="401"/>
                  </a:cubicBezTo>
                  <a:cubicBezTo>
                    <a:pt x="1795" y="401"/>
                    <a:pt x="1796" y="402"/>
                    <a:pt x="1796" y="403"/>
                  </a:cubicBezTo>
                  <a:cubicBezTo>
                    <a:pt x="1796" y="403"/>
                    <a:pt x="1797" y="403"/>
                    <a:pt x="1797" y="403"/>
                  </a:cubicBezTo>
                  <a:cubicBezTo>
                    <a:pt x="1797" y="402"/>
                    <a:pt x="1796" y="401"/>
                    <a:pt x="1796" y="401"/>
                  </a:cubicBezTo>
                  <a:moveTo>
                    <a:pt x="1798" y="404"/>
                  </a:moveTo>
                  <a:cubicBezTo>
                    <a:pt x="1798" y="404"/>
                    <a:pt x="1797" y="404"/>
                    <a:pt x="1797" y="404"/>
                  </a:cubicBezTo>
                  <a:cubicBezTo>
                    <a:pt x="1797" y="404"/>
                    <a:pt x="1797" y="404"/>
                    <a:pt x="1797" y="404"/>
                  </a:cubicBezTo>
                  <a:cubicBezTo>
                    <a:pt x="1798" y="404"/>
                    <a:pt x="1798" y="404"/>
                    <a:pt x="1798" y="404"/>
                  </a:cubicBezTo>
                  <a:cubicBezTo>
                    <a:pt x="1798" y="404"/>
                    <a:pt x="1798" y="404"/>
                    <a:pt x="1798" y="404"/>
                  </a:cubicBezTo>
                  <a:moveTo>
                    <a:pt x="1799" y="405"/>
                  </a:moveTo>
                  <a:cubicBezTo>
                    <a:pt x="1798" y="405"/>
                    <a:pt x="1798" y="405"/>
                    <a:pt x="1798" y="405"/>
                  </a:cubicBezTo>
                  <a:cubicBezTo>
                    <a:pt x="1799" y="407"/>
                    <a:pt x="1799" y="408"/>
                    <a:pt x="1800" y="409"/>
                  </a:cubicBezTo>
                  <a:cubicBezTo>
                    <a:pt x="1800" y="409"/>
                    <a:pt x="1801" y="409"/>
                    <a:pt x="1801" y="409"/>
                  </a:cubicBezTo>
                  <a:cubicBezTo>
                    <a:pt x="1800" y="408"/>
                    <a:pt x="1800" y="406"/>
                    <a:pt x="1799" y="405"/>
                  </a:cubicBezTo>
                  <a:moveTo>
                    <a:pt x="1802" y="410"/>
                  </a:moveTo>
                  <a:cubicBezTo>
                    <a:pt x="1801" y="410"/>
                    <a:pt x="1801" y="410"/>
                    <a:pt x="1801" y="410"/>
                  </a:cubicBezTo>
                  <a:cubicBezTo>
                    <a:pt x="1803" y="414"/>
                    <a:pt x="1806" y="419"/>
                    <a:pt x="1808" y="423"/>
                  </a:cubicBezTo>
                  <a:cubicBezTo>
                    <a:pt x="1808" y="423"/>
                    <a:pt x="1808" y="423"/>
                    <a:pt x="1809" y="423"/>
                  </a:cubicBezTo>
                  <a:cubicBezTo>
                    <a:pt x="1807" y="419"/>
                    <a:pt x="1804" y="414"/>
                    <a:pt x="1802" y="410"/>
                  </a:cubicBezTo>
                  <a:moveTo>
                    <a:pt x="1809" y="424"/>
                  </a:moveTo>
                  <a:cubicBezTo>
                    <a:pt x="1809" y="424"/>
                    <a:pt x="1809" y="424"/>
                    <a:pt x="1808" y="424"/>
                  </a:cubicBezTo>
                  <a:cubicBezTo>
                    <a:pt x="1811" y="429"/>
                    <a:pt x="1813" y="434"/>
                    <a:pt x="1815" y="439"/>
                  </a:cubicBezTo>
                  <a:cubicBezTo>
                    <a:pt x="1815" y="438"/>
                    <a:pt x="1815" y="438"/>
                    <a:pt x="1816" y="438"/>
                  </a:cubicBezTo>
                  <a:cubicBezTo>
                    <a:pt x="1814" y="434"/>
                    <a:pt x="1812" y="429"/>
                    <a:pt x="1809" y="424"/>
                  </a:cubicBezTo>
                  <a:moveTo>
                    <a:pt x="2200" y="426"/>
                  </a:moveTo>
                  <a:cubicBezTo>
                    <a:pt x="2197" y="428"/>
                    <a:pt x="2194" y="430"/>
                    <a:pt x="2190" y="432"/>
                  </a:cubicBezTo>
                  <a:cubicBezTo>
                    <a:pt x="2190" y="432"/>
                    <a:pt x="2191" y="432"/>
                    <a:pt x="2191" y="432"/>
                  </a:cubicBezTo>
                  <a:cubicBezTo>
                    <a:pt x="2195" y="431"/>
                    <a:pt x="2198" y="429"/>
                    <a:pt x="2200" y="427"/>
                  </a:cubicBezTo>
                  <a:cubicBezTo>
                    <a:pt x="2200" y="427"/>
                    <a:pt x="2200" y="426"/>
                    <a:pt x="2200" y="426"/>
                  </a:cubicBezTo>
                  <a:moveTo>
                    <a:pt x="1448" y="431"/>
                  </a:moveTo>
                  <a:cubicBezTo>
                    <a:pt x="1447" y="431"/>
                    <a:pt x="1447" y="432"/>
                    <a:pt x="1447" y="432"/>
                  </a:cubicBezTo>
                  <a:cubicBezTo>
                    <a:pt x="1448" y="432"/>
                    <a:pt x="1448" y="433"/>
                    <a:pt x="1449" y="433"/>
                  </a:cubicBezTo>
                  <a:cubicBezTo>
                    <a:pt x="1449" y="433"/>
                    <a:pt x="1449" y="433"/>
                    <a:pt x="1449" y="432"/>
                  </a:cubicBezTo>
                  <a:cubicBezTo>
                    <a:pt x="1449" y="432"/>
                    <a:pt x="1448" y="432"/>
                    <a:pt x="1448" y="431"/>
                  </a:cubicBezTo>
                  <a:moveTo>
                    <a:pt x="2189" y="432"/>
                  </a:moveTo>
                  <a:cubicBezTo>
                    <a:pt x="2189" y="432"/>
                    <a:pt x="2188" y="433"/>
                    <a:pt x="2188" y="433"/>
                  </a:cubicBezTo>
                  <a:cubicBezTo>
                    <a:pt x="2188" y="433"/>
                    <a:pt x="2189" y="433"/>
                    <a:pt x="2189" y="433"/>
                  </a:cubicBezTo>
                  <a:cubicBezTo>
                    <a:pt x="2189" y="433"/>
                    <a:pt x="2190" y="433"/>
                    <a:pt x="2190" y="433"/>
                  </a:cubicBezTo>
                  <a:cubicBezTo>
                    <a:pt x="2190" y="433"/>
                    <a:pt x="2189" y="432"/>
                    <a:pt x="2189" y="432"/>
                  </a:cubicBezTo>
                  <a:moveTo>
                    <a:pt x="1450" y="433"/>
                  </a:moveTo>
                  <a:cubicBezTo>
                    <a:pt x="1450" y="433"/>
                    <a:pt x="1450" y="433"/>
                    <a:pt x="1449" y="434"/>
                  </a:cubicBezTo>
                  <a:cubicBezTo>
                    <a:pt x="1451" y="434"/>
                    <a:pt x="1452" y="435"/>
                    <a:pt x="1453" y="436"/>
                  </a:cubicBezTo>
                  <a:cubicBezTo>
                    <a:pt x="1453" y="436"/>
                    <a:pt x="1453" y="436"/>
                    <a:pt x="1454" y="436"/>
                  </a:cubicBezTo>
                  <a:cubicBezTo>
                    <a:pt x="1453" y="435"/>
                    <a:pt x="1451" y="434"/>
                    <a:pt x="1450" y="433"/>
                  </a:cubicBezTo>
                  <a:moveTo>
                    <a:pt x="2187" y="433"/>
                  </a:moveTo>
                  <a:cubicBezTo>
                    <a:pt x="2187" y="433"/>
                    <a:pt x="2187" y="433"/>
                    <a:pt x="2187" y="433"/>
                  </a:cubicBezTo>
                  <a:cubicBezTo>
                    <a:pt x="2174" y="439"/>
                    <a:pt x="2162" y="445"/>
                    <a:pt x="2151" y="451"/>
                  </a:cubicBezTo>
                  <a:cubicBezTo>
                    <a:pt x="2151" y="451"/>
                    <a:pt x="2151" y="451"/>
                    <a:pt x="2151" y="451"/>
                  </a:cubicBezTo>
                  <a:cubicBezTo>
                    <a:pt x="2163" y="446"/>
                    <a:pt x="2175" y="440"/>
                    <a:pt x="2187" y="434"/>
                  </a:cubicBezTo>
                  <a:cubicBezTo>
                    <a:pt x="2188" y="434"/>
                    <a:pt x="2188" y="434"/>
                    <a:pt x="2188" y="434"/>
                  </a:cubicBezTo>
                  <a:cubicBezTo>
                    <a:pt x="2188" y="434"/>
                    <a:pt x="2187" y="433"/>
                    <a:pt x="2187" y="433"/>
                  </a:cubicBezTo>
                  <a:moveTo>
                    <a:pt x="1455" y="436"/>
                  </a:moveTo>
                  <a:cubicBezTo>
                    <a:pt x="1454" y="436"/>
                    <a:pt x="1454" y="437"/>
                    <a:pt x="1454" y="437"/>
                  </a:cubicBezTo>
                  <a:cubicBezTo>
                    <a:pt x="1455" y="438"/>
                    <a:pt x="1457" y="439"/>
                    <a:pt x="1458" y="440"/>
                  </a:cubicBezTo>
                  <a:cubicBezTo>
                    <a:pt x="1458" y="440"/>
                    <a:pt x="1459" y="440"/>
                    <a:pt x="1459" y="439"/>
                  </a:cubicBezTo>
                  <a:cubicBezTo>
                    <a:pt x="1458" y="438"/>
                    <a:pt x="1456" y="437"/>
                    <a:pt x="1455" y="436"/>
                  </a:cubicBezTo>
                  <a:moveTo>
                    <a:pt x="1816" y="439"/>
                  </a:moveTo>
                  <a:cubicBezTo>
                    <a:pt x="1816" y="439"/>
                    <a:pt x="1815" y="439"/>
                    <a:pt x="1815" y="440"/>
                  </a:cubicBezTo>
                  <a:cubicBezTo>
                    <a:pt x="1818" y="446"/>
                    <a:pt x="1819" y="452"/>
                    <a:pt x="1819" y="458"/>
                  </a:cubicBezTo>
                  <a:cubicBezTo>
                    <a:pt x="1820" y="458"/>
                    <a:pt x="1820" y="458"/>
                    <a:pt x="1820" y="458"/>
                  </a:cubicBezTo>
                  <a:cubicBezTo>
                    <a:pt x="1820" y="452"/>
                    <a:pt x="1819" y="446"/>
                    <a:pt x="1816" y="439"/>
                  </a:cubicBezTo>
                  <a:moveTo>
                    <a:pt x="1460" y="440"/>
                  </a:moveTo>
                  <a:cubicBezTo>
                    <a:pt x="1460" y="440"/>
                    <a:pt x="1459" y="440"/>
                    <a:pt x="1459" y="441"/>
                  </a:cubicBezTo>
                  <a:cubicBezTo>
                    <a:pt x="1460" y="442"/>
                    <a:pt x="1462" y="443"/>
                    <a:pt x="1463" y="444"/>
                  </a:cubicBezTo>
                  <a:cubicBezTo>
                    <a:pt x="1464" y="444"/>
                    <a:pt x="1464" y="444"/>
                    <a:pt x="1464" y="444"/>
                  </a:cubicBezTo>
                  <a:cubicBezTo>
                    <a:pt x="1463" y="442"/>
                    <a:pt x="1461" y="441"/>
                    <a:pt x="1460" y="440"/>
                  </a:cubicBezTo>
                  <a:moveTo>
                    <a:pt x="1465" y="444"/>
                  </a:moveTo>
                  <a:cubicBezTo>
                    <a:pt x="1465" y="444"/>
                    <a:pt x="1465" y="445"/>
                    <a:pt x="1464" y="445"/>
                  </a:cubicBezTo>
                  <a:cubicBezTo>
                    <a:pt x="1466" y="446"/>
                    <a:pt x="1467" y="447"/>
                    <a:pt x="1469" y="447"/>
                  </a:cubicBezTo>
                  <a:cubicBezTo>
                    <a:pt x="1469" y="447"/>
                    <a:pt x="1469" y="447"/>
                    <a:pt x="1469" y="447"/>
                  </a:cubicBezTo>
                  <a:cubicBezTo>
                    <a:pt x="1468" y="446"/>
                    <a:pt x="1467" y="445"/>
                    <a:pt x="1465" y="444"/>
                  </a:cubicBezTo>
                  <a:moveTo>
                    <a:pt x="1470" y="448"/>
                  </a:moveTo>
                  <a:cubicBezTo>
                    <a:pt x="1470" y="448"/>
                    <a:pt x="1470" y="448"/>
                    <a:pt x="1470" y="448"/>
                  </a:cubicBezTo>
                  <a:cubicBezTo>
                    <a:pt x="1471" y="449"/>
                    <a:pt x="1472" y="449"/>
                    <a:pt x="1472" y="450"/>
                  </a:cubicBezTo>
                  <a:cubicBezTo>
                    <a:pt x="1472" y="449"/>
                    <a:pt x="1471" y="449"/>
                    <a:pt x="1470" y="448"/>
                  </a:cubicBezTo>
                  <a:moveTo>
                    <a:pt x="2150" y="451"/>
                  </a:moveTo>
                  <a:cubicBezTo>
                    <a:pt x="2149" y="451"/>
                    <a:pt x="2149" y="452"/>
                    <a:pt x="2148" y="452"/>
                  </a:cubicBezTo>
                  <a:cubicBezTo>
                    <a:pt x="2148" y="452"/>
                    <a:pt x="2148" y="452"/>
                    <a:pt x="2148" y="453"/>
                  </a:cubicBezTo>
                  <a:cubicBezTo>
                    <a:pt x="2149" y="453"/>
                    <a:pt x="2150" y="452"/>
                    <a:pt x="2150" y="452"/>
                  </a:cubicBezTo>
                  <a:cubicBezTo>
                    <a:pt x="2150" y="452"/>
                    <a:pt x="2150" y="451"/>
                    <a:pt x="2150" y="451"/>
                  </a:cubicBezTo>
                  <a:moveTo>
                    <a:pt x="1473" y="451"/>
                  </a:moveTo>
                  <a:cubicBezTo>
                    <a:pt x="1473" y="451"/>
                    <a:pt x="1473" y="451"/>
                    <a:pt x="1472" y="451"/>
                  </a:cubicBezTo>
                  <a:cubicBezTo>
                    <a:pt x="1473" y="451"/>
                    <a:pt x="1473" y="452"/>
                    <a:pt x="1474" y="452"/>
                  </a:cubicBezTo>
                  <a:cubicBezTo>
                    <a:pt x="1474" y="452"/>
                    <a:pt x="1474" y="452"/>
                    <a:pt x="1474" y="452"/>
                  </a:cubicBezTo>
                  <a:cubicBezTo>
                    <a:pt x="1474" y="452"/>
                    <a:pt x="1473" y="451"/>
                    <a:pt x="1473" y="451"/>
                  </a:cubicBezTo>
                  <a:moveTo>
                    <a:pt x="2147" y="452"/>
                  </a:moveTo>
                  <a:cubicBezTo>
                    <a:pt x="2146" y="453"/>
                    <a:pt x="2145" y="454"/>
                    <a:pt x="2143" y="454"/>
                  </a:cubicBezTo>
                  <a:cubicBezTo>
                    <a:pt x="2143" y="455"/>
                    <a:pt x="2142" y="455"/>
                    <a:pt x="2142" y="456"/>
                  </a:cubicBezTo>
                  <a:cubicBezTo>
                    <a:pt x="2144" y="455"/>
                    <a:pt x="2146" y="454"/>
                    <a:pt x="2148" y="453"/>
                  </a:cubicBezTo>
                  <a:cubicBezTo>
                    <a:pt x="2147" y="453"/>
                    <a:pt x="2147" y="453"/>
                    <a:pt x="2147" y="452"/>
                  </a:cubicBezTo>
                  <a:moveTo>
                    <a:pt x="1475" y="453"/>
                  </a:moveTo>
                  <a:cubicBezTo>
                    <a:pt x="1475" y="453"/>
                    <a:pt x="1475" y="453"/>
                    <a:pt x="1475" y="453"/>
                  </a:cubicBezTo>
                  <a:cubicBezTo>
                    <a:pt x="1475" y="453"/>
                    <a:pt x="1475" y="453"/>
                    <a:pt x="1475" y="453"/>
                  </a:cubicBezTo>
                  <a:cubicBezTo>
                    <a:pt x="1476" y="453"/>
                    <a:pt x="1477" y="454"/>
                    <a:pt x="1477" y="454"/>
                  </a:cubicBezTo>
                  <a:cubicBezTo>
                    <a:pt x="1477" y="454"/>
                    <a:pt x="1476" y="453"/>
                    <a:pt x="1475" y="453"/>
                  </a:cubicBezTo>
                  <a:moveTo>
                    <a:pt x="2141" y="455"/>
                  </a:moveTo>
                  <a:cubicBezTo>
                    <a:pt x="2141" y="455"/>
                    <a:pt x="2141" y="455"/>
                    <a:pt x="2140" y="456"/>
                  </a:cubicBezTo>
                  <a:cubicBezTo>
                    <a:pt x="2141" y="456"/>
                    <a:pt x="2141" y="456"/>
                    <a:pt x="2141" y="456"/>
                  </a:cubicBezTo>
                  <a:cubicBezTo>
                    <a:pt x="2141" y="456"/>
                    <a:pt x="2141" y="455"/>
                    <a:pt x="2141" y="455"/>
                  </a:cubicBezTo>
                  <a:moveTo>
                    <a:pt x="1478" y="456"/>
                  </a:moveTo>
                  <a:cubicBezTo>
                    <a:pt x="1479" y="457"/>
                    <a:pt x="1480" y="457"/>
                    <a:pt x="1481" y="458"/>
                  </a:cubicBezTo>
                  <a:cubicBezTo>
                    <a:pt x="1482" y="459"/>
                    <a:pt x="1484" y="459"/>
                    <a:pt x="1485" y="460"/>
                  </a:cubicBezTo>
                  <a:cubicBezTo>
                    <a:pt x="1484" y="459"/>
                    <a:pt x="1483" y="458"/>
                    <a:pt x="1482" y="458"/>
                  </a:cubicBezTo>
                  <a:cubicBezTo>
                    <a:pt x="1481" y="457"/>
                    <a:pt x="1479" y="456"/>
                    <a:pt x="1478" y="456"/>
                  </a:cubicBezTo>
                  <a:moveTo>
                    <a:pt x="2139" y="456"/>
                  </a:moveTo>
                  <a:cubicBezTo>
                    <a:pt x="2139" y="456"/>
                    <a:pt x="2138" y="457"/>
                    <a:pt x="2138" y="457"/>
                  </a:cubicBezTo>
                  <a:cubicBezTo>
                    <a:pt x="2137" y="458"/>
                    <a:pt x="2137" y="458"/>
                    <a:pt x="2136" y="459"/>
                  </a:cubicBezTo>
                  <a:cubicBezTo>
                    <a:pt x="2136" y="459"/>
                    <a:pt x="2136" y="459"/>
                    <a:pt x="2136" y="459"/>
                  </a:cubicBezTo>
                  <a:cubicBezTo>
                    <a:pt x="2137" y="458"/>
                    <a:pt x="2139" y="458"/>
                    <a:pt x="2140" y="457"/>
                  </a:cubicBezTo>
                  <a:cubicBezTo>
                    <a:pt x="2140" y="457"/>
                    <a:pt x="2140" y="457"/>
                    <a:pt x="2140" y="457"/>
                  </a:cubicBezTo>
                  <a:cubicBezTo>
                    <a:pt x="2140" y="456"/>
                    <a:pt x="2140" y="456"/>
                    <a:pt x="2139" y="456"/>
                  </a:cubicBezTo>
                  <a:moveTo>
                    <a:pt x="2135" y="458"/>
                  </a:moveTo>
                  <a:cubicBezTo>
                    <a:pt x="2126" y="463"/>
                    <a:pt x="2117" y="467"/>
                    <a:pt x="2108" y="472"/>
                  </a:cubicBezTo>
                  <a:cubicBezTo>
                    <a:pt x="2107" y="473"/>
                    <a:pt x="2107" y="473"/>
                    <a:pt x="2106" y="474"/>
                  </a:cubicBezTo>
                  <a:cubicBezTo>
                    <a:pt x="2115" y="469"/>
                    <a:pt x="2124" y="465"/>
                    <a:pt x="2134" y="460"/>
                  </a:cubicBezTo>
                  <a:cubicBezTo>
                    <a:pt x="2134" y="459"/>
                    <a:pt x="2135" y="459"/>
                    <a:pt x="2135" y="458"/>
                  </a:cubicBezTo>
                  <a:moveTo>
                    <a:pt x="1820" y="459"/>
                  </a:moveTo>
                  <a:cubicBezTo>
                    <a:pt x="1820" y="459"/>
                    <a:pt x="1820" y="459"/>
                    <a:pt x="1819" y="459"/>
                  </a:cubicBezTo>
                  <a:cubicBezTo>
                    <a:pt x="1819" y="460"/>
                    <a:pt x="1819" y="461"/>
                    <a:pt x="1819" y="461"/>
                  </a:cubicBezTo>
                  <a:cubicBezTo>
                    <a:pt x="1819" y="464"/>
                    <a:pt x="1819" y="467"/>
                    <a:pt x="1818" y="470"/>
                  </a:cubicBezTo>
                  <a:cubicBezTo>
                    <a:pt x="1819" y="470"/>
                    <a:pt x="1819" y="470"/>
                    <a:pt x="1820" y="470"/>
                  </a:cubicBezTo>
                  <a:cubicBezTo>
                    <a:pt x="1820" y="467"/>
                    <a:pt x="1820" y="464"/>
                    <a:pt x="1820" y="461"/>
                  </a:cubicBezTo>
                  <a:cubicBezTo>
                    <a:pt x="1820" y="460"/>
                    <a:pt x="1820" y="460"/>
                    <a:pt x="1820" y="459"/>
                  </a:cubicBezTo>
                  <a:moveTo>
                    <a:pt x="1484" y="461"/>
                  </a:moveTo>
                  <a:cubicBezTo>
                    <a:pt x="1489" y="465"/>
                    <a:pt x="1493" y="468"/>
                    <a:pt x="1497" y="472"/>
                  </a:cubicBezTo>
                  <a:cubicBezTo>
                    <a:pt x="1497" y="472"/>
                    <a:pt x="1498" y="471"/>
                    <a:pt x="1498" y="471"/>
                  </a:cubicBezTo>
                  <a:cubicBezTo>
                    <a:pt x="1495" y="468"/>
                    <a:pt x="1491" y="466"/>
                    <a:pt x="1488" y="463"/>
                  </a:cubicBezTo>
                  <a:cubicBezTo>
                    <a:pt x="1487" y="462"/>
                    <a:pt x="1486" y="461"/>
                    <a:pt x="1484" y="461"/>
                  </a:cubicBezTo>
                  <a:moveTo>
                    <a:pt x="1819" y="471"/>
                  </a:moveTo>
                  <a:cubicBezTo>
                    <a:pt x="1819" y="471"/>
                    <a:pt x="1819" y="471"/>
                    <a:pt x="1818" y="471"/>
                  </a:cubicBezTo>
                  <a:cubicBezTo>
                    <a:pt x="1818" y="473"/>
                    <a:pt x="1817" y="475"/>
                    <a:pt x="1816" y="477"/>
                  </a:cubicBezTo>
                  <a:cubicBezTo>
                    <a:pt x="1817" y="476"/>
                    <a:pt x="1817" y="476"/>
                    <a:pt x="1818" y="476"/>
                  </a:cubicBezTo>
                  <a:cubicBezTo>
                    <a:pt x="1818" y="474"/>
                    <a:pt x="1819" y="472"/>
                    <a:pt x="1819" y="471"/>
                  </a:cubicBezTo>
                  <a:moveTo>
                    <a:pt x="1499" y="472"/>
                  </a:moveTo>
                  <a:cubicBezTo>
                    <a:pt x="1498" y="472"/>
                    <a:pt x="1498" y="472"/>
                    <a:pt x="1498" y="472"/>
                  </a:cubicBezTo>
                  <a:cubicBezTo>
                    <a:pt x="1498" y="473"/>
                    <a:pt x="1498" y="473"/>
                    <a:pt x="1499" y="473"/>
                  </a:cubicBezTo>
                  <a:cubicBezTo>
                    <a:pt x="1499" y="473"/>
                    <a:pt x="1499" y="473"/>
                    <a:pt x="1500" y="473"/>
                  </a:cubicBezTo>
                  <a:cubicBezTo>
                    <a:pt x="1499" y="473"/>
                    <a:pt x="1499" y="472"/>
                    <a:pt x="1499" y="472"/>
                  </a:cubicBezTo>
                  <a:moveTo>
                    <a:pt x="2105" y="473"/>
                  </a:moveTo>
                  <a:cubicBezTo>
                    <a:pt x="2102" y="475"/>
                    <a:pt x="2100" y="476"/>
                    <a:pt x="2097" y="478"/>
                  </a:cubicBezTo>
                  <a:cubicBezTo>
                    <a:pt x="2097" y="478"/>
                    <a:pt x="2097" y="478"/>
                    <a:pt x="2097" y="479"/>
                  </a:cubicBezTo>
                  <a:cubicBezTo>
                    <a:pt x="2099" y="478"/>
                    <a:pt x="2101" y="476"/>
                    <a:pt x="2104" y="475"/>
                  </a:cubicBezTo>
                  <a:cubicBezTo>
                    <a:pt x="2104" y="475"/>
                    <a:pt x="2105" y="474"/>
                    <a:pt x="2105" y="473"/>
                  </a:cubicBezTo>
                  <a:moveTo>
                    <a:pt x="1501" y="474"/>
                  </a:moveTo>
                  <a:cubicBezTo>
                    <a:pt x="1500" y="474"/>
                    <a:pt x="1500" y="474"/>
                    <a:pt x="1499" y="474"/>
                  </a:cubicBezTo>
                  <a:cubicBezTo>
                    <a:pt x="1504" y="478"/>
                    <a:pt x="1509" y="483"/>
                    <a:pt x="1513" y="487"/>
                  </a:cubicBezTo>
                  <a:cubicBezTo>
                    <a:pt x="1519" y="493"/>
                    <a:pt x="1526" y="500"/>
                    <a:pt x="1532" y="506"/>
                  </a:cubicBezTo>
                  <a:cubicBezTo>
                    <a:pt x="1532" y="506"/>
                    <a:pt x="1532" y="505"/>
                    <a:pt x="1533" y="505"/>
                  </a:cubicBezTo>
                  <a:cubicBezTo>
                    <a:pt x="1527" y="499"/>
                    <a:pt x="1520" y="493"/>
                    <a:pt x="1514" y="486"/>
                  </a:cubicBezTo>
                  <a:cubicBezTo>
                    <a:pt x="1510" y="482"/>
                    <a:pt x="1505" y="478"/>
                    <a:pt x="1501" y="474"/>
                  </a:cubicBezTo>
                  <a:moveTo>
                    <a:pt x="1817" y="477"/>
                  </a:moveTo>
                  <a:cubicBezTo>
                    <a:pt x="1817" y="478"/>
                    <a:pt x="1816" y="478"/>
                    <a:pt x="1816" y="478"/>
                  </a:cubicBezTo>
                  <a:cubicBezTo>
                    <a:pt x="1816" y="478"/>
                    <a:pt x="1816" y="478"/>
                    <a:pt x="1816" y="478"/>
                  </a:cubicBezTo>
                  <a:cubicBezTo>
                    <a:pt x="1816" y="478"/>
                    <a:pt x="1816" y="478"/>
                    <a:pt x="1817" y="478"/>
                  </a:cubicBezTo>
                  <a:cubicBezTo>
                    <a:pt x="1817" y="478"/>
                    <a:pt x="1817" y="478"/>
                    <a:pt x="1817" y="477"/>
                  </a:cubicBezTo>
                  <a:moveTo>
                    <a:pt x="2096" y="478"/>
                  </a:moveTo>
                  <a:cubicBezTo>
                    <a:pt x="2096" y="478"/>
                    <a:pt x="2095" y="478"/>
                    <a:pt x="2095" y="479"/>
                  </a:cubicBezTo>
                  <a:cubicBezTo>
                    <a:pt x="2095" y="479"/>
                    <a:pt x="2096" y="479"/>
                    <a:pt x="2096" y="479"/>
                  </a:cubicBezTo>
                  <a:cubicBezTo>
                    <a:pt x="2096" y="479"/>
                    <a:pt x="2096" y="479"/>
                    <a:pt x="2096" y="478"/>
                  </a:cubicBezTo>
                  <a:moveTo>
                    <a:pt x="2094" y="479"/>
                  </a:moveTo>
                  <a:cubicBezTo>
                    <a:pt x="2087" y="483"/>
                    <a:pt x="2081" y="486"/>
                    <a:pt x="2074" y="490"/>
                  </a:cubicBezTo>
                  <a:cubicBezTo>
                    <a:pt x="2074" y="490"/>
                    <a:pt x="2074" y="490"/>
                    <a:pt x="2074" y="490"/>
                  </a:cubicBezTo>
                  <a:cubicBezTo>
                    <a:pt x="2075" y="490"/>
                    <a:pt x="2076" y="490"/>
                    <a:pt x="2077" y="489"/>
                  </a:cubicBezTo>
                  <a:cubicBezTo>
                    <a:pt x="2083" y="486"/>
                    <a:pt x="2089" y="483"/>
                    <a:pt x="2095" y="480"/>
                  </a:cubicBezTo>
                  <a:cubicBezTo>
                    <a:pt x="2095" y="480"/>
                    <a:pt x="2094" y="479"/>
                    <a:pt x="2094" y="479"/>
                  </a:cubicBezTo>
                  <a:moveTo>
                    <a:pt x="1816" y="479"/>
                  </a:moveTo>
                  <a:cubicBezTo>
                    <a:pt x="1816" y="479"/>
                    <a:pt x="1816" y="479"/>
                    <a:pt x="1815" y="479"/>
                  </a:cubicBezTo>
                  <a:cubicBezTo>
                    <a:pt x="1815" y="480"/>
                    <a:pt x="1814" y="481"/>
                    <a:pt x="1814" y="482"/>
                  </a:cubicBezTo>
                  <a:cubicBezTo>
                    <a:pt x="1814" y="482"/>
                    <a:pt x="1815" y="481"/>
                    <a:pt x="1816" y="481"/>
                  </a:cubicBezTo>
                  <a:cubicBezTo>
                    <a:pt x="1816" y="480"/>
                    <a:pt x="1816" y="480"/>
                    <a:pt x="1816" y="479"/>
                  </a:cubicBezTo>
                  <a:moveTo>
                    <a:pt x="1814" y="483"/>
                  </a:moveTo>
                  <a:cubicBezTo>
                    <a:pt x="1814" y="484"/>
                    <a:pt x="1813" y="484"/>
                    <a:pt x="1812" y="485"/>
                  </a:cubicBezTo>
                  <a:cubicBezTo>
                    <a:pt x="1812" y="486"/>
                    <a:pt x="1811" y="487"/>
                    <a:pt x="1810" y="488"/>
                  </a:cubicBezTo>
                  <a:cubicBezTo>
                    <a:pt x="1811" y="486"/>
                    <a:pt x="1813" y="485"/>
                    <a:pt x="1814" y="484"/>
                  </a:cubicBezTo>
                  <a:cubicBezTo>
                    <a:pt x="1814" y="484"/>
                    <a:pt x="1814" y="484"/>
                    <a:pt x="1814" y="483"/>
                  </a:cubicBezTo>
                  <a:moveTo>
                    <a:pt x="1810" y="489"/>
                  </a:moveTo>
                  <a:cubicBezTo>
                    <a:pt x="1810" y="489"/>
                    <a:pt x="1810" y="490"/>
                    <a:pt x="1809" y="490"/>
                  </a:cubicBezTo>
                  <a:cubicBezTo>
                    <a:pt x="1808" y="490"/>
                    <a:pt x="1808" y="491"/>
                    <a:pt x="1807" y="492"/>
                  </a:cubicBezTo>
                  <a:cubicBezTo>
                    <a:pt x="1805" y="494"/>
                    <a:pt x="1803" y="495"/>
                    <a:pt x="1802" y="497"/>
                  </a:cubicBezTo>
                  <a:cubicBezTo>
                    <a:pt x="1802" y="497"/>
                    <a:pt x="1803" y="497"/>
                    <a:pt x="1803" y="497"/>
                  </a:cubicBezTo>
                  <a:cubicBezTo>
                    <a:pt x="1806" y="494"/>
                    <a:pt x="1808" y="492"/>
                    <a:pt x="1810" y="489"/>
                  </a:cubicBezTo>
                  <a:moveTo>
                    <a:pt x="2073" y="492"/>
                  </a:moveTo>
                  <a:cubicBezTo>
                    <a:pt x="2073" y="492"/>
                    <a:pt x="2073" y="492"/>
                    <a:pt x="2073" y="492"/>
                  </a:cubicBezTo>
                  <a:cubicBezTo>
                    <a:pt x="2073" y="492"/>
                    <a:pt x="2073" y="492"/>
                    <a:pt x="2073" y="492"/>
                  </a:cubicBezTo>
                  <a:cubicBezTo>
                    <a:pt x="2073" y="492"/>
                    <a:pt x="2073" y="492"/>
                    <a:pt x="2073" y="492"/>
                  </a:cubicBezTo>
                  <a:moveTo>
                    <a:pt x="2071" y="492"/>
                  </a:moveTo>
                  <a:cubicBezTo>
                    <a:pt x="2070" y="492"/>
                    <a:pt x="2069" y="493"/>
                    <a:pt x="2069" y="493"/>
                  </a:cubicBezTo>
                  <a:cubicBezTo>
                    <a:pt x="2064" y="496"/>
                    <a:pt x="2059" y="498"/>
                    <a:pt x="2055" y="501"/>
                  </a:cubicBezTo>
                  <a:cubicBezTo>
                    <a:pt x="2055" y="501"/>
                    <a:pt x="2056" y="501"/>
                    <a:pt x="2056" y="501"/>
                  </a:cubicBezTo>
                  <a:cubicBezTo>
                    <a:pt x="2061" y="498"/>
                    <a:pt x="2066" y="496"/>
                    <a:pt x="2071" y="493"/>
                  </a:cubicBezTo>
                  <a:cubicBezTo>
                    <a:pt x="2071" y="493"/>
                    <a:pt x="2071" y="492"/>
                    <a:pt x="2071" y="492"/>
                  </a:cubicBezTo>
                  <a:moveTo>
                    <a:pt x="1802" y="498"/>
                  </a:moveTo>
                  <a:cubicBezTo>
                    <a:pt x="1801" y="498"/>
                    <a:pt x="1801" y="498"/>
                    <a:pt x="1800" y="498"/>
                  </a:cubicBezTo>
                  <a:cubicBezTo>
                    <a:pt x="1799" y="499"/>
                    <a:pt x="1798" y="500"/>
                    <a:pt x="1797" y="501"/>
                  </a:cubicBezTo>
                  <a:cubicBezTo>
                    <a:pt x="1798" y="501"/>
                    <a:pt x="1799" y="501"/>
                    <a:pt x="1800" y="500"/>
                  </a:cubicBezTo>
                  <a:cubicBezTo>
                    <a:pt x="1800" y="500"/>
                    <a:pt x="1801" y="499"/>
                    <a:pt x="1802" y="498"/>
                  </a:cubicBezTo>
                  <a:moveTo>
                    <a:pt x="2054" y="501"/>
                  </a:moveTo>
                  <a:cubicBezTo>
                    <a:pt x="2051" y="503"/>
                    <a:pt x="2049" y="504"/>
                    <a:pt x="2047" y="506"/>
                  </a:cubicBezTo>
                  <a:cubicBezTo>
                    <a:pt x="2047" y="506"/>
                    <a:pt x="2047" y="506"/>
                    <a:pt x="2047" y="507"/>
                  </a:cubicBezTo>
                  <a:cubicBezTo>
                    <a:pt x="2050" y="505"/>
                    <a:pt x="2052" y="503"/>
                    <a:pt x="2055" y="502"/>
                  </a:cubicBezTo>
                  <a:cubicBezTo>
                    <a:pt x="2055" y="502"/>
                    <a:pt x="2054" y="501"/>
                    <a:pt x="2054" y="501"/>
                  </a:cubicBezTo>
                  <a:moveTo>
                    <a:pt x="1798" y="502"/>
                  </a:moveTo>
                  <a:cubicBezTo>
                    <a:pt x="1797" y="502"/>
                    <a:pt x="1796" y="502"/>
                    <a:pt x="1795" y="503"/>
                  </a:cubicBezTo>
                  <a:cubicBezTo>
                    <a:pt x="1790" y="507"/>
                    <a:pt x="1785" y="510"/>
                    <a:pt x="1778" y="514"/>
                  </a:cubicBezTo>
                  <a:cubicBezTo>
                    <a:pt x="1777" y="515"/>
                    <a:pt x="1776" y="516"/>
                    <a:pt x="1775" y="517"/>
                  </a:cubicBezTo>
                  <a:cubicBezTo>
                    <a:pt x="1775" y="517"/>
                    <a:pt x="1775" y="517"/>
                    <a:pt x="1775" y="517"/>
                  </a:cubicBezTo>
                  <a:cubicBezTo>
                    <a:pt x="1776" y="517"/>
                    <a:pt x="1776" y="517"/>
                    <a:pt x="1777" y="517"/>
                  </a:cubicBezTo>
                  <a:cubicBezTo>
                    <a:pt x="1777" y="516"/>
                    <a:pt x="1778" y="516"/>
                    <a:pt x="1779" y="515"/>
                  </a:cubicBezTo>
                  <a:cubicBezTo>
                    <a:pt x="1786" y="511"/>
                    <a:pt x="1792" y="506"/>
                    <a:pt x="1798" y="502"/>
                  </a:cubicBezTo>
                  <a:moveTo>
                    <a:pt x="2046" y="506"/>
                  </a:moveTo>
                  <a:cubicBezTo>
                    <a:pt x="2045" y="507"/>
                    <a:pt x="2044" y="507"/>
                    <a:pt x="2043" y="508"/>
                  </a:cubicBezTo>
                  <a:cubicBezTo>
                    <a:pt x="2044" y="508"/>
                    <a:pt x="2045" y="507"/>
                    <a:pt x="2046" y="507"/>
                  </a:cubicBezTo>
                  <a:cubicBezTo>
                    <a:pt x="2046" y="507"/>
                    <a:pt x="2046" y="506"/>
                    <a:pt x="2046" y="506"/>
                  </a:cubicBezTo>
                  <a:moveTo>
                    <a:pt x="1534" y="506"/>
                  </a:moveTo>
                  <a:cubicBezTo>
                    <a:pt x="1533" y="506"/>
                    <a:pt x="1533" y="506"/>
                    <a:pt x="1533" y="506"/>
                  </a:cubicBezTo>
                  <a:cubicBezTo>
                    <a:pt x="1533" y="507"/>
                    <a:pt x="1533" y="507"/>
                    <a:pt x="1534" y="508"/>
                  </a:cubicBezTo>
                  <a:cubicBezTo>
                    <a:pt x="1534" y="508"/>
                    <a:pt x="1535" y="508"/>
                    <a:pt x="1535" y="508"/>
                  </a:cubicBezTo>
                  <a:cubicBezTo>
                    <a:pt x="1535" y="507"/>
                    <a:pt x="1534" y="507"/>
                    <a:pt x="1534" y="506"/>
                  </a:cubicBezTo>
                  <a:moveTo>
                    <a:pt x="1536" y="508"/>
                  </a:moveTo>
                  <a:cubicBezTo>
                    <a:pt x="1535" y="508"/>
                    <a:pt x="1535" y="509"/>
                    <a:pt x="1535" y="509"/>
                  </a:cubicBezTo>
                  <a:cubicBezTo>
                    <a:pt x="1540" y="514"/>
                    <a:pt x="1546" y="520"/>
                    <a:pt x="1551" y="525"/>
                  </a:cubicBezTo>
                  <a:cubicBezTo>
                    <a:pt x="1552" y="526"/>
                    <a:pt x="1553" y="526"/>
                    <a:pt x="1554" y="526"/>
                  </a:cubicBezTo>
                  <a:cubicBezTo>
                    <a:pt x="1553" y="526"/>
                    <a:pt x="1552" y="525"/>
                    <a:pt x="1551" y="524"/>
                  </a:cubicBezTo>
                  <a:cubicBezTo>
                    <a:pt x="1546" y="519"/>
                    <a:pt x="1541" y="514"/>
                    <a:pt x="1536" y="508"/>
                  </a:cubicBezTo>
                  <a:moveTo>
                    <a:pt x="2043" y="509"/>
                  </a:moveTo>
                  <a:cubicBezTo>
                    <a:pt x="2042" y="509"/>
                    <a:pt x="2041" y="509"/>
                    <a:pt x="2040" y="510"/>
                  </a:cubicBezTo>
                  <a:cubicBezTo>
                    <a:pt x="2040" y="510"/>
                    <a:pt x="2040" y="510"/>
                    <a:pt x="2039" y="510"/>
                  </a:cubicBezTo>
                  <a:cubicBezTo>
                    <a:pt x="2039" y="510"/>
                    <a:pt x="2039" y="511"/>
                    <a:pt x="2038" y="512"/>
                  </a:cubicBezTo>
                  <a:cubicBezTo>
                    <a:pt x="2040" y="511"/>
                    <a:pt x="2042" y="510"/>
                    <a:pt x="2043" y="509"/>
                  </a:cubicBezTo>
                  <a:moveTo>
                    <a:pt x="2038" y="511"/>
                  </a:moveTo>
                  <a:cubicBezTo>
                    <a:pt x="2032" y="514"/>
                    <a:pt x="2026" y="518"/>
                    <a:pt x="2021" y="522"/>
                  </a:cubicBezTo>
                  <a:cubicBezTo>
                    <a:pt x="2022" y="521"/>
                    <a:pt x="2023" y="521"/>
                    <a:pt x="2024" y="521"/>
                  </a:cubicBezTo>
                  <a:cubicBezTo>
                    <a:pt x="2028" y="518"/>
                    <a:pt x="2032" y="516"/>
                    <a:pt x="2037" y="513"/>
                  </a:cubicBezTo>
                  <a:cubicBezTo>
                    <a:pt x="2037" y="512"/>
                    <a:pt x="2037" y="512"/>
                    <a:pt x="2038" y="511"/>
                  </a:cubicBezTo>
                  <a:moveTo>
                    <a:pt x="1775" y="518"/>
                  </a:moveTo>
                  <a:cubicBezTo>
                    <a:pt x="1774" y="518"/>
                    <a:pt x="1773" y="518"/>
                    <a:pt x="1772" y="518"/>
                  </a:cubicBezTo>
                  <a:cubicBezTo>
                    <a:pt x="1770" y="520"/>
                    <a:pt x="1768" y="521"/>
                    <a:pt x="1767" y="523"/>
                  </a:cubicBezTo>
                  <a:cubicBezTo>
                    <a:pt x="1768" y="522"/>
                    <a:pt x="1768" y="522"/>
                    <a:pt x="1769" y="522"/>
                  </a:cubicBezTo>
                  <a:cubicBezTo>
                    <a:pt x="1771" y="521"/>
                    <a:pt x="1773" y="519"/>
                    <a:pt x="1775" y="518"/>
                  </a:cubicBezTo>
                  <a:moveTo>
                    <a:pt x="2021" y="523"/>
                  </a:moveTo>
                  <a:cubicBezTo>
                    <a:pt x="2021" y="523"/>
                    <a:pt x="2020" y="523"/>
                    <a:pt x="2019" y="523"/>
                  </a:cubicBezTo>
                  <a:cubicBezTo>
                    <a:pt x="2019" y="523"/>
                    <a:pt x="2020" y="523"/>
                    <a:pt x="2020" y="523"/>
                  </a:cubicBezTo>
                  <a:cubicBezTo>
                    <a:pt x="2020" y="523"/>
                    <a:pt x="2020" y="523"/>
                    <a:pt x="2021" y="523"/>
                  </a:cubicBezTo>
                  <a:cubicBezTo>
                    <a:pt x="2021" y="523"/>
                    <a:pt x="2021" y="523"/>
                    <a:pt x="2021" y="523"/>
                  </a:cubicBezTo>
                  <a:moveTo>
                    <a:pt x="2018" y="524"/>
                  </a:moveTo>
                  <a:cubicBezTo>
                    <a:pt x="2018" y="524"/>
                    <a:pt x="2018" y="524"/>
                    <a:pt x="2018" y="524"/>
                  </a:cubicBezTo>
                  <a:cubicBezTo>
                    <a:pt x="2018" y="524"/>
                    <a:pt x="2018" y="524"/>
                    <a:pt x="2018" y="524"/>
                  </a:cubicBezTo>
                  <a:cubicBezTo>
                    <a:pt x="2018" y="524"/>
                    <a:pt x="2018" y="524"/>
                    <a:pt x="2018" y="524"/>
                  </a:cubicBezTo>
                  <a:moveTo>
                    <a:pt x="1767" y="524"/>
                  </a:moveTo>
                  <a:cubicBezTo>
                    <a:pt x="1766" y="524"/>
                    <a:pt x="1765" y="524"/>
                    <a:pt x="1765" y="524"/>
                  </a:cubicBezTo>
                  <a:cubicBezTo>
                    <a:pt x="1764" y="525"/>
                    <a:pt x="1763" y="526"/>
                    <a:pt x="1763" y="526"/>
                  </a:cubicBezTo>
                  <a:cubicBezTo>
                    <a:pt x="1764" y="526"/>
                    <a:pt x="1765" y="525"/>
                    <a:pt x="1767" y="524"/>
                  </a:cubicBezTo>
                  <a:moveTo>
                    <a:pt x="2018" y="525"/>
                  </a:moveTo>
                  <a:cubicBezTo>
                    <a:pt x="2017" y="525"/>
                    <a:pt x="2016" y="525"/>
                    <a:pt x="2015" y="525"/>
                  </a:cubicBezTo>
                  <a:cubicBezTo>
                    <a:pt x="2014" y="526"/>
                    <a:pt x="2012" y="527"/>
                    <a:pt x="2011" y="528"/>
                  </a:cubicBezTo>
                  <a:cubicBezTo>
                    <a:pt x="2010" y="529"/>
                    <a:pt x="2010" y="530"/>
                    <a:pt x="2010" y="530"/>
                  </a:cubicBezTo>
                  <a:cubicBezTo>
                    <a:pt x="2012" y="528"/>
                    <a:pt x="2015" y="527"/>
                    <a:pt x="2018" y="525"/>
                  </a:cubicBezTo>
                  <a:moveTo>
                    <a:pt x="1763" y="527"/>
                  </a:moveTo>
                  <a:cubicBezTo>
                    <a:pt x="1763" y="527"/>
                    <a:pt x="1763" y="527"/>
                    <a:pt x="1763" y="527"/>
                  </a:cubicBezTo>
                  <a:cubicBezTo>
                    <a:pt x="1763" y="527"/>
                    <a:pt x="1763" y="527"/>
                    <a:pt x="1763" y="527"/>
                  </a:cubicBezTo>
                  <a:cubicBezTo>
                    <a:pt x="1763" y="527"/>
                    <a:pt x="1763" y="527"/>
                    <a:pt x="1763" y="527"/>
                  </a:cubicBezTo>
                  <a:moveTo>
                    <a:pt x="1554" y="528"/>
                  </a:moveTo>
                  <a:cubicBezTo>
                    <a:pt x="1554" y="528"/>
                    <a:pt x="1554" y="528"/>
                    <a:pt x="1554" y="528"/>
                  </a:cubicBezTo>
                  <a:cubicBezTo>
                    <a:pt x="1554" y="528"/>
                    <a:pt x="1554" y="528"/>
                    <a:pt x="1554" y="528"/>
                  </a:cubicBezTo>
                  <a:cubicBezTo>
                    <a:pt x="1555" y="528"/>
                    <a:pt x="1555" y="528"/>
                    <a:pt x="1555" y="528"/>
                  </a:cubicBezTo>
                  <a:cubicBezTo>
                    <a:pt x="1555" y="528"/>
                    <a:pt x="1555" y="528"/>
                    <a:pt x="1554" y="528"/>
                  </a:cubicBezTo>
                  <a:moveTo>
                    <a:pt x="1761" y="529"/>
                  </a:moveTo>
                  <a:cubicBezTo>
                    <a:pt x="1761" y="529"/>
                    <a:pt x="1760" y="529"/>
                    <a:pt x="1760" y="529"/>
                  </a:cubicBezTo>
                  <a:cubicBezTo>
                    <a:pt x="1760" y="529"/>
                    <a:pt x="1760" y="529"/>
                    <a:pt x="1760" y="530"/>
                  </a:cubicBezTo>
                  <a:cubicBezTo>
                    <a:pt x="1760" y="530"/>
                    <a:pt x="1760" y="530"/>
                    <a:pt x="1760" y="530"/>
                  </a:cubicBezTo>
                  <a:cubicBezTo>
                    <a:pt x="1761" y="530"/>
                    <a:pt x="1761" y="529"/>
                    <a:pt x="1761" y="529"/>
                  </a:cubicBezTo>
                  <a:moveTo>
                    <a:pt x="2009" y="530"/>
                  </a:moveTo>
                  <a:cubicBezTo>
                    <a:pt x="2006" y="532"/>
                    <a:pt x="2003" y="534"/>
                    <a:pt x="2000" y="536"/>
                  </a:cubicBezTo>
                  <a:cubicBezTo>
                    <a:pt x="2001" y="536"/>
                    <a:pt x="2002" y="535"/>
                    <a:pt x="2003" y="535"/>
                  </a:cubicBezTo>
                  <a:cubicBezTo>
                    <a:pt x="2004" y="534"/>
                    <a:pt x="2006" y="533"/>
                    <a:pt x="2008" y="531"/>
                  </a:cubicBezTo>
                  <a:cubicBezTo>
                    <a:pt x="2008" y="531"/>
                    <a:pt x="2009" y="530"/>
                    <a:pt x="2009" y="530"/>
                  </a:cubicBezTo>
                  <a:moveTo>
                    <a:pt x="1556" y="530"/>
                  </a:moveTo>
                  <a:cubicBezTo>
                    <a:pt x="1557" y="531"/>
                    <a:pt x="1558" y="531"/>
                    <a:pt x="1559" y="532"/>
                  </a:cubicBezTo>
                  <a:cubicBezTo>
                    <a:pt x="1558" y="532"/>
                    <a:pt x="1558" y="531"/>
                    <a:pt x="1557" y="530"/>
                  </a:cubicBezTo>
                  <a:cubicBezTo>
                    <a:pt x="1557" y="530"/>
                    <a:pt x="1557" y="530"/>
                    <a:pt x="1557" y="530"/>
                  </a:cubicBezTo>
                  <a:cubicBezTo>
                    <a:pt x="1557" y="530"/>
                    <a:pt x="1556" y="530"/>
                    <a:pt x="1556" y="530"/>
                  </a:cubicBezTo>
                  <a:moveTo>
                    <a:pt x="1759" y="530"/>
                  </a:moveTo>
                  <a:cubicBezTo>
                    <a:pt x="1758" y="531"/>
                    <a:pt x="1757" y="532"/>
                    <a:pt x="1757" y="533"/>
                  </a:cubicBezTo>
                  <a:cubicBezTo>
                    <a:pt x="1757" y="532"/>
                    <a:pt x="1758" y="532"/>
                    <a:pt x="1759" y="532"/>
                  </a:cubicBezTo>
                  <a:cubicBezTo>
                    <a:pt x="1759" y="532"/>
                    <a:pt x="1759" y="531"/>
                    <a:pt x="1760" y="531"/>
                  </a:cubicBezTo>
                  <a:cubicBezTo>
                    <a:pt x="1760" y="531"/>
                    <a:pt x="1759" y="530"/>
                    <a:pt x="1759" y="530"/>
                  </a:cubicBezTo>
                  <a:moveTo>
                    <a:pt x="1560" y="533"/>
                  </a:moveTo>
                  <a:cubicBezTo>
                    <a:pt x="1561" y="534"/>
                    <a:pt x="1561" y="534"/>
                    <a:pt x="1561" y="535"/>
                  </a:cubicBezTo>
                  <a:cubicBezTo>
                    <a:pt x="1563" y="537"/>
                    <a:pt x="1565" y="539"/>
                    <a:pt x="1567" y="541"/>
                  </a:cubicBezTo>
                  <a:cubicBezTo>
                    <a:pt x="1567" y="541"/>
                    <a:pt x="1567" y="541"/>
                    <a:pt x="1567" y="541"/>
                  </a:cubicBezTo>
                  <a:cubicBezTo>
                    <a:pt x="1565" y="538"/>
                    <a:pt x="1563" y="536"/>
                    <a:pt x="1560" y="533"/>
                  </a:cubicBezTo>
                  <a:moveTo>
                    <a:pt x="1757" y="534"/>
                  </a:moveTo>
                  <a:cubicBezTo>
                    <a:pt x="1756" y="534"/>
                    <a:pt x="1756" y="534"/>
                    <a:pt x="1756" y="534"/>
                  </a:cubicBezTo>
                  <a:cubicBezTo>
                    <a:pt x="1756" y="534"/>
                    <a:pt x="1757" y="534"/>
                    <a:pt x="1757" y="534"/>
                  </a:cubicBezTo>
                  <a:cubicBezTo>
                    <a:pt x="1757" y="534"/>
                    <a:pt x="1757" y="534"/>
                    <a:pt x="1757" y="534"/>
                  </a:cubicBezTo>
                  <a:moveTo>
                    <a:pt x="1755" y="536"/>
                  </a:moveTo>
                  <a:cubicBezTo>
                    <a:pt x="1755" y="536"/>
                    <a:pt x="1754" y="537"/>
                    <a:pt x="1754" y="537"/>
                  </a:cubicBezTo>
                  <a:cubicBezTo>
                    <a:pt x="1752" y="539"/>
                    <a:pt x="1750" y="542"/>
                    <a:pt x="1748" y="545"/>
                  </a:cubicBezTo>
                  <a:cubicBezTo>
                    <a:pt x="1749" y="545"/>
                    <a:pt x="1749" y="544"/>
                    <a:pt x="1750" y="544"/>
                  </a:cubicBezTo>
                  <a:cubicBezTo>
                    <a:pt x="1751" y="541"/>
                    <a:pt x="1753" y="539"/>
                    <a:pt x="1755" y="536"/>
                  </a:cubicBezTo>
                  <a:moveTo>
                    <a:pt x="2001" y="537"/>
                  </a:moveTo>
                  <a:cubicBezTo>
                    <a:pt x="2000" y="537"/>
                    <a:pt x="1999" y="537"/>
                    <a:pt x="1999" y="537"/>
                  </a:cubicBezTo>
                  <a:cubicBezTo>
                    <a:pt x="1997" y="538"/>
                    <a:pt x="1995" y="539"/>
                    <a:pt x="1994" y="541"/>
                  </a:cubicBezTo>
                  <a:cubicBezTo>
                    <a:pt x="1993" y="542"/>
                    <a:pt x="1992" y="542"/>
                    <a:pt x="1992" y="543"/>
                  </a:cubicBezTo>
                  <a:cubicBezTo>
                    <a:pt x="1995" y="541"/>
                    <a:pt x="1998" y="539"/>
                    <a:pt x="2001" y="537"/>
                  </a:cubicBezTo>
                  <a:moveTo>
                    <a:pt x="1568" y="541"/>
                  </a:moveTo>
                  <a:cubicBezTo>
                    <a:pt x="1568" y="541"/>
                    <a:pt x="1568" y="541"/>
                    <a:pt x="1568" y="541"/>
                  </a:cubicBezTo>
                  <a:cubicBezTo>
                    <a:pt x="1568" y="542"/>
                    <a:pt x="1569" y="542"/>
                    <a:pt x="1569" y="543"/>
                  </a:cubicBezTo>
                  <a:cubicBezTo>
                    <a:pt x="1569" y="542"/>
                    <a:pt x="1568" y="542"/>
                    <a:pt x="1568" y="541"/>
                  </a:cubicBezTo>
                  <a:moveTo>
                    <a:pt x="1991" y="543"/>
                  </a:moveTo>
                  <a:cubicBezTo>
                    <a:pt x="1988" y="545"/>
                    <a:pt x="1984" y="548"/>
                    <a:pt x="1981" y="551"/>
                  </a:cubicBezTo>
                  <a:cubicBezTo>
                    <a:pt x="1979" y="553"/>
                    <a:pt x="1977" y="555"/>
                    <a:pt x="1976" y="556"/>
                  </a:cubicBezTo>
                  <a:cubicBezTo>
                    <a:pt x="1980" y="553"/>
                    <a:pt x="1985" y="549"/>
                    <a:pt x="1989" y="545"/>
                  </a:cubicBezTo>
                  <a:cubicBezTo>
                    <a:pt x="1990" y="544"/>
                    <a:pt x="1991" y="543"/>
                    <a:pt x="1991" y="543"/>
                  </a:cubicBezTo>
                  <a:moveTo>
                    <a:pt x="1749" y="546"/>
                  </a:moveTo>
                  <a:cubicBezTo>
                    <a:pt x="1748" y="546"/>
                    <a:pt x="1748" y="547"/>
                    <a:pt x="1747" y="547"/>
                  </a:cubicBezTo>
                  <a:cubicBezTo>
                    <a:pt x="1746" y="548"/>
                    <a:pt x="1746" y="549"/>
                    <a:pt x="1745" y="550"/>
                  </a:cubicBezTo>
                  <a:cubicBezTo>
                    <a:pt x="1746" y="550"/>
                    <a:pt x="1746" y="550"/>
                    <a:pt x="1747" y="549"/>
                  </a:cubicBezTo>
                  <a:cubicBezTo>
                    <a:pt x="1747" y="548"/>
                    <a:pt x="1748" y="547"/>
                    <a:pt x="1749" y="546"/>
                  </a:cubicBezTo>
                  <a:moveTo>
                    <a:pt x="1576" y="548"/>
                  </a:moveTo>
                  <a:cubicBezTo>
                    <a:pt x="1576" y="548"/>
                    <a:pt x="1577" y="549"/>
                    <a:pt x="1577" y="550"/>
                  </a:cubicBezTo>
                  <a:cubicBezTo>
                    <a:pt x="1581" y="554"/>
                    <a:pt x="1585" y="558"/>
                    <a:pt x="1589" y="562"/>
                  </a:cubicBezTo>
                  <a:cubicBezTo>
                    <a:pt x="1589" y="562"/>
                    <a:pt x="1589" y="562"/>
                    <a:pt x="1590" y="562"/>
                  </a:cubicBezTo>
                  <a:cubicBezTo>
                    <a:pt x="1585" y="557"/>
                    <a:pt x="1580" y="553"/>
                    <a:pt x="1576" y="548"/>
                  </a:cubicBezTo>
                  <a:moveTo>
                    <a:pt x="1746" y="551"/>
                  </a:moveTo>
                  <a:cubicBezTo>
                    <a:pt x="1746" y="551"/>
                    <a:pt x="1745" y="551"/>
                    <a:pt x="1745" y="552"/>
                  </a:cubicBezTo>
                  <a:cubicBezTo>
                    <a:pt x="1745" y="552"/>
                    <a:pt x="1745" y="552"/>
                    <a:pt x="1745" y="552"/>
                  </a:cubicBezTo>
                  <a:cubicBezTo>
                    <a:pt x="1745" y="552"/>
                    <a:pt x="1745" y="552"/>
                    <a:pt x="1745" y="551"/>
                  </a:cubicBezTo>
                  <a:cubicBezTo>
                    <a:pt x="1745" y="551"/>
                    <a:pt x="1746" y="551"/>
                    <a:pt x="1746" y="551"/>
                  </a:cubicBezTo>
                  <a:cubicBezTo>
                    <a:pt x="1746" y="551"/>
                    <a:pt x="1746" y="551"/>
                    <a:pt x="1746" y="551"/>
                  </a:cubicBezTo>
                  <a:moveTo>
                    <a:pt x="1745" y="552"/>
                  </a:moveTo>
                  <a:cubicBezTo>
                    <a:pt x="1745" y="552"/>
                    <a:pt x="1745" y="552"/>
                    <a:pt x="1745" y="552"/>
                  </a:cubicBezTo>
                  <a:cubicBezTo>
                    <a:pt x="1745" y="553"/>
                    <a:pt x="1744" y="553"/>
                    <a:pt x="1744" y="553"/>
                  </a:cubicBezTo>
                  <a:cubicBezTo>
                    <a:pt x="1744" y="553"/>
                    <a:pt x="1744" y="554"/>
                    <a:pt x="1744" y="554"/>
                  </a:cubicBezTo>
                  <a:cubicBezTo>
                    <a:pt x="1744" y="554"/>
                    <a:pt x="1745" y="553"/>
                    <a:pt x="1745" y="553"/>
                  </a:cubicBezTo>
                  <a:cubicBezTo>
                    <a:pt x="1745" y="553"/>
                    <a:pt x="1745" y="553"/>
                    <a:pt x="1745" y="552"/>
                  </a:cubicBezTo>
                  <a:moveTo>
                    <a:pt x="1744" y="555"/>
                  </a:moveTo>
                  <a:cubicBezTo>
                    <a:pt x="1744" y="555"/>
                    <a:pt x="1744" y="555"/>
                    <a:pt x="1743" y="555"/>
                  </a:cubicBezTo>
                  <a:cubicBezTo>
                    <a:pt x="1743" y="555"/>
                    <a:pt x="1743" y="556"/>
                    <a:pt x="1743" y="556"/>
                  </a:cubicBezTo>
                  <a:cubicBezTo>
                    <a:pt x="1743" y="556"/>
                    <a:pt x="1744" y="556"/>
                    <a:pt x="1744" y="556"/>
                  </a:cubicBezTo>
                  <a:cubicBezTo>
                    <a:pt x="1744" y="555"/>
                    <a:pt x="1744" y="555"/>
                    <a:pt x="1744" y="555"/>
                  </a:cubicBezTo>
                  <a:moveTo>
                    <a:pt x="1975" y="556"/>
                  </a:moveTo>
                  <a:cubicBezTo>
                    <a:pt x="1969" y="561"/>
                    <a:pt x="1964" y="566"/>
                    <a:pt x="1959" y="571"/>
                  </a:cubicBezTo>
                  <a:cubicBezTo>
                    <a:pt x="1959" y="571"/>
                    <a:pt x="1960" y="571"/>
                    <a:pt x="1961" y="571"/>
                  </a:cubicBezTo>
                  <a:cubicBezTo>
                    <a:pt x="1964" y="567"/>
                    <a:pt x="1968" y="564"/>
                    <a:pt x="1971" y="560"/>
                  </a:cubicBezTo>
                  <a:cubicBezTo>
                    <a:pt x="1973" y="559"/>
                    <a:pt x="1974" y="557"/>
                    <a:pt x="1975" y="556"/>
                  </a:cubicBezTo>
                  <a:moveTo>
                    <a:pt x="1743" y="557"/>
                  </a:moveTo>
                  <a:cubicBezTo>
                    <a:pt x="1742" y="559"/>
                    <a:pt x="1741" y="561"/>
                    <a:pt x="1740" y="564"/>
                  </a:cubicBezTo>
                  <a:cubicBezTo>
                    <a:pt x="1740" y="564"/>
                    <a:pt x="1741" y="563"/>
                    <a:pt x="1741" y="563"/>
                  </a:cubicBezTo>
                  <a:cubicBezTo>
                    <a:pt x="1742" y="561"/>
                    <a:pt x="1743" y="559"/>
                    <a:pt x="1744" y="557"/>
                  </a:cubicBezTo>
                  <a:cubicBezTo>
                    <a:pt x="1743" y="557"/>
                    <a:pt x="1743" y="557"/>
                    <a:pt x="1743" y="557"/>
                  </a:cubicBezTo>
                  <a:moveTo>
                    <a:pt x="1591" y="562"/>
                  </a:moveTo>
                  <a:cubicBezTo>
                    <a:pt x="1590" y="562"/>
                    <a:pt x="1590" y="563"/>
                    <a:pt x="1590" y="563"/>
                  </a:cubicBezTo>
                  <a:cubicBezTo>
                    <a:pt x="1590" y="563"/>
                    <a:pt x="1590" y="563"/>
                    <a:pt x="1590" y="564"/>
                  </a:cubicBezTo>
                  <a:cubicBezTo>
                    <a:pt x="1591" y="565"/>
                    <a:pt x="1592" y="565"/>
                    <a:pt x="1593" y="566"/>
                  </a:cubicBezTo>
                  <a:cubicBezTo>
                    <a:pt x="1594" y="566"/>
                    <a:pt x="1594" y="566"/>
                    <a:pt x="1594" y="566"/>
                  </a:cubicBezTo>
                  <a:cubicBezTo>
                    <a:pt x="1593" y="565"/>
                    <a:pt x="1592" y="564"/>
                    <a:pt x="1591" y="562"/>
                  </a:cubicBezTo>
                  <a:moveTo>
                    <a:pt x="1741" y="564"/>
                  </a:moveTo>
                  <a:cubicBezTo>
                    <a:pt x="1740" y="565"/>
                    <a:pt x="1740" y="565"/>
                    <a:pt x="1740" y="565"/>
                  </a:cubicBezTo>
                  <a:cubicBezTo>
                    <a:pt x="1739" y="565"/>
                    <a:pt x="1739" y="566"/>
                    <a:pt x="1739" y="566"/>
                  </a:cubicBezTo>
                  <a:cubicBezTo>
                    <a:pt x="1739" y="566"/>
                    <a:pt x="1740" y="566"/>
                    <a:pt x="1740" y="566"/>
                  </a:cubicBezTo>
                  <a:cubicBezTo>
                    <a:pt x="1740" y="566"/>
                    <a:pt x="1741" y="565"/>
                    <a:pt x="1741" y="564"/>
                  </a:cubicBezTo>
                  <a:moveTo>
                    <a:pt x="1595" y="567"/>
                  </a:moveTo>
                  <a:cubicBezTo>
                    <a:pt x="1595" y="567"/>
                    <a:pt x="1594" y="567"/>
                    <a:pt x="1594" y="567"/>
                  </a:cubicBezTo>
                  <a:cubicBezTo>
                    <a:pt x="1595" y="568"/>
                    <a:pt x="1596" y="569"/>
                    <a:pt x="1598" y="571"/>
                  </a:cubicBezTo>
                  <a:cubicBezTo>
                    <a:pt x="1598" y="571"/>
                    <a:pt x="1598" y="571"/>
                    <a:pt x="1598" y="571"/>
                  </a:cubicBezTo>
                  <a:cubicBezTo>
                    <a:pt x="1598" y="571"/>
                    <a:pt x="1599" y="571"/>
                    <a:pt x="1599" y="571"/>
                  </a:cubicBezTo>
                  <a:cubicBezTo>
                    <a:pt x="1598" y="570"/>
                    <a:pt x="1597" y="568"/>
                    <a:pt x="1595" y="567"/>
                  </a:cubicBezTo>
                  <a:moveTo>
                    <a:pt x="1740" y="567"/>
                  </a:moveTo>
                  <a:cubicBezTo>
                    <a:pt x="1740" y="567"/>
                    <a:pt x="1740" y="567"/>
                    <a:pt x="1740" y="567"/>
                  </a:cubicBezTo>
                  <a:cubicBezTo>
                    <a:pt x="1740" y="567"/>
                    <a:pt x="1740" y="568"/>
                    <a:pt x="1740" y="568"/>
                  </a:cubicBezTo>
                  <a:cubicBezTo>
                    <a:pt x="1740" y="567"/>
                    <a:pt x="1740" y="567"/>
                    <a:pt x="1740" y="567"/>
                  </a:cubicBezTo>
                  <a:moveTo>
                    <a:pt x="1739" y="568"/>
                  </a:moveTo>
                  <a:cubicBezTo>
                    <a:pt x="1738" y="570"/>
                    <a:pt x="1738" y="572"/>
                    <a:pt x="1737" y="574"/>
                  </a:cubicBezTo>
                  <a:cubicBezTo>
                    <a:pt x="1738" y="573"/>
                    <a:pt x="1738" y="573"/>
                    <a:pt x="1738" y="573"/>
                  </a:cubicBezTo>
                  <a:cubicBezTo>
                    <a:pt x="1739" y="572"/>
                    <a:pt x="1739" y="570"/>
                    <a:pt x="1740" y="569"/>
                  </a:cubicBezTo>
                  <a:cubicBezTo>
                    <a:pt x="1739" y="568"/>
                    <a:pt x="1739" y="568"/>
                    <a:pt x="1739" y="568"/>
                  </a:cubicBezTo>
                  <a:moveTo>
                    <a:pt x="1959" y="572"/>
                  </a:moveTo>
                  <a:cubicBezTo>
                    <a:pt x="1959" y="572"/>
                    <a:pt x="1958" y="572"/>
                    <a:pt x="1958" y="572"/>
                  </a:cubicBezTo>
                  <a:cubicBezTo>
                    <a:pt x="1948" y="582"/>
                    <a:pt x="1941" y="592"/>
                    <a:pt x="1935" y="602"/>
                  </a:cubicBezTo>
                  <a:cubicBezTo>
                    <a:pt x="1935" y="602"/>
                    <a:pt x="1935" y="603"/>
                    <a:pt x="1935" y="603"/>
                  </a:cubicBezTo>
                  <a:cubicBezTo>
                    <a:pt x="1942" y="592"/>
                    <a:pt x="1950" y="582"/>
                    <a:pt x="1959" y="572"/>
                  </a:cubicBezTo>
                  <a:moveTo>
                    <a:pt x="1600" y="572"/>
                  </a:moveTo>
                  <a:cubicBezTo>
                    <a:pt x="1601" y="573"/>
                    <a:pt x="1601" y="573"/>
                    <a:pt x="1602" y="573"/>
                  </a:cubicBezTo>
                  <a:cubicBezTo>
                    <a:pt x="1601" y="573"/>
                    <a:pt x="1601" y="573"/>
                    <a:pt x="1601" y="572"/>
                  </a:cubicBezTo>
                  <a:cubicBezTo>
                    <a:pt x="1601" y="572"/>
                    <a:pt x="1600" y="572"/>
                    <a:pt x="1600" y="572"/>
                  </a:cubicBezTo>
                  <a:moveTo>
                    <a:pt x="1601" y="574"/>
                  </a:moveTo>
                  <a:cubicBezTo>
                    <a:pt x="1602" y="575"/>
                    <a:pt x="1603" y="576"/>
                    <a:pt x="1604" y="576"/>
                  </a:cubicBezTo>
                  <a:cubicBezTo>
                    <a:pt x="1604" y="576"/>
                    <a:pt x="1604" y="576"/>
                    <a:pt x="1604" y="576"/>
                  </a:cubicBezTo>
                  <a:cubicBezTo>
                    <a:pt x="1603" y="576"/>
                    <a:pt x="1602" y="575"/>
                    <a:pt x="1601" y="574"/>
                  </a:cubicBezTo>
                  <a:moveTo>
                    <a:pt x="1738" y="574"/>
                  </a:moveTo>
                  <a:cubicBezTo>
                    <a:pt x="1738" y="575"/>
                    <a:pt x="1737" y="575"/>
                    <a:pt x="1737" y="575"/>
                  </a:cubicBezTo>
                  <a:cubicBezTo>
                    <a:pt x="1737" y="577"/>
                    <a:pt x="1736" y="579"/>
                    <a:pt x="1736" y="580"/>
                  </a:cubicBezTo>
                  <a:cubicBezTo>
                    <a:pt x="1736" y="580"/>
                    <a:pt x="1737" y="580"/>
                    <a:pt x="1737" y="580"/>
                  </a:cubicBezTo>
                  <a:cubicBezTo>
                    <a:pt x="1737" y="578"/>
                    <a:pt x="1738" y="576"/>
                    <a:pt x="1738" y="574"/>
                  </a:cubicBezTo>
                  <a:moveTo>
                    <a:pt x="1605" y="577"/>
                  </a:moveTo>
                  <a:cubicBezTo>
                    <a:pt x="1605" y="577"/>
                    <a:pt x="1605" y="577"/>
                    <a:pt x="1604" y="577"/>
                  </a:cubicBezTo>
                  <a:cubicBezTo>
                    <a:pt x="1605" y="578"/>
                    <a:pt x="1605" y="578"/>
                    <a:pt x="1606" y="578"/>
                  </a:cubicBezTo>
                  <a:cubicBezTo>
                    <a:pt x="1607" y="579"/>
                    <a:pt x="1608" y="579"/>
                    <a:pt x="1609" y="580"/>
                  </a:cubicBezTo>
                  <a:cubicBezTo>
                    <a:pt x="1608" y="579"/>
                    <a:pt x="1607" y="578"/>
                    <a:pt x="1606" y="578"/>
                  </a:cubicBezTo>
                  <a:cubicBezTo>
                    <a:pt x="1606" y="577"/>
                    <a:pt x="1606" y="577"/>
                    <a:pt x="1605" y="577"/>
                  </a:cubicBezTo>
                  <a:moveTo>
                    <a:pt x="1608" y="581"/>
                  </a:moveTo>
                  <a:cubicBezTo>
                    <a:pt x="1609" y="582"/>
                    <a:pt x="1610" y="583"/>
                    <a:pt x="1611" y="584"/>
                  </a:cubicBezTo>
                  <a:cubicBezTo>
                    <a:pt x="1612" y="584"/>
                    <a:pt x="1612" y="584"/>
                    <a:pt x="1612" y="583"/>
                  </a:cubicBezTo>
                  <a:cubicBezTo>
                    <a:pt x="1612" y="583"/>
                    <a:pt x="1611" y="583"/>
                    <a:pt x="1611" y="582"/>
                  </a:cubicBezTo>
                  <a:cubicBezTo>
                    <a:pt x="1610" y="582"/>
                    <a:pt x="1609" y="581"/>
                    <a:pt x="1608" y="581"/>
                  </a:cubicBezTo>
                  <a:moveTo>
                    <a:pt x="1737" y="581"/>
                  </a:moveTo>
                  <a:cubicBezTo>
                    <a:pt x="1736" y="581"/>
                    <a:pt x="1736" y="581"/>
                    <a:pt x="1736" y="582"/>
                  </a:cubicBezTo>
                  <a:cubicBezTo>
                    <a:pt x="1736" y="582"/>
                    <a:pt x="1736" y="582"/>
                    <a:pt x="1736" y="582"/>
                  </a:cubicBezTo>
                  <a:cubicBezTo>
                    <a:pt x="1736" y="582"/>
                    <a:pt x="1736" y="582"/>
                    <a:pt x="1737" y="582"/>
                  </a:cubicBezTo>
                  <a:cubicBezTo>
                    <a:pt x="1737" y="582"/>
                    <a:pt x="1737" y="581"/>
                    <a:pt x="1737" y="581"/>
                  </a:cubicBezTo>
                  <a:moveTo>
                    <a:pt x="1736" y="583"/>
                  </a:moveTo>
                  <a:cubicBezTo>
                    <a:pt x="1736" y="583"/>
                    <a:pt x="1736" y="583"/>
                    <a:pt x="1735" y="583"/>
                  </a:cubicBezTo>
                  <a:cubicBezTo>
                    <a:pt x="1735" y="584"/>
                    <a:pt x="1735" y="585"/>
                    <a:pt x="1735" y="587"/>
                  </a:cubicBezTo>
                  <a:cubicBezTo>
                    <a:pt x="1735" y="587"/>
                    <a:pt x="1736" y="587"/>
                    <a:pt x="1736" y="587"/>
                  </a:cubicBezTo>
                  <a:cubicBezTo>
                    <a:pt x="1736" y="585"/>
                    <a:pt x="1736" y="584"/>
                    <a:pt x="1736" y="583"/>
                  </a:cubicBezTo>
                  <a:moveTo>
                    <a:pt x="1613" y="584"/>
                  </a:moveTo>
                  <a:cubicBezTo>
                    <a:pt x="1613" y="584"/>
                    <a:pt x="1612" y="584"/>
                    <a:pt x="1612" y="585"/>
                  </a:cubicBezTo>
                  <a:cubicBezTo>
                    <a:pt x="1614" y="586"/>
                    <a:pt x="1616" y="588"/>
                    <a:pt x="1617" y="590"/>
                  </a:cubicBezTo>
                  <a:cubicBezTo>
                    <a:pt x="1618" y="589"/>
                    <a:pt x="1618" y="589"/>
                    <a:pt x="1618" y="589"/>
                  </a:cubicBezTo>
                  <a:cubicBezTo>
                    <a:pt x="1617" y="588"/>
                    <a:pt x="1615" y="586"/>
                    <a:pt x="1613" y="584"/>
                  </a:cubicBezTo>
                  <a:moveTo>
                    <a:pt x="1735" y="588"/>
                  </a:moveTo>
                  <a:cubicBezTo>
                    <a:pt x="1735" y="588"/>
                    <a:pt x="1735" y="588"/>
                    <a:pt x="1735" y="588"/>
                  </a:cubicBezTo>
                  <a:cubicBezTo>
                    <a:pt x="1735" y="588"/>
                    <a:pt x="1735" y="588"/>
                    <a:pt x="1736" y="588"/>
                  </a:cubicBezTo>
                  <a:cubicBezTo>
                    <a:pt x="1736" y="588"/>
                    <a:pt x="1736" y="588"/>
                    <a:pt x="1736" y="588"/>
                  </a:cubicBezTo>
                  <a:cubicBezTo>
                    <a:pt x="1735" y="588"/>
                    <a:pt x="1735" y="588"/>
                    <a:pt x="1735" y="588"/>
                  </a:cubicBezTo>
                  <a:moveTo>
                    <a:pt x="1736" y="589"/>
                  </a:moveTo>
                  <a:cubicBezTo>
                    <a:pt x="1735" y="589"/>
                    <a:pt x="1735" y="589"/>
                    <a:pt x="1735" y="589"/>
                  </a:cubicBezTo>
                  <a:cubicBezTo>
                    <a:pt x="1734" y="591"/>
                    <a:pt x="1734" y="592"/>
                    <a:pt x="1734" y="593"/>
                  </a:cubicBezTo>
                  <a:cubicBezTo>
                    <a:pt x="1734" y="593"/>
                    <a:pt x="1735" y="593"/>
                    <a:pt x="1735" y="593"/>
                  </a:cubicBezTo>
                  <a:cubicBezTo>
                    <a:pt x="1735" y="592"/>
                    <a:pt x="1735" y="590"/>
                    <a:pt x="1736" y="589"/>
                  </a:cubicBezTo>
                  <a:moveTo>
                    <a:pt x="1620" y="591"/>
                  </a:moveTo>
                  <a:cubicBezTo>
                    <a:pt x="1619" y="591"/>
                    <a:pt x="1619" y="591"/>
                    <a:pt x="1619" y="591"/>
                  </a:cubicBezTo>
                  <a:cubicBezTo>
                    <a:pt x="1619" y="591"/>
                    <a:pt x="1619" y="591"/>
                    <a:pt x="1620" y="592"/>
                  </a:cubicBezTo>
                  <a:cubicBezTo>
                    <a:pt x="1620" y="592"/>
                    <a:pt x="1620" y="591"/>
                    <a:pt x="1620" y="591"/>
                  </a:cubicBezTo>
                  <a:cubicBezTo>
                    <a:pt x="1620" y="591"/>
                    <a:pt x="1620" y="591"/>
                    <a:pt x="1620" y="591"/>
                  </a:cubicBezTo>
                  <a:moveTo>
                    <a:pt x="1621" y="592"/>
                  </a:moveTo>
                  <a:cubicBezTo>
                    <a:pt x="1621" y="592"/>
                    <a:pt x="1621" y="592"/>
                    <a:pt x="1620" y="592"/>
                  </a:cubicBezTo>
                  <a:cubicBezTo>
                    <a:pt x="1621" y="593"/>
                    <a:pt x="1621" y="593"/>
                    <a:pt x="1621" y="593"/>
                  </a:cubicBezTo>
                  <a:cubicBezTo>
                    <a:pt x="1622" y="594"/>
                    <a:pt x="1623" y="594"/>
                    <a:pt x="1624" y="595"/>
                  </a:cubicBezTo>
                  <a:cubicBezTo>
                    <a:pt x="1623" y="594"/>
                    <a:pt x="1622" y="593"/>
                    <a:pt x="1621" y="592"/>
                  </a:cubicBezTo>
                  <a:moveTo>
                    <a:pt x="1735" y="595"/>
                  </a:moveTo>
                  <a:cubicBezTo>
                    <a:pt x="1735" y="595"/>
                    <a:pt x="1734" y="595"/>
                    <a:pt x="1734" y="595"/>
                  </a:cubicBezTo>
                  <a:cubicBezTo>
                    <a:pt x="1734" y="595"/>
                    <a:pt x="1734" y="596"/>
                    <a:pt x="1734" y="597"/>
                  </a:cubicBezTo>
                  <a:cubicBezTo>
                    <a:pt x="1734" y="597"/>
                    <a:pt x="1735" y="596"/>
                    <a:pt x="1735" y="596"/>
                  </a:cubicBezTo>
                  <a:cubicBezTo>
                    <a:pt x="1735" y="596"/>
                    <a:pt x="1735" y="595"/>
                    <a:pt x="1735" y="595"/>
                  </a:cubicBezTo>
                  <a:moveTo>
                    <a:pt x="1623" y="595"/>
                  </a:moveTo>
                  <a:cubicBezTo>
                    <a:pt x="1625" y="597"/>
                    <a:pt x="1626" y="598"/>
                    <a:pt x="1628" y="600"/>
                  </a:cubicBezTo>
                  <a:cubicBezTo>
                    <a:pt x="1628" y="600"/>
                    <a:pt x="1629" y="600"/>
                    <a:pt x="1629" y="599"/>
                  </a:cubicBezTo>
                  <a:cubicBezTo>
                    <a:pt x="1628" y="598"/>
                    <a:pt x="1627" y="598"/>
                    <a:pt x="1626" y="597"/>
                  </a:cubicBezTo>
                  <a:cubicBezTo>
                    <a:pt x="1625" y="596"/>
                    <a:pt x="1624" y="596"/>
                    <a:pt x="1623" y="595"/>
                  </a:cubicBezTo>
                  <a:moveTo>
                    <a:pt x="1735" y="597"/>
                  </a:moveTo>
                  <a:cubicBezTo>
                    <a:pt x="1734" y="598"/>
                    <a:pt x="1734" y="598"/>
                    <a:pt x="1734" y="598"/>
                  </a:cubicBezTo>
                  <a:cubicBezTo>
                    <a:pt x="1733" y="604"/>
                    <a:pt x="1733" y="610"/>
                    <a:pt x="1733" y="615"/>
                  </a:cubicBezTo>
                  <a:cubicBezTo>
                    <a:pt x="1733" y="616"/>
                    <a:pt x="1733" y="617"/>
                    <a:pt x="1733" y="618"/>
                  </a:cubicBezTo>
                  <a:cubicBezTo>
                    <a:pt x="1734" y="618"/>
                    <a:pt x="1734" y="618"/>
                    <a:pt x="1734" y="618"/>
                  </a:cubicBezTo>
                  <a:cubicBezTo>
                    <a:pt x="1734" y="617"/>
                    <a:pt x="1734" y="616"/>
                    <a:pt x="1734" y="615"/>
                  </a:cubicBezTo>
                  <a:cubicBezTo>
                    <a:pt x="1734" y="609"/>
                    <a:pt x="1734" y="603"/>
                    <a:pt x="1735" y="597"/>
                  </a:cubicBezTo>
                  <a:moveTo>
                    <a:pt x="1630" y="600"/>
                  </a:moveTo>
                  <a:cubicBezTo>
                    <a:pt x="1629" y="600"/>
                    <a:pt x="1629" y="600"/>
                    <a:pt x="1629" y="601"/>
                  </a:cubicBezTo>
                  <a:cubicBezTo>
                    <a:pt x="1629" y="601"/>
                    <a:pt x="1630" y="601"/>
                    <a:pt x="1630" y="602"/>
                  </a:cubicBezTo>
                  <a:cubicBezTo>
                    <a:pt x="1630" y="602"/>
                    <a:pt x="1630" y="602"/>
                    <a:pt x="1630" y="602"/>
                  </a:cubicBezTo>
                  <a:cubicBezTo>
                    <a:pt x="1630" y="601"/>
                    <a:pt x="1630" y="601"/>
                    <a:pt x="1630" y="600"/>
                  </a:cubicBezTo>
                  <a:cubicBezTo>
                    <a:pt x="1630" y="600"/>
                    <a:pt x="1630" y="600"/>
                    <a:pt x="1630" y="600"/>
                  </a:cubicBezTo>
                  <a:moveTo>
                    <a:pt x="1632" y="602"/>
                  </a:moveTo>
                  <a:cubicBezTo>
                    <a:pt x="1632" y="602"/>
                    <a:pt x="1632" y="602"/>
                    <a:pt x="1632" y="602"/>
                  </a:cubicBezTo>
                  <a:cubicBezTo>
                    <a:pt x="1632" y="603"/>
                    <a:pt x="1632" y="603"/>
                    <a:pt x="1632" y="603"/>
                  </a:cubicBezTo>
                  <a:cubicBezTo>
                    <a:pt x="1632" y="604"/>
                    <a:pt x="1632" y="604"/>
                    <a:pt x="1633" y="604"/>
                  </a:cubicBezTo>
                  <a:cubicBezTo>
                    <a:pt x="1633" y="604"/>
                    <a:pt x="1633" y="604"/>
                    <a:pt x="1634" y="605"/>
                  </a:cubicBezTo>
                  <a:cubicBezTo>
                    <a:pt x="1634" y="605"/>
                    <a:pt x="1634" y="605"/>
                    <a:pt x="1635" y="605"/>
                  </a:cubicBezTo>
                  <a:cubicBezTo>
                    <a:pt x="1634" y="604"/>
                    <a:pt x="1633" y="603"/>
                    <a:pt x="1632" y="602"/>
                  </a:cubicBezTo>
                  <a:moveTo>
                    <a:pt x="1934" y="603"/>
                  </a:moveTo>
                  <a:cubicBezTo>
                    <a:pt x="1933" y="605"/>
                    <a:pt x="1932" y="607"/>
                    <a:pt x="1931" y="609"/>
                  </a:cubicBezTo>
                  <a:cubicBezTo>
                    <a:pt x="1931" y="609"/>
                    <a:pt x="1932" y="609"/>
                    <a:pt x="1932" y="609"/>
                  </a:cubicBezTo>
                  <a:cubicBezTo>
                    <a:pt x="1933" y="607"/>
                    <a:pt x="1934" y="605"/>
                    <a:pt x="1935" y="604"/>
                  </a:cubicBezTo>
                  <a:cubicBezTo>
                    <a:pt x="1935" y="603"/>
                    <a:pt x="1934" y="603"/>
                    <a:pt x="1934" y="603"/>
                  </a:cubicBezTo>
                  <a:moveTo>
                    <a:pt x="1636" y="607"/>
                  </a:moveTo>
                  <a:cubicBezTo>
                    <a:pt x="1636" y="607"/>
                    <a:pt x="1636" y="607"/>
                    <a:pt x="1635" y="607"/>
                  </a:cubicBezTo>
                  <a:cubicBezTo>
                    <a:pt x="1635" y="607"/>
                    <a:pt x="1635" y="607"/>
                    <a:pt x="1635" y="607"/>
                  </a:cubicBezTo>
                  <a:cubicBezTo>
                    <a:pt x="1636" y="607"/>
                    <a:pt x="1636" y="607"/>
                    <a:pt x="1636" y="607"/>
                  </a:cubicBezTo>
                  <a:moveTo>
                    <a:pt x="1637" y="607"/>
                  </a:moveTo>
                  <a:cubicBezTo>
                    <a:pt x="1637" y="607"/>
                    <a:pt x="1637" y="607"/>
                    <a:pt x="1636" y="608"/>
                  </a:cubicBezTo>
                  <a:cubicBezTo>
                    <a:pt x="1637" y="608"/>
                    <a:pt x="1637" y="608"/>
                    <a:pt x="1638" y="609"/>
                  </a:cubicBezTo>
                  <a:cubicBezTo>
                    <a:pt x="1638" y="609"/>
                    <a:pt x="1639" y="609"/>
                    <a:pt x="1639" y="609"/>
                  </a:cubicBezTo>
                  <a:cubicBezTo>
                    <a:pt x="1639" y="608"/>
                    <a:pt x="1638" y="608"/>
                    <a:pt x="1637" y="607"/>
                  </a:cubicBezTo>
                  <a:cubicBezTo>
                    <a:pt x="1637" y="607"/>
                    <a:pt x="1637" y="607"/>
                    <a:pt x="1637" y="607"/>
                  </a:cubicBezTo>
                  <a:moveTo>
                    <a:pt x="1931" y="610"/>
                  </a:moveTo>
                  <a:cubicBezTo>
                    <a:pt x="1931" y="610"/>
                    <a:pt x="1931" y="610"/>
                    <a:pt x="1930" y="610"/>
                  </a:cubicBezTo>
                  <a:cubicBezTo>
                    <a:pt x="1926" y="618"/>
                    <a:pt x="1923" y="627"/>
                    <a:pt x="1921" y="635"/>
                  </a:cubicBezTo>
                  <a:cubicBezTo>
                    <a:pt x="1921" y="635"/>
                    <a:pt x="1921" y="635"/>
                    <a:pt x="1922" y="635"/>
                  </a:cubicBezTo>
                  <a:cubicBezTo>
                    <a:pt x="1924" y="626"/>
                    <a:pt x="1927" y="618"/>
                    <a:pt x="1931" y="610"/>
                  </a:cubicBezTo>
                  <a:moveTo>
                    <a:pt x="1639" y="610"/>
                  </a:moveTo>
                  <a:cubicBezTo>
                    <a:pt x="1639" y="610"/>
                    <a:pt x="1640" y="611"/>
                    <a:pt x="1640" y="611"/>
                  </a:cubicBezTo>
                  <a:cubicBezTo>
                    <a:pt x="1640" y="611"/>
                    <a:pt x="1641" y="611"/>
                    <a:pt x="1641" y="611"/>
                  </a:cubicBezTo>
                  <a:cubicBezTo>
                    <a:pt x="1641" y="611"/>
                    <a:pt x="1641" y="610"/>
                    <a:pt x="1641" y="610"/>
                  </a:cubicBezTo>
                  <a:cubicBezTo>
                    <a:pt x="1640" y="610"/>
                    <a:pt x="1639" y="610"/>
                    <a:pt x="1639" y="610"/>
                  </a:cubicBezTo>
                  <a:moveTo>
                    <a:pt x="1642" y="611"/>
                  </a:moveTo>
                  <a:cubicBezTo>
                    <a:pt x="1642" y="612"/>
                    <a:pt x="1641" y="612"/>
                    <a:pt x="1641" y="612"/>
                  </a:cubicBezTo>
                  <a:cubicBezTo>
                    <a:pt x="1642" y="612"/>
                    <a:pt x="1642" y="612"/>
                    <a:pt x="1643" y="612"/>
                  </a:cubicBezTo>
                  <a:cubicBezTo>
                    <a:pt x="1643" y="612"/>
                    <a:pt x="1643" y="612"/>
                    <a:pt x="1643" y="612"/>
                  </a:cubicBezTo>
                  <a:cubicBezTo>
                    <a:pt x="1643" y="612"/>
                    <a:pt x="1642" y="612"/>
                    <a:pt x="1642" y="611"/>
                  </a:cubicBezTo>
                  <a:moveTo>
                    <a:pt x="1644" y="614"/>
                  </a:moveTo>
                  <a:cubicBezTo>
                    <a:pt x="1643" y="614"/>
                    <a:pt x="1643" y="614"/>
                    <a:pt x="1643" y="614"/>
                  </a:cubicBezTo>
                  <a:cubicBezTo>
                    <a:pt x="1644" y="614"/>
                    <a:pt x="1644" y="615"/>
                    <a:pt x="1644" y="615"/>
                  </a:cubicBezTo>
                  <a:cubicBezTo>
                    <a:pt x="1645" y="615"/>
                    <a:pt x="1645" y="615"/>
                    <a:pt x="1645" y="616"/>
                  </a:cubicBezTo>
                  <a:cubicBezTo>
                    <a:pt x="1646" y="615"/>
                    <a:pt x="1646" y="615"/>
                    <a:pt x="1646" y="615"/>
                  </a:cubicBezTo>
                  <a:cubicBezTo>
                    <a:pt x="1646" y="615"/>
                    <a:pt x="1645" y="615"/>
                    <a:pt x="1645" y="614"/>
                  </a:cubicBezTo>
                  <a:cubicBezTo>
                    <a:pt x="1644" y="614"/>
                    <a:pt x="1644" y="614"/>
                    <a:pt x="1644" y="614"/>
                  </a:cubicBezTo>
                  <a:moveTo>
                    <a:pt x="1647" y="616"/>
                  </a:moveTo>
                  <a:cubicBezTo>
                    <a:pt x="1647" y="616"/>
                    <a:pt x="1647" y="616"/>
                    <a:pt x="1647" y="616"/>
                  </a:cubicBezTo>
                  <a:cubicBezTo>
                    <a:pt x="1647" y="616"/>
                    <a:pt x="1647" y="616"/>
                    <a:pt x="1647" y="616"/>
                  </a:cubicBezTo>
                  <a:cubicBezTo>
                    <a:pt x="1647" y="616"/>
                    <a:pt x="1647" y="616"/>
                    <a:pt x="1647" y="616"/>
                  </a:cubicBezTo>
                  <a:moveTo>
                    <a:pt x="1647" y="617"/>
                  </a:moveTo>
                  <a:cubicBezTo>
                    <a:pt x="1647" y="617"/>
                    <a:pt x="1647" y="617"/>
                    <a:pt x="1647" y="617"/>
                  </a:cubicBezTo>
                  <a:cubicBezTo>
                    <a:pt x="1648" y="618"/>
                    <a:pt x="1649" y="619"/>
                    <a:pt x="1650" y="620"/>
                  </a:cubicBezTo>
                  <a:cubicBezTo>
                    <a:pt x="1650" y="620"/>
                    <a:pt x="1650" y="620"/>
                    <a:pt x="1651" y="620"/>
                  </a:cubicBezTo>
                  <a:cubicBezTo>
                    <a:pt x="1650" y="619"/>
                    <a:pt x="1649" y="618"/>
                    <a:pt x="1649" y="618"/>
                  </a:cubicBezTo>
                  <a:cubicBezTo>
                    <a:pt x="1648" y="618"/>
                    <a:pt x="1647" y="617"/>
                    <a:pt x="1647" y="617"/>
                  </a:cubicBezTo>
                  <a:moveTo>
                    <a:pt x="1733" y="619"/>
                  </a:moveTo>
                  <a:cubicBezTo>
                    <a:pt x="1733" y="623"/>
                    <a:pt x="1733" y="628"/>
                    <a:pt x="1734" y="632"/>
                  </a:cubicBezTo>
                  <a:cubicBezTo>
                    <a:pt x="1734" y="632"/>
                    <a:pt x="1734" y="633"/>
                    <a:pt x="1735" y="633"/>
                  </a:cubicBezTo>
                  <a:cubicBezTo>
                    <a:pt x="1734" y="628"/>
                    <a:pt x="1734" y="624"/>
                    <a:pt x="1734" y="619"/>
                  </a:cubicBezTo>
                  <a:cubicBezTo>
                    <a:pt x="1734" y="619"/>
                    <a:pt x="1734" y="619"/>
                    <a:pt x="1733" y="619"/>
                  </a:cubicBezTo>
                  <a:moveTo>
                    <a:pt x="1652" y="621"/>
                  </a:moveTo>
                  <a:cubicBezTo>
                    <a:pt x="1652" y="621"/>
                    <a:pt x="1651" y="621"/>
                    <a:pt x="1651" y="621"/>
                  </a:cubicBezTo>
                  <a:cubicBezTo>
                    <a:pt x="1652" y="622"/>
                    <a:pt x="1653" y="623"/>
                    <a:pt x="1654" y="624"/>
                  </a:cubicBezTo>
                  <a:cubicBezTo>
                    <a:pt x="1654" y="624"/>
                    <a:pt x="1654" y="624"/>
                    <a:pt x="1655" y="623"/>
                  </a:cubicBezTo>
                  <a:cubicBezTo>
                    <a:pt x="1654" y="623"/>
                    <a:pt x="1653" y="622"/>
                    <a:pt x="1652" y="621"/>
                  </a:cubicBezTo>
                  <a:moveTo>
                    <a:pt x="1656" y="625"/>
                  </a:moveTo>
                  <a:cubicBezTo>
                    <a:pt x="1656" y="625"/>
                    <a:pt x="1656" y="625"/>
                    <a:pt x="1656" y="625"/>
                  </a:cubicBezTo>
                  <a:cubicBezTo>
                    <a:pt x="1656" y="625"/>
                    <a:pt x="1657" y="625"/>
                    <a:pt x="1657" y="625"/>
                  </a:cubicBezTo>
                  <a:cubicBezTo>
                    <a:pt x="1657" y="625"/>
                    <a:pt x="1656" y="625"/>
                    <a:pt x="1656" y="625"/>
                  </a:cubicBezTo>
                  <a:moveTo>
                    <a:pt x="1656" y="626"/>
                  </a:moveTo>
                  <a:cubicBezTo>
                    <a:pt x="1656" y="626"/>
                    <a:pt x="1656" y="626"/>
                    <a:pt x="1656" y="626"/>
                  </a:cubicBezTo>
                  <a:cubicBezTo>
                    <a:pt x="1656" y="626"/>
                    <a:pt x="1656" y="626"/>
                    <a:pt x="1656" y="626"/>
                  </a:cubicBezTo>
                  <a:cubicBezTo>
                    <a:pt x="1656" y="626"/>
                    <a:pt x="1656" y="626"/>
                    <a:pt x="1656" y="626"/>
                  </a:cubicBezTo>
                  <a:moveTo>
                    <a:pt x="1658" y="627"/>
                  </a:moveTo>
                  <a:cubicBezTo>
                    <a:pt x="1658" y="627"/>
                    <a:pt x="1657" y="627"/>
                    <a:pt x="1657" y="627"/>
                  </a:cubicBezTo>
                  <a:cubicBezTo>
                    <a:pt x="1658" y="627"/>
                    <a:pt x="1658" y="628"/>
                    <a:pt x="1659" y="628"/>
                  </a:cubicBezTo>
                  <a:cubicBezTo>
                    <a:pt x="1659" y="628"/>
                    <a:pt x="1659" y="628"/>
                    <a:pt x="1660" y="628"/>
                  </a:cubicBezTo>
                  <a:cubicBezTo>
                    <a:pt x="1660" y="628"/>
                    <a:pt x="1659" y="627"/>
                    <a:pt x="1659" y="627"/>
                  </a:cubicBezTo>
                  <a:cubicBezTo>
                    <a:pt x="1659" y="627"/>
                    <a:pt x="1658" y="627"/>
                    <a:pt x="1658" y="627"/>
                  </a:cubicBezTo>
                  <a:moveTo>
                    <a:pt x="1661" y="629"/>
                  </a:moveTo>
                  <a:cubicBezTo>
                    <a:pt x="1660" y="629"/>
                    <a:pt x="1660" y="629"/>
                    <a:pt x="1660" y="629"/>
                  </a:cubicBezTo>
                  <a:cubicBezTo>
                    <a:pt x="1660" y="630"/>
                    <a:pt x="1661" y="631"/>
                    <a:pt x="1662" y="632"/>
                  </a:cubicBezTo>
                  <a:cubicBezTo>
                    <a:pt x="1663" y="632"/>
                    <a:pt x="1664" y="632"/>
                    <a:pt x="1664" y="632"/>
                  </a:cubicBezTo>
                  <a:cubicBezTo>
                    <a:pt x="1663" y="631"/>
                    <a:pt x="1662" y="630"/>
                    <a:pt x="1661" y="629"/>
                  </a:cubicBezTo>
                  <a:moveTo>
                    <a:pt x="1664" y="633"/>
                  </a:moveTo>
                  <a:cubicBezTo>
                    <a:pt x="1665" y="634"/>
                    <a:pt x="1666" y="635"/>
                    <a:pt x="1668" y="636"/>
                  </a:cubicBezTo>
                  <a:cubicBezTo>
                    <a:pt x="1668" y="636"/>
                    <a:pt x="1669" y="636"/>
                    <a:pt x="1669" y="637"/>
                  </a:cubicBezTo>
                  <a:cubicBezTo>
                    <a:pt x="1668" y="635"/>
                    <a:pt x="1667" y="634"/>
                    <a:pt x="1665" y="633"/>
                  </a:cubicBezTo>
                  <a:cubicBezTo>
                    <a:pt x="1665" y="633"/>
                    <a:pt x="1664" y="633"/>
                    <a:pt x="1664" y="633"/>
                  </a:cubicBezTo>
                  <a:moveTo>
                    <a:pt x="1734" y="633"/>
                  </a:moveTo>
                  <a:cubicBezTo>
                    <a:pt x="1734" y="635"/>
                    <a:pt x="1734" y="636"/>
                    <a:pt x="1734" y="637"/>
                  </a:cubicBezTo>
                  <a:cubicBezTo>
                    <a:pt x="1734" y="637"/>
                    <a:pt x="1734" y="637"/>
                    <a:pt x="1735" y="637"/>
                  </a:cubicBezTo>
                  <a:cubicBezTo>
                    <a:pt x="1735" y="636"/>
                    <a:pt x="1735" y="635"/>
                    <a:pt x="1735" y="634"/>
                  </a:cubicBezTo>
                  <a:cubicBezTo>
                    <a:pt x="1734" y="634"/>
                    <a:pt x="1734" y="634"/>
                    <a:pt x="1734" y="633"/>
                  </a:cubicBezTo>
                  <a:moveTo>
                    <a:pt x="1922" y="636"/>
                  </a:moveTo>
                  <a:cubicBezTo>
                    <a:pt x="1921" y="636"/>
                    <a:pt x="1921" y="636"/>
                    <a:pt x="1920" y="636"/>
                  </a:cubicBezTo>
                  <a:cubicBezTo>
                    <a:pt x="1919" y="643"/>
                    <a:pt x="1918" y="651"/>
                    <a:pt x="1918" y="658"/>
                  </a:cubicBezTo>
                  <a:cubicBezTo>
                    <a:pt x="1918" y="658"/>
                    <a:pt x="1918" y="658"/>
                    <a:pt x="1919" y="658"/>
                  </a:cubicBezTo>
                  <a:cubicBezTo>
                    <a:pt x="1919" y="651"/>
                    <a:pt x="1920" y="643"/>
                    <a:pt x="1922" y="636"/>
                  </a:cubicBezTo>
                  <a:moveTo>
                    <a:pt x="1669" y="637"/>
                  </a:moveTo>
                  <a:cubicBezTo>
                    <a:pt x="1671" y="640"/>
                    <a:pt x="1674" y="641"/>
                    <a:pt x="1676" y="643"/>
                  </a:cubicBezTo>
                  <a:cubicBezTo>
                    <a:pt x="1677" y="644"/>
                    <a:pt x="1678" y="644"/>
                    <a:pt x="1679" y="644"/>
                  </a:cubicBezTo>
                  <a:cubicBezTo>
                    <a:pt x="1676" y="642"/>
                    <a:pt x="1674" y="640"/>
                    <a:pt x="1671" y="638"/>
                  </a:cubicBezTo>
                  <a:cubicBezTo>
                    <a:pt x="1670" y="638"/>
                    <a:pt x="1670" y="638"/>
                    <a:pt x="1669" y="637"/>
                  </a:cubicBezTo>
                  <a:moveTo>
                    <a:pt x="1734" y="638"/>
                  </a:moveTo>
                  <a:cubicBezTo>
                    <a:pt x="1734" y="639"/>
                    <a:pt x="1734" y="640"/>
                    <a:pt x="1734" y="641"/>
                  </a:cubicBezTo>
                  <a:cubicBezTo>
                    <a:pt x="1734" y="641"/>
                    <a:pt x="1734" y="641"/>
                    <a:pt x="1735" y="641"/>
                  </a:cubicBezTo>
                  <a:cubicBezTo>
                    <a:pt x="1735" y="640"/>
                    <a:pt x="1735" y="639"/>
                    <a:pt x="1735" y="638"/>
                  </a:cubicBezTo>
                  <a:cubicBezTo>
                    <a:pt x="1734" y="638"/>
                    <a:pt x="1734" y="638"/>
                    <a:pt x="1734" y="638"/>
                  </a:cubicBezTo>
                  <a:moveTo>
                    <a:pt x="1734" y="643"/>
                  </a:moveTo>
                  <a:cubicBezTo>
                    <a:pt x="1734" y="643"/>
                    <a:pt x="1734" y="644"/>
                    <a:pt x="1734" y="644"/>
                  </a:cubicBezTo>
                  <a:cubicBezTo>
                    <a:pt x="1734" y="644"/>
                    <a:pt x="1735" y="644"/>
                    <a:pt x="1735" y="645"/>
                  </a:cubicBezTo>
                  <a:cubicBezTo>
                    <a:pt x="1735" y="644"/>
                    <a:pt x="1735" y="643"/>
                    <a:pt x="1735" y="643"/>
                  </a:cubicBezTo>
                  <a:cubicBezTo>
                    <a:pt x="1735" y="643"/>
                    <a:pt x="1734" y="643"/>
                    <a:pt x="1734" y="643"/>
                  </a:cubicBezTo>
                  <a:moveTo>
                    <a:pt x="1678" y="645"/>
                  </a:moveTo>
                  <a:cubicBezTo>
                    <a:pt x="1680" y="647"/>
                    <a:pt x="1683" y="649"/>
                    <a:pt x="1685" y="651"/>
                  </a:cubicBezTo>
                  <a:cubicBezTo>
                    <a:pt x="1687" y="653"/>
                    <a:pt x="1689" y="654"/>
                    <a:pt x="1691" y="655"/>
                  </a:cubicBezTo>
                  <a:cubicBezTo>
                    <a:pt x="1688" y="652"/>
                    <a:pt x="1684" y="649"/>
                    <a:pt x="1681" y="646"/>
                  </a:cubicBezTo>
                  <a:cubicBezTo>
                    <a:pt x="1680" y="646"/>
                    <a:pt x="1679" y="646"/>
                    <a:pt x="1678" y="645"/>
                  </a:cubicBezTo>
                  <a:moveTo>
                    <a:pt x="1734" y="646"/>
                  </a:moveTo>
                  <a:cubicBezTo>
                    <a:pt x="1734" y="648"/>
                    <a:pt x="1734" y="649"/>
                    <a:pt x="1734" y="650"/>
                  </a:cubicBezTo>
                  <a:cubicBezTo>
                    <a:pt x="1734" y="652"/>
                    <a:pt x="1734" y="654"/>
                    <a:pt x="1734" y="656"/>
                  </a:cubicBezTo>
                  <a:cubicBezTo>
                    <a:pt x="1734" y="657"/>
                    <a:pt x="1734" y="657"/>
                    <a:pt x="1735" y="657"/>
                  </a:cubicBezTo>
                  <a:cubicBezTo>
                    <a:pt x="1735" y="655"/>
                    <a:pt x="1735" y="652"/>
                    <a:pt x="1735" y="650"/>
                  </a:cubicBezTo>
                  <a:cubicBezTo>
                    <a:pt x="1735" y="649"/>
                    <a:pt x="1735" y="648"/>
                    <a:pt x="1735" y="647"/>
                  </a:cubicBezTo>
                  <a:cubicBezTo>
                    <a:pt x="1735" y="647"/>
                    <a:pt x="1734" y="647"/>
                    <a:pt x="1734" y="646"/>
                  </a:cubicBezTo>
                  <a:moveTo>
                    <a:pt x="1691" y="656"/>
                  </a:moveTo>
                  <a:cubicBezTo>
                    <a:pt x="1693" y="658"/>
                    <a:pt x="1696" y="659"/>
                    <a:pt x="1698" y="661"/>
                  </a:cubicBezTo>
                  <a:cubicBezTo>
                    <a:pt x="1698" y="661"/>
                    <a:pt x="1699" y="661"/>
                    <a:pt x="1700" y="661"/>
                  </a:cubicBezTo>
                  <a:cubicBezTo>
                    <a:pt x="1698" y="660"/>
                    <a:pt x="1697" y="659"/>
                    <a:pt x="1695" y="658"/>
                  </a:cubicBezTo>
                  <a:cubicBezTo>
                    <a:pt x="1694" y="657"/>
                    <a:pt x="1692" y="657"/>
                    <a:pt x="1691" y="656"/>
                  </a:cubicBezTo>
                  <a:moveTo>
                    <a:pt x="1734" y="658"/>
                  </a:moveTo>
                  <a:cubicBezTo>
                    <a:pt x="1734" y="660"/>
                    <a:pt x="1733" y="662"/>
                    <a:pt x="1733" y="663"/>
                  </a:cubicBezTo>
                  <a:cubicBezTo>
                    <a:pt x="1733" y="663"/>
                    <a:pt x="1734" y="663"/>
                    <a:pt x="1734" y="663"/>
                  </a:cubicBezTo>
                  <a:cubicBezTo>
                    <a:pt x="1734" y="662"/>
                    <a:pt x="1735" y="660"/>
                    <a:pt x="1735" y="658"/>
                  </a:cubicBezTo>
                  <a:cubicBezTo>
                    <a:pt x="1734" y="658"/>
                    <a:pt x="1734" y="658"/>
                    <a:pt x="1734" y="658"/>
                  </a:cubicBezTo>
                  <a:moveTo>
                    <a:pt x="1919" y="659"/>
                  </a:moveTo>
                  <a:cubicBezTo>
                    <a:pt x="1918" y="659"/>
                    <a:pt x="1918" y="659"/>
                    <a:pt x="1918" y="659"/>
                  </a:cubicBezTo>
                  <a:cubicBezTo>
                    <a:pt x="1918" y="660"/>
                    <a:pt x="1918" y="660"/>
                    <a:pt x="1918" y="661"/>
                  </a:cubicBezTo>
                  <a:cubicBezTo>
                    <a:pt x="1918" y="664"/>
                    <a:pt x="1918" y="667"/>
                    <a:pt x="1918" y="671"/>
                  </a:cubicBezTo>
                  <a:cubicBezTo>
                    <a:pt x="1919" y="671"/>
                    <a:pt x="1919" y="671"/>
                    <a:pt x="1919" y="671"/>
                  </a:cubicBezTo>
                  <a:cubicBezTo>
                    <a:pt x="1919" y="667"/>
                    <a:pt x="1919" y="664"/>
                    <a:pt x="1919" y="661"/>
                  </a:cubicBezTo>
                  <a:cubicBezTo>
                    <a:pt x="1919" y="660"/>
                    <a:pt x="1919" y="660"/>
                    <a:pt x="1919" y="659"/>
                  </a:cubicBezTo>
                  <a:moveTo>
                    <a:pt x="1699" y="662"/>
                  </a:moveTo>
                  <a:cubicBezTo>
                    <a:pt x="1700" y="662"/>
                    <a:pt x="1700" y="663"/>
                    <a:pt x="1701" y="663"/>
                  </a:cubicBezTo>
                  <a:cubicBezTo>
                    <a:pt x="1702" y="664"/>
                    <a:pt x="1703" y="664"/>
                    <a:pt x="1705" y="665"/>
                  </a:cubicBezTo>
                  <a:cubicBezTo>
                    <a:pt x="1704" y="664"/>
                    <a:pt x="1702" y="663"/>
                    <a:pt x="1701" y="662"/>
                  </a:cubicBezTo>
                  <a:cubicBezTo>
                    <a:pt x="1701" y="662"/>
                    <a:pt x="1700" y="662"/>
                    <a:pt x="1699" y="662"/>
                  </a:cubicBezTo>
                  <a:moveTo>
                    <a:pt x="1733" y="664"/>
                  </a:moveTo>
                  <a:cubicBezTo>
                    <a:pt x="1732" y="667"/>
                    <a:pt x="1732" y="669"/>
                    <a:pt x="1730" y="670"/>
                  </a:cubicBezTo>
                  <a:cubicBezTo>
                    <a:pt x="1731" y="670"/>
                    <a:pt x="1731" y="671"/>
                    <a:pt x="1732" y="671"/>
                  </a:cubicBezTo>
                  <a:cubicBezTo>
                    <a:pt x="1733" y="669"/>
                    <a:pt x="1733" y="667"/>
                    <a:pt x="1734" y="664"/>
                  </a:cubicBezTo>
                  <a:cubicBezTo>
                    <a:pt x="1734" y="664"/>
                    <a:pt x="1733" y="664"/>
                    <a:pt x="1733" y="664"/>
                  </a:cubicBezTo>
                  <a:moveTo>
                    <a:pt x="1704" y="665"/>
                  </a:moveTo>
                  <a:cubicBezTo>
                    <a:pt x="1707" y="667"/>
                    <a:pt x="1709" y="669"/>
                    <a:pt x="1711" y="670"/>
                  </a:cubicBezTo>
                  <a:cubicBezTo>
                    <a:pt x="1712" y="670"/>
                    <a:pt x="1713" y="670"/>
                    <a:pt x="1714" y="670"/>
                  </a:cubicBezTo>
                  <a:cubicBezTo>
                    <a:pt x="1712" y="669"/>
                    <a:pt x="1710" y="668"/>
                    <a:pt x="1709" y="667"/>
                  </a:cubicBezTo>
                  <a:cubicBezTo>
                    <a:pt x="1707" y="666"/>
                    <a:pt x="1706" y="666"/>
                    <a:pt x="1704" y="665"/>
                  </a:cubicBezTo>
                  <a:moveTo>
                    <a:pt x="1717" y="672"/>
                  </a:moveTo>
                  <a:cubicBezTo>
                    <a:pt x="1720" y="674"/>
                    <a:pt x="1722" y="674"/>
                    <a:pt x="1724" y="674"/>
                  </a:cubicBezTo>
                  <a:cubicBezTo>
                    <a:pt x="1725" y="674"/>
                    <a:pt x="1726" y="674"/>
                    <a:pt x="1727" y="674"/>
                  </a:cubicBezTo>
                  <a:cubicBezTo>
                    <a:pt x="1727" y="674"/>
                    <a:pt x="1726" y="673"/>
                    <a:pt x="1725" y="673"/>
                  </a:cubicBezTo>
                  <a:cubicBezTo>
                    <a:pt x="1725" y="673"/>
                    <a:pt x="1725" y="673"/>
                    <a:pt x="1724" y="673"/>
                  </a:cubicBezTo>
                  <a:cubicBezTo>
                    <a:pt x="1724" y="673"/>
                    <a:pt x="1724" y="673"/>
                    <a:pt x="1724" y="673"/>
                  </a:cubicBezTo>
                  <a:cubicBezTo>
                    <a:pt x="1723" y="673"/>
                    <a:pt x="1722" y="673"/>
                    <a:pt x="1720" y="673"/>
                  </a:cubicBezTo>
                  <a:cubicBezTo>
                    <a:pt x="1719" y="673"/>
                    <a:pt x="1718" y="672"/>
                    <a:pt x="1717" y="672"/>
                  </a:cubicBezTo>
                  <a:moveTo>
                    <a:pt x="1727" y="673"/>
                  </a:moveTo>
                  <a:cubicBezTo>
                    <a:pt x="1727" y="673"/>
                    <a:pt x="1727" y="673"/>
                    <a:pt x="1727" y="673"/>
                  </a:cubicBezTo>
                  <a:cubicBezTo>
                    <a:pt x="1728" y="673"/>
                    <a:pt x="1728" y="673"/>
                    <a:pt x="1729" y="673"/>
                  </a:cubicBezTo>
                  <a:cubicBezTo>
                    <a:pt x="1729" y="673"/>
                    <a:pt x="1729" y="673"/>
                    <a:pt x="1729" y="673"/>
                  </a:cubicBezTo>
                  <a:cubicBezTo>
                    <a:pt x="1729" y="673"/>
                    <a:pt x="1728" y="673"/>
                    <a:pt x="1727" y="673"/>
                  </a:cubicBezTo>
                  <a:moveTo>
                    <a:pt x="1919" y="673"/>
                  </a:moveTo>
                  <a:cubicBezTo>
                    <a:pt x="1919" y="673"/>
                    <a:pt x="1919" y="673"/>
                    <a:pt x="1918" y="673"/>
                  </a:cubicBezTo>
                  <a:cubicBezTo>
                    <a:pt x="1919" y="679"/>
                    <a:pt x="1920" y="686"/>
                    <a:pt x="1922" y="692"/>
                  </a:cubicBezTo>
                  <a:cubicBezTo>
                    <a:pt x="1922" y="692"/>
                    <a:pt x="1922" y="691"/>
                    <a:pt x="1923" y="691"/>
                  </a:cubicBezTo>
                  <a:cubicBezTo>
                    <a:pt x="1921" y="685"/>
                    <a:pt x="1920" y="679"/>
                    <a:pt x="1919" y="673"/>
                  </a:cubicBezTo>
                  <a:moveTo>
                    <a:pt x="1923" y="692"/>
                  </a:moveTo>
                  <a:cubicBezTo>
                    <a:pt x="1923" y="692"/>
                    <a:pt x="1923" y="692"/>
                    <a:pt x="1923" y="693"/>
                  </a:cubicBezTo>
                  <a:cubicBezTo>
                    <a:pt x="1923" y="693"/>
                    <a:pt x="1923" y="693"/>
                    <a:pt x="1923" y="693"/>
                  </a:cubicBezTo>
                  <a:cubicBezTo>
                    <a:pt x="1923" y="693"/>
                    <a:pt x="1923" y="692"/>
                    <a:pt x="1923" y="692"/>
                  </a:cubicBezTo>
                  <a:moveTo>
                    <a:pt x="1922" y="694"/>
                  </a:moveTo>
                  <a:cubicBezTo>
                    <a:pt x="1923" y="697"/>
                    <a:pt x="1925" y="701"/>
                    <a:pt x="1926" y="705"/>
                  </a:cubicBezTo>
                  <a:cubicBezTo>
                    <a:pt x="1926" y="705"/>
                    <a:pt x="1927" y="705"/>
                    <a:pt x="1927" y="705"/>
                  </a:cubicBezTo>
                  <a:cubicBezTo>
                    <a:pt x="1926" y="701"/>
                    <a:pt x="1925" y="698"/>
                    <a:pt x="1923" y="694"/>
                  </a:cubicBezTo>
                  <a:cubicBezTo>
                    <a:pt x="1923" y="694"/>
                    <a:pt x="1923" y="694"/>
                    <a:pt x="1922" y="694"/>
                  </a:cubicBezTo>
                  <a:moveTo>
                    <a:pt x="1381" y="696"/>
                  </a:moveTo>
                  <a:cubicBezTo>
                    <a:pt x="1381" y="696"/>
                    <a:pt x="1380" y="696"/>
                    <a:pt x="1380" y="696"/>
                  </a:cubicBezTo>
                  <a:cubicBezTo>
                    <a:pt x="1385" y="697"/>
                    <a:pt x="1390" y="698"/>
                    <a:pt x="1395" y="699"/>
                  </a:cubicBezTo>
                  <a:cubicBezTo>
                    <a:pt x="1396" y="699"/>
                    <a:pt x="1396" y="699"/>
                    <a:pt x="1396" y="698"/>
                  </a:cubicBezTo>
                  <a:cubicBezTo>
                    <a:pt x="1391" y="697"/>
                    <a:pt x="1386" y="696"/>
                    <a:pt x="1381" y="696"/>
                  </a:cubicBezTo>
                  <a:moveTo>
                    <a:pt x="1398" y="699"/>
                  </a:moveTo>
                  <a:cubicBezTo>
                    <a:pt x="1397" y="699"/>
                    <a:pt x="1397" y="699"/>
                    <a:pt x="1397" y="699"/>
                  </a:cubicBezTo>
                  <a:cubicBezTo>
                    <a:pt x="1401" y="700"/>
                    <a:pt x="1406" y="701"/>
                    <a:pt x="1411" y="702"/>
                  </a:cubicBezTo>
                  <a:cubicBezTo>
                    <a:pt x="1411" y="702"/>
                    <a:pt x="1411" y="701"/>
                    <a:pt x="1412" y="701"/>
                  </a:cubicBezTo>
                  <a:cubicBezTo>
                    <a:pt x="1407" y="700"/>
                    <a:pt x="1403" y="699"/>
                    <a:pt x="1398" y="699"/>
                  </a:cubicBezTo>
                  <a:moveTo>
                    <a:pt x="1413" y="701"/>
                  </a:moveTo>
                  <a:cubicBezTo>
                    <a:pt x="1413" y="701"/>
                    <a:pt x="1413" y="702"/>
                    <a:pt x="1412" y="702"/>
                  </a:cubicBezTo>
                  <a:cubicBezTo>
                    <a:pt x="1417" y="703"/>
                    <a:pt x="1422" y="704"/>
                    <a:pt x="1427" y="704"/>
                  </a:cubicBezTo>
                  <a:cubicBezTo>
                    <a:pt x="1427" y="704"/>
                    <a:pt x="1428" y="704"/>
                    <a:pt x="1428" y="704"/>
                  </a:cubicBezTo>
                  <a:cubicBezTo>
                    <a:pt x="1423" y="703"/>
                    <a:pt x="1418" y="702"/>
                    <a:pt x="1413" y="701"/>
                  </a:cubicBezTo>
                  <a:moveTo>
                    <a:pt x="1430" y="704"/>
                  </a:moveTo>
                  <a:cubicBezTo>
                    <a:pt x="1429" y="704"/>
                    <a:pt x="1429" y="704"/>
                    <a:pt x="1428" y="705"/>
                  </a:cubicBezTo>
                  <a:cubicBezTo>
                    <a:pt x="1432" y="705"/>
                    <a:pt x="1436" y="706"/>
                    <a:pt x="1440" y="707"/>
                  </a:cubicBezTo>
                  <a:cubicBezTo>
                    <a:pt x="1440" y="706"/>
                    <a:pt x="1441" y="706"/>
                    <a:pt x="1441" y="706"/>
                  </a:cubicBezTo>
                  <a:cubicBezTo>
                    <a:pt x="1437" y="705"/>
                    <a:pt x="1434" y="705"/>
                    <a:pt x="1430" y="704"/>
                  </a:cubicBezTo>
                  <a:moveTo>
                    <a:pt x="1443" y="706"/>
                  </a:moveTo>
                  <a:cubicBezTo>
                    <a:pt x="1442" y="706"/>
                    <a:pt x="1442" y="707"/>
                    <a:pt x="1442" y="707"/>
                  </a:cubicBezTo>
                  <a:cubicBezTo>
                    <a:pt x="1445" y="707"/>
                    <a:pt x="1449" y="708"/>
                    <a:pt x="1452" y="709"/>
                  </a:cubicBezTo>
                  <a:cubicBezTo>
                    <a:pt x="1453" y="708"/>
                    <a:pt x="1453" y="708"/>
                    <a:pt x="1453" y="708"/>
                  </a:cubicBezTo>
                  <a:cubicBezTo>
                    <a:pt x="1450" y="707"/>
                    <a:pt x="1446" y="707"/>
                    <a:pt x="1443" y="706"/>
                  </a:cubicBezTo>
                  <a:moveTo>
                    <a:pt x="1927" y="706"/>
                  </a:moveTo>
                  <a:cubicBezTo>
                    <a:pt x="1927" y="708"/>
                    <a:pt x="1928" y="710"/>
                    <a:pt x="1928" y="711"/>
                  </a:cubicBezTo>
                  <a:cubicBezTo>
                    <a:pt x="1929" y="711"/>
                    <a:pt x="1929" y="712"/>
                    <a:pt x="1930" y="712"/>
                  </a:cubicBezTo>
                  <a:cubicBezTo>
                    <a:pt x="1929" y="710"/>
                    <a:pt x="1928" y="708"/>
                    <a:pt x="1928" y="707"/>
                  </a:cubicBezTo>
                  <a:cubicBezTo>
                    <a:pt x="1927" y="706"/>
                    <a:pt x="1927" y="706"/>
                    <a:pt x="1927" y="706"/>
                  </a:cubicBezTo>
                  <a:moveTo>
                    <a:pt x="1455" y="708"/>
                  </a:moveTo>
                  <a:cubicBezTo>
                    <a:pt x="1455" y="708"/>
                    <a:pt x="1454" y="708"/>
                    <a:pt x="1454" y="709"/>
                  </a:cubicBezTo>
                  <a:cubicBezTo>
                    <a:pt x="1458" y="709"/>
                    <a:pt x="1462" y="710"/>
                    <a:pt x="1466" y="711"/>
                  </a:cubicBezTo>
                  <a:cubicBezTo>
                    <a:pt x="1466" y="710"/>
                    <a:pt x="1467" y="710"/>
                    <a:pt x="1467" y="710"/>
                  </a:cubicBezTo>
                  <a:cubicBezTo>
                    <a:pt x="1463" y="709"/>
                    <a:pt x="1459" y="709"/>
                    <a:pt x="1455" y="708"/>
                  </a:cubicBezTo>
                  <a:moveTo>
                    <a:pt x="1468" y="710"/>
                  </a:moveTo>
                  <a:cubicBezTo>
                    <a:pt x="1468" y="710"/>
                    <a:pt x="1468" y="710"/>
                    <a:pt x="1467" y="711"/>
                  </a:cubicBezTo>
                  <a:cubicBezTo>
                    <a:pt x="1471" y="711"/>
                    <a:pt x="1476" y="712"/>
                    <a:pt x="1480" y="713"/>
                  </a:cubicBezTo>
                  <a:cubicBezTo>
                    <a:pt x="1480" y="712"/>
                    <a:pt x="1480" y="712"/>
                    <a:pt x="1481" y="712"/>
                  </a:cubicBezTo>
                  <a:cubicBezTo>
                    <a:pt x="1477" y="711"/>
                    <a:pt x="1473" y="711"/>
                    <a:pt x="1468" y="710"/>
                  </a:cubicBezTo>
                  <a:moveTo>
                    <a:pt x="1482" y="712"/>
                  </a:moveTo>
                  <a:cubicBezTo>
                    <a:pt x="1482" y="712"/>
                    <a:pt x="1481" y="712"/>
                    <a:pt x="1481" y="713"/>
                  </a:cubicBezTo>
                  <a:cubicBezTo>
                    <a:pt x="1486" y="713"/>
                    <a:pt x="1491" y="714"/>
                    <a:pt x="1496" y="715"/>
                  </a:cubicBezTo>
                  <a:cubicBezTo>
                    <a:pt x="1496" y="714"/>
                    <a:pt x="1496" y="714"/>
                    <a:pt x="1496" y="714"/>
                  </a:cubicBezTo>
                  <a:cubicBezTo>
                    <a:pt x="1492" y="713"/>
                    <a:pt x="1487" y="713"/>
                    <a:pt x="1482" y="712"/>
                  </a:cubicBezTo>
                  <a:moveTo>
                    <a:pt x="1929" y="712"/>
                  </a:moveTo>
                  <a:cubicBezTo>
                    <a:pt x="1929" y="713"/>
                    <a:pt x="1929" y="713"/>
                    <a:pt x="1929" y="714"/>
                  </a:cubicBezTo>
                  <a:cubicBezTo>
                    <a:pt x="1930" y="714"/>
                    <a:pt x="1930" y="714"/>
                    <a:pt x="1931" y="714"/>
                  </a:cubicBezTo>
                  <a:cubicBezTo>
                    <a:pt x="1931" y="714"/>
                    <a:pt x="1930" y="713"/>
                    <a:pt x="1930" y="713"/>
                  </a:cubicBezTo>
                  <a:cubicBezTo>
                    <a:pt x="1930" y="713"/>
                    <a:pt x="1929" y="713"/>
                    <a:pt x="1929" y="712"/>
                  </a:cubicBezTo>
                  <a:moveTo>
                    <a:pt x="1498" y="714"/>
                  </a:moveTo>
                  <a:cubicBezTo>
                    <a:pt x="1497" y="714"/>
                    <a:pt x="1497" y="715"/>
                    <a:pt x="1497" y="715"/>
                  </a:cubicBezTo>
                  <a:cubicBezTo>
                    <a:pt x="1503" y="716"/>
                    <a:pt x="1510" y="717"/>
                    <a:pt x="1516" y="717"/>
                  </a:cubicBezTo>
                  <a:cubicBezTo>
                    <a:pt x="1516" y="717"/>
                    <a:pt x="1516" y="717"/>
                    <a:pt x="1516" y="716"/>
                  </a:cubicBezTo>
                  <a:cubicBezTo>
                    <a:pt x="1510" y="716"/>
                    <a:pt x="1504" y="715"/>
                    <a:pt x="1498" y="714"/>
                  </a:cubicBezTo>
                  <a:moveTo>
                    <a:pt x="1930" y="715"/>
                  </a:moveTo>
                  <a:cubicBezTo>
                    <a:pt x="1931" y="717"/>
                    <a:pt x="1932" y="719"/>
                    <a:pt x="1933" y="721"/>
                  </a:cubicBezTo>
                  <a:cubicBezTo>
                    <a:pt x="1933" y="721"/>
                    <a:pt x="1933" y="721"/>
                    <a:pt x="1934" y="721"/>
                  </a:cubicBezTo>
                  <a:cubicBezTo>
                    <a:pt x="1933" y="719"/>
                    <a:pt x="1932" y="717"/>
                    <a:pt x="1931" y="715"/>
                  </a:cubicBezTo>
                  <a:cubicBezTo>
                    <a:pt x="1931" y="715"/>
                    <a:pt x="1930" y="715"/>
                    <a:pt x="1930" y="715"/>
                  </a:cubicBezTo>
                  <a:moveTo>
                    <a:pt x="1517" y="717"/>
                  </a:moveTo>
                  <a:cubicBezTo>
                    <a:pt x="1517" y="717"/>
                    <a:pt x="1517" y="717"/>
                    <a:pt x="1517" y="718"/>
                  </a:cubicBezTo>
                  <a:cubicBezTo>
                    <a:pt x="1520" y="718"/>
                    <a:pt x="1522" y="718"/>
                    <a:pt x="1525" y="719"/>
                  </a:cubicBezTo>
                  <a:cubicBezTo>
                    <a:pt x="1525" y="718"/>
                    <a:pt x="1525" y="718"/>
                    <a:pt x="1525" y="717"/>
                  </a:cubicBezTo>
                  <a:cubicBezTo>
                    <a:pt x="1522" y="717"/>
                    <a:pt x="1520" y="717"/>
                    <a:pt x="1517" y="717"/>
                  </a:cubicBezTo>
                  <a:moveTo>
                    <a:pt x="1526" y="718"/>
                  </a:moveTo>
                  <a:cubicBezTo>
                    <a:pt x="1526" y="718"/>
                    <a:pt x="1526" y="718"/>
                    <a:pt x="1526" y="719"/>
                  </a:cubicBezTo>
                  <a:cubicBezTo>
                    <a:pt x="1528" y="719"/>
                    <a:pt x="1529" y="719"/>
                    <a:pt x="1530" y="719"/>
                  </a:cubicBezTo>
                  <a:cubicBezTo>
                    <a:pt x="1530" y="719"/>
                    <a:pt x="1530" y="719"/>
                    <a:pt x="1530" y="719"/>
                  </a:cubicBezTo>
                  <a:cubicBezTo>
                    <a:pt x="1530" y="719"/>
                    <a:pt x="1529" y="718"/>
                    <a:pt x="1529" y="718"/>
                  </a:cubicBezTo>
                  <a:cubicBezTo>
                    <a:pt x="1528" y="718"/>
                    <a:pt x="1527" y="718"/>
                    <a:pt x="1526" y="718"/>
                  </a:cubicBezTo>
                  <a:moveTo>
                    <a:pt x="1531" y="718"/>
                  </a:moveTo>
                  <a:cubicBezTo>
                    <a:pt x="1531" y="718"/>
                    <a:pt x="1531" y="718"/>
                    <a:pt x="1531" y="718"/>
                  </a:cubicBezTo>
                  <a:cubicBezTo>
                    <a:pt x="1531" y="719"/>
                    <a:pt x="1532" y="719"/>
                    <a:pt x="1532" y="719"/>
                  </a:cubicBezTo>
                  <a:cubicBezTo>
                    <a:pt x="1538" y="720"/>
                    <a:pt x="1544" y="721"/>
                    <a:pt x="1550" y="721"/>
                  </a:cubicBezTo>
                  <a:cubicBezTo>
                    <a:pt x="1549" y="721"/>
                    <a:pt x="1548" y="721"/>
                    <a:pt x="1547" y="720"/>
                  </a:cubicBezTo>
                  <a:cubicBezTo>
                    <a:pt x="1542" y="720"/>
                    <a:pt x="1537" y="719"/>
                    <a:pt x="1531" y="718"/>
                  </a:cubicBezTo>
                  <a:moveTo>
                    <a:pt x="1550" y="720"/>
                  </a:moveTo>
                  <a:cubicBezTo>
                    <a:pt x="1551" y="721"/>
                    <a:pt x="1552" y="721"/>
                    <a:pt x="1552" y="722"/>
                  </a:cubicBezTo>
                  <a:cubicBezTo>
                    <a:pt x="1558" y="722"/>
                    <a:pt x="1564" y="723"/>
                    <a:pt x="1570" y="724"/>
                  </a:cubicBezTo>
                  <a:cubicBezTo>
                    <a:pt x="1575" y="724"/>
                    <a:pt x="1581" y="725"/>
                    <a:pt x="1586" y="725"/>
                  </a:cubicBezTo>
                  <a:cubicBezTo>
                    <a:pt x="1585" y="725"/>
                    <a:pt x="1584" y="724"/>
                    <a:pt x="1582" y="724"/>
                  </a:cubicBezTo>
                  <a:cubicBezTo>
                    <a:pt x="1573" y="723"/>
                    <a:pt x="1562" y="722"/>
                    <a:pt x="1550" y="720"/>
                  </a:cubicBezTo>
                  <a:moveTo>
                    <a:pt x="1934" y="722"/>
                  </a:moveTo>
                  <a:cubicBezTo>
                    <a:pt x="1934" y="722"/>
                    <a:pt x="1933" y="722"/>
                    <a:pt x="1933" y="722"/>
                  </a:cubicBezTo>
                  <a:cubicBezTo>
                    <a:pt x="1934" y="723"/>
                    <a:pt x="1934" y="724"/>
                    <a:pt x="1935" y="725"/>
                  </a:cubicBezTo>
                  <a:cubicBezTo>
                    <a:pt x="1935" y="725"/>
                    <a:pt x="1935" y="725"/>
                    <a:pt x="1936" y="725"/>
                  </a:cubicBezTo>
                  <a:cubicBezTo>
                    <a:pt x="1935" y="724"/>
                    <a:pt x="1935" y="723"/>
                    <a:pt x="1934" y="722"/>
                  </a:cubicBezTo>
                  <a:moveTo>
                    <a:pt x="1586" y="724"/>
                  </a:moveTo>
                  <a:cubicBezTo>
                    <a:pt x="1587" y="725"/>
                    <a:pt x="1588" y="725"/>
                    <a:pt x="1589" y="726"/>
                  </a:cubicBezTo>
                  <a:cubicBezTo>
                    <a:pt x="1611" y="728"/>
                    <a:pt x="1628" y="730"/>
                    <a:pt x="1640" y="731"/>
                  </a:cubicBezTo>
                  <a:cubicBezTo>
                    <a:pt x="1640" y="731"/>
                    <a:pt x="1641" y="731"/>
                    <a:pt x="1641" y="731"/>
                  </a:cubicBezTo>
                  <a:cubicBezTo>
                    <a:pt x="1639" y="731"/>
                    <a:pt x="1638" y="730"/>
                    <a:pt x="1636" y="730"/>
                  </a:cubicBezTo>
                  <a:cubicBezTo>
                    <a:pt x="1623" y="728"/>
                    <a:pt x="1607" y="727"/>
                    <a:pt x="1586" y="724"/>
                  </a:cubicBezTo>
                  <a:moveTo>
                    <a:pt x="1935" y="726"/>
                  </a:moveTo>
                  <a:cubicBezTo>
                    <a:pt x="1936" y="728"/>
                    <a:pt x="1937" y="730"/>
                    <a:pt x="1938" y="732"/>
                  </a:cubicBezTo>
                  <a:cubicBezTo>
                    <a:pt x="1939" y="732"/>
                    <a:pt x="1939" y="732"/>
                    <a:pt x="1939" y="732"/>
                  </a:cubicBezTo>
                  <a:cubicBezTo>
                    <a:pt x="1938" y="730"/>
                    <a:pt x="1937" y="728"/>
                    <a:pt x="1936" y="726"/>
                  </a:cubicBezTo>
                  <a:cubicBezTo>
                    <a:pt x="1936" y="726"/>
                    <a:pt x="1936" y="726"/>
                    <a:pt x="1935" y="726"/>
                  </a:cubicBezTo>
                  <a:moveTo>
                    <a:pt x="1641" y="730"/>
                  </a:moveTo>
                  <a:cubicBezTo>
                    <a:pt x="1643" y="731"/>
                    <a:pt x="1645" y="732"/>
                    <a:pt x="1646" y="732"/>
                  </a:cubicBezTo>
                  <a:cubicBezTo>
                    <a:pt x="1657" y="734"/>
                    <a:pt x="1662" y="736"/>
                    <a:pt x="1663" y="738"/>
                  </a:cubicBezTo>
                  <a:cubicBezTo>
                    <a:pt x="1664" y="738"/>
                    <a:pt x="1664" y="738"/>
                    <a:pt x="1664" y="738"/>
                  </a:cubicBezTo>
                  <a:cubicBezTo>
                    <a:pt x="1664" y="734"/>
                    <a:pt x="1656" y="733"/>
                    <a:pt x="1641" y="730"/>
                  </a:cubicBezTo>
                  <a:moveTo>
                    <a:pt x="1940" y="733"/>
                  </a:moveTo>
                  <a:cubicBezTo>
                    <a:pt x="1940" y="733"/>
                    <a:pt x="1939" y="733"/>
                    <a:pt x="1939" y="733"/>
                  </a:cubicBezTo>
                  <a:cubicBezTo>
                    <a:pt x="1939" y="734"/>
                    <a:pt x="1940" y="735"/>
                    <a:pt x="1940" y="736"/>
                  </a:cubicBezTo>
                  <a:cubicBezTo>
                    <a:pt x="1941" y="736"/>
                    <a:pt x="1941" y="736"/>
                    <a:pt x="1942" y="736"/>
                  </a:cubicBezTo>
                  <a:cubicBezTo>
                    <a:pt x="1941" y="735"/>
                    <a:pt x="1940" y="734"/>
                    <a:pt x="1940" y="733"/>
                  </a:cubicBezTo>
                  <a:moveTo>
                    <a:pt x="1942" y="737"/>
                  </a:moveTo>
                  <a:cubicBezTo>
                    <a:pt x="1942" y="737"/>
                    <a:pt x="1941" y="737"/>
                    <a:pt x="1941" y="737"/>
                  </a:cubicBezTo>
                  <a:cubicBezTo>
                    <a:pt x="1942" y="739"/>
                    <a:pt x="1943" y="741"/>
                    <a:pt x="1945" y="743"/>
                  </a:cubicBezTo>
                  <a:cubicBezTo>
                    <a:pt x="1945" y="743"/>
                    <a:pt x="1945" y="743"/>
                    <a:pt x="1946" y="743"/>
                  </a:cubicBezTo>
                  <a:cubicBezTo>
                    <a:pt x="1944" y="741"/>
                    <a:pt x="1943" y="739"/>
                    <a:pt x="1942" y="737"/>
                  </a:cubicBezTo>
                  <a:cubicBezTo>
                    <a:pt x="1942" y="737"/>
                    <a:pt x="1942" y="737"/>
                    <a:pt x="1942" y="737"/>
                  </a:cubicBezTo>
                  <a:moveTo>
                    <a:pt x="1664" y="739"/>
                  </a:moveTo>
                  <a:cubicBezTo>
                    <a:pt x="1664" y="739"/>
                    <a:pt x="1663" y="739"/>
                    <a:pt x="1663" y="740"/>
                  </a:cubicBezTo>
                  <a:cubicBezTo>
                    <a:pt x="1663" y="740"/>
                    <a:pt x="1664" y="739"/>
                    <a:pt x="1664" y="739"/>
                  </a:cubicBezTo>
                  <a:cubicBezTo>
                    <a:pt x="1664" y="739"/>
                    <a:pt x="1664" y="739"/>
                    <a:pt x="1664" y="739"/>
                  </a:cubicBezTo>
                  <a:cubicBezTo>
                    <a:pt x="1664" y="739"/>
                    <a:pt x="1664" y="739"/>
                    <a:pt x="1664" y="739"/>
                  </a:cubicBezTo>
                  <a:cubicBezTo>
                    <a:pt x="1664" y="739"/>
                    <a:pt x="1664" y="739"/>
                    <a:pt x="1664" y="739"/>
                  </a:cubicBezTo>
                  <a:moveTo>
                    <a:pt x="1664" y="740"/>
                  </a:moveTo>
                  <a:cubicBezTo>
                    <a:pt x="1663" y="741"/>
                    <a:pt x="1662" y="741"/>
                    <a:pt x="1662" y="741"/>
                  </a:cubicBezTo>
                  <a:cubicBezTo>
                    <a:pt x="1660" y="743"/>
                    <a:pt x="1656" y="745"/>
                    <a:pt x="1651" y="747"/>
                  </a:cubicBezTo>
                  <a:cubicBezTo>
                    <a:pt x="1652" y="747"/>
                    <a:pt x="1652" y="748"/>
                    <a:pt x="1653" y="748"/>
                  </a:cubicBezTo>
                  <a:cubicBezTo>
                    <a:pt x="1654" y="747"/>
                    <a:pt x="1655" y="747"/>
                    <a:pt x="1656" y="746"/>
                  </a:cubicBezTo>
                  <a:cubicBezTo>
                    <a:pt x="1658" y="745"/>
                    <a:pt x="1660" y="744"/>
                    <a:pt x="1662" y="743"/>
                  </a:cubicBezTo>
                  <a:cubicBezTo>
                    <a:pt x="1663" y="742"/>
                    <a:pt x="1663" y="741"/>
                    <a:pt x="1664" y="740"/>
                  </a:cubicBezTo>
                  <a:moveTo>
                    <a:pt x="1946" y="743"/>
                  </a:moveTo>
                  <a:cubicBezTo>
                    <a:pt x="1946" y="744"/>
                    <a:pt x="1945" y="744"/>
                    <a:pt x="1945" y="744"/>
                  </a:cubicBezTo>
                  <a:cubicBezTo>
                    <a:pt x="1947" y="746"/>
                    <a:pt x="1948" y="749"/>
                    <a:pt x="1950" y="751"/>
                  </a:cubicBezTo>
                  <a:cubicBezTo>
                    <a:pt x="1950" y="751"/>
                    <a:pt x="1950" y="751"/>
                    <a:pt x="1950" y="751"/>
                  </a:cubicBezTo>
                  <a:cubicBezTo>
                    <a:pt x="1949" y="748"/>
                    <a:pt x="1947" y="746"/>
                    <a:pt x="1946" y="743"/>
                  </a:cubicBezTo>
                  <a:moveTo>
                    <a:pt x="1650" y="748"/>
                  </a:moveTo>
                  <a:cubicBezTo>
                    <a:pt x="1646" y="750"/>
                    <a:pt x="1641" y="752"/>
                    <a:pt x="1635" y="755"/>
                  </a:cubicBezTo>
                  <a:cubicBezTo>
                    <a:pt x="1635" y="755"/>
                    <a:pt x="1636" y="755"/>
                    <a:pt x="1636" y="755"/>
                  </a:cubicBezTo>
                  <a:cubicBezTo>
                    <a:pt x="1642" y="753"/>
                    <a:pt x="1647" y="750"/>
                    <a:pt x="1652" y="748"/>
                  </a:cubicBezTo>
                  <a:cubicBezTo>
                    <a:pt x="1651" y="748"/>
                    <a:pt x="1651" y="748"/>
                    <a:pt x="1650" y="748"/>
                  </a:cubicBezTo>
                  <a:moveTo>
                    <a:pt x="1951" y="751"/>
                  </a:moveTo>
                  <a:cubicBezTo>
                    <a:pt x="1951" y="752"/>
                    <a:pt x="1950" y="752"/>
                    <a:pt x="1950" y="752"/>
                  </a:cubicBezTo>
                  <a:cubicBezTo>
                    <a:pt x="1951" y="753"/>
                    <a:pt x="1951" y="753"/>
                    <a:pt x="1952" y="754"/>
                  </a:cubicBezTo>
                  <a:cubicBezTo>
                    <a:pt x="1952" y="754"/>
                    <a:pt x="1952" y="754"/>
                    <a:pt x="1953" y="754"/>
                  </a:cubicBezTo>
                  <a:cubicBezTo>
                    <a:pt x="1952" y="753"/>
                    <a:pt x="1952" y="752"/>
                    <a:pt x="1951" y="751"/>
                  </a:cubicBezTo>
                  <a:moveTo>
                    <a:pt x="1953" y="755"/>
                  </a:moveTo>
                  <a:cubicBezTo>
                    <a:pt x="1953" y="755"/>
                    <a:pt x="1953" y="755"/>
                    <a:pt x="1952" y="755"/>
                  </a:cubicBezTo>
                  <a:cubicBezTo>
                    <a:pt x="1954" y="757"/>
                    <a:pt x="1955" y="760"/>
                    <a:pt x="1957" y="762"/>
                  </a:cubicBezTo>
                  <a:cubicBezTo>
                    <a:pt x="1957" y="762"/>
                    <a:pt x="1958" y="762"/>
                    <a:pt x="1958" y="762"/>
                  </a:cubicBezTo>
                  <a:cubicBezTo>
                    <a:pt x="1957" y="760"/>
                    <a:pt x="1955" y="757"/>
                    <a:pt x="1953" y="755"/>
                  </a:cubicBezTo>
                  <a:moveTo>
                    <a:pt x="1633" y="755"/>
                  </a:moveTo>
                  <a:cubicBezTo>
                    <a:pt x="1632" y="756"/>
                    <a:pt x="1631" y="756"/>
                    <a:pt x="1630" y="757"/>
                  </a:cubicBezTo>
                  <a:cubicBezTo>
                    <a:pt x="1628" y="758"/>
                    <a:pt x="1626" y="759"/>
                    <a:pt x="1624" y="760"/>
                  </a:cubicBezTo>
                  <a:cubicBezTo>
                    <a:pt x="1628" y="759"/>
                    <a:pt x="1631" y="757"/>
                    <a:pt x="1635" y="756"/>
                  </a:cubicBezTo>
                  <a:cubicBezTo>
                    <a:pt x="1634" y="756"/>
                    <a:pt x="1634" y="755"/>
                    <a:pt x="1633" y="755"/>
                  </a:cubicBezTo>
                  <a:moveTo>
                    <a:pt x="1623" y="759"/>
                  </a:moveTo>
                  <a:cubicBezTo>
                    <a:pt x="1622" y="760"/>
                    <a:pt x="1621" y="760"/>
                    <a:pt x="1619" y="761"/>
                  </a:cubicBezTo>
                  <a:cubicBezTo>
                    <a:pt x="1619" y="761"/>
                    <a:pt x="1618" y="761"/>
                    <a:pt x="1618" y="761"/>
                  </a:cubicBezTo>
                  <a:cubicBezTo>
                    <a:pt x="1618" y="761"/>
                    <a:pt x="1619" y="762"/>
                    <a:pt x="1619" y="762"/>
                  </a:cubicBezTo>
                  <a:cubicBezTo>
                    <a:pt x="1620" y="761"/>
                    <a:pt x="1622" y="760"/>
                    <a:pt x="1623" y="759"/>
                  </a:cubicBezTo>
                  <a:moveTo>
                    <a:pt x="1617" y="762"/>
                  </a:moveTo>
                  <a:cubicBezTo>
                    <a:pt x="1612" y="764"/>
                    <a:pt x="1608" y="766"/>
                    <a:pt x="1603" y="768"/>
                  </a:cubicBezTo>
                  <a:cubicBezTo>
                    <a:pt x="1604" y="768"/>
                    <a:pt x="1604" y="768"/>
                    <a:pt x="1604" y="768"/>
                  </a:cubicBezTo>
                  <a:cubicBezTo>
                    <a:pt x="1609" y="766"/>
                    <a:pt x="1613" y="764"/>
                    <a:pt x="1618" y="762"/>
                  </a:cubicBezTo>
                  <a:cubicBezTo>
                    <a:pt x="1618" y="762"/>
                    <a:pt x="1618" y="762"/>
                    <a:pt x="1618" y="762"/>
                  </a:cubicBezTo>
                  <a:cubicBezTo>
                    <a:pt x="1617" y="762"/>
                    <a:pt x="1617" y="762"/>
                    <a:pt x="1617" y="762"/>
                  </a:cubicBezTo>
                  <a:moveTo>
                    <a:pt x="1958" y="763"/>
                  </a:moveTo>
                  <a:cubicBezTo>
                    <a:pt x="1958" y="763"/>
                    <a:pt x="1958" y="763"/>
                    <a:pt x="1958" y="764"/>
                  </a:cubicBezTo>
                  <a:cubicBezTo>
                    <a:pt x="1959" y="764"/>
                    <a:pt x="1959" y="764"/>
                    <a:pt x="1959" y="763"/>
                  </a:cubicBezTo>
                  <a:cubicBezTo>
                    <a:pt x="1959" y="763"/>
                    <a:pt x="1959" y="763"/>
                    <a:pt x="1959" y="763"/>
                  </a:cubicBezTo>
                  <a:cubicBezTo>
                    <a:pt x="1959" y="763"/>
                    <a:pt x="1958" y="763"/>
                    <a:pt x="1958" y="763"/>
                  </a:cubicBezTo>
                  <a:moveTo>
                    <a:pt x="1960" y="764"/>
                  </a:moveTo>
                  <a:cubicBezTo>
                    <a:pt x="1960" y="764"/>
                    <a:pt x="1959" y="765"/>
                    <a:pt x="1959" y="765"/>
                  </a:cubicBezTo>
                  <a:cubicBezTo>
                    <a:pt x="1960" y="765"/>
                    <a:pt x="1960" y="766"/>
                    <a:pt x="1961" y="767"/>
                  </a:cubicBezTo>
                  <a:cubicBezTo>
                    <a:pt x="1961" y="767"/>
                    <a:pt x="1961" y="766"/>
                    <a:pt x="1961" y="766"/>
                  </a:cubicBezTo>
                  <a:cubicBezTo>
                    <a:pt x="1961" y="766"/>
                    <a:pt x="1960" y="765"/>
                    <a:pt x="1960" y="764"/>
                  </a:cubicBezTo>
                  <a:moveTo>
                    <a:pt x="1962" y="767"/>
                  </a:moveTo>
                  <a:cubicBezTo>
                    <a:pt x="1962" y="767"/>
                    <a:pt x="1961" y="767"/>
                    <a:pt x="1961" y="768"/>
                  </a:cubicBezTo>
                  <a:cubicBezTo>
                    <a:pt x="1962" y="769"/>
                    <a:pt x="1963" y="771"/>
                    <a:pt x="1965" y="772"/>
                  </a:cubicBezTo>
                  <a:cubicBezTo>
                    <a:pt x="1965" y="772"/>
                    <a:pt x="1965" y="772"/>
                    <a:pt x="1966" y="772"/>
                  </a:cubicBezTo>
                  <a:cubicBezTo>
                    <a:pt x="1965" y="770"/>
                    <a:pt x="1963" y="769"/>
                    <a:pt x="1962" y="767"/>
                  </a:cubicBezTo>
                  <a:moveTo>
                    <a:pt x="1602" y="768"/>
                  </a:moveTo>
                  <a:cubicBezTo>
                    <a:pt x="1598" y="770"/>
                    <a:pt x="1594" y="772"/>
                    <a:pt x="1590" y="774"/>
                  </a:cubicBezTo>
                  <a:cubicBezTo>
                    <a:pt x="1591" y="774"/>
                    <a:pt x="1591" y="774"/>
                    <a:pt x="1592" y="774"/>
                  </a:cubicBezTo>
                  <a:cubicBezTo>
                    <a:pt x="1595" y="772"/>
                    <a:pt x="1599" y="770"/>
                    <a:pt x="1603" y="769"/>
                  </a:cubicBezTo>
                  <a:cubicBezTo>
                    <a:pt x="1603" y="769"/>
                    <a:pt x="1602" y="768"/>
                    <a:pt x="1602" y="768"/>
                  </a:cubicBezTo>
                  <a:moveTo>
                    <a:pt x="1967" y="773"/>
                  </a:moveTo>
                  <a:cubicBezTo>
                    <a:pt x="1966" y="773"/>
                    <a:pt x="1966" y="773"/>
                    <a:pt x="1966" y="774"/>
                  </a:cubicBezTo>
                  <a:cubicBezTo>
                    <a:pt x="1967" y="775"/>
                    <a:pt x="1967" y="776"/>
                    <a:pt x="1968" y="777"/>
                  </a:cubicBezTo>
                  <a:cubicBezTo>
                    <a:pt x="1969" y="778"/>
                    <a:pt x="1970" y="779"/>
                    <a:pt x="1971" y="780"/>
                  </a:cubicBezTo>
                  <a:cubicBezTo>
                    <a:pt x="1971" y="780"/>
                    <a:pt x="1971" y="780"/>
                    <a:pt x="1972" y="780"/>
                  </a:cubicBezTo>
                  <a:cubicBezTo>
                    <a:pt x="1971" y="779"/>
                    <a:pt x="1970" y="778"/>
                    <a:pt x="1969" y="776"/>
                  </a:cubicBezTo>
                  <a:cubicBezTo>
                    <a:pt x="1968" y="775"/>
                    <a:pt x="1967" y="774"/>
                    <a:pt x="1967" y="773"/>
                  </a:cubicBezTo>
                  <a:moveTo>
                    <a:pt x="1589" y="774"/>
                  </a:moveTo>
                  <a:cubicBezTo>
                    <a:pt x="1582" y="778"/>
                    <a:pt x="1575" y="782"/>
                    <a:pt x="1568" y="786"/>
                  </a:cubicBezTo>
                  <a:cubicBezTo>
                    <a:pt x="1568" y="786"/>
                    <a:pt x="1568" y="786"/>
                    <a:pt x="1569" y="786"/>
                  </a:cubicBezTo>
                  <a:cubicBezTo>
                    <a:pt x="1576" y="782"/>
                    <a:pt x="1583" y="778"/>
                    <a:pt x="1590" y="775"/>
                  </a:cubicBezTo>
                  <a:cubicBezTo>
                    <a:pt x="1590" y="775"/>
                    <a:pt x="1590" y="774"/>
                    <a:pt x="1589" y="774"/>
                  </a:cubicBezTo>
                  <a:moveTo>
                    <a:pt x="1973" y="781"/>
                  </a:moveTo>
                  <a:cubicBezTo>
                    <a:pt x="1972" y="781"/>
                    <a:pt x="1972" y="781"/>
                    <a:pt x="1971" y="781"/>
                  </a:cubicBezTo>
                  <a:cubicBezTo>
                    <a:pt x="1972" y="782"/>
                    <a:pt x="1973" y="782"/>
                    <a:pt x="1973" y="783"/>
                  </a:cubicBezTo>
                  <a:cubicBezTo>
                    <a:pt x="1974" y="783"/>
                    <a:pt x="1974" y="783"/>
                    <a:pt x="1974" y="783"/>
                  </a:cubicBezTo>
                  <a:cubicBezTo>
                    <a:pt x="1974" y="782"/>
                    <a:pt x="1973" y="781"/>
                    <a:pt x="1973" y="781"/>
                  </a:cubicBezTo>
                  <a:moveTo>
                    <a:pt x="1975" y="784"/>
                  </a:moveTo>
                  <a:cubicBezTo>
                    <a:pt x="1975" y="784"/>
                    <a:pt x="1974" y="784"/>
                    <a:pt x="1974" y="784"/>
                  </a:cubicBezTo>
                  <a:cubicBezTo>
                    <a:pt x="1974" y="785"/>
                    <a:pt x="1975" y="785"/>
                    <a:pt x="1975" y="786"/>
                  </a:cubicBezTo>
                  <a:cubicBezTo>
                    <a:pt x="1976" y="786"/>
                    <a:pt x="1976" y="786"/>
                    <a:pt x="1976" y="786"/>
                  </a:cubicBezTo>
                  <a:cubicBezTo>
                    <a:pt x="1976" y="785"/>
                    <a:pt x="1975" y="784"/>
                    <a:pt x="1975" y="784"/>
                  </a:cubicBezTo>
                  <a:moveTo>
                    <a:pt x="1977" y="787"/>
                  </a:moveTo>
                  <a:cubicBezTo>
                    <a:pt x="1977" y="787"/>
                    <a:pt x="1976" y="787"/>
                    <a:pt x="1976" y="787"/>
                  </a:cubicBezTo>
                  <a:cubicBezTo>
                    <a:pt x="1976" y="787"/>
                    <a:pt x="1976" y="787"/>
                    <a:pt x="1977" y="788"/>
                  </a:cubicBezTo>
                  <a:cubicBezTo>
                    <a:pt x="1977" y="787"/>
                    <a:pt x="1977" y="787"/>
                    <a:pt x="1978" y="787"/>
                  </a:cubicBezTo>
                  <a:cubicBezTo>
                    <a:pt x="1977" y="787"/>
                    <a:pt x="1977" y="787"/>
                    <a:pt x="1977" y="787"/>
                  </a:cubicBezTo>
                  <a:moveTo>
                    <a:pt x="1566" y="787"/>
                  </a:moveTo>
                  <a:cubicBezTo>
                    <a:pt x="1558" y="791"/>
                    <a:pt x="1550" y="796"/>
                    <a:pt x="1541" y="802"/>
                  </a:cubicBezTo>
                  <a:cubicBezTo>
                    <a:pt x="1542" y="802"/>
                    <a:pt x="1542" y="802"/>
                    <a:pt x="1543" y="802"/>
                  </a:cubicBezTo>
                  <a:cubicBezTo>
                    <a:pt x="1551" y="797"/>
                    <a:pt x="1559" y="792"/>
                    <a:pt x="1568" y="787"/>
                  </a:cubicBezTo>
                  <a:cubicBezTo>
                    <a:pt x="1567" y="787"/>
                    <a:pt x="1567" y="787"/>
                    <a:pt x="1566" y="787"/>
                  </a:cubicBezTo>
                  <a:moveTo>
                    <a:pt x="1978" y="788"/>
                  </a:moveTo>
                  <a:cubicBezTo>
                    <a:pt x="1978" y="788"/>
                    <a:pt x="1978" y="788"/>
                    <a:pt x="1977" y="788"/>
                  </a:cubicBezTo>
                  <a:cubicBezTo>
                    <a:pt x="1978" y="789"/>
                    <a:pt x="1978" y="790"/>
                    <a:pt x="1979" y="791"/>
                  </a:cubicBezTo>
                  <a:cubicBezTo>
                    <a:pt x="1979" y="791"/>
                    <a:pt x="1980" y="790"/>
                    <a:pt x="1980" y="790"/>
                  </a:cubicBezTo>
                  <a:cubicBezTo>
                    <a:pt x="1980" y="790"/>
                    <a:pt x="1979" y="789"/>
                    <a:pt x="1978" y="788"/>
                  </a:cubicBezTo>
                  <a:moveTo>
                    <a:pt x="1981" y="792"/>
                  </a:moveTo>
                  <a:cubicBezTo>
                    <a:pt x="1981" y="792"/>
                    <a:pt x="1981" y="792"/>
                    <a:pt x="1980" y="792"/>
                  </a:cubicBezTo>
                  <a:cubicBezTo>
                    <a:pt x="1981" y="793"/>
                    <a:pt x="1982" y="794"/>
                    <a:pt x="1982" y="795"/>
                  </a:cubicBezTo>
                  <a:cubicBezTo>
                    <a:pt x="1983" y="795"/>
                    <a:pt x="1983" y="795"/>
                    <a:pt x="1983" y="795"/>
                  </a:cubicBezTo>
                  <a:cubicBezTo>
                    <a:pt x="1983" y="794"/>
                    <a:pt x="1982" y="793"/>
                    <a:pt x="1981" y="792"/>
                  </a:cubicBezTo>
                  <a:moveTo>
                    <a:pt x="1984" y="796"/>
                  </a:moveTo>
                  <a:cubicBezTo>
                    <a:pt x="1984" y="796"/>
                    <a:pt x="1983" y="796"/>
                    <a:pt x="1983" y="796"/>
                  </a:cubicBezTo>
                  <a:cubicBezTo>
                    <a:pt x="1984" y="797"/>
                    <a:pt x="1984" y="797"/>
                    <a:pt x="1985" y="798"/>
                  </a:cubicBezTo>
                  <a:cubicBezTo>
                    <a:pt x="1985" y="798"/>
                    <a:pt x="1986" y="798"/>
                    <a:pt x="1986" y="798"/>
                  </a:cubicBezTo>
                  <a:cubicBezTo>
                    <a:pt x="1985" y="797"/>
                    <a:pt x="1985" y="796"/>
                    <a:pt x="1984" y="796"/>
                  </a:cubicBezTo>
                  <a:moveTo>
                    <a:pt x="1987" y="799"/>
                  </a:moveTo>
                  <a:cubicBezTo>
                    <a:pt x="1987" y="799"/>
                    <a:pt x="1986" y="799"/>
                    <a:pt x="1986" y="800"/>
                  </a:cubicBezTo>
                  <a:cubicBezTo>
                    <a:pt x="1987" y="800"/>
                    <a:pt x="1988" y="801"/>
                    <a:pt x="1988" y="802"/>
                  </a:cubicBezTo>
                  <a:cubicBezTo>
                    <a:pt x="1989" y="802"/>
                    <a:pt x="1989" y="802"/>
                    <a:pt x="1989" y="802"/>
                  </a:cubicBezTo>
                  <a:cubicBezTo>
                    <a:pt x="1989" y="801"/>
                    <a:pt x="1988" y="800"/>
                    <a:pt x="1987" y="799"/>
                  </a:cubicBezTo>
                  <a:moveTo>
                    <a:pt x="1540" y="802"/>
                  </a:moveTo>
                  <a:cubicBezTo>
                    <a:pt x="1533" y="807"/>
                    <a:pt x="1525" y="812"/>
                    <a:pt x="1518" y="817"/>
                  </a:cubicBezTo>
                  <a:cubicBezTo>
                    <a:pt x="1518" y="818"/>
                    <a:pt x="1519" y="818"/>
                    <a:pt x="1519" y="818"/>
                  </a:cubicBezTo>
                  <a:cubicBezTo>
                    <a:pt x="1527" y="813"/>
                    <a:pt x="1534" y="808"/>
                    <a:pt x="1542" y="803"/>
                  </a:cubicBezTo>
                  <a:cubicBezTo>
                    <a:pt x="1541" y="803"/>
                    <a:pt x="1541" y="803"/>
                    <a:pt x="1540" y="802"/>
                  </a:cubicBezTo>
                  <a:moveTo>
                    <a:pt x="1990" y="803"/>
                  </a:moveTo>
                  <a:cubicBezTo>
                    <a:pt x="1990" y="803"/>
                    <a:pt x="1989" y="803"/>
                    <a:pt x="1989" y="803"/>
                  </a:cubicBezTo>
                  <a:cubicBezTo>
                    <a:pt x="1989" y="803"/>
                    <a:pt x="1989" y="804"/>
                    <a:pt x="1989" y="804"/>
                  </a:cubicBezTo>
                  <a:cubicBezTo>
                    <a:pt x="1990" y="804"/>
                    <a:pt x="1990" y="804"/>
                    <a:pt x="1991" y="804"/>
                  </a:cubicBezTo>
                  <a:cubicBezTo>
                    <a:pt x="1990" y="803"/>
                    <a:pt x="1990" y="803"/>
                    <a:pt x="1990" y="803"/>
                  </a:cubicBezTo>
                  <a:moveTo>
                    <a:pt x="1991" y="804"/>
                  </a:moveTo>
                  <a:cubicBezTo>
                    <a:pt x="1991" y="804"/>
                    <a:pt x="1990" y="805"/>
                    <a:pt x="1990" y="805"/>
                  </a:cubicBezTo>
                  <a:cubicBezTo>
                    <a:pt x="1990" y="805"/>
                    <a:pt x="1991" y="805"/>
                    <a:pt x="1991" y="806"/>
                  </a:cubicBezTo>
                  <a:cubicBezTo>
                    <a:pt x="1991" y="805"/>
                    <a:pt x="1992" y="805"/>
                    <a:pt x="1992" y="805"/>
                  </a:cubicBezTo>
                  <a:cubicBezTo>
                    <a:pt x="1992" y="805"/>
                    <a:pt x="1991" y="805"/>
                    <a:pt x="1991" y="804"/>
                  </a:cubicBezTo>
                  <a:moveTo>
                    <a:pt x="1993" y="806"/>
                  </a:moveTo>
                  <a:cubicBezTo>
                    <a:pt x="1992" y="806"/>
                    <a:pt x="1992" y="806"/>
                    <a:pt x="1992" y="806"/>
                  </a:cubicBezTo>
                  <a:cubicBezTo>
                    <a:pt x="1995" y="811"/>
                    <a:pt x="1998" y="815"/>
                    <a:pt x="2001" y="819"/>
                  </a:cubicBezTo>
                  <a:cubicBezTo>
                    <a:pt x="2001" y="818"/>
                    <a:pt x="2002" y="818"/>
                    <a:pt x="2002" y="818"/>
                  </a:cubicBezTo>
                  <a:cubicBezTo>
                    <a:pt x="1999" y="814"/>
                    <a:pt x="1996" y="810"/>
                    <a:pt x="1993" y="806"/>
                  </a:cubicBezTo>
                  <a:moveTo>
                    <a:pt x="1517" y="818"/>
                  </a:moveTo>
                  <a:cubicBezTo>
                    <a:pt x="1510" y="823"/>
                    <a:pt x="1504" y="828"/>
                    <a:pt x="1497" y="833"/>
                  </a:cubicBezTo>
                  <a:cubicBezTo>
                    <a:pt x="1497" y="833"/>
                    <a:pt x="1498" y="833"/>
                    <a:pt x="1498" y="833"/>
                  </a:cubicBezTo>
                  <a:cubicBezTo>
                    <a:pt x="1505" y="828"/>
                    <a:pt x="1511" y="823"/>
                    <a:pt x="1518" y="818"/>
                  </a:cubicBezTo>
                  <a:cubicBezTo>
                    <a:pt x="1518" y="818"/>
                    <a:pt x="1517" y="818"/>
                    <a:pt x="1517" y="818"/>
                  </a:cubicBezTo>
                  <a:moveTo>
                    <a:pt x="2003" y="819"/>
                  </a:moveTo>
                  <a:cubicBezTo>
                    <a:pt x="2002" y="819"/>
                    <a:pt x="2002" y="819"/>
                    <a:pt x="2002" y="819"/>
                  </a:cubicBezTo>
                  <a:cubicBezTo>
                    <a:pt x="2013" y="835"/>
                    <a:pt x="2023" y="848"/>
                    <a:pt x="2031" y="861"/>
                  </a:cubicBezTo>
                  <a:cubicBezTo>
                    <a:pt x="2031" y="861"/>
                    <a:pt x="2032" y="861"/>
                    <a:pt x="2032" y="861"/>
                  </a:cubicBezTo>
                  <a:cubicBezTo>
                    <a:pt x="2024" y="848"/>
                    <a:pt x="2014" y="834"/>
                    <a:pt x="2003" y="819"/>
                  </a:cubicBezTo>
                  <a:moveTo>
                    <a:pt x="1496" y="833"/>
                  </a:moveTo>
                  <a:cubicBezTo>
                    <a:pt x="1490" y="837"/>
                    <a:pt x="1485" y="842"/>
                    <a:pt x="1479" y="846"/>
                  </a:cubicBezTo>
                  <a:cubicBezTo>
                    <a:pt x="1480" y="846"/>
                    <a:pt x="1480" y="846"/>
                    <a:pt x="1481" y="846"/>
                  </a:cubicBezTo>
                  <a:cubicBezTo>
                    <a:pt x="1486" y="842"/>
                    <a:pt x="1492" y="838"/>
                    <a:pt x="1497" y="834"/>
                  </a:cubicBezTo>
                  <a:cubicBezTo>
                    <a:pt x="1497" y="834"/>
                    <a:pt x="1496" y="833"/>
                    <a:pt x="1496" y="833"/>
                  </a:cubicBezTo>
                  <a:moveTo>
                    <a:pt x="1478" y="847"/>
                  </a:moveTo>
                  <a:cubicBezTo>
                    <a:pt x="1473" y="851"/>
                    <a:pt x="1468" y="855"/>
                    <a:pt x="1462" y="859"/>
                  </a:cubicBezTo>
                  <a:cubicBezTo>
                    <a:pt x="1463" y="860"/>
                    <a:pt x="1463" y="860"/>
                    <a:pt x="1464" y="860"/>
                  </a:cubicBezTo>
                  <a:cubicBezTo>
                    <a:pt x="1469" y="855"/>
                    <a:pt x="1474" y="851"/>
                    <a:pt x="1480" y="847"/>
                  </a:cubicBezTo>
                  <a:cubicBezTo>
                    <a:pt x="1479" y="847"/>
                    <a:pt x="1479" y="847"/>
                    <a:pt x="1478" y="847"/>
                  </a:cubicBezTo>
                  <a:moveTo>
                    <a:pt x="1461" y="860"/>
                  </a:moveTo>
                  <a:cubicBezTo>
                    <a:pt x="1457" y="864"/>
                    <a:pt x="1453" y="867"/>
                    <a:pt x="1448" y="871"/>
                  </a:cubicBezTo>
                  <a:cubicBezTo>
                    <a:pt x="1449" y="871"/>
                    <a:pt x="1449" y="871"/>
                    <a:pt x="1450" y="871"/>
                  </a:cubicBezTo>
                  <a:cubicBezTo>
                    <a:pt x="1454" y="867"/>
                    <a:pt x="1458" y="864"/>
                    <a:pt x="1462" y="861"/>
                  </a:cubicBezTo>
                  <a:cubicBezTo>
                    <a:pt x="1462" y="860"/>
                    <a:pt x="1462" y="860"/>
                    <a:pt x="1461" y="860"/>
                  </a:cubicBezTo>
                  <a:moveTo>
                    <a:pt x="2032" y="862"/>
                  </a:moveTo>
                  <a:cubicBezTo>
                    <a:pt x="2032" y="862"/>
                    <a:pt x="2032" y="862"/>
                    <a:pt x="2031" y="862"/>
                  </a:cubicBezTo>
                  <a:cubicBezTo>
                    <a:pt x="2040" y="876"/>
                    <a:pt x="2045" y="889"/>
                    <a:pt x="2046" y="901"/>
                  </a:cubicBezTo>
                  <a:cubicBezTo>
                    <a:pt x="2046" y="901"/>
                    <a:pt x="2047" y="901"/>
                    <a:pt x="2047" y="900"/>
                  </a:cubicBezTo>
                  <a:cubicBezTo>
                    <a:pt x="2046" y="888"/>
                    <a:pt x="2040" y="876"/>
                    <a:pt x="2032" y="862"/>
                  </a:cubicBezTo>
                  <a:moveTo>
                    <a:pt x="1447" y="872"/>
                  </a:moveTo>
                  <a:cubicBezTo>
                    <a:pt x="1446" y="873"/>
                    <a:pt x="1445" y="874"/>
                    <a:pt x="1444" y="874"/>
                  </a:cubicBezTo>
                  <a:cubicBezTo>
                    <a:pt x="1445" y="874"/>
                    <a:pt x="1446" y="874"/>
                    <a:pt x="1447" y="874"/>
                  </a:cubicBezTo>
                  <a:cubicBezTo>
                    <a:pt x="1447" y="873"/>
                    <a:pt x="1448" y="873"/>
                    <a:pt x="1449" y="872"/>
                  </a:cubicBezTo>
                  <a:cubicBezTo>
                    <a:pt x="1448" y="872"/>
                    <a:pt x="1448" y="872"/>
                    <a:pt x="1447" y="872"/>
                  </a:cubicBezTo>
                  <a:moveTo>
                    <a:pt x="1445" y="875"/>
                  </a:moveTo>
                  <a:cubicBezTo>
                    <a:pt x="1444" y="875"/>
                    <a:pt x="1443" y="876"/>
                    <a:pt x="1443" y="876"/>
                  </a:cubicBezTo>
                  <a:cubicBezTo>
                    <a:pt x="1442" y="876"/>
                    <a:pt x="1442" y="877"/>
                    <a:pt x="1441" y="877"/>
                  </a:cubicBezTo>
                  <a:cubicBezTo>
                    <a:pt x="1442" y="877"/>
                    <a:pt x="1442" y="877"/>
                    <a:pt x="1443" y="877"/>
                  </a:cubicBezTo>
                  <a:cubicBezTo>
                    <a:pt x="1443" y="876"/>
                    <a:pt x="1444" y="876"/>
                    <a:pt x="1445" y="875"/>
                  </a:cubicBezTo>
                  <a:moveTo>
                    <a:pt x="1441" y="878"/>
                  </a:moveTo>
                  <a:cubicBezTo>
                    <a:pt x="1441" y="878"/>
                    <a:pt x="1440" y="878"/>
                    <a:pt x="1440" y="878"/>
                  </a:cubicBezTo>
                  <a:cubicBezTo>
                    <a:pt x="1439" y="879"/>
                    <a:pt x="1439" y="879"/>
                    <a:pt x="1439" y="879"/>
                  </a:cubicBezTo>
                  <a:cubicBezTo>
                    <a:pt x="1439" y="879"/>
                    <a:pt x="1440" y="879"/>
                    <a:pt x="1440" y="879"/>
                  </a:cubicBezTo>
                  <a:cubicBezTo>
                    <a:pt x="1441" y="879"/>
                    <a:pt x="1441" y="878"/>
                    <a:pt x="1441" y="878"/>
                  </a:cubicBezTo>
                  <a:moveTo>
                    <a:pt x="1439" y="880"/>
                  </a:moveTo>
                  <a:cubicBezTo>
                    <a:pt x="1438" y="880"/>
                    <a:pt x="1438" y="880"/>
                    <a:pt x="1437" y="881"/>
                  </a:cubicBezTo>
                  <a:cubicBezTo>
                    <a:pt x="1347" y="959"/>
                    <a:pt x="1270" y="1055"/>
                    <a:pt x="1270" y="1115"/>
                  </a:cubicBezTo>
                  <a:cubicBezTo>
                    <a:pt x="1270" y="1149"/>
                    <a:pt x="1296" y="1172"/>
                    <a:pt x="1359" y="1172"/>
                  </a:cubicBezTo>
                  <a:cubicBezTo>
                    <a:pt x="1405" y="1172"/>
                    <a:pt x="1470" y="1160"/>
                    <a:pt x="1560" y="1133"/>
                  </a:cubicBezTo>
                  <a:cubicBezTo>
                    <a:pt x="1933" y="1020"/>
                    <a:pt x="2047" y="971"/>
                    <a:pt x="2047" y="907"/>
                  </a:cubicBezTo>
                  <a:cubicBezTo>
                    <a:pt x="2047" y="905"/>
                    <a:pt x="2047" y="903"/>
                    <a:pt x="2047" y="902"/>
                  </a:cubicBezTo>
                  <a:cubicBezTo>
                    <a:pt x="2047" y="902"/>
                    <a:pt x="2046" y="902"/>
                    <a:pt x="2046" y="902"/>
                  </a:cubicBezTo>
                  <a:cubicBezTo>
                    <a:pt x="2046" y="904"/>
                    <a:pt x="2046" y="905"/>
                    <a:pt x="2046" y="907"/>
                  </a:cubicBezTo>
                  <a:cubicBezTo>
                    <a:pt x="2047" y="970"/>
                    <a:pt x="1933" y="1019"/>
                    <a:pt x="1560" y="1132"/>
                  </a:cubicBezTo>
                  <a:cubicBezTo>
                    <a:pt x="1470" y="1159"/>
                    <a:pt x="1404" y="1171"/>
                    <a:pt x="1359" y="1171"/>
                  </a:cubicBezTo>
                  <a:cubicBezTo>
                    <a:pt x="1296" y="1171"/>
                    <a:pt x="1271" y="1149"/>
                    <a:pt x="1271" y="1115"/>
                  </a:cubicBezTo>
                  <a:cubicBezTo>
                    <a:pt x="1271" y="1055"/>
                    <a:pt x="1348" y="959"/>
                    <a:pt x="1439" y="880"/>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34" name="Freeform 63"/>
            <p:cNvSpPr>
              <a:spLocks noEditPoints="1"/>
            </p:cNvSpPr>
            <p:nvPr userDrawn="1"/>
          </p:nvSpPr>
          <p:spPr bwMode="auto">
            <a:xfrm>
              <a:off x="-783" y="3983"/>
              <a:ext cx="4309" cy="2158"/>
            </a:xfrm>
            <a:custGeom>
              <a:avLst/>
              <a:gdLst>
                <a:gd name="T0" fmla="*/ 2147483646 w 2126"/>
                <a:gd name="T1" fmla="*/ 2147483646 h 1065"/>
                <a:gd name="T2" fmla="*/ 2147483646 w 2126"/>
                <a:gd name="T3" fmla="*/ 2147483646 h 1065"/>
                <a:gd name="T4" fmla="*/ 2147483646 w 2126"/>
                <a:gd name="T5" fmla="*/ 2147483646 h 1065"/>
                <a:gd name="T6" fmla="*/ 2147483646 w 2126"/>
                <a:gd name="T7" fmla="*/ 2147483646 h 1065"/>
                <a:gd name="T8" fmla="*/ 2147483646 w 2126"/>
                <a:gd name="T9" fmla="*/ 2147483646 h 1065"/>
                <a:gd name="T10" fmla="*/ 2147483646 w 2126"/>
                <a:gd name="T11" fmla="*/ 2147483646 h 1065"/>
                <a:gd name="T12" fmla="*/ 2147483646 w 2126"/>
                <a:gd name="T13" fmla="*/ 2147483646 h 1065"/>
                <a:gd name="T14" fmla="*/ 2147483646 w 2126"/>
                <a:gd name="T15" fmla="*/ 2147483646 h 1065"/>
                <a:gd name="T16" fmla="*/ 2147483646 w 2126"/>
                <a:gd name="T17" fmla="*/ 2147483646 h 1065"/>
                <a:gd name="T18" fmla="*/ 2147483646 w 2126"/>
                <a:gd name="T19" fmla="*/ 2147483646 h 1065"/>
                <a:gd name="T20" fmla="*/ 2147483646 w 2126"/>
                <a:gd name="T21" fmla="*/ 2147483646 h 1065"/>
                <a:gd name="T22" fmla="*/ 2147483646 w 2126"/>
                <a:gd name="T23" fmla="*/ 2147483646 h 1065"/>
                <a:gd name="T24" fmla="*/ 2147483646 w 2126"/>
                <a:gd name="T25" fmla="*/ 2147483646 h 1065"/>
                <a:gd name="T26" fmla="*/ 2147483646 w 2126"/>
                <a:gd name="T27" fmla="*/ 2147483646 h 1065"/>
                <a:gd name="T28" fmla="*/ 2147483646 w 2126"/>
                <a:gd name="T29" fmla="*/ 2147483646 h 1065"/>
                <a:gd name="T30" fmla="*/ 2147483646 w 2126"/>
                <a:gd name="T31" fmla="*/ 2147483646 h 1065"/>
                <a:gd name="T32" fmla="*/ 2147483646 w 2126"/>
                <a:gd name="T33" fmla="*/ 2147483646 h 1065"/>
                <a:gd name="T34" fmla="*/ 2147483646 w 2126"/>
                <a:gd name="T35" fmla="*/ 2147483646 h 1065"/>
                <a:gd name="T36" fmla="*/ 2147483646 w 2126"/>
                <a:gd name="T37" fmla="*/ 2147483646 h 1065"/>
                <a:gd name="T38" fmla="*/ 2147483646 w 2126"/>
                <a:gd name="T39" fmla="*/ 2147483646 h 1065"/>
                <a:gd name="T40" fmla="*/ 2147483646 w 2126"/>
                <a:gd name="T41" fmla="*/ 2147483646 h 1065"/>
                <a:gd name="T42" fmla="*/ 2147483646 w 2126"/>
                <a:gd name="T43" fmla="*/ 2147483646 h 1065"/>
                <a:gd name="T44" fmla="*/ 2147483646 w 2126"/>
                <a:gd name="T45" fmla="*/ 2147483646 h 1065"/>
                <a:gd name="T46" fmla="*/ 2147483646 w 2126"/>
                <a:gd name="T47" fmla="*/ 2147483646 h 1065"/>
                <a:gd name="T48" fmla="*/ 2147483646 w 2126"/>
                <a:gd name="T49" fmla="*/ 2147483646 h 1065"/>
                <a:gd name="T50" fmla="*/ 2147483646 w 2126"/>
                <a:gd name="T51" fmla="*/ 2147483646 h 1065"/>
                <a:gd name="T52" fmla="*/ 2147483646 w 2126"/>
                <a:gd name="T53" fmla="*/ 2147483646 h 1065"/>
                <a:gd name="T54" fmla="*/ 2147483646 w 2126"/>
                <a:gd name="T55" fmla="*/ 2147483646 h 1065"/>
                <a:gd name="T56" fmla="*/ 2147483646 w 2126"/>
                <a:gd name="T57" fmla="*/ 2147483646 h 1065"/>
                <a:gd name="T58" fmla="*/ 2147483646 w 2126"/>
                <a:gd name="T59" fmla="*/ 2147483646 h 1065"/>
                <a:gd name="T60" fmla="*/ 2147483646 w 2126"/>
                <a:gd name="T61" fmla="*/ 2147483646 h 1065"/>
                <a:gd name="T62" fmla="*/ 2147483646 w 2126"/>
                <a:gd name="T63" fmla="*/ 2147483646 h 1065"/>
                <a:gd name="T64" fmla="*/ 2147483646 w 2126"/>
                <a:gd name="T65" fmla="*/ 2147483646 h 1065"/>
                <a:gd name="T66" fmla="*/ 2147483646 w 2126"/>
                <a:gd name="T67" fmla="*/ 2147483646 h 1065"/>
                <a:gd name="T68" fmla="*/ 2147483646 w 2126"/>
                <a:gd name="T69" fmla="*/ 2147483646 h 1065"/>
                <a:gd name="T70" fmla="*/ 2147483646 w 2126"/>
                <a:gd name="T71" fmla="*/ 2147483646 h 1065"/>
                <a:gd name="T72" fmla="*/ 2147483646 w 2126"/>
                <a:gd name="T73" fmla="*/ 2147483646 h 1065"/>
                <a:gd name="T74" fmla="*/ 2147483646 w 2126"/>
                <a:gd name="T75" fmla="*/ 2147483646 h 1065"/>
                <a:gd name="T76" fmla="*/ 2147483646 w 2126"/>
                <a:gd name="T77" fmla="*/ 2147483646 h 1065"/>
                <a:gd name="T78" fmla="*/ 2147483646 w 2126"/>
                <a:gd name="T79" fmla="*/ 2147483646 h 1065"/>
                <a:gd name="T80" fmla="*/ 2147483646 w 2126"/>
                <a:gd name="T81" fmla="*/ 2147483646 h 1065"/>
                <a:gd name="T82" fmla="*/ 2147483646 w 2126"/>
                <a:gd name="T83" fmla="*/ 2147483646 h 1065"/>
                <a:gd name="T84" fmla="*/ 2147483646 w 2126"/>
                <a:gd name="T85" fmla="*/ 2147483646 h 1065"/>
                <a:gd name="T86" fmla="*/ 2147483646 w 2126"/>
                <a:gd name="T87" fmla="*/ 2147483646 h 1065"/>
                <a:gd name="T88" fmla="*/ 2147483646 w 2126"/>
                <a:gd name="T89" fmla="*/ 2147483646 h 1065"/>
                <a:gd name="T90" fmla="*/ 2147483646 w 2126"/>
                <a:gd name="T91" fmla="*/ 2147483646 h 1065"/>
                <a:gd name="T92" fmla="*/ 2147483646 w 2126"/>
                <a:gd name="T93" fmla="*/ 2147483646 h 1065"/>
                <a:gd name="T94" fmla="*/ 2147483646 w 2126"/>
                <a:gd name="T95" fmla="*/ 2147483646 h 1065"/>
                <a:gd name="T96" fmla="*/ 2147483646 w 2126"/>
                <a:gd name="T97" fmla="*/ 2147483646 h 1065"/>
                <a:gd name="T98" fmla="*/ 2147483646 w 2126"/>
                <a:gd name="T99" fmla="*/ 2147483646 h 1065"/>
                <a:gd name="T100" fmla="*/ 2147483646 w 2126"/>
                <a:gd name="T101" fmla="*/ 2147483646 h 1065"/>
                <a:gd name="T102" fmla="*/ 2147483646 w 2126"/>
                <a:gd name="T103" fmla="*/ 2147483646 h 1065"/>
                <a:gd name="T104" fmla="*/ 2147483646 w 2126"/>
                <a:gd name="T105" fmla="*/ 2147483646 h 1065"/>
                <a:gd name="T106" fmla="*/ 2147483646 w 2126"/>
                <a:gd name="T107" fmla="*/ 2147483646 h 1065"/>
                <a:gd name="T108" fmla="*/ 2147483646 w 2126"/>
                <a:gd name="T109" fmla="*/ 2147483646 h 1065"/>
                <a:gd name="T110" fmla="*/ 2147483646 w 2126"/>
                <a:gd name="T111" fmla="*/ 2147483646 h 1065"/>
                <a:gd name="T112" fmla="*/ 2147483646 w 2126"/>
                <a:gd name="T113" fmla="*/ 2147483646 h 1065"/>
                <a:gd name="T114" fmla="*/ 2147483646 w 2126"/>
                <a:gd name="T115" fmla="*/ 2147483646 h 1065"/>
                <a:gd name="T116" fmla="*/ 2147483646 w 2126"/>
                <a:gd name="T117" fmla="*/ 2147483646 h 1065"/>
                <a:gd name="T118" fmla="*/ 2147483646 w 2126"/>
                <a:gd name="T119" fmla="*/ 2147483646 h 1065"/>
                <a:gd name="T120" fmla="*/ 2147483646 w 2126"/>
                <a:gd name="T121" fmla="*/ 2147483646 h 1065"/>
                <a:gd name="T122" fmla="*/ 2147483646 w 2126"/>
                <a:gd name="T123" fmla="*/ 2147483646 h 1065"/>
                <a:gd name="T124" fmla="*/ 2147483646 w 2126"/>
                <a:gd name="T125" fmla="*/ 2147483646 h 106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126" h="1065">
                  <a:moveTo>
                    <a:pt x="102" y="0"/>
                  </a:moveTo>
                  <a:cubicBezTo>
                    <a:pt x="39" y="0"/>
                    <a:pt x="0" y="12"/>
                    <a:pt x="0" y="39"/>
                  </a:cubicBezTo>
                  <a:cubicBezTo>
                    <a:pt x="0" y="79"/>
                    <a:pt x="79" y="148"/>
                    <a:pt x="274" y="259"/>
                  </a:cubicBezTo>
                  <a:cubicBezTo>
                    <a:pt x="683" y="489"/>
                    <a:pt x="1012" y="590"/>
                    <a:pt x="1240" y="637"/>
                  </a:cubicBezTo>
                  <a:cubicBezTo>
                    <a:pt x="1258" y="641"/>
                    <a:pt x="1276" y="644"/>
                    <a:pt x="1293" y="647"/>
                  </a:cubicBezTo>
                  <a:cubicBezTo>
                    <a:pt x="1293" y="647"/>
                    <a:pt x="1294" y="647"/>
                    <a:pt x="1294" y="646"/>
                  </a:cubicBezTo>
                  <a:cubicBezTo>
                    <a:pt x="1066" y="605"/>
                    <a:pt x="717" y="507"/>
                    <a:pt x="275" y="258"/>
                  </a:cubicBezTo>
                  <a:cubicBezTo>
                    <a:pt x="80" y="148"/>
                    <a:pt x="1" y="78"/>
                    <a:pt x="1" y="39"/>
                  </a:cubicBezTo>
                  <a:cubicBezTo>
                    <a:pt x="1" y="26"/>
                    <a:pt x="10" y="17"/>
                    <a:pt x="28" y="10"/>
                  </a:cubicBezTo>
                  <a:cubicBezTo>
                    <a:pt x="45" y="4"/>
                    <a:pt x="70" y="1"/>
                    <a:pt x="102" y="1"/>
                  </a:cubicBezTo>
                  <a:cubicBezTo>
                    <a:pt x="102" y="1"/>
                    <a:pt x="102" y="1"/>
                    <a:pt x="102" y="1"/>
                  </a:cubicBezTo>
                  <a:cubicBezTo>
                    <a:pt x="102" y="1"/>
                    <a:pt x="102" y="1"/>
                    <a:pt x="102" y="1"/>
                  </a:cubicBezTo>
                  <a:cubicBezTo>
                    <a:pt x="327" y="1"/>
                    <a:pt x="871" y="150"/>
                    <a:pt x="1197" y="315"/>
                  </a:cubicBezTo>
                  <a:cubicBezTo>
                    <a:pt x="1214" y="323"/>
                    <a:pt x="1231" y="331"/>
                    <a:pt x="1247" y="340"/>
                  </a:cubicBezTo>
                  <a:cubicBezTo>
                    <a:pt x="1247" y="340"/>
                    <a:pt x="1247" y="340"/>
                    <a:pt x="1247" y="340"/>
                  </a:cubicBezTo>
                  <a:cubicBezTo>
                    <a:pt x="1243" y="338"/>
                    <a:pt x="1239" y="336"/>
                    <a:pt x="1235" y="333"/>
                  </a:cubicBezTo>
                  <a:cubicBezTo>
                    <a:pt x="1217" y="324"/>
                    <a:pt x="1199" y="314"/>
                    <a:pt x="1180" y="305"/>
                  </a:cubicBezTo>
                  <a:cubicBezTo>
                    <a:pt x="852" y="143"/>
                    <a:pt x="323" y="0"/>
                    <a:pt x="102" y="0"/>
                  </a:cubicBezTo>
                  <a:moveTo>
                    <a:pt x="1637" y="97"/>
                  </a:moveTo>
                  <a:cubicBezTo>
                    <a:pt x="1632" y="97"/>
                    <a:pt x="1628" y="98"/>
                    <a:pt x="1623" y="98"/>
                  </a:cubicBezTo>
                  <a:cubicBezTo>
                    <a:pt x="1622" y="98"/>
                    <a:pt x="1622" y="99"/>
                    <a:pt x="1621" y="99"/>
                  </a:cubicBezTo>
                  <a:cubicBezTo>
                    <a:pt x="1626" y="99"/>
                    <a:pt x="1632" y="98"/>
                    <a:pt x="1637" y="98"/>
                  </a:cubicBezTo>
                  <a:cubicBezTo>
                    <a:pt x="1638" y="98"/>
                    <a:pt x="1640" y="98"/>
                    <a:pt x="1641" y="99"/>
                  </a:cubicBezTo>
                  <a:cubicBezTo>
                    <a:pt x="1641" y="98"/>
                    <a:pt x="1641" y="98"/>
                    <a:pt x="1641" y="98"/>
                  </a:cubicBezTo>
                  <a:cubicBezTo>
                    <a:pt x="1640" y="97"/>
                    <a:pt x="1639" y="97"/>
                    <a:pt x="1637" y="97"/>
                  </a:cubicBezTo>
                  <a:moveTo>
                    <a:pt x="1643" y="98"/>
                  </a:moveTo>
                  <a:cubicBezTo>
                    <a:pt x="1643" y="98"/>
                    <a:pt x="1642" y="98"/>
                    <a:pt x="1642" y="99"/>
                  </a:cubicBezTo>
                  <a:cubicBezTo>
                    <a:pt x="1652" y="99"/>
                    <a:pt x="1662" y="100"/>
                    <a:pt x="1673" y="101"/>
                  </a:cubicBezTo>
                  <a:cubicBezTo>
                    <a:pt x="1673" y="101"/>
                    <a:pt x="1674" y="100"/>
                    <a:pt x="1674" y="100"/>
                  </a:cubicBezTo>
                  <a:cubicBezTo>
                    <a:pt x="1663" y="99"/>
                    <a:pt x="1652" y="98"/>
                    <a:pt x="1643" y="98"/>
                  </a:cubicBezTo>
                  <a:moveTo>
                    <a:pt x="1621" y="98"/>
                  </a:moveTo>
                  <a:cubicBezTo>
                    <a:pt x="1608" y="99"/>
                    <a:pt x="1597" y="102"/>
                    <a:pt x="1589" y="107"/>
                  </a:cubicBezTo>
                  <a:cubicBezTo>
                    <a:pt x="1589" y="107"/>
                    <a:pt x="1588" y="107"/>
                    <a:pt x="1588" y="108"/>
                  </a:cubicBezTo>
                  <a:cubicBezTo>
                    <a:pt x="1579" y="113"/>
                    <a:pt x="1574" y="121"/>
                    <a:pt x="1574" y="132"/>
                  </a:cubicBezTo>
                  <a:cubicBezTo>
                    <a:pt x="1574" y="141"/>
                    <a:pt x="1578" y="152"/>
                    <a:pt x="1585" y="165"/>
                  </a:cubicBezTo>
                  <a:cubicBezTo>
                    <a:pt x="1633" y="248"/>
                    <a:pt x="1673" y="305"/>
                    <a:pt x="1697" y="347"/>
                  </a:cubicBezTo>
                  <a:cubicBezTo>
                    <a:pt x="1697" y="347"/>
                    <a:pt x="1697" y="347"/>
                    <a:pt x="1698" y="347"/>
                  </a:cubicBezTo>
                  <a:cubicBezTo>
                    <a:pt x="1674" y="305"/>
                    <a:pt x="1634" y="248"/>
                    <a:pt x="1586" y="165"/>
                  </a:cubicBezTo>
                  <a:cubicBezTo>
                    <a:pt x="1579" y="152"/>
                    <a:pt x="1575" y="141"/>
                    <a:pt x="1575" y="132"/>
                  </a:cubicBezTo>
                  <a:cubicBezTo>
                    <a:pt x="1575" y="121"/>
                    <a:pt x="1580" y="113"/>
                    <a:pt x="1590" y="108"/>
                  </a:cubicBezTo>
                  <a:cubicBezTo>
                    <a:pt x="1590" y="107"/>
                    <a:pt x="1591" y="107"/>
                    <a:pt x="1592" y="106"/>
                  </a:cubicBezTo>
                  <a:cubicBezTo>
                    <a:pt x="1599" y="103"/>
                    <a:pt x="1608" y="101"/>
                    <a:pt x="1619" y="99"/>
                  </a:cubicBezTo>
                  <a:cubicBezTo>
                    <a:pt x="1619" y="99"/>
                    <a:pt x="1620" y="99"/>
                    <a:pt x="1621" y="98"/>
                  </a:cubicBezTo>
                  <a:moveTo>
                    <a:pt x="1675" y="100"/>
                  </a:moveTo>
                  <a:cubicBezTo>
                    <a:pt x="1675" y="100"/>
                    <a:pt x="1675" y="101"/>
                    <a:pt x="1674" y="101"/>
                  </a:cubicBezTo>
                  <a:cubicBezTo>
                    <a:pt x="1686" y="102"/>
                    <a:pt x="1698" y="104"/>
                    <a:pt x="1710" y="107"/>
                  </a:cubicBezTo>
                  <a:cubicBezTo>
                    <a:pt x="1710" y="106"/>
                    <a:pt x="1711" y="106"/>
                    <a:pt x="1711" y="106"/>
                  </a:cubicBezTo>
                  <a:cubicBezTo>
                    <a:pt x="1699" y="104"/>
                    <a:pt x="1687" y="102"/>
                    <a:pt x="1675" y="100"/>
                  </a:cubicBezTo>
                  <a:moveTo>
                    <a:pt x="1713" y="106"/>
                  </a:moveTo>
                  <a:cubicBezTo>
                    <a:pt x="1712" y="106"/>
                    <a:pt x="1712" y="107"/>
                    <a:pt x="1711" y="107"/>
                  </a:cubicBezTo>
                  <a:cubicBezTo>
                    <a:pt x="1722" y="109"/>
                    <a:pt x="1733" y="112"/>
                    <a:pt x="1744" y="114"/>
                  </a:cubicBezTo>
                  <a:cubicBezTo>
                    <a:pt x="1745" y="114"/>
                    <a:pt x="1745" y="114"/>
                    <a:pt x="1746" y="114"/>
                  </a:cubicBezTo>
                  <a:cubicBezTo>
                    <a:pt x="1734" y="111"/>
                    <a:pt x="1723" y="108"/>
                    <a:pt x="1713" y="106"/>
                  </a:cubicBezTo>
                  <a:moveTo>
                    <a:pt x="1747" y="114"/>
                  </a:moveTo>
                  <a:cubicBezTo>
                    <a:pt x="1747" y="114"/>
                    <a:pt x="1746" y="114"/>
                    <a:pt x="1746" y="115"/>
                  </a:cubicBezTo>
                  <a:cubicBezTo>
                    <a:pt x="1755" y="117"/>
                    <a:pt x="1765" y="120"/>
                    <a:pt x="1775" y="122"/>
                  </a:cubicBezTo>
                  <a:cubicBezTo>
                    <a:pt x="1775" y="122"/>
                    <a:pt x="1776" y="122"/>
                    <a:pt x="1776" y="122"/>
                  </a:cubicBezTo>
                  <a:cubicBezTo>
                    <a:pt x="1766" y="119"/>
                    <a:pt x="1757" y="116"/>
                    <a:pt x="1747" y="114"/>
                  </a:cubicBezTo>
                  <a:moveTo>
                    <a:pt x="1777" y="122"/>
                  </a:moveTo>
                  <a:cubicBezTo>
                    <a:pt x="1777" y="122"/>
                    <a:pt x="1777" y="123"/>
                    <a:pt x="1776" y="123"/>
                  </a:cubicBezTo>
                  <a:cubicBezTo>
                    <a:pt x="1782" y="124"/>
                    <a:pt x="1788" y="126"/>
                    <a:pt x="1794" y="128"/>
                  </a:cubicBezTo>
                  <a:cubicBezTo>
                    <a:pt x="1794" y="128"/>
                    <a:pt x="1795" y="128"/>
                    <a:pt x="1795" y="127"/>
                  </a:cubicBezTo>
                  <a:cubicBezTo>
                    <a:pt x="1789" y="126"/>
                    <a:pt x="1783" y="124"/>
                    <a:pt x="1777" y="122"/>
                  </a:cubicBezTo>
                  <a:moveTo>
                    <a:pt x="1796" y="128"/>
                  </a:moveTo>
                  <a:cubicBezTo>
                    <a:pt x="1796" y="128"/>
                    <a:pt x="1795" y="128"/>
                    <a:pt x="1795" y="128"/>
                  </a:cubicBezTo>
                  <a:cubicBezTo>
                    <a:pt x="1796" y="129"/>
                    <a:pt x="1797" y="129"/>
                    <a:pt x="1798" y="129"/>
                  </a:cubicBezTo>
                  <a:cubicBezTo>
                    <a:pt x="1799" y="129"/>
                    <a:pt x="1799" y="129"/>
                    <a:pt x="1799" y="129"/>
                  </a:cubicBezTo>
                  <a:cubicBezTo>
                    <a:pt x="1798" y="128"/>
                    <a:pt x="1797" y="128"/>
                    <a:pt x="1796" y="128"/>
                  </a:cubicBezTo>
                  <a:moveTo>
                    <a:pt x="1800" y="129"/>
                  </a:moveTo>
                  <a:cubicBezTo>
                    <a:pt x="1800" y="129"/>
                    <a:pt x="1800" y="129"/>
                    <a:pt x="1800" y="130"/>
                  </a:cubicBezTo>
                  <a:cubicBezTo>
                    <a:pt x="1800" y="130"/>
                    <a:pt x="1801" y="130"/>
                    <a:pt x="1801" y="130"/>
                  </a:cubicBezTo>
                  <a:cubicBezTo>
                    <a:pt x="1801" y="130"/>
                    <a:pt x="1801" y="130"/>
                    <a:pt x="1802" y="129"/>
                  </a:cubicBezTo>
                  <a:cubicBezTo>
                    <a:pt x="1801" y="129"/>
                    <a:pt x="1801" y="129"/>
                    <a:pt x="1800" y="129"/>
                  </a:cubicBezTo>
                  <a:moveTo>
                    <a:pt x="1803" y="130"/>
                  </a:moveTo>
                  <a:cubicBezTo>
                    <a:pt x="1802" y="130"/>
                    <a:pt x="1802" y="130"/>
                    <a:pt x="1802" y="131"/>
                  </a:cubicBezTo>
                  <a:cubicBezTo>
                    <a:pt x="1806" y="132"/>
                    <a:pt x="1809" y="133"/>
                    <a:pt x="1812" y="134"/>
                  </a:cubicBezTo>
                  <a:cubicBezTo>
                    <a:pt x="1812" y="133"/>
                    <a:pt x="1812" y="133"/>
                    <a:pt x="1812" y="133"/>
                  </a:cubicBezTo>
                  <a:cubicBezTo>
                    <a:pt x="1809" y="132"/>
                    <a:pt x="1806" y="131"/>
                    <a:pt x="1803" y="130"/>
                  </a:cubicBezTo>
                  <a:moveTo>
                    <a:pt x="1813" y="133"/>
                  </a:moveTo>
                  <a:cubicBezTo>
                    <a:pt x="1813" y="133"/>
                    <a:pt x="1813" y="134"/>
                    <a:pt x="1814" y="134"/>
                  </a:cubicBezTo>
                  <a:cubicBezTo>
                    <a:pt x="1819" y="136"/>
                    <a:pt x="1825" y="138"/>
                    <a:pt x="1831" y="140"/>
                  </a:cubicBezTo>
                  <a:cubicBezTo>
                    <a:pt x="1831" y="140"/>
                    <a:pt x="1831" y="139"/>
                    <a:pt x="1831" y="139"/>
                  </a:cubicBezTo>
                  <a:cubicBezTo>
                    <a:pt x="1825" y="137"/>
                    <a:pt x="1819" y="135"/>
                    <a:pt x="1813" y="133"/>
                  </a:cubicBezTo>
                  <a:moveTo>
                    <a:pt x="1832" y="139"/>
                  </a:moveTo>
                  <a:cubicBezTo>
                    <a:pt x="1832" y="140"/>
                    <a:pt x="1832" y="140"/>
                    <a:pt x="1832" y="140"/>
                  </a:cubicBezTo>
                  <a:cubicBezTo>
                    <a:pt x="1835" y="142"/>
                    <a:pt x="1839" y="143"/>
                    <a:pt x="1842" y="144"/>
                  </a:cubicBezTo>
                  <a:cubicBezTo>
                    <a:pt x="1842" y="144"/>
                    <a:pt x="1842" y="143"/>
                    <a:pt x="1842" y="143"/>
                  </a:cubicBezTo>
                  <a:cubicBezTo>
                    <a:pt x="1839" y="142"/>
                    <a:pt x="1835" y="140"/>
                    <a:pt x="1832" y="139"/>
                  </a:cubicBezTo>
                  <a:moveTo>
                    <a:pt x="1843" y="143"/>
                  </a:moveTo>
                  <a:cubicBezTo>
                    <a:pt x="1843" y="144"/>
                    <a:pt x="1843" y="144"/>
                    <a:pt x="1843" y="144"/>
                  </a:cubicBezTo>
                  <a:cubicBezTo>
                    <a:pt x="1854" y="148"/>
                    <a:pt x="1866" y="153"/>
                    <a:pt x="1877" y="157"/>
                  </a:cubicBezTo>
                  <a:cubicBezTo>
                    <a:pt x="1877" y="157"/>
                    <a:pt x="1877" y="156"/>
                    <a:pt x="1877" y="156"/>
                  </a:cubicBezTo>
                  <a:cubicBezTo>
                    <a:pt x="1866" y="151"/>
                    <a:pt x="1854" y="147"/>
                    <a:pt x="1843" y="143"/>
                  </a:cubicBezTo>
                  <a:moveTo>
                    <a:pt x="1878" y="156"/>
                  </a:moveTo>
                  <a:cubicBezTo>
                    <a:pt x="1878" y="157"/>
                    <a:pt x="1878" y="157"/>
                    <a:pt x="1878" y="157"/>
                  </a:cubicBezTo>
                  <a:cubicBezTo>
                    <a:pt x="1895" y="164"/>
                    <a:pt x="1913" y="171"/>
                    <a:pt x="1929" y="179"/>
                  </a:cubicBezTo>
                  <a:cubicBezTo>
                    <a:pt x="1929" y="179"/>
                    <a:pt x="1930" y="178"/>
                    <a:pt x="1930" y="178"/>
                  </a:cubicBezTo>
                  <a:cubicBezTo>
                    <a:pt x="1913" y="170"/>
                    <a:pt x="1895" y="163"/>
                    <a:pt x="1878" y="156"/>
                  </a:cubicBezTo>
                  <a:moveTo>
                    <a:pt x="1931" y="178"/>
                  </a:moveTo>
                  <a:cubicBezTo>
                    <a:pt x="1930" y="179"/>
                    <a:pt x="1930" y="179"/>
                    <a:pt x="1930" y="179"/>
                  </a:cubicBezTo>
                  <a:cubicBezTo>
                    <a:pt x="1932" y="180"/>
                    <a:pt x="1934" y="181"/>
                    <a:pt x="1935" y="182"/>
                  </a:cubicBezTo>
                  <a:cubicBezTo>
                    <a:pt x="1941" y="184"/>
                    <a:pt x="1946" y="187"/>
                    <a:pt x="1951" y="189"/>
                  </a:cubicBezTo>
                  <a:cubicBezTo>
                    <a:pt x="1952" y="189"/>
                    <a:pt x="1952" y="189"/>
                    <a:pt x="1952" y="188"/>
                  </a:cubicBezTo>
                  <a:cubicBezTo>
                    <a:pt x="1945" y="185"/>
                    <a:pt x="1938" y="182"/>
                    <a:pt x="1931" y="178"/>
                  </a:cubicBezTo>
                  <a:moveTo>
                    <a:pt x="1954" y="189"/>
                  </a:moveTo>
                  <a:cubicBezTo>
                    <a:pt x="1953" y="189"/>
                    <a:pt x="1953" y="189"/>
                    <a:pt x="1952" y="190"/>
                  </a:cubicBezTo>
                  <a:cubicBezTo>
                    <a:pt x="1956" y="192"/>
                    <a:pt x="1960" y="193"/>
                    <a:pt x="1964" y="195"/>
                  </a:cubicBezTo>
                  <a:cubicBezTo>
                    <a:pt x="1965" y="195"/>
                    <a:pt x="1965" y="195"/>
                    <a:pt x="1965" y="195"/>
                  </a:cubicBezTo>
                  <a:cubicBezTo>
                    <a:pt x="1961" y="193"/>
                    <a:pt x="1958" y="191"/>
                    <a:pt x="1954" y="189"/>
                  </a:cubicBezTo>
                  <a:moveTo>
                    <a:pt x="1966" y="195"/>
                  </a:moveTo>
                  <a:cubicBezTo>
                    <a:pt x="1966" y="195"/>
                    <a:pt x="1966" y="196"/>
                    <a:pt x="1965" y="196"/>
                  </a:cubicBezTo>
                  <a:cubicBezTo>
                    <a:pt x="1968" y="197"/>
                    <a:pt x="1970" y="198"/>
                    <a:pt x="1972" y="199"/>
                  </a:cubicBezTo>
                  <a:cubicBezTo>
                    <a:pt x="1972" y="199"/>
                    <a:pt x="1972" y="199"/>
                    <a:pt x="1973" y="198"/>
                  </a:cubicBezTo>
                  <a:cubicBezTo>
                    <a:pt x="1970" y="197"/>
                    <a:pt x="1968" y="196"/>
                    <a:pt x="1966" y="195"/>
                  </a:cubicBezTo>
                  <a:moveTo>
                    <a:pt x="1973" y="199"/>
                  </a:moveTo>
                  <a:cubicBezTo>
                    <a:pt x="1973" y="199"/>
                    <a:pt x="1973" y="199"/>
                    <a:pt x="1973" y="200"/>
                  </a:cubicBezTo>
                  <a:cubicBezTo>
                    <a:pt x="1973" y="200"/>
                    <a:pt x="1974" y="200"/>
                    <a:pt x="1974" y="200"/>
                  </a:cubicBezTo>
                  <a:cubicBezTo>
                    <a:pt x="1975" y="200"/>
                    <a:pt x="1975" y="200"/>
                    <a:pt x="1976" y="200"/>
                  </a:cubicBezTo>
                  <a:cubicBezTo>
                    <a:pt x="1975" y="200"/>
                    <a:pt x="1974" y="199"/>
                    <a:pt x="1973" y="199"/>
                  </a:cubicBezTo>
                  <a:moveTo>
                    <a:pt x="1978" y="201"/>
                  </a:moveTo>
                  <a:cubicBezTo>
                    <a:pt x="1977" y="201"/>
                    <a:pt x="1976" y="201"/>
                    <a:pt x="1976" y="201"/>
                  </a:cubicBezTo>
                  <a:cubicBezTo>
                    <a:pt x="1986" y="207"/>
                    <a:pt x="1997" y="212"/>
                    <a:pt x="2006" y="218"/>
                  </a:cubicBezTo>
                  <a:cubicBezTo>
                    <a:pt x="2006" y="217"/>
                    <a:pt x="2007" y="217"/>
                    <a:pt x="2007" y="217"/>
                  </a:cubicBezTo>
                  <a:cubicBezTo>
                    <a:pt x="1997" y="211"/>
                    <a:pt x="1988" y="206"/>
                    <a:pt x="1978" y="201"/>
                  </a:cubicBezTo>
                  <a:moveTo>
                    <a:pt x="2008" y="217"/>
                  </a:moveTo>
                  <a:cubicBezTo>
                    <a:pt x="2008" y="217"/>
                    <a:pt x="2007" y="218"/>
                    <a:pt x="2007" y="218"/>
                  </a:cubicBezTo>
                  <a:cubicBezTo>
                    <a:pt x="2009" y="219"/>
                    <a:pt x="2010" y="220"/>
                    <a:pt x="2012" y="221"/>
                  </a:cubicBezTo>
                  <a:cubicBezTo>
                    <a:pt x="2012" y="220"/>
                    <a:pt x="2012" y="220"/>
                    <a:pt x="2012" y="220"/>
                  </a:cubicBezTo>
                  <a:cubicBezTo>
                    <a:pt x="2011" y="219"/>
                    <a:pt x="2009" y="218"/>
                    <a:pt x="2008" y="217"/>
                  </a:cubicBezTo>
                  <a:moveTo>
                    <a:pt x="2013" y="220"/>
                  </a:moveTo>
                  <a:cubicBezTo>
                    <a:pt x="2013" y="221"/>
                    <a:pt x="2013" y="221"/>
                    <a:pt x="2013" y="221"/>
                  </a:cubicBezTo>
                  <a:cubicBezTo>
                    <a:pt x="2020" y="225"/>
                    <a:pt x="2027" y="230"/>
                    <a:pt x="2034" y="234"/>
                  </a:cubicBezTo>
                  <a:cubicBezTo>
                    <a:pt x="2034" y="234"/>
                    <a:pt x="2035" y="234"/>
                    <a:pt x="2035" y="233"/>
                  </a:cubicBezTo>
                  <a:cubicBezTo>
                    <a:pt x="2028" y="229"/>
                    <a:pt x="2021" y="225"/>
                    <a:pt x="2013" y="220"/>
                  </a:cubicBezTo>
                  <a:moveTo>
                    <a:pt x="2036" y="234"/>
                  </a:moveTo>
                  <a:cubicBezTo>
                    <a:pt x="2035" y="234"/>
                    <a:pt x="2035" y="234"/>
                    <a:pt x="2035" y="235"/>
                  </a:cubicBezTo>
                  <a:cubicBezTo>
                    <a:pt x="2040" y="238"/>
                    <a:pt x="2044" y="241"/>
                    <a:pt x="2048" y="243"/>
                  </a:cubicBezTo>
                  <a:cubicBezTo>
                    <a:pt x="2048" y="243"/>
                    <a:pt x="2049" y="243"/>
                    <a:pt x="2049" y="242"/>
                  </a:cubicBezTo>
                  <a:cubicBezTo>
                    <a:pt x="2045" y="240"/>
                    <a:pt x="2040" y="237"/>
                    <a:pt x="2036" y="234"/>
                  </a:cubicBezTo>
                  <a:moveTo>
                    <a:pt x="2050" y="243"/>
                  </a:moveTo>
                  <a:cubicBezTo>
                    <a:pt x="2049" y="243"/>
                    <a:pt x="2049" y="244"/>
                    <a:pt x="2049" y="244"/>
                  </a:cubicBezTo>
                  <a:cubicBezTo>
                    <a:pt x="2052" y="246"/>
                    <a:pt x="2054" y="248"/>
                    <a:pt x="2057" y="249"/>
                  </a:cubicBezTo>
                  <a:cubicBezTo>
                    <a:pt x="2057" y="249"/>
                    <a:pt x="2057" y="249"/>
                    <a:pt x="2058" y="249"/>
                  </a:cubicBezTo>
                  <a:cubicBezTo>
                    <a:pt x="2055" y="247"/>
                    <a:pt x="2052" y="245"/>
                    <a:pt x="2050" y="243"/>
                  </a:cubicBezTo>
                  <a:moveTo>
                    <a:pt x="2058" y="249"/>
                  </a:moveTo>
                  <a:cubicBezTo>
                    <a:pt x="2058" y="249"/>
                    <a:pt x="2058" y="250"/>
                    <a:pt x="2058" y="250"/>
                  </a:cubicBezTo>
                  <a:cubicBezTo>
                    <a:pt x="2061" y="252"/>
                    <a:pt x="2065" y="255"/>
                    <a:pt x="2068" y="257"/>
                  </a:cubicBezTo>
                  <a:cubicBezTo>
                    <a:pt x="2068" y="257"/>
                    <a:pt x="2068" y="257"/>
                    <a:pt x="2069" y="257"/>
                  </a:cubicBezTo>
                  <a:cubicBezTo>
                    <a:pt x="2065" y="254"/>
                    <a:pt x="2062" y="252"/>
                    <a:pt x="2058" y="249"/>
                  </a:cubicBezTo>
                  <a:moveTo>
                    <a:pt x="2069" y="257"/>
                  </a:moveTo>
                  <a:cubicBezTo>
                    <a:pt x="2069" y="258"/>
                    <a:pt x="2069" y="258"/>
                    <a:pt x="2069" y="258"/>
                  </a:cubicBezTo>
                  <a:cubicBezTo>
                    <a:pt x="2070" y="259"/>
                    <a:pt x="2071" y="260"/>
                    <a:pt x="2072" y="260"/>
                  </a:cubicBezTo>
                  <a:cubicBezTo>
                    <a:pt x="2072" y="260"/>
                    <a:pt x="2072" y="259"/>
                    <a:pt x="2072" y="259"/>
                  </a:cubicBezTo>
                  <a:cubicBezTo>
                    <a:pt x="2071" y="258"/>
                    <a:pt x="2070" y="258"/>
                    <a:pt x="2069" y="257"/>
                  </a:cubicBezTo>
                  <a:moveTo>
                    <a:pt x="2073" y="260"/>
                  </a:moveTo>
                  <a:cubicBezTo>
                    <a:pt x="2073" y="260"/>
                    <a:pt x="2073" y="261"/>
                    <a:pt x="2073" y="261"/>
                  </a:cubicBezTo>
                  <a:cubicBezTo>
                    <a:pt x="2073" y="262"/>
                    <a:pt x="2074" y="262"/>
                    <a:pt x="2075" y="263"/>
                  </a:cubicBezTo>
                  <a:cubicBezTo>
                    <a:pt x="2075" y="263"/>
                    <a:pt x="2075" y="263"/>
                    <a:pt x="2076" y="262"/>
                  </a:cubicBezTo>
                  <a:cubicBezTo>
                    <a:pt x="2075" y="262"/>
                    <a:pt x="2074" y="261"/>
                    <a:pt x="2073" y="260"/>
                  </a:cubicBezTo>
                  <a:moveTo>
                    <a:pt x="2077" y="263"/>
                  </a:moveTo>
                  <a:cubicBezTo>
                    <a:pt x="2076" y="263"/>
                    <a:pt x="2076" y="263"/>
                    <a:pt x="2076" y="264"/>
                  </a:cubicBezTo>
                  <a:cubicBezTo>
                    <a:pt x="2081" y="268"/>
                    <a:pt x="2085" y="271"/>
                    <a:pt x="2089" y="275"/>
                  </a:cubicBezTo>
                  <a:cubicBezTo>
                    <a:pt x="2090" y="275"/>
                    <a:pt x="2090" y="275"/>
                    <a:pt x="2090" y="275"/>
                  </a:cubicBezTo>
                  <a:cubicBezTo>
                    <a:pt x="2086" y="271"/>
                    <a:pt x="2081" y="267"/>
                    <a:pt x="2077" y="263"/>
                  </a:cubicBezTo>
                  <a:moveTo>
                    <a:pt x="2091" y="275"/>
                  </a:moveTo>
                  <a:cubicBezTo>
                    <a:pt x="2091" y="276"/>
                    <a:pt x="2090" y="276"/>
                    <a:pt x="2090" y="276"/>
                  </a:cubicBezTo>
                  <a:cubicBezTo>
                    <a:pt x="2090" y="276"/>
                    <a:pt x="2090" y="276"/>
                    <a:pt x="2091" y="276"/>
                  </a:cubicBezTo>
                  <a:cubicBezTo>
                    <a:pt x="2091" y="276"/>
                    <a:pt x="2091" y="276"/>
                    <a:pt x="2091" y="276"/>
                  </a:cubicBezTo>
                  <a:cubicBezTo>
                    <a:pt x="2091" y="276"/>
                    <a:pt x="2091" y="276"/>
                    <a:pt x="2091" y="275"/>
                  </a:cubicBezTo>
                  <a:moveTo>
                    <a:pt x="2092" y="276"/>
                  </a:moveTo>
                  <a:cubicBezTo>
                    <a:pt x="2092" y="277"/>
                    <a:pt x="2092" y="277"/>
                    <a:pt x="2091" y="277"/>
                  </a:cubicBezTo>
                  <a:cubicBezTo>
                    <a:pt x="2093" y="279"/>
                    <a:pt x="2096" y="281"/>
                    <a:pt x="2098" y="283"/>
                  </a:cubicBezTo>
                  <a:cubicBezTo>
                    <a:pt x="2098" y="283"/>
                    <a:pt x="2098" y="283"/>
                    <a:pt x="2098" y="283"/>
                  </a:cubicBezTo>
                  <a:cubicBezTo>
                    <a:pt x="2096" y="281"/>
                    <a:pt x="2094" y="279"/>
                    <a:pt x="2092" y="276"/>
                  </a:cubicBezTo>
                  <a:moveTo>
                    <a:pt x="2099" y="283"/>
                  </a:moveTo>
                  <a:cubicBezTo>
                    <a:pt x="2099" y="284"/>
                    <a:pt x="2099" y="284"/>
                    <a:pt x="2098" y="284"/>
                  </a:cubicBezTo>
                  <a:cubicBezTo>
                    <a:pt x="2100" y="286"/>
                    <a:pt x="2102" y="288"/>
                    <a:pt x="2104" y="291"/>
                  </a:cubicBezTo>
                  <a:cubicBezTo>
                    <a:pt x="2105" y="290"/>
                    <a:pt x="2105" y="290"/>
                    <a:pt x="2105" y="290"/>
                  </a:cubicBezTo>
                  <a:cubicBezTo>
                    <a:pt x="2103" y="288"/>
                    <a:pt x="2101" y="286"/>
                    <a:pt x="2099" y="283"/>
                  </a:cubicBezTo>
                  <a:moveTo>
                    <a:pt x="2106" y="291"/>
                  </a:moveTo>
                  <a:cubicBezTo>
                    <a:pt x="2106" y="291"/>
                    <a:pt x="2105" y="291"/>
                    <a:pt x="2105" y="291"/>
                  </a:cubicBezTo>
                  <a:cubicBezTo>
                    <a:pt x="2106" y="292"/>
                    <a:pt x="2107" y="293"/>
                    <a:pt x="2107" y="294"/>
                  </a:cubicBezTo>
                  <a:cubicBezTo>
                    <a:pt x="2108" y="294"/>
                    <a:pt x="2108" y="294"/>
                    <a:pt x="2109" y="294"/>
                  </a:cubicBezTo>
                  <a:cubicBezTo>
                    <a:pt x="2108" y="293"/>
                    <a:pt x="2107" y="292"/>
                    <a:pt x="2106" y="291"/>
                  </a:cubicBezTo>
                  <a:moveTo>
                    <a:pt x="2108" y="295"/>
                  </a:moveTo>
                  <a:cubicBezTo>
                    <a:pt x="2108" y="295"/>
                    <a:pt x="2108" y="295"/>
                    <a:pt x="2108" y="295"/>
                  </a:cubicBezTo>
                  <a:cubicBezTo>
                    <a:pt x="2108" y="295"/>
                    <a:pt x="2108" y="295"/>
                    <a:pt x="2108" y="295"/>
                  </a:cubicBezTo>
                  <a:cubicBezTo>
                    <a:pt x="2108" y="295"/>
                    <a:pt x="2108" y="295"/>
                    <a:pt x="2108" y="295"/>
                  </a:cubicBezTo>
                  <a:moveTo>
                    <a:pt x="2109" y="295"/>
                  </a:moveTo>
                  <a:cubicBezTo>
                    <a:pt x="2109" y="296"/>
                    <a:pt x="2109" y="296"/>
                    <a:pt x="2109" y="296"/>
                  </a:cubicBezTo>
                  <a:cubicBezTo>
                    <a:pt x="2111" y="299"/>
                    <a:pt x="2113" y="302"/>
                    <a:pt x="2115" y="305"/>
                  </a:cubicBezTo>
                  <a:cubicBezTo>
                    <a:pt x="2116" y="305"/>
                    <a:pt x="2116" y="305"/>
                    <a:pt x="2116" y="305"/>
                  </a:cubicBezTo>
                  <a:cubicBezTo>
                    <a:pt x="2114" y="302"/>
                    <a:pt x="2112" y="299"/>
                    <a:pt x="2109" y="295"/>
                  </a:cubicBezTo>
                  <a:moveTo>
                    <a:pt x="2117" y="306"/>
                  </a:moveTo>
                  <a:cubicBezTo>
                    <a:pt x="2117" y="306"/>
                    <a:pt x="2116" y="306"/>
                    <a:pt x="2116" y="306"/>
                  </a:cubicBezTo>
                  <a:cubicBezTo>
                    <a:pt x="2116" y="307"/>
                    <a:pt x="2117" y="308"/>
                    <a:pt x="2118" y="309"/>
                  </a:cubicBezTo>
                  <a:cubicBezTo>
                    <a:pt x="2118" y="309"/>
                    <a:pt x="2118" y="309"/>
                    <a:pt x="2118" y="308"/>
                  </a:cubicBezTo>
                  <a:cubicBezTo>
                    <a:pt x="2118" y="308"/>
                    <a:pt x="2117" y="307"/>
                    <a:pt x="2117" y="306"/>
                  </a:cubicBezTo>
                  <a:moveTo>
                    <a:pt x="2119" y="309"/>
                  </a:moveTo>
                  <a:cubicBezTo>
                    <a:pt x="2119" y="309"/>
                    <a:pt x="2118" y="310"/>
                    <a:pt x="2118" y="310"/>
                  </a:cubicBezTo>
                  <a:cubicBezTo>
                    <a:pt x="2119" y="311"/>
                    <a:pt x="2120" y="313"/>
                    <a:pt x="2120" y="314"/>
                  </a:cubicBezTo>
                  <a:cubicBezTo>
                    <a:pt x="2121" y="314"/>
                    <a:pt x="2121" y="314"/>
                    <a:pt x="2121" y="314"/>
                  </a:cubicBezTo>
                  <a:cubicBezTo>
                    <a:pt x="2121" y="314"/>
                    <a:pt x="2121" y="314"/>
                    <a:pt x="2121" y="314"/>
                  </a:cubicBezTo>
                  <a:cubicBezTo>
                    <a:pt x="2121" y="314"/>
                    <a:pt x="2121" y="314"/>
                    <a:pt x="2121" y="314"/>
                  </a:cubicBezTo>
                  <a:cubicBezTo>
                    <a:pt x="2121" y="313"/>
                    <a:pt x="2120" y="311"/>
                    <a:pt x="2119" y="309"/>
                  </a:cubicBezTo>
                  <a:moveTo>
                    <a:pt x="2121" y="315"/>
                  </a:moveTo>
                  <a:cubicBezTo>
                    <a:pt x="2121" y="315"/>
                    <a:pt x="2121" y="315"/>
                    <a:pt x="2121" y="315"/>
                  </a:cubicBezTo>
                  <a:cubicBezTo>
                    <a:pt x="2121" y="316"/>
                    <a:pt x="2121" y="316"/>
                    <a:pt x="2121" y="317"/>
                  </a:cubicBezTo>
                  <a:cubicBezTo>
                    <a:pt x="2122" y="317"/>
                    <a:pt x="2122" y="316"/>
                    <a:pt x="2122" y="316"/>
                  </a:cubicBezTo>
                  <a:cubicBezTo>
                    <a:pt x="2122" y="316"/>
                    <a:pt x="2122" y="316"/>
                    <a:pt x="2122" y="315"/>
                  </a:cubicBezTo>
                  <a:cubicBezTo>
                    <a:pt x="2122" y="315"/>
                    <a:pt x="2121" y="315"/>
                    <a:pt x="2121" y="315"/>
                  </a:cubicBezTo>
                  <a:moveTo>
                    <a:pt x="2123" y="317"/>
                  </a:moveTo>
                  <a:cubicBezTo>
                    <a:pt x="2122" y="318"/>
                    <a:pt x="2122" y="318"/>
                    <a:pt x="2122" y="318"/>
                  </a:cubicBezTo>
                  <a:cubicBezTo>
                    <a:pt x="2122" y="318"/>
                    <a:pt x="2122" y="319"/>
                    <a:pt x="2122" y="319"/>
                  </a:cubicBezTo>
                  <a:cubicBezTo>
                    <a:pt x="2122" y="318"/>
                    <a:pt x="2123" y="318"/>
                    <a:pt x="2123" y="318"/>
                  </a:cubicBezTo>
                  <a:cubicBezTo>
                    <a:pt x="2123" y="318"/>
                    <a:pt x="2123" y="318"/>
                    <a:pt x="2123" y="317"/>
                  </a:cubicBezTo>
                  <a:moveTo>
                    <a:pt x="2123" y="319"/>
                  </a:moveTo>
                  <a:cubicBezTo>
                    <a:pt x="2123" y="319"/>
                    <a:pt x="2123" y="320"/>
                    <a:pt x="2122" y="320"/>
                  </a:cubicBezTo>
                  <a:cubicBezTo>
                    <a:pt x="2123" y="321"/>
                    <a:pt x="2123" y="322"/>
                    <a:pt x="2124" y="324"/>
                  </a:cubicBezTo>
                  <a:cubicBezTo>
                    <a:pt x="2124" y="323"/>
                    <a:pt x="2124" y="323"/>
                    <a:pt x="2124" y="323"/>
                  </a:cubicBezTo>
                  <a:cubicBezTo>
                    <a:pt x="2124" y="322"/>
                    <a:pt x="2124" y="320"/>
                    <a:pt x="2123" y="319"/>
                  </a:cubicBezTo>
                  <a:moveTo>
                    <a:pt x="2125" y="324"/>
                  </a:moveTo>
                  <a:cubicBezTo>
                    <a:pt x="2124" y="324"/>
                    <a:pt x="2124" y="324"/>
                    <a:pt x="2124" y="325"/>
                  </a:cubicBezTo>
                  <a:cubicBezTo>
                    <a:pt x="2124" y="325"/>
                    <a:pt x="2124" y="326"/>
                    <a:pt x="2124" y="327"/>
                  </a:cubicBezTo>
                  <a:cubicBezTo>
                    <a:pt x="2125" y="326"/>
                    <a:pt x="2125" y="326"/>
                    <a:pt x="2125" y="326"/>
                  </a:cubicBezTo>
                  <a:cubicBezTo>
                    <a:pt x="2125" y="325"/>
                    <a:pt x="2125" y="325"/>
                    <a:pt x="2125" y="324"/>
                  </a:cubicBezTo>
                  <a:moveTo>
                    <a:pt x="2125" y="327"/>
                  </a:moveTo>
                  <a:cubicBezTo>
                    <a:pt x="2125" y="327"/>
                    <a:pt x="2125" y="327"/>
                    <a:pt x="2125" y="328"/>
                  </a:cubicBezTo>
                  <a:cubicBezTo>
                    <a:pt x="2125" y="328"/>
                    <a:pt x="2125" y="328"/>
                    <a:pt x="2125" y="328"/>
                  </a:cubicBezTo>
                  <a:cubicBezTo>
                    <a:pt x="2125" y="328"/>
                    <a:pt x="2125" y="327"/>
                    <a:pt x="2125" y="327"/>
                  </a:cubicBezTo>
                  <a:cubicBezTo>
                    <a:pt x="2125" y="327"/>
                    <a:pt x="2125" y="327"/>
                    <a:pt x="2125" y="327"/>
                  </a:cubicBezTo>
                  <a:moveTo>
                    <a:pt x="2126" y="329"/>
                  </a:moveTo>
                  <a:cubicBezTo>
                    <a:pt x="2125" y="329"/>
                    <a:pt x="2125" y="330"/>
                    <a:pt x="2125" y="330"/>
                  </a:cubicBezTo>
                  <a:cubicBezTo>
                    <a:pt x="2125" y="330"/>
                    <a:pt x="2125" y="331"/>
                    <a:pt x="2125" y="331"/>
                  </a:cubicBezTo>
                  <a:cubicBezTo>
                    <a:pt x="2125" y="331"/>
                    <a:pt x="2126" y="331"/>
                    <a:pt x="2126" y="331"/>
                  </a:cubicBezTo>
                  <a:cubicBezTo>
                    <a:pt x="2126" y="330"/>
                    <a:pt x="2126" y="330"/>
                    <a:pt x="2126" y="329"/>
                  </a:cubicBezTo>
                  <a:moveTo>
                    <a:pt x="2126" y="332"/>
                  </a:moveTo>
                  <a:cubicBezTo>
                    <a:pt x="2126" y="332"/>
                    <a:pt x="2125" y="332"/>
                    <a:pt x="2125" y="332"/>
                  </a:cubicBezTo>
                  <a:cubicBezTo>
                    <a:pt x="2125" y="333"/>
                    <a:pt x="2125" y="333"/>
                    <a:pt x="2125" y="333"/>
                  </a:cubicBezTo>
                  <a:cubicBezTo>
                    <a:pt x="2125" y="333"/>
                    <a:pt x="2126" y="333"/>
                    <a:pt x="2126" y="332"/>
                  </a:cubicBezTo>
                  <a:cubicBezTo>
                    <a:pt x="2126" y="332"/>
                    <a:pt x="2126" y="332"/>
                    <a:pt x="2126" y="332"/>
                  </a:cubicBezTo>
                  <a:moveTo>
                    <a:pt x="2126" y="334"/>
                  </a:moveTo>
                  <a:cubicBezTo>
                    <a:pt x="2126" y="334"/>
                    <a:pt x="2125" y="334"/>
                    <a:pt x="2125" y="335"/>
                  </a:cubicBezTo>
                  <a:cubicBezTo>
                    <a:pt x="2125" y="335"/>
                    <a:pt x="2125" y="335"/>
                    <a:pt x="2125" y="335"/>
                  </a:cubicBezTo>
                  <a:cubicBezTo>
                    <a:pt x="2125" y="335"/>
                    <a:pt x="2125" y="335"/>
                    <a:pt x="2125" y="335"/>
                  </a:cubicBezTo>
                  <a:cubicBezTo>
                    <a:pt x="2125" y="335"/>
                    <a:pt x="2126" y="334"/>
                    <a:pt x="2126" y="334"/>
                  </a:cubicBezTo>
                  <a:cubicBezTo>
                    <a:pt x="2126" y="334"/>
                    <a:pt x="2126" y="334"/>
                    <a:pt x="2126" y="334"/>
                  </a:cubicBezTo>
                  <a:moveTo>
                    <a:pt x="2126" y="335"/>
                  </a:moveTo>
                  <a:cubicBezTo>
                    <a:pt x="2126" y="335"/>
                    <a:pt x="2126" y="336"/>
                    <a:pt x="2126" y="336"/>
                  </a:cubicBezTo>
                  <a:cubicBezTo>
                    <a:pt x="2126" y="336"/>
                    <a:pt x="2126" y="335"/>
                    <a:pt x="2126" y="335"/>
                  </a:cubicBezTo>
                  <a:cubicBezTo>
                    <a:pt x="2126" y="335"/>
                    <a:pt x="2126" y="335"/>
                    <a:pt x="2126" y="335"/>
                  </a:cubicBezTo>
                  <a:moveTo>
                    <a:pt x="2126" y="338"/>
                  </a:moveTo>
                  <a:cubicBezTo>
                    <a:pt x="2126" y="338"/>
                    <a:pt x="2125" y="338"/>
                    <a:pt x="2125" y="339"/>
                  </a:cubicBezTo>
                  <a:cubicBezTo>
                    <a:pt x="2125" y="339"/>
                    <a:pt x="2125" y="340"/>
                    <a:pt x="2125" y="340"/>
                  </a:cubicBezTo>
                  <a:cubicBezTo>
                    <a:pt x="2125" y="340"/>
                    <a:pt x="2126" y="339"/>
                    <a:pt x="2126" y="339"/>
                  </a:cubicBezTo>
                  <a:cubicBezTo>
                    <a:pt x="2126" y="338"/>
                    <a:pt x="2126" y="338"/>
                    <a:pt x="2126" y="338"/>
                  </a:cubicBezTo>
                  <a:moveTo>
                    <a:pt x="1247" y="341"/>
                  </a:moveTo>
                  <a:cubicBezTo>
                    <a:pt x="1261" y="349"/>
                    <a:pt x="1275" y="357"/>
                    <a:pt x="1287" y="364"/>
                  </a:cubicBezTo>
                  <a:cubicBezTo>
                    <a:pt x="1305" y="375"/>
                    <a:pt x="1322" y="386"/>
                    <a:pt x="1338" y="397"/>
                  </a:cubicBezTo>
                  <a:cubicBezTo>
                    <a:pt x="1338" y="397"/>
                    <a:pt x="1338" y="396"/>
                    <a:pt x="1338" y="396"/>
                  </a:cubicBezTo>
                  <a:cubicBezTo>
                    <a:pt x="1324" y="386"/>
                    <a:pt x="1310" y="377"/>
                    <a:pt x="1294" y="367"/>
                  </a:cubicBezTo>
                  <a:cubicBezTo>
                    <a:pt x="1279" y="359"/>
                    <a:pt x="1264" y="350"/>
                    <a:pt x="1247" y="341"/>
                  </a:cubicBezTo>
                  <a:moveTo>
                    <a:pt x="2125" y="342"/>
                  </a:moveTo>
                  <a:cubicBezTo>
                    <a:pt x="2125" y="342"/>
                    <a:pt x="2125" y="342"/>
                    <a:pt x="2124" y="343"/>
                  </a:cubicBezTo>
                  <a:cubicBezTo>
                    <a:pt x="2124" y="344"/>
                    <a:pt x="2124" y="345"/>
                    <a:pt x="2124" y="345"/>
                  </a:cubicBezTo>
                  <a:cubicBezTo>
                    <a:pt x="2124" y="345"/>
                    <a:pt x="2124" y="344"/>
                    <a:pt x="2125" y="344"/>
                  </a:cubicBezTo>
                  <a:cubicBezTo>
                    <a:pt x="2125" y="343"/>
                    <a:pt x="2125" y="342"/>
                    <a:pt x="2125" y="342"/>
                  </a:cubicBezTo>
                  <a:moveTo>
                    <a:pt x="2124" y="346"/>
                  </a:moveTo>
                  <a:cubicBezTo>
                    <a:pt x="2124" y="346"/>
                    <a:pt x="2123" y="347"/>
                    <a:pt x="2123" y="347"/>
                  </a:cubicBezTo>
                  <a:cubicBezTo>
                    <a:pt x="2122" y="348"/>
                    <a:pt x="2122" y="350"/>
                    <a:pt x="2121" y="351"/>
                  </a:cubicBezTo>
                  <a:cubicBezTo>
                    <a:pt x="2122" y="350"/>
                    <a:pt x="2123" y="349"/>
                    <a:pt x="2123" y="349"/>
                  </a:cubicBezTo>
                  <a:cubicBezTo>
                    <a:pt x="2124" y="348"/>
                    <a:pt x="2124" y="347"/>
                    <a:pt x="2124" y="346"/>
                  </a:cubicBezTo>
                  <a:moveTo>
                    <a:pt x="1697" y="348"/>
                  </a:moveTo>
                  <a:cubicBezTo>
                    <a:pt x="1699" y="351"/>
                    <a:pt x="1700" y="353"/>
                    <a:pt x="1701" y="355"/>
                  </a:cubicBezTo>
                  <a:cubicBezTo>
                    <a:pt x="1701" y="355"/>
                    <a:pt x="1702" y="355"/>
                    <a:pt x="1702" y="355"/>
                  </a:cubicBezTo>
                  <a:cubicBezTo>
                    <a:pt x="1701" y="353"/>
                    <a:pt x="1700" y="351"/>
                    <a:pt x="1698" y="348"/>
                  </a:cubicBezTo>
                  <a:cubicBezTo>
                    <a:pt x="1698" y="348"/>
                    <a:pt x="1698" y="348"/>
                    <a:pt x="1697" y="348"/>
                  </a:cubicBezTo>
                  <a:moveTo>
                    <a:pt x="2122" y="352"/>
                  </a:moveTo>
                  <a:cubicBezTo>
                    <a:pt x="2122" y="352"/>
                    <a:pt x="2122" y="352"/>
                    <a:pt x="2121" y="352"/>
                  </a:cubicBezTo>
                  <a:cubicBezTo>
                    <a:pt x="2121" y="353"/>
                    <a:pt x="2120" y="353"/>
                    <a:pt x="2120" y="354"/>
                  </a:cubicBezTo>
                  <a:cubicBezTo>
                    <a:pt x="2118" y="356"/>
                    <a:pt x="2117" y="358"/>
                    <a:pt x="2115" y="360"/>
                  </a:cubicBezTo>
                  <a:cubicBezTo>
                    <a:pt x="2114" y="361"/>
                    <a:pt x="2114" y="361"/>
                    <a:pt x="2114" y="362"/>
                  </a:cubicBezTo>
                  <a:cubicBezTo>
                    <a:pt x="2114" y="362"/>
                    <a:pt x="2114" y="362"/>
                    <a:pt x="2114" y="362"/>
                  </a:cubicBezTo>
                  <a:cubicBezTo>
                    <a:pt x="2114" y="362"/>
                    <a:pt x="2114" y="362"/>
                    <a:pt x="2115" y="362"/>
                  </a:cubicBezTo>
                  <a:cubicBezTo>
                    <a:pt x="2118" y="359"/>
                    <a:pt x="2120" y="355"/>
                    <a:pt x="2122" y="352"/>
                  </a:cubicBezTo>
                  <a:moveTo>
                    <a:pt x="1703" y="356"/>
                  </a:moveTo>
                  <a:cubicBezTo>
                    <a:pt x="1702" y="356"/>
                    <a:pt x="1702" y="356"/>
                    <a:pt x="1701" y="356"/>
                  </a:cubicBezTo>
                  <a:cubicBezTo>
                    <a:pt x="1702" y="356"/>
                    <a:pt x="1702" y="357"/>
                    <a:pt x="1702" y="358"/>
                  </a:cubicBezTo>
                  <a:cubicBezTo>
                    <a:pt x="1703" y="357"/>
                    <a:pt x="1703" y="357"/>
                    <a:pt x="1703" y="357"/>
                  </a:cubicBezTo>
                  <a:cubicBezTo>
                    <a:pt x="1703" y="357"/>
                    <a:pt x="1703" y="356"/>
                    <a:pt x="1703" y="356"/>
                  </a:cubicBezTo>
                  <a:moveTo>
                    <a:pt x="1704" y="358"/>
                  </a:moveTo>
                  <a:cubicBezTo>
                    <a:pt x="1703" y="358"/>
                    <a:pt x="1703" y="358"/>
                    <a:pt x="1703" y="358"/>
                  </a:cubicBezTo>
                  <a:cubicBezTo>
                    <a:pt x="1703" y="359"/>
                    <a:pt x="1704" y="360"/>
                    <a:pt x="1704" y="361"/>
                  </a:cubicBezTo>
                  <a:cubicBezTo>
                    <a:pt x="1704" y="361"/>
                    <a:pt x="1705" y="361"/>
                    <a:pt x="1705" y="361"/>
                  </a:cubicBezTo>
                  <a:cubicBezTo>
                    <a:pt x="1705" y="360"/>
                    <a:pt x="1704" y="359"/>
                    <a:pt x="1704" y="358"/>
                  </a:cubicBezTo>
                  <a:moveTo>
                    <a:pt x="1706" y="362"/>
                  </a:moveTo>
                  <a:cubicBezTo>
                    <a:pt x="1705" y="362"/>
                    <a:pt x="1705" y="362"/>
                    <a:pt x="1705" y="362"/>
                  </a:cubicBezTo>
                  <a:cubicBezTo>
                    <a:pt x="1705" y="363"/>
                    <a:pt x="1706" y="365"/>
                    <a:pt x="1706" y="366"/>
                  </a:cubicBezTo>
                  <a:cubicBezTo>
                    <a:pt x="1707" y="366"/>
                    <a:pt x="1707" y="366"/>
                    <a:pt x="1708" y="366"/>
                  </a:cubicBezTo>
                  <a:cubicBezTo>
                    <a:pt x="1707" y="365"/>
                    <a:pt x="1706" y="363"/>
                    <a:pt x="1706" y="362"/>
                  </a:cubicBezTo>
                  <a:moveTo>
                    <a:pt x="2113" y="362"/>
                  </a:moveTo>
                  <a:cubicBezTo>
                    <a:pt x="2108" y="367"/>
                    <a:pt x="2102" y="372"/>
                    <a:pt x="2094" y="376"/>
                  </a:cubicBezTo>
                  <a:cubicBezTo>
                    <a:pt x="2093" y="377"/>
                    <a:pt x="2092" y="378"/>
                    <a:pt x="2090" y="379"/>
                  </a:cubicBezTo>
                  <a:cubicBezTo>
                    <a:pt x="2100" y="374"/>
                    <a:pt x="2108" y="369"/>
                    <a:pt x="2113" y="363"/>
                  </a:cubicBezTo>
                  <a:cubicBezTo>
                    <a:pt x="2113" y="363"/>
                    <a:pt x="2113" y="363"/>
                    <a:pt x="2113" y="363"/>
                  </a:cubicBezTo>
                  <a:cubicBezTo>
                    <a:pt x="2113" y="363"/>
                    <a:pt x="2113" y="363"/>
                    <a:pt x="2113" y="362"/>
                  </a:cubicBezTo>
                  <a:moveTo>
                    <a:pt x="1708" y="367"/>
                  </a:moveTo>
                  <a:cubicBezTo>
                    <a:pt x="1708" y="367"/>
                    <a:pt x="1708" y="367"/>
                    <a:pt x="1707" y="367"/>
                  </a:cubicBezTo>
                  <a:cubicBezTo>
                    <a:pt x="1707" y="368"/>
                    <a:pt x="1708" y="368"/>
                    <a:pt x="1708" y="368"/>
                  </a:cubicBezTo>
                  <a:cubicBezTo>
                    <a:pt x="1708" y="368"/>
                    <a:pt x="1708" y="368"/>
                    <a:pt x="1709" y="368"/>
                  </a:cubicBezTo>
                  <a:cubicBezTo>
                    <a:pt x="1709" y="368"/>
                    <a:pt x="1708" y="367"/>
                    <a:pt x="1708" y="367"/>
                  </a:cubicBezTo>
                  <a:moveTo>
                    <a:pt x="1710" y="370"/>
                  </a:moveTo>
                  <a:cubicBezTo>
                    <a:pt x="1709" y="370"/>
                    <a:pt x="1709" y="370"/>
                    <a:pt x="1709" y="370"/>
                  </a:cubicBezTo>
                  <a:cubicBezTo>
                    <a:pt x="1712" y="377"/>
                    <a:pt x="1714" y="383"/>
                    <a:pt x="1716" y="389"/>
                  </a:cubicBezTo>
                  <a:cubicBezTo>
                    <a:pt x="1716" y="389"/>
                    <a:pt x="1717" y="389"/>
                    <a:pt x="1717" y="389"/>
                  </a:cubicBezTo>
                  <a:cubicBezTo>
                    <a:pt x="1715" y="383"/>
                    <a:pt x="1713" y="377"/>
                    <a:pt x="1710" y="370"/>
                  </a:cubicBezTo>
                  <a:moveTo>
                    <a:pt x="2090" y="378"/>
                  </a:moveTo>
                  <a:cubicBezTo>
                    <a:pt x="2089" y="378"/>
                    <a:pt x="2089" y="378"/>
                    <a:pt x="2089" y="378"/>
                  </a:cubicBezTo>
                  <a:cubicBezTo>
                    <a:pt x="2089" y="379"/>
                    <a:pt x="2089" y="379"/>
                    <a:pt x="2088" y="379"/>
                  </a:cubicBezTo>
                  <a:cubicBezTo>
                    <a:pt x="2088" y="379"/>
                    <a:pt x="2088" y="379"/>
                    <a:pt x="2088" y="379"/>
                  </a:cubicBezTo>
                  <a:cubicBezTo>
                    <a:pt x="2089" y="379"/>
                    <a:pt x="2089" y="379"/>
                    <a:pt x="2090" y="378"/>
                  </a:cubicBezTo>
                  <a:moveTo>
                    <a:pt x="2087" y="379"/>
                  </a:moveTo>
                  <a:cubicBezTo>
                    <a:pt x="2084" y="381"/>
                    <a:pt x="2082" y="382"/>
                    <a:pt x="2079" y="384"/>
                  </a:cubicBezTo>
                  <a:cubicBezTo>
                    <a:pt x="2077" y="385"/>
                    <a:pt x="2075" y="386"/>
                    <a:pt x="2074" y="387"/>
                  </a:cubicBezTo>
                  <a:cubicBezTo>
                    <a:pt x="2078" y="385"/>
                    <a:pt x="2082" y="383"/>
                    <a:pt x="2086" y="381"/>
                  </a:cubicBezTo>
                  <a:cubicBezTo>
                    <a:pt x="2086" y="381"/>
                    <a:pt x="2087" y="380"/>
                    <a:pt x="2087" y="380"/>
                  </a:cubicBezTo>
                  <a:cubicBezTo>
                    <a:pt x="2087" y="380"/>
                    <a:pt x="2087" y="380"/>
                    <a:pt x="2087" y="379"/>
                  </a:cubicBezTo>
                  <a:moveTo>
                    <a:pt x="2073" y="387"/>
                  </a:moveTo>
                  <a:cubicBezTo>
                    <a:pt x="2071" y="388"/>
                    <a:pt x="2069" y="388"/>
                    <a:pt x="2067" y="389"/>
                  </a:cubicBezTo>
                  <a:cubicBezTo>
                    <a:pt x="2067" y="389"/>
                    <a:pt x="2068" y="390"/>
                    <a:pt x="2068" y="390"/>
                  </a:cubicBezTo>
                  <a:cubicBezTo>
                    <a:pt x="2068" y="390"/>
                    <a:pt x="2068" y="390"/>
                    <a:pt x="2068" y="390"/>
                  </a:cubicBezTo>
                  <a:cubicBezTo>
                    <a:pt x="2070" y="389"/>
                    <a:pt x="2071" y="388"/>
                    <a:pt x="2073" y="387"/>
                  </a:cubicBezTo>
                  <a:moveTo>
                    <a:pt x="1717" y="390"/>
                  </a:moveTo>
                  <a:cubicBezTo>
                    <a:pt x="1717" y="390"/>
                    <a:pt x="1717" y="390"/>
                    <a:pt x="1716" y="390"/>
                  </a:cubicBezTo>
                  <a:cubicBezTo>
                    <a:pt x="1717" y="393"/>
                    <a:pt x="1718" y="396"/>
                    <a:pt x="1719" y="399"/>
                  </a:cubicBezTo>
                  <a:cubicBezTo>
                    <a:pt x="1719" y="399"/>
                    <a:pt x="1720" y="399"/>
                    <a:pt x="1720" y="399"/>
                  </a:cubicBezTo>
                  <a:cubicBezTo>
                    <a:pt x="1719" y="396"/>
                    <a:pt x="1718" y="393"/>
                    <a:pt x="1717" y="390"/>
                  </a:cubicBezTo>
                  <a:moveTo>
                    <a:pt x="2067" y="390"/>
                  </a:moveTo>
                  <a:cubicBezTo>
                    <a:pt x="2066" y="390"/>
                    <a:pt x="2065" y="390"/>
                    <a:pt x="2065" y="391"/>
                  </a:cubicBezTo>
                  <a:cubicBezTo>
                    <a:pt x="2065" y="391"/>
                    <a:pt x="2065" y="391"/>
                    <a:pt x="2066" y="391"/>
                  </a:cubicBezTo>
                  <a:cubicBezTo>
                    <a:pt x="2066" y="391"/>
                    <a:pt x="2067" y="391"/>
                    <a:pt x="2067" y="391"/>
                  </a:cubicBezTo>
                  <a:cubicBezTo>
                    <a:pt x="2067" y="391"/>
                    <a:pt x="2067" y="390"/>
                    <a:pt x="2067" y="390"/>
                  </a:cubicBezTo>
                  <a:cubicBezTo>
                    <a:pt x="2067" y="390"/>
                    <a:pt x="2067" y="390"/>
                    <a:pt x="2067" y="390"/>
                  </a:cubicBezTo>
                  <a:moveTo>
                    <a:pt x="2064" y="391"/>
                  </a:moveTo>
                  <a:cubicBezTo>
                    <a:pt x="2062" y="392"/>
                    <a:pt x="2060" y="393"/>
                    <a:pt x="2058" y="394"/>
                  </a:cubicBezTo>
                  <a:cubicBezTo>
                    <a:pt x="2057" y="395"/>
                    <a:pt x="2056" y="396"/>
                    <a:pt x="2055" y="397"/>
                  </a:cubicBezTo>
                  <a:cubicBezTo>
                    <a:pt x="2058" y="395"/>
                    <a:pt x="2061" y="394"/>
                    <a:pt x="2065" y="392"/>
                  </a:cubicBezTo>
                  <a:cubicBezTo>
                    <a:pt x="2064" y="392"/>
                    <a:pt x="2064" y="392"/>
                    <a:pt x="2064" y="391"/>
                  </a:cubicBezTo>
                  <a:moveTo>
                    <a:pt x="1339" y="397"/>
                  </a:moveTo>
                  <a:cubicBezTo>
                    <a:pt x="1339" y="397"/>
                    <a:pt x="1338" y="397"/>
                    <a:pt x="1338" y="397"/>
                  </a:cubicBezTo>
                  <a:cubicBezTo>
                    <a:pt x="1339" y="398"/>
                    <a:pt x="1340" y="398"/>
                    <a:pt x="1340" y="399"/>
                  </a:cubicBezTo>
                  <a:cubicBezTo>
                    <a:pt x="1341" y="399"/>
                    <a:pt x="1341" y="398"/>
                    <a:pt x="1341" y="398"/>
                  </a:cubicBezTo>
                  <a:cubicBezTo>
                    <a:pt x="1340" y="398"/>
                    <a:pt x="1340" y="397"/>
                    <a:pt x="1339" y="397"/>
                  </a:cubicBezTo>
                  <a:moveTo>
                    <a:pt x="2053" y="397"/>
                  </a:moveTo>
                  <a:cubicBezTo>
                    <a:pt x="2051" y="398"/>
                    <a:pt x="2049" y="400"/>
                    <a:pt x="2047" y="401"/>
                  </a:cubicBezTo>
                  <a:cubicBezTo>
                    <a:pt x="2048" y="400"/>
                    <a:pt x="2050" y="399"/>
                    <a:pt x="2052" y="399"/>
                  </a:cubicBezTo>
                  <a:cubicBezTo>
                    <a:pt x="2052" y="398"/>
                    <a:pt x="2053" y="398"/>
                    <a:pt x="2053" y="397"/>
                  </a:cubicBezTo>
                  <a:moveTo>
                    <a:pt x="1342" y="399"/>
                  </a:moveTo>
                  <a:cubicBezTo>
                    <a:pt x="1342" y="399"/>
                    <a:pt x="1341" y="399"/>
                    <a:pt x="1341" y="399"/>
                  </a:cubicBezTo>
                  <a:cubicBezTo>
                    <a:pt x="1342" y="400"/>
                    <a:pt x="1344" y="401"/>
                    <a:pt x="1345" y="402"/>
                  </a:cubicBezTo>
                  <a:cubicBezTo>
                    <a:pt x="1345" y="402"/>
                    <a:pt x="1345" y="402"/>
                    <a:pt x="1346" y="402"/>
                  </a:cubicBezTo>
                  <a:cubicBezTo>
                    <a:pt x="1345" y="401"/>
                    <a:pt x="1343" y="400"/>
                    <a:pt x="1342" y="399"/>
                  </a:cubicBezTo>
                  <a:moveTo>
                    <a:pt x="1720" y="400"/>
                  </a:moveTo>
                  <a:cubicBezTo>
                    <a:pt x="1720" y="400"/>
                    <a:pt x="1720" y="400"/>
                    <a:pt x="1719" y="400"/>
                  </a:cubicBezTo>
                  <a:cubicBezTo>
                    <a:pt x="1720" y="405"/>
                    <a:pt x="1721" y="409"/>
                    <a:pt x="1721" y="414"/>
                  </a:cubicBezTo>
                  <a:cubicBezTo>
                    <a:pt x="1721" y="417"/>
                    <a:pt x="1720" y="421"/>
                    <a:pt x="1720" y="425"/>
                  </a:cubicBezTo>
                  <a:cubicBezTo>
                    <a:pt x="1720" y="425"/>
                    <a:pt x="1720" y="424"/>
                    <a:pt x="1721" y="424"/>
                  </a:cubicBezTo>
                  <a:cubicBezTo>
                    <a:pt x="1721" y="421"/>
                    <a:pt x="1722" y="417"/>
                    <a:pt x="1722" y="414"/>
                  </a:cubicBezTo>
                  <a:cubicBezTo>
                    <a:pt x="1722" y="409"/>
                    <a:pt x="1721" y="404"/>
                    <a:pt x="1720" y="400"/>
                  </a:cubicBezTo>
                  <a:moveTo>
                    <a:pt x="2046" y="400"/>
                  </a:moveTo>
                  <a:cubicBezTo>
                    <a:pt x="2043" y="402"/>
                    <a:pt x="2040" y="404"/>
                    <a:pt x="2036" y="405"/>
                  </a:cubicBezTo>
                  <a:cubicBezTo>
                    <a:pt x="2036" y="406"/>
                    <a:pt x="2036" y="406"/>
                    <a:pt x="2035" y="407"/>
                  </a:cubicBezTo>
                  <a:cubicBezTo>
                    <a:pt x="2036" y="407"/>
                    <a:pt x="2036" y="407"/>
                    <a:pt x="2036" y="407"/>
                  </a:cubicBezTo>
                  <a:cubicBezTo>
                    <a:pt x="2039" y="405"/>
                    <a:pt x="2043" y="402"/>
                    <a:pt x="2046" y="400"/>
                  </a:cubicBezTo>
                  <a:moveTo>
                    <a:pt x="1347" y="402"/>
                  </a:moveTo>
                  <a:cubicBezTo>
                    <a:pt x="1346" y="402"/>
                    <a:pt x="1346" y="403"/>
                    <a:pt x="1346" y="403"/>
                  </a:cubicBezTo>
                  <a:cubicBezTo>
                    <a:pt x="1347" y="404"/>
                    <a:pt x="1349" y="405"/>
                    <a:pt x="1350" y="406"/>
                  </a:cubicBezTo>
                  <a:cubicBezTo>
                    <a:pt x="1351" y="406"/>
                    <a:pt x="1351" y="406"/>
                    <a:pt x="1351" y="406"/>
                  </a:cubicBezTo>
                  <a:cubicBezTo>
                    <a:pt x="1350" y="404"/>
                    <a:pt x="1348" y="403"/>
                    <a:pt x="1347" y="402"/>
                  </a:cubicBezTo>
                  <a:moveTo>
                    <a:pt x="1352" y="406"/>
                  </a:moveTo>
                  <a:cubicBezTo>
                    <a:pt x="1352" y="406"/>
                    <a:pt x="1352" y="407"/>
                    <a:pt x="1351" y="407"/>
                  </a:cubicBezTo>
                  <a:cubicBezTo>
                    <a:pt x="1353" y="408"/>
                    <a:pt x="1354" y="409"/>
                    <a:pt x="1356" y="410"/>
                  </a:cubicBezTo>
                  <a:cubicBezTo>
                    <a:pt x="1356" y="410"/>
                    <a:pt x="1357" y="410"/>
                    <a:pt x="1357" y="410"/>
                  </a:cubicBezTo>
                  <a:cubicBezTo>
                    <a:pt x="1355" y="409"/>
                    <a:pt x="1354" y="407"/>
                    <a:pt x="1352" y="406"/>
                  </a:cubicBezTo>
                  <a:moveTo>
                    <a:pt x="2034" y="407"/>
                  </a:moveTo>
                  <a:cubicBezTo>
                    <a:pt x="2031" y="408"/>
                    <a:pt x="2029" y="409"/>
                    <a:pt x="2026" y="411"/>
                  </a:cubicBezTo>
                  <a:cubicBezTo>
                    <a:pt x="2025" y="412"/>
                    <a:pt x="2024" y="413"/>
                    <a:pt x="2023" y="414"/>
                  </a:cubicBezTo>
                  <a:cubicBezTo>
                    <a:pt x="2026" y="412"/>
                    <a:pt x="2030" y="410"/>
                    <a:pt x="2034" y="408"/>
                  </a:cubicBezTo>
                  <a:cubicBezTo>
                    <a:pt x="2034" y="408"/>
                    <a:pt x="2034" y="408"/>
                    <a:pt x="2034" y="407"/>
                  </a:cubicBezTo>
                  <a:cubicBezTo>
                    <a:pt x="2034" y="407"/>
                    <a:pt x="2034" y="407"/>
                    <a:pt x="2034" y="407"/>
                  </a:cubicBezTo>
                  <a:moveTo>
                    <a:pt x="1358" y="411"/>
                  </a:moveTo>
                  <a:cubicBezTo>
                    <a:pt x="1358" y="411"/>
                    <a:pt x="1357" y="411"/>
                    <a:pt x="1357" y="411"/>
                  </a:cubicBezTo>
                  <a:cubicBezTo>
                    <a:pt x="1358" y="412"/>
                    <a:pt x="1360" y="413"/>
                    <a:pt x="1361" y="414"/>
                  </a:cubicBezTo>
                  <a:cubicBezTo>
                    <a:pt x="1361" y="414"/>
                    <a:pt x="1362" y="414"/>
                    <a:pt x="1362" y="414"/>
                  </a:cubicBezTo>
                  <a:cubicBezTo>
                    <a:pt x="1361" y="413"/>
                    <a:pt x="1359" y="412"/>
                    <a:pt x="1358" y="411"/>
                  </a:cubicBezTo>
                  <a:moveTo>
                    <a:pt x="2022" y="413"/>
                  </a:moveTo>
                  <a:cubicBezTo>
                    <a:pt x="2022" y="413"/>
                    <a:pt x="2022" y="413"/>
                    <a:pt x="2022" y="413"/>
                  </a:cubicBezTo>
                  <a:cubicBezTo>
                    <a:pt x="2021" y="414"/>
                    <a:pt x="2020" y="414"/>
                    <a:pt x="2019" y="414"/>
                  </a:cubicBezTo>
                  <a:cubicBezTo>
                    <a:pt x="2020" y="415"/>
                    <a:pt x="2020" y="415"/>
                    <a:pt x="2020" y="415"/>
                  </a:cubicBezTo>
                  <a:cubicBezTo>
                    <a:pt x="2021" y="414"/>
                    <a:pt x="2022" y="413"/>
                    <a:pt x="2022" y="413"/>
                  </a:cubicBezTo>
                  <a:moveTo>
                    <a:pt x="1363" y="414"/>
                  </a:moveTo>
                  <a:cubicBezTo>
                    <a:pt x="1363" y="414"/>
                    <a:pt x="1362" y="415"/>
                    <a:pt x="1362" y="415"/>
                  </a:cubicBezTo>
                  <a:cubicBezTo>
                    <a:pt x="1363" y="415"/>
                    <a:pt x="1363" y="416"/>
                    <a:pt x="1364" y="416"/>
                  </a:cubicBezTo>
                  <a:cubicBezTo>
                    <a:pt x="1364" y="416"/>
                    <a:pt x="1364" y="416"/>
                    <a:pt x="1365" y="416"/>
                  </a:cubicBezTo>
                  <a:cubicBezTo>
                    <a:pt x="1364" y="415"/>
                    <a:pt x="1364" y="415"/>
                    <a:pt x="1363" y="414"/>
                  </a:cubicBezTo>
                  <a:moveTo>
                    <a:pt x="2019" y="415"/>
                  </a:moveTo>
                  <a:cubicBezTo>
                    <a:pt x="2016" y="417"/>
                    <a:pt x="2013" y="419"/>
                    <a:pt x="2010" y="420"/>
                  </a:cubicBezTo>
                  <a:cubicBezTo>
                    <a:pt x="2013" y="419"/>
                    <a:pt x="2016" y="417"/>
                    <a:pt x="2019" y="416"/>
                  </a:cubicBezTo>
                  <a:cubicBezTo>
                    <a:pt x="2019" y="415"/>
                    <a:pt x="2019" y="415"/>
                    <a:pt x="2019" y="415"/>
                  </a:cubicBezTo>
                  <a:moveTo>
                    <a:pt x="1367" y="417"/>
                  </a:moveTo>
                  <a:cubicBezTo>
                    <a:pt x="1366" y="417"/>
                    <a:pt x="1366" y="417"/>
                    <a:pt x="1365" y="417"/>
                  </a:cubicBezTo>
                  <a:cubicBezTo>
                    <a:pt x="1366" y="418"/>
                    <a:pt x="1366" y="418"/>
                    <a:pt x="1367" y="418"/>
                  </a:cubicBezTo>
                  <a:cubicBezTo>
                    <a:pt x="1367" y="418"/>
                    <a:pt x="1368" y="418"/>
                    <a:pt x="1368" y="418"/>
                  </a:cubicBezTo>
                  <a:cubicBezTo>
                    <a:pt x="1367" y="418"/>
                    <a:pt x="1367" y="417"/>
                    <a:pt x="1367" y="417"/>
                  </a:cubicBezTo>
                  <a:moveTo>
                    <a:pt x="1369" y="419"/>
                  </a:moveTo>
                  <a:cubicBezTo>
                    <a:pt x="1369" y="419"/>
                    <a:pt x="1368" y="419"/>
                    <a:pt x="1368" y="419"/>
                  </a:cubicBezTo>
                  <a:cubicBezTo>
                    <a:pt x="1370" y="421"/>
                    <a:pt x="1372" y="423"/>
                    <a:pt x="1375" y="425"/>
                  </a:cubicBezTo>
                  <a:cubicBezTo>
                    <a:pt x="1376" y="425"/>
                    <a:pt x="1377" y="426"/>
                    <a:pt x="1379" y="427"/>
                  </a:cubicBezTo>
                  <a:cubicBezTo>
                    <a:pt x="1375" y="424"/>
                    <a:pt x="1372" y="422"/>
                    <a:pt x="1369" y="419"/>
                  </a:cubicBezTo>
                  <a:moveTo>
                    <a:pt x="2010" y="420"/>
                  </a:moveTo>
                  <a:cubicBezTo>
                    <a:pt x="2001" y="424"/>
                    <a:pt x="1993" y="428"/>
                    <a:pt x="1986" y="433"/>
                  </a:cubicBezTo>
                  <a:cubicBezTo>
                    <a:pt x="1985" y="433"/>
                    <a:pt x="1984" y="434"/>
                    <a:pt x="1984" y="435"/>
                  </a:cubicBezTo>
                  <a:cubicBezTo>
                    <a:pt x="1984" y="435"/>
                    <a:pt x="1984" y="435"/>
                    <a:pt x="1984" y="435"/>
                  </a:cubicBezTo>
                  <a:cubicBezTo>
                    <a:pt x="1993" y="430"/>
                    <a:pt x="2001" y="425"/>
                    <a:pt x="2010" y="420"/>
                  </a:cubicBezTo>
                  <a:moveTo>
                    <a:pt x="1720" y="425"/>
                  </a:moveTo>
                  <a:cubicBezTo>
                    <a:pt x="1720" y="425"/>
                    <a:pt x="1720" y="426"/>
                    <a:pt x="1719" y="426"/>
                  </a:cubicBezTo>
                  <a:cubicBezTo>
                    <a:pt x="1719" y="428"/>
                    <a:pt x="1718" y="431"/>
                    <a:pt x="1716" y="434"/>
                  </a:cubicBezTo>
                  <a:cubicBezTo>
                    <a:pt x="1717" y="433"/>
                    <a:pt x="1717" y="433"/>
                    <a:pt x="1718" y="433"/>
                  </a:cubicBezTo>
                  <a:cubicBezTo>
                    <a:pt x="1719" y="431"/>
                    <a:pt x="1720" y="428"/>
                    <a:pt x="1720" y="425"/>
                  </a:cubicBezTo>
                  <a:moveTo>
                    <a:pt x="1379" y="428"/>
                  </a:moveTo>
                  <a:cubicBezTo>
                    <a:pt x="1381" y="429"/>
                    <a:pt x="1382" y="430"/>
                    <a:pt x="1384" y="431"/>
                  </a:cubicBezTo>
                  <a:cubicBezTo>
                    <a:pt x="1384" y="432"/>
                    <a:pt x="1384" y="432"/>
                    <a:pt x="1385" y="432"/>
                  </a:cubicBezTo>
                  <a:cubicBezTo>
                    <a:pt x="1384" y="431"/>
                    <a:pt x="1383" y="430"/>
                    <a:pt x="1382" y="429"/>
                  </a:cubicBezTo>
                  <a:cubicBezTo>
                    <a:pt x="1381" y="429"/>
                    <a:pt x="1380" y="429"/>
                    <a:pt x="1379" y="428"/>
                  </a:cubicBezTo>
                  <a:moveTo>
                    <a:pt x="1385" y="433"/>
                  </a:moveTo>
                  <a:cubicBezTo>
                    <a:pt x="1386" y="435"/>
                    <a:pt x="1388" y="436"/>
                    <a:pt x="1390" y="438"/>
                  </a:cubicBezTo>
                  <a:cubicBezTo>
                    <a:pt x="1390" y="437"/>
                    <a:pt x="1390" y="437"/>
                    <a:pt x="1390" y="437"/>
                  </a:cubicBezTo>
                  <a:cubicBezTo>
                    <a:pt x="1388" y="436"/>
                    <a:pt x="1387" y="435"/>
                    <a:pt x="1385" y="433"/>
                  </a:cubicBezTo>
                  <a:moveTo>
                    <a:pt x="1717" y="434"/>
                  </a:moveTo>
                  <a:cubicBezTo>
                    <a:pt x="1717" y="435"/>
                    <a:pt x="1716" y="435"/>
                    <a:pt x="1716" y="435"/>
                  </a:cubicBezTo>
                  <a:cubicBezTo>
                    <a:pt x="1715" y="436"/>
                    <a:pt x="1715" y="437"/>
                    <a:pt x="1714" y="439"/>
                  </a:cubicBezTo>
                  <a:cubicBezTo>
                    <a:pt x="1715" y="438"/>
                    <a:pt x="1715" y="438"/>
                    <a:pt x="1716" y="437"/>
                  </a:cubicBezTo>
                  <a:cubicBezTo>
                    <a:pt x="1716" y="436"/>
                    <a:pt x="1717" y="435"/>
                    <a:pt x="1717" y="434"/>
                  </a:cubicBezTo>
                  <a:moveTo>
                    <a:pt x="1982" y="435"/>
                  </a:moveTo>
                  <a:cubicBezTo>
                    <a:pt x="1979" y="436"/>
                    <a:pt x="1977" y="438"/>
                    <a:pt x="1974" y="439"/>
                  </a:cubicBezTo>
                  <a:cubicBezTo>
                    <a:pt x="1974" y="439"/>
                    <a:pt x="1974" y="440"/>
                    <a:pt x="1974" y="440"/>
                  </a:cubicBezTo>
                  <a:cubicBezTo>
                    <a:pt x="1976" y="439"/>
                    <a:pt x="1978" y="438"/>
                    <a:pt x="1980" y="437"/>
                  </a:cubicBezTo>
                  <a:cubicBezTo>
                    <a:pt x="1981" y="436"/>
                    <a:pt x="1981" y="436"/>
                    <a:pt x="1982" y="435"/>
                  </a:cubicBezTo>
                  <a:moveTo>
                    <a:pt x="1391" y="438"/>
                  </a:moveTo>
                  <a:cubicBezTo>
                    <a:pt x="1391" y="438"/>
                    <a:pt x="1391" y="438"/>
                    <a:pt x="1390" y="438"/>
                  </a:cubicBezTo>
                  <a:cubicBezTo>
                    <a:pt x="1391" y="439"/>
                    <a:pt x="1391" y="439"/>
                    <a:pt x="1392" y="439"/>
                  </a:cubicBezTo>
                  <a:cubicBezTo>
                    <a:pt x="1392" y="439"/>
                    <a:pt x="1392" y="439"/>
                    <a:pt x="1393" y="439"/>
                  </a:cubicBezTo>
                  <a:cubicBezTo>
                    <a:pt x="1392" y="439"/>
                    <a:pt x="1392" y="438"/>
                    <a:pt x="1391" y="438"/>
                  </a:cubicBezTo>
                  <a:moveTo>
                    <a:pt x="1715" y="439"/>
                  </a:moveTo>
                  <a:cubicBezTo>
                    <a:pt x="1714" y="440"/>
                    <a:pt x="1713" y="440"/>
                    <a:pt x="1712" y="441"/>
                  </a:cubicBezTo>
                  <a:cubicBezTo>
                    <a:pt x="1712" y="442"/>
                    <a:pt x="1711" y="443"/>
                    <a:pt x="1710" y="444"/>
                  </a:cubicBezTo>
                  <a:cubicBezTo>
                    <a:pt x="1711" y="443"/>
                    <a:pt x="1712" y="442"/>
                    <a:pt x="1713" y="441"/>
                  </a:cubicBezTo>
                  <a:cubicBezTo>
                    <a:pt x="1714" y="441"/>
                    <a:pt x="1714" y="440"/>
                    <a:pt x="1715" y="439"/>
                  </a:cubicBezTo>
                  <a:moveTo>
                    <a:pt x="1973" y="440"/>
                  </a:moveTo>
                  <a:cubicBezTo>
                    <a:pt x="1973" y="440"/>
                    <a:pt x="1972" y="440"/>
                    <a:pt x="1972" y="441"/>
                  </a:cubicBezTo>
                  <a:cubicBezTo>
                    <a:pt x="1972" y="440"/>
                    <a:pt x="1973" y="440"/>
                    <a:pt x="1973" y="440"/>
                  </a:cubicBezTo>
                  <a:cubicBezTo>
                    <a:pt x="1973" y="440"/>
                    <a:pt x="1973" y="440"/>
                    <a:pt x="1973" y="440"/>
                  </a:cubicBezTo>
                  <a:moveTo>
                    <a:pt x="1394" y="440"/>
                  </a:moveTo>
                  <a:cubicBezTo>
                    <a:pt x="1393" y="440"/>
                    <a:pt x="1393" y="440"/>
                    <a:pt x="1393" y="440"/>
                  </a:cubicBezTo>
                  <a:cubicBezTo>
                    <a:pt x="1400" y="447"/>
                    <a:pt x="1407" y="454"/>
                    <a:pt x="1414" y="461"/>
                  </a:cubicBezTo>
                  <a:cubicBezTo>
                    <a:pt x="1417" y="465"/>
                    <a:pt x="1421" y="468"/>
                    <a:pt x="1424" y="472"/>
                  </a:cubicBezTo>
                  <a:cubicBezTo>
                    <a:pt x="1424" y="472"/>
                    <a:pt x="1424" y="472"/>
                    <a:pt x="1425" y="472"/>
                  </a:cubicBezTo>
                  <a:cubicBezTo>
                    <a:pt x="1421" y="468"/>
                    <a:pt x="1418" y="464"/>
                    <a:pt x="1414" y="460"/>
                  </a:cubicBezTo>
                  <a:cubicBezTo>
                    <a:pt x="1408" y="454"/>
                    <a:pt x="1401" y="447"/>
                    <a:pt x="1394" y="440"/>
                  </a:cubicBezTo>
                  <a:cubicBezTo>
                    <a:pt x="1394" y="440"/>
                    <a:pt x="1394" y="440"/>
                    <a:pt x="1394" y="440"/>
                  </a:cubicBezTo>
                  <a:moveTo>
                    <a:pt x="1967" y="444"/>
                  </a:moveTo>
                  <a:cubicBezTo>
                    <a:pt x="1966" y="445"/>
                    <a:pt x="1965" y="445"/>
                    <a:pt x="1964" y="446"/>
                  </a:cubicBezTo>
                  <a:cubicBezTo>
                    <a:pt x="1963" y="446"/>
                    <a:pt x="1961" y="447"/>
                    <a:pt x="1960" y="448"/>
                  </a:cubicBezTo>
                  <a:cubicBezTo>
                    <a:pt x="1963" y="446"/>
                    <a:pt x="1965" y="445"/>
                    <a:pt x="1967" y="444"/>
                  </a:cubicBezTo>
                  <a:moveTo>
                    <a:pt x="1710" y="446"/>
                  </a:moveTo>
                  <a:cubicBezTo>
                    <a:pt x="1710" y="446"/>
                    <a:pt x="1710" y="446"/>
                    <a:pt x="1710" y="446"/>
                  </a:cubicBezTo>
                  <a:cubicBezTo>
                    <a:pt x="1709" y="447"/>
                    <a:pt x="1707" y="448"/>
                    <a:pt x="1706" y="449"/>
                  </a:cubicBezTo>
                  <a:cubicBezTo>
                    <a:pt x="1705" y="450"/>
                    <a:pt x="1705" y="451"/>
                    <a:pt x="1704" y="451"/>
                  </a:cubicBezTo>
                  <a:cubicBezTo>
                    <a:pt x="1703" y="452"/>
                    <a:pt x="1701" y="453"/>
                    <a:pt x="1700" y="455"/>
                  </a:cubicBezTo>
                  <a:cubicBezTo>
                    <a:pt x="1700" y="455"/>
                    <a:pt x="1699" y="456"/>
                    <a:pt x="1699" y="456"/>
                  </a:cubicBezTo>
                  <a:cubicBezTo>
                    <a:pt x="1700" y="455"/>
                    <a:pt x="1701" y="455"/>
                    <a:pt x="1702" y="454"/>
                  </a:cubicBezTo>
                  <a:cubicBezTo>
                    <a:pt x="1705" y="452"/>
                    <a:pt x="1708" y="449"/>
                    <a:pt x="1710" y="446"/>
                  </a:cubicBezTo>
                  <a:moveTo>
                    <a:pt x="1961" y="449"/>
                  </a:moveTo>
                  <a:cubicBezTo>
                    <a:pt x="1957" y="451"/>
                    <a:pt x="1953" y="453"/>
                    <a:pt x="1949" y="454"/>
                  </a:cubicBezTo>
                  <a:cubicBezTo>
                    <a:pt x="1947" y="456"/>
                    <a:pt x="1944" y="458"/>
                    <a:pt x="1942" y="459"/>
                  </a:cubicBezTo>
                  <a:cubicBezTo>
                    <a:pt x="1942" y="459"/>
                    <a:pt x="1942" y="459"/>
                    <a:pt x="1942" y="460"/>
                  </a:cubicBezTo>
                  <a:cubicBezTo>
                    <a:pt x="1943" y="459"/>
                    <a:pt x="1945" y="458"/>
                    <a:pt x="1946" y="458"/>
                  </a:cubicBezTo>
                  <a:cubicBezTo>
                    <a:pt x="1951" y="455"/>
                    <a:pt x="1956" y="452"/>
                    <a:pt x="1961" y="449"/>
                  </a:cubicBezTo>
                  <a:moveTo>
                    <a:pt x="1699" y="457"/>
                  </a:moveTo>
                  <a:cubicBezTo>
                    <a:pt x="1698" y="457"/>
                    <a:pt x="1697" y="458"/>
                    <a:pt x="1695" y="459"/>
                  </a:cubicBezTo>
                  <a:cubicBezTo>
                    <a:pt x="1693" y="461"/>
                    <a:pt x="1690" y="463"/>
                    <a:pt x="1687" y="465"/>
                  </a:cubicBezTo>
                  <a:cubicBezTo>
                    <a:pt x="1688" y="465"/>
                    <a:pt x="1688" y="465"/>
                    <a:pt x="1689" y="465"/>
                  </a:cubicBezTo>
                  <a:cubicBezTo>
                    <a:pt x="1692" y="463"/>
                    <a:pt x="1694" y="461"/>
                    <a:pt x="1697" y="459"/>
                  </a:cubicBezTo>
                  <a:cubicBezTo>
                    <a:pt x="1698" y="458"/>
                    <a:pt x="1699" y="457"/>
                    <a:pt x="1699" y="457"/>
                  </a:cubicBezTo>
                  <a:moveTo>
                    <a:pt x="1941" y="461"/>
                  </a:moveTo>
                  <a:cubicBezTo>
                    <a:pt x="1941" y="461"/>
                    <a:pt x="1941" y="461"/>
                    <a:pt x="1940" y="461"/>
                  </a:cubicBezTo>
                  <a:cubicBezTo>
                    <a:pt x="1940" y="461"/>
                    <a:pt x="1940" y="462"/>
                    <a:pt x="1940" y="462"/>
                  </a:cubicBezTo>
                  <a:cubicBezTo>
                    <a:pt x="1940" y="461"/>
                    <a:pt x="1941" y="461"/>
                    <a:pt x="1941" y="461"/>
                  </a:cubicBezTo>
                  <a:moveTo>
                    <a:pt x="1938" y="462"/>
                  </a:moveTo>
                  <a:cubicBezTo>
                    <a:pt x="1938" y="462"/>
                    <a:pt x="1937" y="463"/>
                    <a:pt x="1936" y="463"/>
                  </a:cubicBezTo>
                  <a:cubicBezTo>
                    <a:pt x="1936" y="463"/>
                    <a:pt x="1935" y="463"/>
                    <a:pt x="1935" y="464"/>
                  </a:cubicBezTo>
                  <a:cubicBezTo>
                    <a:pt x="1935" y="464"/>
                    <a:pt x="1936" y="464"/>
                    <a:pt x="1936" y="464"/>
                  </a:cubicBezTo>
                  <a:cubicBezTo>
                    <a:pt x="1936" y="464"/>
                    <a:pt x="1937" y="464"/>
                    <a:pt x="1937" y="463"/>
                  </a:cubicBezTo>
                  <a:cubicBezTo>
                    <a:pt x="1938" y="463"/>
                    <a:pt x="1938" y="462"/>
                    <a:pt x="1938" y="462"/>
                  </a:cubicBezTo>
                  <a:moveTo>
                    <a:pt x="1934" y="465"/>
                  </a:moveTo>
                  <a:cubicBezTo>
                    <a:pt x="1934" y="465"/>
                    <a:pt x="1935" y="465"/>
                    <a:pt x="1935" y="465"/>
                  </a:cubicBezTo>
                  <a:cubicBezTo>
                    <a:pt x="1935" y="465"/>
                    <a:pt x="1935" y="465"/>
                    <a:pt x="1935" y="465"/>
                  </a:cubicBezTo>
                  <a:cubicBezTo>
                    <a:pt x="1935" y="465"/>
                    <a:pt x="1935" y="465"/>
                    <a:pt x="1934" y="465"/>
                  </a:cubicBezTo>
                  <a:moveTo>
                    <a:pt x="1933" y="465"/>
                  </a:moveTo>
                  <a:cubicBezTo>
                    <a:pt x="1932" y="465"/>
                    <a:pt x="1931" y="466"/>
                    <a:pt x="1930" y="467"/>
                  </a:cubicBezTo>
                  <a:cubicBezTo>
                    <a:pt x="1931" y="467"/>
                    <a:pt x="1932" y="466"/>
                    <a:pt x="1933" y="466"/>
                  </a:cubicBezTo>
                  <a:cubicBezTo>
                    <a:pt x="1934" y="466"/>
                    <a:pt x="1934" y="466"/>
                    <a:pt x="1934" y="466"/>
                  </a:cubicBezTo>
                  <a:cubicBezTo>
                    <a:pt x="1934" y="465"/>
                    <a:pt x="1933" y="465"/>
                    <a:pt x="1933" y="465"/>
                  </a:cubicBezTo>
                  <a:moveTo>
                    <a:pt x="1687" y="466"/>
                  </a:moveTo>
                  <a:cubicBezTo>
                    <a:pt x="1686" y="466"/>
                    <a:pt x="1686" y="466"/>
                    <a:pt x="1685" y="466"/>
                  </a:cubicBezTo>
                  <a:cubicBezTo>
                    <a:pt x="1683" y="468"/>
                    <a:pt x="1680" y="469"/>
                    <a:pt x="1678" y="471"/>
                  </a:cubicBezTo>
                  <a:cubicBezTo>
                    <a:pt x="1679" y="470"/>
                    <a:pt x="1680" y="470"/>
                    <a:pt x="1681" y="470"/>
                  </a:cubicBezTo>
                  <a:cubicBezTo>
                    <a:pt x="1683" y="468"/>
                    <a:pt x="1685" y="467"/>
                    <a:pt x="1687" y="466"/>
                  </a:cubicBezTo>
                  <a:moveTo>
                    <a:pt x="1931" y="468"/>
                  </a:moveTo>
                  <a:cubicBezTo>
                    <a:pt x="1930" y="468"/>
                    <a:pt x="1929" y="468"/>
                    <a:pt x="1928" y="468"/>
                  </a:cubicBezTo>
                  <a:cubicBezTo>
                    <a:pt x="1925" y="470"/>
                    <a:pt x="1923" y="472"/>
                    <a:pt x="1920" y="474"/>
                  </a:cubicBezTo>
                  <a:cubicBezTo>
                    <a:pt x="1922" y="473"/>
                    <a:pt x="1923" y="473"/>
                    <a:pt x="1925" y="472"/>
                  </a:cubicBezTo>
                  <a:cubicBezTo>
                    <a:pt x="1927" y="471"/>
                    <a:pt x="1929" y="469"/>
                    <a:pt x="1931" y="468"/>
                  </a:cubicBezTo>
                  <a:moveTo>
                    <a:pt x="1678" y="472"/>
                  </a:moveTo>
                  <a:cubicBezTo>
                    <a:pt x="1677" y="472"/>
                    <a:pt x="1676" y="472"/>
                    <a:pt x="1675" y="473"/>
                  </a:cubicBezTo>
                  <a:cubicBezTo>
                    <a:pt x="1674" y="473"/>
                    <a:pt x="1674" y="473"/>
                    <a:pt x="1673" y="473"/>
                  </a:cubicBezTo>
                  <a:cubicBezTo>
                    <a:pt x="1669" y="476"/>
                    <a:pt x="1664" y="479"/>
                    <a:pt x="1660" y="482"/>
                  </a:cubicBezTo>
                  <a:cubicBezTo>
                    <a:pt x="1661" y="482"/>
                    <a:pt x="1661" y="482"/>
                    <a:pt x="1661" y="482"/>
                  </a:cubicBezTo>
                  <a:cubicBezTo>
                    <a:pt x="1665" y="479"/>
                    <a:pt x="1669" y="477"/>
                    <a:pt x="1674" y="474"/>
                  </a:cubicBezTo>
                  <a:cubicBezTo>
                    <a:pt x="1675" y="473"/>
                    <a:pt x="1677" y="472"/>
                    <a:pt x="1678" y="472"/>
                  </a:cubicBezTo>
                  <a:moveTo>
                    <a:pt x="1426" y="472"/>
                  </a:moveTo>
                  <a:cubicBezTo>
                    <a:pt x="1425" y="473"/>
                    <a:pt x="1425" y="473"/>
                    <a:pt x="1425" y="473"/>
                  </a:cubicBezTo>
                  <a:cubicBezTo>
                    <a:pt x="1425" y="473"/>
                    <a:pt x="1426" y="474"/>
                    <a:pt x="1426" y="474"/>
                  </a:cubicBezTo>
                  <a:cubicBezTo>
                    <a:pt x="1426" y="474"/>
                    <a:pt x="1427" y="474"/>
                    <a:pt x="1427" y="474"/>
                  </a:cubicBezTo>
                  <a:cubicBezTo>
                    <a:pt x="1427" y="473"/>
                    <a:pt x="1426" y="473"/>
                    <a:pt x="1426" y="472"/>
                  </a:cubicBezTo>
                  <a:moveTo>
                    <a:pt x="1921" y="475"/>
                  </a:moveTo>
                  <a:cubicBezTo>
                    <a:pt x="1920" y="475"/>
                    <a:pt x="1918" y="476"/>
                    <a:pt x="1917" y="476"/>
                  </a:cubicBezTo>
                  <a:cubicBezTo>
                    <a:pt x="1916" y="477"/>
                    <a:pt x="1914" y="478"/>
                    <a:pt x="1913" y="479"/>
                  </a:cubicBezTo>
                  <a:cubicBezTo>
                    <a:pt x="1913" y="479"/>
                    <a:pt x="1914" y="479"/>
                    <a:pt x="1915" y="479"/>
                  </a:cubicBezTo>
                  <a:cubicBezTo>
                    <a:pt x="1917" y="477"/>
                    <a:pt x="1919" y="476"/>
                    <a:pt x="1921" y="475"/>
                  </a:cubicBezTo>
                  <a:moveTo>
                    <a:pt x="1428" y="475"/>
                  </a:moveTo>
                  <a:cubicBezTo>
                    <a:pt x="1427" y="475"/>
                    <a:pt x="1427" y="475"/>
                    <a:pt x="1427" y="475"/>
                  </a:cubicBezTo>
                  <a:cubicBezTo>
                    <a:pt x="1432" y="480"/>
                    <a:pt x="1436" y="486"/>
                    <a:pt x="1441" y="491"/>
                  </a:cubicBezTo>
                  <a:cubicBezTo>
                    <a:pt x="1442" y="492"/>
                    <a:pt x="1443" y="493"/>
                    <a:pt x="1444" y="493"/>
                  </a:cubicBezTo>
                  <a:cubicBezTo>
                    <a:pt x="1444" y="494"/>
                    <a:pt x="1444" y="494"/>
                    <a:pt x="1445" y="494"/>
                  </a:cubicBezTo>
                  <a:cubicBezTo>
                    <a:pt x="1445" y="494"/>
                    <a:pt x="1445" y="494"/>
                    <a:pt x="1445" y="494"/>
                  </a:cubicBezTo>
                  <a:cubicBezTo>
                    <a:pt x="1440" y="488"/>
                    <a:pt x="1434" y="481"/>
                    <a:pt x="1428" y="475"/>
                  </a:cubicBezTo>
                  <a:moveTo>
                    <a:pt x="1913" y="480"/>
                  </a:moveTo>
                  <a:cubicBezTo>
                    <a:pt x="1912" y="481"/>
                    <a:pt x="1912" y="481"/>
                    <a:pt x="1911" y="481"/>
                  </a:cubicBezTo>
                  <a:cubicBezTo>
                    <a:pt x="1910" y="481"/>
                    <a:pt x="1909" y="482"/>
                    <a:pt x="1909" y="482"/>
                  </a:cubicBezTo>
                  <a:cubicBezTo>
                    <a:pt x="1908" y="483"/>
                    <a:pt x="1907" y="484"/>
                    <a:pt x="1907" y="485"/>
                  </a:cubicBezTo>
                  <a:cubicBezTo>
                    <a:pt x="1909" y="484"/>
                    <a:pt x="1911" y="482"/>
                    <a:pt x="1913" y="480"/>
                  </a:cubicBezTo>
                  <a:moveTo>
                    <a:pt x="1659" y="483"/>
                  </a:moveTo>
                  <a:cubicBezTo>
                    <a:pt x="1658" y="484"/>
                    <a:pt x="1657" y="485"/>
                    <a:pt x="1656" y="486"/>
                  </a:cubicBezTo>
                  <a:cubicBezTo>
                    <a:pt x="1657" y="485"/>
                    <a:pt x="1657" y="485"/>
                    <a:pt x="1658" y="485"/>
                  </a:cubicBezTo>
                  <a:cubicBezTo>
                    <a:pt x="1659" y="485"/>
                    <a:pt x="1659" y="484"/>
                    <a:pt x="1660" y="483"/>
                  </a:cubicBezTo>
                  <a:cubicBezTo>
                    <a:pt x="1660" y="483"/>
                    <a:pt x="1660" y="483"/>
                    <a:pt x="1659" y="483"/>
                  </a:cubicBezTo>
                  <a:moveTo>
                    <a:pt x="1906" y="484"/>
                  </a:moveTo>
                  <a:cubicBezTo>
                    <a:pt x="1904" y="486"/>
                    <a:pt x="1903" y="487"/>
                    <a:pt x="1901" y="488"/>
                  </a:cubicBezTo>
                  <a:cubicBezTo>
                    <a:pt x="1902" y="488"/>
                    <a:pt x="1902" y="488"/>
                    <a:pt x="1902" y="489"/>
                  </a:cubicBezTo>
                  <a:cubicBezTo>
                    <a:pt x="1903" y="488"/>
                    <a:pt x="1904" y="488"/>
                    <a:pt x="1904" y="487"/>
                  </a:cubicBezTo>
                  <a:cubicBezTo>
                    <a:pt x="1905" y="486"/>
                    <a:pt x="1906" y="485"/>
                    <a:pt x="1906" y="484"/>
                  </a:cubicBezTo>
                  <a:moveTo>
                    <a:pt x="1656" y="486"/>
                  </a:moveTo>
                  <a:cubicBezTo>
                    <a:pt x="1656" y="487"/>
                    <a:pt x="1655" y="487"/>
                    <a:pt x="1654" y="487"/>
                  </a:cubicBezTo>
                  <a:cubicBezTo>
                    <a:pt x="1653" y="489"/>
                    <a:pt x="1651" y="491"/>
                    <a:pt x="1649" y="492"/>
                  </a:cubicBezTo>
                  <a:cubicBezTo>
                    <a:pt x="1650" y="492"/>
                    <a:pt x="1650" y="492"/>
                    <a:pt x="1651" y="492"/>
                  </a:cubicBezTo>
                  <a:cubicBezTo>
                    <a:pt x="1653" y="490"/>
                    <a:pt x="1654" y="488"/>
                    <a:pt x="1656" y="486"/>
                  </a:cubicBezTo>
                  <a:moveTo>
                    <a:pt x="1900" y="489"/>
                  </a:moveTo>
                  <a:cubicBezTo>
                    <a:pt x="1899" y="490"/>
                    <a:pt x="1899" y="490"/>
                    <a:pt x="1898" y="491"/>
                  </a:cubicBezTo>
                  <a:cubicBezTo>
                    <a:pt x="1899" y="491"/>
                    <a:pt x="1899" y="491"/>
                    <a:pt x="1900" y="491"/>
                  </a:cubicBezTo>
                  <a:cubicBezTo>
                    <a:pt x="1900" y="490"/>
                    <a:pt x="1901" y="490"/>
                    <a:pt x="1901" y="489"/>
                  </a:cubicBezTo>
                  <a:cubicBezTo>
                    <a:pt x="1901" y="489"/>
                    <a:pt x="1901" y="489"/>
                    <a:pt x="1900" y="489"/>
                  </a:cubicBezTo>
                  <a:moveTo>
                    <a:pt x="1898" y="492"/>
                  </a:moveTo>
                  <a:cubicBezTo>
                    <a:pt x="1898" y="492"/>
                    <a:pt x="1897" y="492"/>
                    <a:pt x="1896" y="492"/>
                  </a:cubicBezTo>
                  <a:cubicBezTo>
                    <a:pt x="1896" y="492"/>
                    <a:pt x="1896" y="493"/>
                    <a:pt x="1896" y="493"/>
                  </a:cubicBezTo>
                  <a:cubicBezTo>
                    <a:pt x="1895" y="493"/>
                    <a:pt x="1895" y="494"/>
                    <a:pt x="1895" y="494"/>
                  </a:cubicBezTo>
                  <a:cubicBezTo>
                    <a:pt x="1895" y="494"/>
                    <a:pt x="1896" y="494"/>
                    <a:pt x="1896" y="494"/>
                  </a:cubicBezTo>
                  <a:cubicBezTo>
                    <a:pt x="1897" y="493"/>
                    <a:pt x="1898" y="493"/>
                    <a:pt x="1898" y="492"/>
                  </a:cubicBezTo>
                  <a:moveTo>
                    <a:pt x="1649" y="493"/>
                  </a:moveTo>
                  <a:cubicBezTo>
                    <a:pt x="1649" y="493"/>
                    <a:pt x="1648" y="494"/>
                    <a:pt x="1648" y="494"/>
                  </a:cubicBezTo>
                  <a:cubicBezTo>
                    <a:pt x="1648" y="494"/>
                    <a:pt x="1649" y="494"/>
                    <a:pt x="1649" y="494"/>
                  </a:cubicBezTo>
                  <a:cubicBezTo>
                    <a:pt x="1649" y="494"/>
                    <a:pt x="1649" y="493"/>
                    <a:pt x="1649" y="493"/>
                  </a:cubicBezTo>
                  <a:moveTo>
                    <a:pt x="1446" y="494"/>
                  </a:moveTo>
                  <a:cubicBezTo>
                    <a:pt x="1446" y="495"/>
                    <a:pt x="1446" y="495"/>
                    <a:pt x="1446" y="495"/>
                  </a:cubicBezTo>
                  <a:cubicBezTo>
                    <a:pt x="1446" y="495"/>
                    <a:pt x="1446" y="495"/>
                    <a:pt x="1446" y="495"/>
                  </a:cubicBezTo>
                  <a:cubicBezTo>
                    <a:pt x="1446" y="495"/>
                    <a:pt x="1446" y="495"/>
                    <a:pt x="1446" y="494"/>
                  </a:cubicBezTo>
                  <a:moveTo>
                    <a:pt x="1647" y="495"/>
                  </a:moveTo>
                  <a:cubicBezTo>
                    <a:pt x="1647" y="495"/>
                    <a:pt x="1648" y="495"/>
                    <a:pt x="1648" y="495"/>
                  </a:cubicBezTo>
                  <a:cubicBezTo>
                    <a:pt x="1648" y="495"/>
                    <a:pt x="1648" y="495"/>
                    <a:pt x="1648" y="495"/>
                  </a:cubicBezTo>
                  <a:cubicBezTo>
                    <a:pt x="1648" y="495"/>
                    <a:pt x="1647" y="495"/>
                    <a:pt x="1647" y="495"/>
                  </a:cubicBezTo>
                  <a:moveTo>
                    <a:pt x="1895" y="495"/>
                  </a:moveTo>
                  <a:cubicBezTo>
                    <a:pt x="1894" y="495"/>
                    <a:pt x="1894" y="495"/>
                    <a:pt x="1893" y="495"/>
                  </a:cubicBezTo>
                  <a:cubicBezTo>
                    <a:pt x="1893" y="496"/>
                    <a:pt x="1892" y="497"/>
                    <a:pt x="1891" y="498"/>
                  </a:cubicBezTo>
                  <a:cubicBezTo>
                    <a:pt x="1892" y="497"/>
                    <a:pt x="1893" y="496"/>
                    <a:pt x="1895" y="495"/>
                  </a:cubicBezTo>
                  <a:moveTo>
                    <a:pt x="1646" y="495"/>
                  </a:moveTo>
                  <a:cubicBezTo>
                    <a:pt x="1646" y="496"/>
                    <a:pt x="1646" y="496"/>
                    <a:pt x="1645" y="496"/>
                  </a:cubicBezTo>
                  <a:cubicBezTo>
                    <a:pt x="1646" y="496"/>
                    <a:pt x="1646" y="496"/>
                    <a:pt x="1647" y="496"/>
                  </a:cubicBezTo>
                  <a:cubicBezTo>
                    <a:pt x="1647" y="496"/>
                    <a:pt x="1647" y="496"/>
                    <a:pt x="1647" y="496"/>
                  </a:cubicBezTo>
                  <a:cubicBezTo>
                    <a:pt x="1647" y="496"/>
                    <a:pt x="1647" y="495"/>
                    <a:pt x="1646" y="495"/>
                  </a:cubicBezTo>
                  <a:moveTo>
                    <a:pt x="1447" y="497"/>
                  </a:moveTo>
                  <a:cubicBezTo>
                    <a:pt x="1447" y="497"/>
                    <a:pt x="1447" y="497"/>
                    <a:pt x="1447" y="497"/>
                  </a:cubicBezTo>
                  <a:cubicBezTo>
                    <a:pt x="1447" y="497"/>
                    <a:pt x="1447" y="497"/>
                    <a:pt x="1447" y="497"/>
                  </a:cubicBezTo>
                  <a:cubicBezTo>
                    <a:pt x="1447" y="497"/>
                    <a:pt x="1447" y="497"/>
                    <a:pt x="1447" y="497"/>
                  </a:cubicBezTo>
                  <a:moveTo>
                    <a:pt x="1891" y="497"/>
                  </a:moveTo>
                  <a:cubicBezTo>
                    <a:pt x="1889" y="498"/>
                    <a:pt x="1888" y="499"/>
                    <a:pt x="1887" y="501"/>
                  </a:cubicBezTo>
                  <a:cubicBezTo>
                    <a:pt x="1887" y="501"/>
                    <a:pt x="1887" y="502"/>
                    <a:pt x="1886" y="502"/>
                  </a:cubicBezTo>
                  <a:cubicBezTo>
                    <a:pt x="1887" y="502"/>
                    <a:pt x="1887" y="502"/>
                    <a:pt x="1887" y="502"/>
                  </a:cubicBezTo>
                  <a:cubicBezTo>
                    <a:pt x="1888" y="500"/>
                    <a:pt x="1889" y="499"/>
                    <a:pt x="1891" y="497"/>
                  </a:cubicBezTo>
                  <a:moveTo>
                    <a:pt x="1646" y="497"/>
                  </a:moveTo>
                  <a:cubicBezTo>
                    <a:pt x="1645" y="497"/>
                    <a:pt x="1645" y="497"/>
                    <a:pt x="1644" y="497"/>
                  </a:cubicBezTo>
                  <a:cubicBezTo>
                    <a:pt x="1644" y="498"/>
                    <a:pt x="1643" y="499"/>
                    <a:pt x="1643" y="500"/>
                  </a:cubicBezTo>
                  <a:cubicBezTo>
                    <a:pt x="1643" y="500"/>
                    <a:pt x="1643" y="500"/>
                    <a:pt x="1644" y="500"/>
                  </a:cubicBezTo>
                  <a:cubicBezTo>
                    <a:pt x="1644" y="500"/>
                    <a:pt x="1644" y="499"/>
                    <a:pt x="1644" y="499"/>
                  </a:cubicBezTo>
                  <a:cubicBezTo>
                    <a:pt x="1645" y="498"/>
                    <a:pt x="1645" y="498"/>
                    <a:pt x="1646" y="497"/>
                  </a:cubicBezTo>
                  <a:moveTo>
                    <a:pt x="1449" y="497"/>
                  </a:moveTo>
                  <a:cubicBezTo>
                    <a:pt x="1449" y="498"/>
                    <a:pt x="1450" y="499"/>
                    <a:pt x="1450" y="500"/>
                  </a:cubicBezTo>
                  <a:cubicBezTo>
                    <a:pt x="1453" y="503"/>
                    <a:pt x="1455" y="505"/>
                    <a:pt x="1457" y="508"/>
                  </a:cubicBezTo>
                  <a:cubicBezTo>
                    <a:pt x="1457" y="508"/>
                    <a:pt x="1457" y="508"/>
                    <a:pt x="1458" y="507"/>
                  </a:cubicBezTo>
                  <a:cubicBezTo>
                    <a:pt x="1455" y="505"/>
                    <a:pt x="1453" y="502"/>
                    <a:pt x="1450" y="499"/>
                  </a:cubicBezTo>
                  <a:cubicBezTo>
                    <a:pt x="1450" y="498"/>
                    <a:pt x="1449" y="498"/>
                    <a:pt x="1449" y="497"/>
                  </a:cubicBezTo>
                  <a:cubicBezTo>
                    <a:pt x="1449" y="497"/>
                    <a:pt x="1449" y="497"/>
                    <a:pt x="1449" y="497"/>
                  </a:cubicBezTo>
                  <a:moveTo>
                    <a:pt x="1642" y="501"/>
                  </a:moveTo>
                  <a:cubicBezTo>
                    <a:pt x="1642" y="501"/>
                    <a:pt x="1642" y="501"/>
                    <a:pt x="1642" y="501"/>
                  </a:cubicBezTo>
                  <a:cubicBezTo>
                    <a:pt x="1642" y="501"/>
                    <a:pt x="1642" y="501"/>
                    <a:pt x="1642" y="501"/>
                  </a:cubicBezTo>
                  <a:cubicBezTo>
                    <a:pt x="1642" y="501"/>
                    <a:pt x="1642" y="501"/>
                    <a:pt x="1642" y="501"/>
                  </a:cubicBezTo>
                  <a:moveTo>
                    <a:pt x="1886" y="502"/>
                  </a:moveTo>
                  <a:cubicBezTo>
                    <a:pt x="1885" y="502"/>
                    <a:pt x="1884" y="503"/>
                    <a:pt x="1884" y="504"/>
                  </a:cubicBezTo>
                  <a:cubicBezTo>
                    <a:pt x="1884" y="503"/>
                    <a:pt x="1884" y="503"/>
                    <a:pt x="1885" y="503"/>
                  </a:cubicBezTo>
                  <a:cubicBezTo>
                    <a:pt x="1885" y="503"/>
                    <a:pt x="1885" y="502"/>
                    <a:pt x="1886" y="502"/>
                  </a:cubicBezTo>
                  <a:moveTo>
                    <a:pt x="1641" y="504"/>
                  </a:moveTo>
                  <a:cubicBezTo>
                    <a:pt x="1640" y="504"/>
                    <a:pt x="1640" y="505"/>
                    <a:pt x="1639" y="505"/>
                  </a:cubicBezTo>
                  <a:cubicBezTo>
                    <a:pt x="1637" y="508"/>
                    <a:pt x="1634" y="512"/>
                    <a:pt x="1632" y="516"/>
                  </a:cubicBezTo>
                  <a:cubicBezTo>
                    <a:pt x="1633" y="515"/>
                    <a:pt x="1634" y="515"/>
                    <a:pt x="1634" y="515"/>
                  </a:cubicBezTo>
                  <a:cubicBezTo>
                    <a:pt x="1636" y="511"/>
                    <a:pt x="1638" y="508"/>
                    <a:pt x="1641" y="504"/>
                  </a:cubicBezTo>
                  <a:moveTo>
                    <a:pt x="1884" y="504"/>
                  </a:moveTo>
                  <a:cubicBezTo>
                    <a:pt x="1883" y="505"/>
                    <a:pt x="1883" y="505"/>
                    <a:pt x="1882" y="505"/>
                  </a:cubicBezTo>
                  <a:cubicBezTo>
                    <a:pt x="1881" y="506"/>
                    <a:pt x="1880" y="507"/>
                    <a:pt x="1879" y="508"/>
                  </a:cubicBezTo>
                  <a:cubicBezTo>
                    <a:pt x="1880" y="508"/>
                    <a:pt x="1881" y="507"/>
                    <a:pt x="1882" y="507"/>
                  </a:cubicBezTo>
                  <a:cubicBezTo>
                    <a:pt x="1882" y="506"/>
                    <a:pt x="1883" y="505"/>
                    <a:pt x="1884" y="504"/>
                  </a:cubicBezTo>
                  <a:moveTo>
                    <a:pt x="1458" y="508"/>
                  </a:moveTo>
                  <a:cubicBezTo>
                    <a:pt x="1458" y="508"/>
                    <a:pt x="1458" y="508"/>
                    <a:pt x="1458" y="508"/>
                  </a:cubicBezTo>
                  <a:cubicBezTo>
                    <a:pt x="1458" y="509"/>
                    <a:pt x="1459" y="509"/>
                    <a:pt x="1459" y="510"/>
                  </a:cubicBezTo>
                  <a:cubicBezTo>
                    <a:pt x="1460" y="511"/>
                    <a:pt x="1461" y="512"/>
                    <a:pt x="1462" y="513"/>
                  </a:cubicBezTo>
                  <a:cubicBezTo>
                    <a:pt x="1462" y="513"/>
                    <a:pt x="1462" y="513"/>
                    <a:pt x="1462" y="513"/>
                  </a:cubicBezTo>
                  <a:cubicBezTo>
                    <a:pt x="1461" y="511"/>
                    <a:pt x="1460" y="510"/>
                    <a:pt x="1458" y="508"/>
                  </a:cubicBezTo>
                  <a:moveTo>
                    <a:pt x="1880" y="509"/>
                  </a:moveTo>
                  <a:cubicBezTo>
                    <a:pt x="1879" y="509"/>
                    <a:pt x="1878" y="509"/>
                    <a:pt x="1878" y="509"/>
                  </a:cubicBezTo>
                  <a:cubicBezTo>
                    <a:pt x="1873" y="514"/>
                    <a:pt x="1869" y="518"/>
                    <a:pt x="1865" y="523"/>
                  </a:cubicBezTo>
                  <a:cubicBezTo>
                    <a:pt x="1864" y="524"/>
                    <a:pt x="1863" y="526"/>
                    <a:pt x="1861" y="527"/>
                  </a:cubicBezTo>
                  <a:cubicBezTo>
                    <a:pt x="1859" y="531"/>
                    <a:pt x="1857" y="534"/>
                    <a:pt x="1854" y="537"/>
                  </a:cubicBezTo>
                  <a:cubicBezTo>
                    <a:pt x="1855" y="537"/>
                    <a:pt x="1855" y="537"/>
                    <a:pt x="1856" y="537"/>
                  </a:cubicBezTo>
                  <a:cubicBezTo>
                    <a:pt x="1859" y="532"/>
                    <a:pt x="1862" y="528"/>
                    <a:pt x="1866" y="523"/>
                  </a:cubicBezTo>
                  <a:cubicBezTo>
                    <a:pt x="1867" y="522"/>
                    <a:pt x="1869" y="520"/>
                    <a:pt x="1871" y="518"/>
                  </a:cubicBezTo>
                  <a:cubicBezTo>
                    <a:pt x="1873" y="515"/>
                    <a:pt x="1876" y="512"/>
                    <a:pt x="1880" y="509"/>
                  </a:cubicBezTo>
                  <a:moveTo>
                    <a:pt x="1463" y="514"/>
                  </a:moveTo>
                  <a:cubicBezTo>
                    <a:pt x="1463" y="514"/>
                    <a:pt x="1463" y="514"/>
                    <a:pt x="1463" y="514"/>
                  </a:cubicBezTo>
                  <a:cubicBezTo>
                    <a:pt x="1463" y="514"/>
                    <a:pt x="1463" y="514"/>
                    <a:pt x="1463" y="514"/>
                  </a:cubicBezTo>
                  <a:cubicBezTo>
                    <a:pt x="1463" y="514"/>
                    <a:pt x="1463" y="514"/>
                    <a:pt x="1463" y="514"/>
                  </a:cubicBezTo>
                  <a:moveTo>
                    <a:pt x="1633" y="517"/>
                  </a:moveTo>
                  <a:cubicBezTo>
                    <a:pt x="1633" y="517"/>
                    <a:pt x="1632" y="517"/>
                    <a:pt x="1632" y="518"/>
                  </a:cubicBezTo>
                  <a:cubicBezTo>
                    <a:pt x="1631" y="518"/>
                    <a:pt x="1631" y="519"/>
                    <a:pt x="1631" y="519"/>
                  </a:cubicBezTo>
                  <a:cubicBezTo>
                    <a:pt x="1631" y="519"/>
                    <a:pt x="1632" y="519"/>
                    <a:pt x="1632" y="519"/>
                  </a:cubicBezTo>
                  <a:cubicBezTo>
                    <a:pt x="1633" y="518"/>
                    <a:pt x="1633" y="517"/>
                    <a:pt x="1633" y="517"/>
                  </a:cubicBezTo>
                  <a:moveTo>
                    <a:pt x="1467" y="517"/>
                  </a:moveTo>
                  <a:cubicBezTo>
                    <a:pt x="1468" y="518"/>
                    <a:pt x="1468" y="519"/>
                    <a:pt x="1469" y="519"/>
                  </a:cubicBezTo>
                  <a:cubicBezTo>
                    <a:pt x="1472" y="523"/>
                    <a:pt x="1475" y="526"/>
                    <a:pt x="1478" y="529"/>
                  </a:cubicBezTo>
                  <a:cubicBezTo>
                    <a:pt x="1478" y="529"/>
                    <a:pt x="1478" y="529"/>
                    <a:pt x="1479" y="529"/>
                  </a:cubicBezTo>
                  <a:cubicBezTo>
                    <a:pt x="1475" y="525"/>
                    <a:pt x="1471" y="521"/>
                    <a:pt x="1467" y="517"/>
                  </a:cubicBezTo>
                  <a:moveTo>
                    <a:pt x="1631" y="521"/>
                  </a:moveTo>
                  <a:cubicBezTo>
                    <a:pt x="1630" y="522"/>
                    <a:pt x="1630" y="522"/>
                    <a:pt x="1629" y="522"/>
                  </a:cubicBezTo>
                  <a:cubicBezTo>
                    <a:pt x="1629" y="522"/>
                    <a:pt x="1629" y="522"/>
                    <a:pt x="1629" y="522"/>
                  </a:cubicBezTo>
                  <a:cubicBezTo>
                    <a:pt x="1630" y="523"/>
                    <a:pt x="1630" y="523"/>
                    <a:pt x="1630" y="523"/>
                  </a:cubicBezTo>
                  <a:cubicBezTo>
                    <a:pt x="1631" y="522"/>
                    <a:pt x="1631" y="522"/>
                    <a:pt x="1631" y="521"/>
                  </a:cubicBezTo>
                  <a:moveTo>
                    <a:pt x="1629" y="523"/>
                  </a:moveTo>
                  <a:cubicBezTo>
                    <a:pt x="1629" y="524"/>
                    <a:pt x="1629" y="524"/>
                    <a:pt x="1629" y="524"/>
                  </a:cubicBezTo>
                  <a:cubicBezTo>
                    <a:pt x="1629" y="524"/>
                    <a:pt x="1629" y="524"/>
                    <a:pt x="1629" y="523"/>
                  </a:cubicBezTo>
                  <a:cubicBezTo>
                    <a:pt x="1629" y="523"/>
                    <a:pt x="1629" y="523"/>
                    <a:pt x="1629" y="523"/>
                  </a:cubicBezTo>
                  <a:moveTo>
                    <a:pt x="1630" y="524"/>
                  </a:moveTo>
                  <a:cubicBezTo>
                    <a:pt x="1629" y="525"/>
                    <a:pt x="1629" y="525"/>
                    <a:pt x="1628" y="525"/>
                  </a:cubicBezTo>
                  <a:cubicBezTo>
                    <a:pt x="1627" y="527"/>
                    <a:pt x="1626" y="529"/>
                    <a:pt x="1626" y="532"/>
                  </a:cubicBezTo>
                  <a:cubicBezTo>
                    <a:pt x="1626" y="532"/>
                    <a:pt x="1626" y="532"/>
                    <a:pt x="1626" y="532"/>
                  </a:cubicBezTo>
                  <a:cubicBezTo>
                    <a:pt x="1626" y="532"/>
                    <a:pt x="1626" y="532"/>
                    <a:pt x="1627" y="532"/>
                  </a:cubicBezTo>
                  <a:cubicBezTo>
                    <a:pt x="1627" y="530"/>
                    <a:pt x="1628" y="527"/>
                    <a:pt x="1630" y="524"/>
                  </a:cubicBezTo>
                  <a:moveTo>
                    <a:pt x="1480" y="530"/>
                  </a:moveTo>
                  <a:cubicBezTo>
                    <a:pt x="1479" y="530"/>
                    <a:pt x="1479" y="530"/>
                    <a:pt x="1479" y="530"/>
                  </a:cubicBezTo>
                  <a:cubicBezTo>
                    <a:pt x="1480" y="531"/>
                    <a:pt x="1481" y="533"/>
                    <a:pt x="1482" y="534"/>
                  </a:cubicBezTo>
                  <a:cubicBezTo>
                    <a:pt x="1483" y="534"/>
                    <a:pt x="1483" y="534"/>
                    <a:pt x="1483" y="534"/>
                  </a:cubicBezTo>
                  <a:cubicBezTo>
                    <a:pt x="1482" y="533"/>
                    <a:pt x="1481" y="532"/>
                    <a:pt x="1480" y="531"/>
                  </a:cubicBezTo>
                  <a:cubicBezTo>
                    <a:pt x="1480" y="530"/>
                    <a:pt x="1480" y="530"/>
                    <a:pt x="1480" y="530"/>
                  </a:cubicBezTo>
                  <a:moveTo>
                    <a:pt x="1625" y="533"/>
                  </a:moveTo>
                  <a:cubicBezTo>
                    <a:pt x="1625" y="533"/>
                    <a:pt x="1625" y="533"/>
                    <a:pt x="1625" y="533"/>
                  </a:cubicBezTo>
                  <a:cubicBezTo>
                    <a:pt x="1625" y="533"/>
                    <a:pt x="1625" y="533"/>
                    <a:pt x="1625" y="533"/>
                  </a:cubicBezTo>
                  <a:cubicBezTo>
                    <a:pt x="1625" y="533"/>
                    <a:pt x="1625" y="533"/>
                    <a:pt x="1625" y="533"/>
                  </a:cubicBezTo>
                  <a:moveTo>
                    <a:pt x="1626" y="533"/>
                  </a:moveTo>
                  <a:cubicBezTo>
                    <a:pt x="1626" y="534"/>
                    <a:pt x="1625" y="534"/>
                    <a:pt x="1625" y="534"/>
                  </a:cubicBezTo>
                  <a:cubicBezTo>
                    <a:pt x="1625" y="534"/>
                    <a:pt x="1625" y="534"/>
                    <a:pt x="1625" y="535"/>
                  </a:cubicBezTo>
                  <a:cubicBezTo>
                    <a:pt x="1625" y="535"/>
                    <a:pt x="1625" y="535"/>
                    <a:pt x="1626" y="534"/>
                  </a:cubicBezTo>
                  <a:cubicBezTo>
                    <a:pt x="1626" y="534"/>
                    <a:pt x="1626" y="534"/>
                    <a:pt x="1626" y="533"/>
                  </a:cubicBezTo>
                  <a:moveTo>
                    <a:pt x="1484" y="534"/>
                  </a:moveTo>
                  <a:cubicBezTo>
                    <a:pt x="1484" y="534"/>
                    <a:pt x="1483" y="535"/>
                    <a:pt x="1483" y="535"/>
                  </a:cubicBezTo>
                  <a:cubicBezTo>
                    <a:pt x="1484" y="535"/>
                    <a:pt x="1485" y="536"/>
                    <a:pt x="1486" y="537"/>
                  </a:cubicBezTo>
                  <a:cubicBezTo>
                    <a:pt x="1486" y="536"/>
                    <a:pt x="1485" y="535"/>
                    <a:pt x="1484" y="534"/>
                  </a:cubicBezTo>
                  <a:moveTo>
                    <a:pt x="1625" y="536"/>
                  </a:moveTo>
                  <a:cubicBezTo>
                    <a:pt x="1625" y="536"/>
                    <a:pt x="1625" y="536"/>
                    <a:pt x="1624" y="536"/>
                  </a:cubicBezTo>
                  <a:cubicBezTo>
                    <a:pt x="1623" y="538"/>
                    <a:pt x="1623" y="540"/>
                    <a:pt x="1622" y="542"/>
                  </a:cubicBezTo>
                  <a:cubicBezTo>
                    <a:pt x="1623" y="542"/>
                    <a:pt x="1623" y="542"/>
                    <a:pt x="1623" y="542"/>
                  </a:cubicBezTo>
                  <a:cubicBezTo>
                    <a:pt x="1624" y="540"/>
                    <a:pt x="1625" y="538"/>
                    <a:pt x="1625" y="536"/>
                  </a:cubicBezTo>
                  <a:moveTo>
                    <a:pt x="1855" y="538"/>
                  </a:moveTo>
                  <a:cubicBezTo>
                    <a:pt x="1854" y="538"/>
                    <a:pt x="1854" y="538"/>
                    <a:pt x="1854" y="538"/>
                  </a:cubicBezTo>
                  <a:cubicBezTo>
                    <a:pt x="1846" y="550"/>
                    <a:pt x="1841" y="561"/>
                    <a:pt x="1838" y="573"/>
                  </a:cubicBezTo>
                  <a:cubicBezTo>
                    <a:pt x="1838" y="573"/>
                    <a:pt x="1839" y="573"/>
                    <a:pt x="1839" y="573"/>
                  </a:cubicBezTo>
                  <a:cubicBezTo>
                    <a:pt x="1842" y="561"/>
                    <a:pt x="1847" y="549"/>
                    <a:pt x="1855" y="538"/>
                  </a:cubicBezTo>
                  <a:moveTo>
                    <a:pt x="1487" y="539"/>
                  </a:moveTo>
                  <a:cubicBezTo>
                    <a:pt x="1488" y="540"/>
                    <a:pt x="1490" y="542"/>
                    <a:pt x="1491" y="543"/>
                  </a:cubicBezTo>
                  <a:cubicBezTo>
                    <a:pt x="1492" y="543"/>
                    <a:pt x="1492" y="544"/>
                    <a:pt x="1492" y="544"/>
                  </a:cubicBezTo>
                  <a:cubicBezTo>
                    <a:pt x="1493" y="544"/>
                    <a:pt x="1493" y="544"/>
                    <a:pt x="1493" y="544"/>
                  </a:cubicBezTo>
                  <a:cubicBezTo>
                    <a:pt x="1492" y="542"/>
                    <a:pt x="1491" y="541"/>
                    <a:pt x="1490" y="540"/>
                  </a:cubicBezTo>
                  <a:cubicBezTo>
                    <a:pt x="1489" y="540"/>
                    <a:pt x="1488" y="539"/>
                    <a:pt x="1487" y="539"/>
                  </a:cubicBezTo>
                  <a:cubicBezTo>
                    <a:pt x="1487" y="539"/>
                    <a:pt x="1487" y="539"/>
                    <a:pt x="1487" y="539"/>
                  </a:cubicBezTo>
                  <a:moveTo>
                    <a:pt x="1623" y="543"/>
                  </a:moveTo>
                  <a:cubicBezTo>
                    <a:pt x="1623" y="543"/>
                    <a:pt x="1622" y="543"/>
                    <a:pt x="1622" y="544"/>
                  </a:cubicBezTo>
                  <a:cubicBezTo>
                    <a:pt x="1621" y="545"/>
                    <a:pt x="1621" y="547"/>
                    <a:pt x="1620" y="549"/>
                  </a:cubicBezTo>
                  <a:cubicBezTo>
                    <a:pt x="1621" y="549"/>
                    <a:pt x="1621" y="549"/>
                    <a:pt x="1622" y="549"/>
                  </a:cubicBezTo>
                  <a:cubicBezTo>
                    <a:pt x="1622" y="547"/>
                    <a:pt x="1622" y="545"/>
                    <a:pt x="1623" y="543"/>
                  </a:cubicBezTo>
                  <a:moveTo>
                    <a:pt x="1494" y="544"/>
                  </a:moveTo>
                  <a:cubicBezTo>
                    <a:pt x="1494" y="544"/>
                    <a:pt x="1494" y="544"/>
                    <a:pt x="1494" y="544"/>
                  </a:cubicBezTo>
                  <a:cubicBezTo>
                    <a:pt x="1494" y="544"/>
                    <a:pt x="1494" y="545"/>
                    <a:pt x="1494" y="545"/>
                  </a:cubicBezTo>
                  <a:cubicBezTo>
                    <a:pt x="1494" y="545"/>
                    <a:pt x="1494" y="544"/>
                    <a:pt x="1494" y="544"/>
                  </a:cubicBezTo>
                  <a:moveTo>
                    <a:pt x="1493" y="545"/>
                  </a:moveTo>
                  <a:cubicBezTo>
                    <a:pt x="1495" y="548"/>
                    <a:pt x="1498" y="550"/>
                    <a:pt x="1500" y="552"/>
                  </a:cubicBezTo>
                  <a:cubicBezTo>
                    <a:pt x="1500" y="551"/>
                    <a:pt x="1500" y="551"/>
                    <a:pt x="1501" y="551"/>
                  </a:cubicBezTo>
                  <a:cubicBezTo>
                    <a:pt x="1499" y="550"/>
                    <a:pt x="1498" y="548"/>
                    <a:pt x="1496" y="547"/>
                  </a:cubicBezTo>
                  <a:cubicBezTo>
                    <a:pt x="1495" y="546"/>
                    <a:pt x="1494" y="546"/>
                    <a:pt x="1493" y="545"/>
                  </a:cubicBezTo>
                  <a:moveTo>
                    <a:pt x="1621" y="550"/>
                  </a:moveTo>
                  <a:cubicBezTo>
                    <a:pt x="1621" y="550"/>
                    <a:pt x="1621" y="550"/>
                    <a:pt x="1620" y="550"/>
                  </a:cubicBezTo>
                  <a:cubicBezTo>
                    <a:pt x="1620" y="551"/>
                    <a:pt x="1620" y="551"/>
                    <a:pt x="1620" y="551"/>
                  </a:cubicBezTo>
                  <a:cubicBezTo>
                    <a:pt x="1620" y="551"/>
                    <a:pt x="1621" y="551"/>
                    <a:pt x="1621" y="551"/>
                  </a:cubicBezTo>
                  <a:cubicBezTo>
                    <a:pt x="1621" y="550"/>
                    <a:pt x="1621" y="550"/>
                    <a:pt x="1621" y="550"/>
                  </a:cubicBezTo>
                  <a:moveTo>
                    <a:pt x="1621" y="552"/>
                  </a:moveTo>
                  <a:cubicBezTo>
                    <a:pt x="1620" y="552"/>
                    <a:pt x="1620" y="552"/>
                    <a:pt x="1620" y="552"/>
                  </a:cubicBezTo>
                  <a:cubicBezTo>
                    <a:pt x="1620" y="553"/>
                    <a:pt x="1620" y="553"/>
                    <a:pt x="1619" y="553"/>
                  </a:cubicBezTo>
                  <a:cubicBezTo>
                    <a:pt x="1620" y="553"/>
                    <a:pt x="1620" y="553"/>
                    <a:pt x="1620" y="553"/>
                  </a:cubicBezTo>
                  <a:cubicBezTo>
                    <a:pt x="1621" y="553"/>
                    <a:pt x="1621" y="552"/>
                    <a:pt x="1621" y="552"/>
                  </a:cubicBezTo>
                  <a:moveTo>
                    <a:pt x="1501" y="552"/>
                  </a:moveTo>
                  <a:cubicBezTo>
                    <a:pt x="1501" y="552"/>
                    <a:pt x="1501" y="552"/>
                    <a:pt x="1500" y="552"/>
                  </a:cubicBezTo>
                  <a:cubicBezTo>
                    <a:pt x="1502" y="554"/>
                    <a:pt x="1504" y="556"/>
                    <a:pt x="1505" y="557"/>
                  </a:cubicBezTo>
                  <a:cubicBezTo>
                    <a:pt x="1505" y="557"/>
                    <a:pt x="1506" y="557"/>
                    <a:pt x="1506" y="557"/>
                  </a:cubicBezTo>
                  <a:cubicBezTo>
                    <a:pt x="1505" y="555"/>
                    <a:pt x="1503" y="554"/>
                    <a:pt x="1501" y="552"/>
                  </a:cubicBezTo>
                  <a:moveTo>
                    <a:pt x="1619" y="554"/>
                  </a:moveTo>
                  <a:cubicBezTo>
                    <a:pt x="1619" y="555"/>
                    <a:pt x="1619" y="557"/>
                    <a:pt x="1619" y="558"/>
                  </a:cubicBezTo>
                  <a:cubicBezTo>
                    <a:pt x="1619" y="557"/>
                    <a:pt x="1619" y="557"/>
                    <a:pt x="1620" y="557"/>
                  </a:cubicBezTo>
                  <a:cubicBezTo>
                    <a:pt x="1620" y="556"/>
                    <a:pt x="1620" y="555"/>
                    <a:pt x="1620" y="554"/>
                  </a:cubicBezTo>
                  <a:cubicBezTo>
                    <a:pt x="1620" y="554"/>
                    <a:pt x="1620" y="554"/>
                    <a:pt x="1619" y="554"/>
                  </a:cubicBezTo>
                  <a:moveTo>
                    <a:pt x="1619" y="558"/>
                  </a:moveTo>
                  <a:cubicBezTo>
                    <a:pt x="1619" y="558"/>
                    <a:pt x="1619" y="559"/>
                    <a:pt x="1618" y="559"/>
                  </a:cubicBezTo>
                  <a:cubicBezTo>
                    <a:pt x="1618" y="560"/>
                    <a:pt x="1618" y="561"/>
                    <a:pt x="1618" y="563"/>
                  </a:cubicBezTo>
                  <a:cubicBezTo>
                    <a:pt x="1618" y="563"/>
                    <a:pt x="1618" y="562"/>
                    <a:pt x="1619" y="562"/>
                  </a:cubicBezTo>
                  <a:cubicBezTo>
                    <a:pt x="1619" y="561"/>
                    <a:pt x="1619" y="560"/>
                    <a:pt x="1619" y="558"/>
                  </a:cubicBezTo>
                  <a:moveTo>
                    <a:pt x="1508" y="558"/>
                  </a:moveTo>
                  <a:cubicBezTo>
                    <a:pt x="1508" y="558"/>
                    <a:pt x="1507" y="559"/>
                    <a:pt x="1507" y="559"/>
                  </a:cubicBezTo>
                  <a:cubicBezTo>
                    <a:pt x="1508" y="559"/>
                    <a:pt x="1508" y="559"/>
                    <a:pt x="1508" y="559"/>
                  </a:cubicBezTo>
                  <a:cubicBezTo>
                    <a:pt x="1508" y="559"/>
                    <a:pt x="1508" y="559"/>
                    <a:pt x="1508" y="558"/>
                  </a:cubicBezTo>
                  <a:moveTo>
                    <a:pt x="1509" y="560"/>
                  </a:moveTo>
                  <a:cubicBezTo>
                    <a:pt x="1508" y="560"/>
                    <a:pt x="1508" y="560"/>
                    <a:pt x="1508" y="560"/>
                  </a:cubicBezTo>
                  <a:cubicBezTo>
                    <a:pt x="1511" y="563"/>
                    <a:pt x="1513" y="565"/>
                    <a:pt x="1516" y="568"/>
                  </a:cubicBezTo>
                  <a:cubicBezTo>
                    <a:pt x="1516" y="568"/>
                    <a:pt x="1516" y="567"/>
                    <a:pt x="1517" y="567"/>
                  </a:cubicBezTo>
                  <a:cubicBezTo>
                    <a:pt x="1515" y="565"/>
                    <a:pt x="1512" y="563"/>
                    <a:pt x="1510" y="561"/>
                  </a:cubicBezTo>
                  <a:cubicBezTo>
                    <a:pt x="1510" y="561"/>
                    <a:pt x="1509" y="560"/>
                    <a:pt x="1509" y="560"/>
                  </a:cubicBezTo>
                  <a:moveTo>
                    <a:pt x="1618" y="564"/>
                  </a:moveTo>
                  <a:cubicBezTo>
                    <a:pt x="1618" y="564"/>
                    <a:pt x="1618" y="564"/>
                    <a:pt x="1617" y="564"/>
                  </a:cubicBezTo>
                  <a:cubicBezTo>
                    <a:pt x="1617" y="565"/>
                    <a:pt x="1617" y="565"/>
                    <a:pt x="1617" y="566"/>
                  </a:cubicBezTo>
                  <a:cubicBezTo>
                    <a:pt x="1617" y="566"/>
                    <a:pt x="1618" y="566"/>
                    <a:pt x="1618" y="566"/>
                  </a:cubicBezTo>
                  <a:cubicBezTo>
                    <a:pt x="1618" y="565"/>
                    <a:pt x="1618" y="564"/>
                    <a:pt x="1618" y="564"/>
                  </a:cubicBezTo>
                  <a:moveTo>
                    <a:pt x="1618" y="567"/>
                  </a:moveTo>
                  <a:cubicBezTo>
                    <a:pt x="1618" y="567"/>
                    <a:pt x="1617" y="567"/>
                    <a:pt x="1617" y="567"/>
                  </a:cubicBezTo>
                  <a:cubicBezTo>
                    <a:pt x="1616" y="573"/>
                    <a:pt x="1615" y="579"/>
                    <a:pt x="1614" y="584"/>
                  </a:cubicBezTo>
                  <a:cubicBezTo>
                    <a:pt x="1615" y="584"/>
                    <a:pt x="1615" y="584"/>
                    <a:pt x="1615" y="584"/>
                  </a:cubicBezTo>
                  <a:cubicBezTo>
                    <a:pt x="1616" y="579"/>
                    <a:pt x="1617" y="573"/>
                    <a:pt x="1618" y="567"/>
                  </a:cubicBezTo>
                  <a:cubicBezTo>
                    <a:pt x="1618" y="567"/>
                    <a:pt x="1618" y="567"/>
                    <a:pt x="1618" y="567"/>
                  </a:cubicBezTo>
                  <a:moveTo>
                    <a:pt x="1517" y="568"/>
                  </a:moveTo>
                  <a:cubicBezTo>
                    <a:pt x="1517" y="568"/>
                    <a:pt x="1517" y="568"/>
                    <a:pt x="1516" y="569"/>
                  </a:cubicBezTo>
                  <a:cubicBezTo>
                    <a:pt x="1516" y="569"/>
                    <a:pt x="1517" y="569"/>
                    <a:pt x="1517" y="569"/>
                  </a:cubicBezTo>
                  <a:cubicBezTo>
                    <a:pt x="1517" y="569"/>
                    <a:pt x="1518" y="569"/>
                    <a:pt x="1518" y="569"/>
                  </a:cubicBezTo>
                  <a:cubicBezTo>
                    <a:pt x="1518" y="569"/>
                    <a:pt x="1519" y="569"/>
                    <a:pt x="1519" y="569"/>
                  </a:cubicBezTo>
                  <a:cubicBezTo>
                    <a:pt x="1518" y="569"/>
                    <a:pt x="1518" y="568"/>
                    <a:pt x="1517" y="568"/>
                  </a:cubicBezTo>
                  <a:moveTo>
                    <a:pt x="1518" y="571"/>
                  </a:moveTo>
                  <a:cubicBezTo>
                    <a:pt x="1519" y="571"/>
                    <a:pt x="1519" y="571"/>
                    <a:pt x="1519" y="571"/>
                  </a:cubicBezTo>
                  <a:cubicBezTo>
                    <a:pt x="1519" y="571"/>
                    <a:pt x="1519" y="571"/>
                    <a:pt x="1519" y="571"/>
                  </a:cubicBezTo>
                  <a:cubicBezTo>
                    <a:pt x="1519" y="571"/>
                    <a:pt x="1519" y="571"/>
                    <a:pt x="1518" y="571"/>
                  </a:cubicBezTo>
                  <a:moveTo>
                    <a:pt x="1520" y="572"/>
                  </a:moveTo>
                  <a:cubicBezTo>
                    <a:pt x="1520" y="572"/>
                    <a:pt x="1520" y="572"/>
                    <a:pt x="1521" y="573"/>
                  </a:cubicBezTo>
                  <a:cubicBezTo>
                    <a:pt x="1521" y="572"/>
                    <a:pt x="1521" y="572"/>
                    <a:pt x="1521" y="572"/>
                  </a:cubicBezTo>
                  <a:cubicBezTo>
                    <a:pt x="1520" y="572"/>
                    <a:pt x="1520" y="572"/>
                    <a:pt x="1520" y="572"/>
                  </a:cubicBezTo>
                  <a:moveTo>
                    <a:pt x="1522" y="572"/>
                  </a:moveTo>
                  <a:cubicBezTo>
                    <a:pt x="1522" y="573"/>
                    <a:pt x="1522" y="573"/>
                    <a:pt x="1521" y="573"/>
                  </a:cubicBezTo>
                  <a:cubicBezTo>
                    <a:pt x="1522" y="573"/>
                    <a:pt x="1522" y="573"/>
                    <a:pt x="1523" y="573"/>
                  </a:cubicBezTo>
                  <a:cubicBezTo>
                    <a:pt x="1522" y="573"/>
                    <a:pt x="1522" y="573"/>
                    <a:pt x="1522" y="572"/>
                  </a:cubicBezTo>
                  <a:cubicBezTo>
                    <a:pt x="1522" y="572"/>
                    <a:pt x="1522" y="572"/>
                    <a:pt x="1522" y="572"/>
                  </a:cubicBezTo>
                  <a:moveTo>
                    <a:pt x="1839" y="574"/>
                  </a:moveTo>
                  <a:cubicBezTo>
                    <a:pt x="1838" y="574"/>
                    <a:pt x="1838" y="574"/>
                    <a:pt x="1838" y="574"/>
                  </a:cubicBezTo>
                  <a:cubicBezTo>
                    <a:pt x="1837" y="576"/>
                    <a:pt x="1837" y="578"/>
                    <a:pt x="1836" y="580"/>
                  </a:cubicBezTo>
                  <a:cubicBezTo>
                    <a:pt x="1837" y="581"/>
                    <a:pt x="1837" y="581"/>
                    <a:pt x="1837" y="581"/>
                  </a:cubicBezTo>
                  <a:cubicBezTo>
                    <a:pt x="1838" y="579"/>
                    <a:pt x="1838" y="577"/>
                    <a:pt x="1839" y="574"/>
                  </a:cubicBezTo>
                  <a:moveTo>
                    <a:pt x="1524" y="574"/>
                  </a:moveTo>
                  <a:cubicBezTo>
                    <a:pt x="1523" y="574"/>
                    <a:pt x="1523" y="575"/>
                    <a:pt x="1523" y="575"/>
                  </a:cubicBezTo>
                  <a:cubicBezTo>
                    <a:pt x="1523" y="575"/>
                    <a:pt x="1523" y="575"/>
                    <a:pt x="1523" y="575"/>
                  </a:cubicBezTo>
                  <a:cubicBezTo>
                    <a:pt x="1524" y="575"/>
                    <a:pt x="1524" y="575"/>
                    <a:pt x="1524" y="575"/>
                  </a:cubicBezTo>
                  <a:cubicBezTo>
                    <a:pt x="1524" y="575"/>
                    <a:pt x="1524" y="574"/>
                    <a:pt x="1524" y="574"/>
                  </a:cubicBezTo>
                  <a:moveTo>
                    <a:pt x="1525" y="575"/>
                  </a:moveTo>
                  <a:cubicBezTo>
                    <a:pt x="1525" y="575"/>
                    <a:pt x="1525" y="575"/>
                    <a:pt x="1525" y="575"/>
                  </a:cubicBezTo>
                  <a:cubicBezTo>
                    <a:pt x="1525" y="575"/>
                    <a:pt x="1525" y="575"/>
                    <a:pt x="1525" y="575"/>
                  </a:cubicBezTo>
                  <a:cubicBezTo>
                    <a:pt x="1525" y="575"/>
                    <a:pt x="1525" y="575"/>
                    <a:pt x="1525" y="575"/>
                  </a:cubicBezTo>
                  <a:moveTo>
                    <a:pt x="1525" y="576"/>
                  </a:moveTo>
                  <a:cubicBezTo>
                    <a:pt x="1526" y="577"/>
                    <a:pt x="1526" y="577"/>
                    <a:pt x="1527" y="577"/>
                  </a:cubicBezTo>
                  <a:cubicBezTo>
                    <a:pt x="1527" y="577"/>
                    <a:pt x="1526" y="577"/>
                    <a:pt x="1526" y="577"/>
                  </a:cubicBezTo>
                  <a:cubicBezTo>
                    <a:pt x="1526" y="577"/>
                    <a:pt x="1525" y="576"/>
                    <a:pt x="1525" y="576"/>
                  </a:cubicBezTo>
                  <a:moveTo>
                    <a:pt x="1527" y="579"/>
                  </a:moveTo>
                  <a:cubicBezTo>
                    <a:pt x="1527" y="579"/>
                    <a:pt x="1527" y="579"/>
                    <a:pt x="1528" y="579"/>
                  </a:cubicBezTo>
                  <a:cubicBezTo>
                    <a:pt x="1528" y="579"/>
                    <a:pt x="1528" y="579"/>
                    <a:pt x="1528" y="579"/>
                  </a:cubicBezTo>
                  <a:cubicBezTo>
                    <a:pt x="1528" y="579"/>
                    <a:pt x="1527" y="579"/>
                    <a:pt x="1527" y="579"/>
                  </a:cubicBezTo>
                  <a:moveTo>
                    <a:pt x="1529" y="580"/>
                  </a:moveTo>
                  <a:cubicBezTo>
                    <a:pt x="1529" y="580"/>
                    <a:pt x="1529" y="580"/>
                    <a:pt x="1528" y="580"/>
                  </a:cubicBezTo>
                  <a:cubicBezTo>
                    <a:pt x="1528" y="580"/>
                    <a:pt x="1528" y="580"/>
                    <a:pt x="1528" y="580"/>
                  </a:cubicBezTo>
                  <a:cubicBezTo>
                    <a:pt x="1529" y="580"/>
                    <a:pt x="1530" y="581"/>
                    <a:pt x="1530" y="581"/>
                  </a:cubicBezTo>
                  <a:cubicBezTo>
                    <a:pt x="1530" y="581"/>
                    <a:pt x="1531" y="581"/>
                    <a:pt x="1531" y="581"/>
                  </a:cubicBezTo>
                  <a:cubicBezTo>
                    <a:pt x="1530" y="580"/>
                    <a:pt x="1530" y="580"/>
                    <a:pt x="1529" y="580"/>
                  </a:cubicBezTo>
                  <a:moveTo>
                    <a:pt x="1836" y="582"/>
                  </a:moveTo>
                  <a:cubicBezTo>
                    <a:pt x="1835" y="587"/>
                    <a:pt x="1835" y="592"/>
                    <a:pt x="1835" y="597"/>
                  </a:cubicBezTo>
                  <a:cubicBezTo>
                    <a:pt x="1835" y="598"/>
                    <a:pt x="1835" y="598"/>
                    <a:pt x="1835" y="599"/>
                  </a:cubicBezTo>
                  <a:cubicBezTo>
                    <a:pt x="1835" y="599"/>
                    <a:pt x="1836" y="599"/>
                    <a:pt x="1836" y="599"/>
                  </a:cubicBezTo>
                  <a:cubicBezTo>
                    <a:pt x="1836" y="598"/>
                    <a:pt x="1836" y="598"/>
                    <a:pt x="1836" y="597"/>
                  </a:cubicBezTo>
                  <a:cubicBezTo>
                    <a:pt x="1836" y="592"/>
                    <a:pt x="1836" y="587"/>
                    <a:pt x="1837" y="582"/>
                  </a:cubicBezTo>
                  <a:cubicBezTo>
                    <a:pt x="1837" y="582"/>
                    <a:pt x="1836" y="582"/>
                    <a:pt x="1836" y="582"/>
                  </a:cubicBezTo>
                  <a:moveTo>
                    <a:pt x="1531" y="582"/>
                  </a:moveTo>
                  <a:cubicBezTo>
                    <a:pt x="1531" y="583"/>
                    <a:pt x="1532" y="584"/>
                    <a:pt x="1533" y="584"/>
                  </a:cubicBezTo>
                  <a:cubicBezTo>
                    <a:pt x="1533" y="584"/>
                    <a:pt x="1533" y="584"/>
                    <a:pt x="1534" y="584"/>
                  </a:cubicBezTo>
                  <a:cubicBezTo>
                    <a:pt x="1533" y="583"/>
                    <a:pt x="1533" y="583"/>
                    <a:pt x="1533" y="583"/>
                  </a:cubicBezTo>
                  <a:cubicBezTo>
                    <a:pt x="1532" y="583"/>
                    <a:pt x="1531" y="582"/>
                    <a:pt x="1531" y="582"/>
                  </a:cubicBezTo>
                  <a:moveTo>
                    <a:pt x="1535" y="585"/>
                  </a:moveTo>
                  <a:cubicBezTo>
                    <a:pt x="1535" y="585"/>
                    <a:pt x="1534" y="585"/>
                    <a:pt x="1534" y="585"/>
                  </a:cubicBezTo>
                  <a:cubicBezTo>
                    <a:pt x="1535" y="586"/>
                    <a:pt x="1536" y="587"/>
                    <a:pt x="1537" y="588"/>
                  </a:cubicBezTo>
                  <a:cubicBezTo>
                    <a:pt x="1537" y="588"/>
                    <a:pt x="1538" y="588"/>
                    <a:pt x="1538" y="589"/>
                  </a:cubicBezTo>
                  <a:cubicBezTo>
                    <a:pt x="1538" y="588"/>
                    <a:pt x="1538" y="588"/>
                    <a:pt x="1539" y="588"/>
                  </a:cubicBezTo>
                  <a:cubicBezTo>
                    <a:pt x="1537" y="587"/>
                    <a:pt x="1536" y="586"/>
                    <a:pt x="1535" y="585"/>
                  </a:cubicBezTo>
                  <a:moveTo>
                    <a:pt x="1614" y="585"/>
                  </a:moveTo>
                  <a:cubicBezTo>
                    <a:pt x="1614" y="590"/>
                    <a:pt x="1613" y="594"/>
                    <a:pt x="1612" y="597"/>
                  </a:cubicBezTo>
                  <a:cubicBezTo>
                    <a:pt x="1613" y="598"/>
                    <a:pt x="1613" y="598"/>
                    <a:pt x="1613" y="598"/>
                  </a:cubicBezTo>
                  <a:cubicBezTo>
                    <a:pt x="1614" y="594"/>
                    <a:pt x="1615" y="590"/>
                    <a:pt x="1615" y="585"/>
                  </a:cubicBezTo>
                  <a:cubicBezTo>
                    <a:pt x="1615" y="585"/>
                    <a:pt x="1614" y="585"/>
                    <a:pt x="1614" y="585"/>
                  </a:cubicBezTo>
                  <a:moveTo>
                    <a:pt x="1539" y="589"/>
                  </a:moveTo>
                  <a:cubicBezTo>
                    <a:pt x="1539" y="589"/>
                    <a:pt x="1539" y="589"/>
                    <a:pt x="1539" y="589"/>
                  </a:cubicBezTo>
                  <a:cubicBezTo>
                    <a:pt x="1539" y="589"/>
                    <a:pt x="1539" y="589"/>
                    <a:pt x="1540" y="589"/>
                  </a:cubicBezTo>
                  <a:cubicBezTo>
                    <a:pt x="1539" y="589"/>
                    <a:pt x="1539" y="589"/>
                    <a:pt x="1539" y="589"/>
                  </a:cubicBezTo>
                  <a:moveTo>
                    <a:pt x="1539" y="590"/>
                  </a:moveTo>
                  <a:cubicBezTo>
                    <a:pt x="1540" y="591"/>
                    <a:pt x="1540" y="591"/>
                    <a:pt x="1541" y="592"/>
                  </a:cubicBezTo>
                  <a:cubicBezTo>
                    <a:pt x="1541" y="592"/>
                    <a:pt x="1542" y="592"/>
                    <a:pt x="1542" y="591"/>
                  </a:cubicBezTo>
                  <a:cubicBezTo>
                    <a:pt x="1542" y="591"/>
                    <a:pt x="1542" y="591"/>
                    <a:pt x="1542" y="591"/>
                  </a:cubicBezTo>
                  <a:cubicBezTo>
                    <a:pt x="1541" y="591"/>
                    <a:pt x="1540" y="590"/>
                    <a:pt x="1539" y="590"/>
                  </a:cubicBezTo>
                  <a:moveTo>
                    <a:pt x="1543" y="592"/>
                  </a:moveTo>
                  <a:cubicBezTo>
                    <a:pt x="1543" y="592"/>
                    <a:pt x="1542" y="593"/>
                    <a:pt x="1542" y="593"/>
                  </a:cubicBezTo>
                  <a:cubicBezTo>
                    <a:pt x="1542" y="593"/>
                    <a:pt x="1542" y="593"/>
                    <a:pt x="1543" y="593"/>
                  </a:cubicBezTo>
                  <a:cubicBezTo>
                    <a:pt x="1543" y="593"/>
                    <a:pt x="1543" y="593"/>
                    <a:pt x="1543" y="593"/>
                  </a:cubicBezTo>
                  <a:cubicBezTo>
                    <a:pt x="1543" y="593"/>
                    <a:pt x="1543" y="592"/>
                    <a:pt x="1543" y="592"/>
                  </a:cubicBezTo>
                  <a:moveTo>
                    <a:pt x="1544" y="593"/>
                  </a:moveTo>
                  <a:cubicBezTo>
                    <a:pt x="1544" y="594"/>
                    <a:pt x="1544" y="594"/>
                    <a:pt x="1543" y="594"/>
                  </a:cubicBezTo>
                  <a:cubicBezTo>
                    <a:pt x="1543" y="594"/>
                    <a:pt x="1544" y="594"/>
                    <a:pt x="1544" y="594"/>
                  </a:cubicBezTo>
                  <a:cubicBezTo>
                    <a:pt x="1544" y="594"/>
                    <a:pt x="1544" y="594"/>
                    <a:pt x="1545" y="594"/>
                  </a:cubicBezTo>
                  <a:cubicBezTo>
                    <a:pt x="1545" y="594"/>
                    <a:pt x="1544" y="593"/>
                    <a:pt x="1544" y="593"/>
                  </a:cubicBezTo>
                  <a:moveTo>
                    <a:pt x="1546" y="595"/>
                  </a:moveTo>
                  <a:cubicBezTo>
                    <a:pt x="1545" y="595"/>
                    <a:pt x="1545" y="595"/>
                    <a:pt x="1545" y="595"/>
                  </a:cubicBezTo>
                  <a:cubicBezTo>
                    <a:pt x="1545" y="596"/>
                    <a:pt x="1546" y="596"/>
                    <a:pt x="1546" y="597"/>
                  </a:cubicBezTo>
                  <a:cubicBezTo>
                    <a:pt x="1547" y="596"/>
                    <a:pt x="1547" y="596"/>
                    <a:pt x="1547" y="596"/>
                  </a:cubicBezTo>
                  <a:cubicBezTo>
                    <a:pt x="1547" y="596"/>
                    <a:pt x="1546" y="595"/>
                    <a:pt x="1546" y="595"/>
                  </a:cubicBezTo>
                  <a:moveTo>
                    <a:pt x="1548" y="597"/>
                  </a:moveTo>
                  <a:cubicBezTo>
                    <a:pt x="1548" y="597"/>
                    <a:pt x="1548" y="597"/>
                    <a:pt x="1547" y="597"/>
                  </a:cubicBezTo>
                  <a:cubicBezTo>
                    <a:pt x="1548" y="597"/>
                    <a:pt x="1549" y="598"/>
                    <a:pt x="1549" y="598"/>
                  </a:cubicBezTo>
                  <a:cubicBezTo>
                    <a:pt x="1549" y="597"/>
                    <a:pt x="1548" y="597"/>
                    <a:pt x="1548" y="597"/>
                  </a:cubicBezTo>
                  <a:moveTo>
                    <a:pt x="1612" y="598"/>
                  </a:moveTo>
                  <a:cubicBezTo>
                    <a:pt x="1612" y="599"/>
                    <a:pt x="1612" y="599"/>
                    <a:pt x="1612" y="599"/>
                  </a:cubicBezTo>
                  <a:cubicBezTo>
                    <a:pt x="1612" y="599"/>
                    <a:pt x="1613" y="599"/>
                    <a:pt x="1613" y="599"/>
                  </a:cubicBezTo>
                  <a:cubicBezTo>
                    <a:pt x="1613" y="599"/>
                    <a:pt x="1613" y="599"/>
                    <a:pt x="1613" y="599"/>
                  </a:cubicBezTo>
                  <a:cubicBezTo>
                    <a:pt x="1613" y="599"/>
                    <a:pt x="1613" y="599"/>
                    <a:pt x="1612" y="598"/>
                  </a:cubicBezTo>
                  <a:moveTo>
                    <a:pt x="1549" y="599"/>
                  </a:moveTo>
                  <a:cubicBezTo>
                    <a:pt x="1550" y="600"/>
                    <a:pt x="1552" y="601"/>
                    <a:pt x="1554" y="603"/>
                  </a:cubicBezTo>
                  <a:cubicBezTo>
                    <a:pt x="1554" y="603"/>
                    <a:pt x="1555" y="603"/>
                    <a:pt x="1555" y="603"/>
                  </a:cubicBezTo>
                  <a:cubicBezTo>
                    <a:pt x="1554" y="602"/>
                    <a:pt x="1552" y="601"/>
                    <a:pt x="1551" y="599"/>
                  </a:cubicBezTo>
                  <a:cubicBezTo>
                    <a:pt x="1550" y="599"/>
                    <a:pt x="1549" y="599"/>
                    <a:pt x="1549" y="599"/>
                  </a:cubicBezTo>
                  <a:moveTo>
                    <a:pt x="1612" y="600"/>
                  </a:moveTo>
                  <a:cubicBezTo>
                    <a:pt x="1612" y="601"/>
                    <a:pt x="1612" y="602"/>
                    <a:pt x="1611" y="603"/>
                  </a:cubicBezTo>
                  <a:cubicBezTo>
                    <a:pt x="1612" y="603"/>
                    <a:pt x="1612" y="603"/>
                    <a:pt x="1612" y="603"/>
                  </a:cubicBezTo>
                  <a:cubicBezTo>
                    <a:pt x="1613" y="602"/>
                    <a:pt x="1613" y="601"/>
                    <a:pt x="1613" y="600"/>
                  </a:cubicBezTo>
                  <a:cubicBezTo>
                    <a:pt x="1613" y="600"/>
                    <a:pt x="1612" y="600"/>
                    <a:pt x="1612" y="600"/>
                  </a:cubicBezTo>
                  <a:moveTo>
                    <a:pt x="1836" y="600"/>
                  </a:moveTo>
                  <a:cubicBezTo>
                    <a:pt x="1836" y="600"/>
                    <a:pt x="1835" y="600"/>
                    <a:pt x="1835" y="600"/>
                  </a:cubicBezTo>
                  <a:cubicBezTo>
                    <a:pt x="1835" y="607"/>
                    <a:pt x="1836" y="614"/>
                    <a:pt x="1838" y="621"/>
                  </a:cubicBezTo>
                  <a:cubicBezTo>
                    <a:pt x="1838" y="621"/>
                    <a:pt x="1839" y="621"/>
                    <a:pt x="1839" y="621"/>
                  </a:cubicBezTo>
                  <a:cubicBezTo>
                    <a:pt x="1837" y="614"/>
                    <a:pt x="1836" y="607"/>
                    <a:pt x="1836" y="600"/>
                  </a:cubicBezTo>
                  <a:moveTo>
                    <a:pt x="1555" y="604"/>
                  </a:moveTo>
                  <a:cubicBezTo>
                    <a:pt x="1555" y="604"/>
                    <a:pt x="1556" y="605"/>
                    <a:pt x="1556" y="605"/>
                  </a:cubicBezTo>
                  <a:cubicBezTo>
                    <a:pt x="1558" y="607"/>
                    <a:pt x="1560" y="608"/>
                    <a:pt x="1562" y="609"/>
                  </a:cubicBezTo>
                  <a:cubicBezTo>
                    <a:pt x="1560" y="607"/>
                    <a:pt x="1559" y="606"/>
                    <a:pt x="1557" y="604"/>
                  </a:cubicBezTo>
                  <a:cubicBezTo>
                    <a:pt x="1556" y="604"/>
                    <a:pt x="1556" y="604"/>
                    <a:pt x="1555" y="604"/>
                  </a:cubicBezTo>
                  <a:moveTo>
                    <a:pt x="1611" y="604"/>
                  </a:moveTo>
                  <a:cubicBezTo>
                    <a:pt x="1611" y="604"/>
                    <a:pt x="1611" y="604"/>
                    <a:pt x="1611" y="605"/>
                  </a:cubicBezTo>
                  <a:cubicBezTo>
                    <a:pt x="1611" y="605"/>
                    <a:pt x="1612" y="605"/>
                    <a:pt x="1612" y="605"/>
                  </a:cubicBezTo>
                  <a:cubicBezTo>
                    <a:pt x="1612" y="605"/>
                    <a:pt x="1612" y="605"/>
                    <a:pt x="1612" y="604"/>
                  </a:cubicBezTo>
                  <a:cubicBezTo>
                    <a:pt x="1612" y="604"/>
                    <a:pt x="1612" y="604"/>
                    <a:pt x="1611" y="604"/>
                  </a:cubicBezTo>
                  <a:moveTo>
                    <a:pt x="1611" y="606"/>
                  </a:moveTo>
                  <a:cubicBezTo>
                    <a:pt x="1611" y="606"/>
                    <a:pt x="1611" y="606"/>
                    <a:pt x="1611" y="606"/>
                  </a:cubicBezTo>
                  <a:cubicBezTo>
                    <a:pt x="1611" y="606"/>
                    <a:pt x="1611" y="606"/>
                    <a:pt x="1612" y="607"/>
                  </a:cubicBezTo>
                  <a:cubicBezTo>
                    <a:pt x="1612" y="606"/>
                    <a:pt x="1612" y="606"/>
                    <a:pt x="1612" y="606"/>
                  </a:cubicBezTo>
                  <a:cubicBezTo>
                    <a:pt x="1612" y="606"/>
                    <a:pt x="1611" y="606"/>
                    <a:pt x="1611" y="606"/>
                  </a:cubicBezTo>
                  <a:moveTo>
                    <a:pt x="1611" y="607"/>
                  </a:moveTo>
                  <a:cubicBezTo>
                    <a:pt x="1611" y="607"/>
                    <a:pt x="1611" y="607"/>
                    <a:pt x="1611" y="607"/>
                  </a:cubicBezTo>
                  <a:cubicBezTo>
                    <a:pt x="1611" y="608"/>
                    <a:pt x="1611" y="608"/>
                    <a:pt x="1612" y="608"/>
                  </a:cubicBezTo>
                  <a:cubicBezTo>
                    <a:pt x="1612" y="608"/>
                    <a:pt x="1612" y="608"/>
                    <a:pt x="1612" y="608"/>
                  </a:cubicBezTo>
                  <a:cubicBezTo>
                    <a:pt x="1611" y="607"/>
                    <a:pt x="1611" y="607"/>
                    <a:pt x="1611" y="607"/>
                  </a:cubicBezTo>
                  <a:moveTo>
                    <a:pt x="1610" y="609"/>
                  </a:moveTo>
                  <a:cubicBezTo>
                    <a:pt x="1609" y="612"/>
                    <a:pt x="1609" y="615"/>
                    <a:pt x="1608" y="617"/>
                  </a:cubicBezTo>
                  <a:cubicBezTo>
                    <a:pt x="1608" y="617"/>
                    <a:pt x="1608" y="617"/>
                    <a:pt x="1609" y="618"/>
                  </a:cubicBezTo>
                  <a:cubicBezTo>
                    <a:pt x="1610" y="615"/>
                    <a:pt x="1610" y="612"/>
                    <a:pt x="1611" y="609"/>
                  </a:cubicBezTo>
                  <a:cubicBezTo>
                    <a:pt x="1611" y="609"/>
                    <a:pt x="1611" y="609"/>
                    <a:pt x="1610" y="609"/>
                  </a:cubicBezTo>
                  <a:cubicBezTo>
                    <a:pt x="1610" y="609"/>
                    <a:pt x="1610" y="609"/>
                    <a:pt x="1610" y="609"/>
                  </a:cubicBezTo>
                  <a:moveTo>
                    <a:pt x="1561" y="609"/>
                  </a:moveTo>
                  <a:cubicBezTo>
                    <a:pt x="1569" y="615"/>
                    <a:pt x="1575" y="620"/>
                    <a:pt x="1581" y="623"/>
                  </a:cubicBezTo>
                  <a:cubicBezTo>
                    <a:pt x="1582" y="624"/>
                    <a:pt x="1584" y="624"/>
                    <a:pt x="1585" y="625"/>
                  </a:cubicBezTo>
                  <a:cubicBezTo>
                    <a:pt x="1589" y="627"/>
                    <a:pt x="1593" y="627"/>
                    <a:pt x="1596" y="627"/>
                  </a:cubicBezTo>
                  <a:cubicBezTo>
                    <a:pt x="1602" y="627"/>
                    <a:pt x="1605" y="624"/>
                    <a:pt x="1608" y="618"/>
                  </a:cubicBezTo>
                  <a:cubicBezTo>
                    <a:pt x="1608" y="618"/>
                    <a:pt x="1607" y="618"/>
                    <a:pt x="1607" y="618"/>
                  </a:cubicBezTo>
                  <a:cubicBezTo>
                    <a:pt x="1605" y="623"/>
                    <a:pt x="1601" y="626"/>
                    <a:pt x="1596" y="626"/>
                  </a:cubicBezTo>
                  <a:cubicBezTo>
                    <a:pt x="1596" y="626"/>
                    <a:pt x="1596" y="626"/>
                    <a:pt x="1596" y="626"/>
                  </a:cubicBezTo>
                  <a:cubicBezTo>
                    <a:pt x="1596" y="626"/>
                    <a:pt x="1596" y="626"/>
                    <a:pt x="1596" y="626"/>
                  </a:cubicBezTo>
                  <a:cubicBezTo>
                    <a:pt x="1592" y="626"/>
                    <a:pt x="1587" y="625"/>
                    <a:pt x="1582" y="622"/>
                  </a:cubicBezTo>
                  <a:cubicBezTo>
                    <a:pt x="1579" y="621"/>
                    <a:pt x="1577" y="620"/>
                    <a:pt x="1575" y="618"/>
                  </a:cubicBezTo>
                  <a:cubicBezTo>
                    <a:pt x="1572" y="616"/>
                    <a:pt x="1569" y="614"/>
                    <a:pt x="1566" y="611"/>
                  </a:cubicBezTo>
                  <a:cubicBezTo>
                    <a:pt x="1564" y="611"/>
                    <a:pt x="1563" y="610"/>
                    <a:pt x="1561" y="609"/>
                  </a:cubicBezTo>
                  <a:moveTo>
                    <a:pt x="1839" y="622"/>
                  </a:moveTo>
                  <a:cubicBezTo>
                    <a:pt x="1839" y="622"/>
                    <a:pt x="1838" y="622"/>
                    <a:pt x="1838" y="622"/>
                  </a:cubicBezTo>
                  <a:cubicBezTo>
                    <a:pt x="1839" y="626"/>
                    <a:pt x="1840" y="630"/>
                    <a:pt x="1841" y="634"/>
                  </a:cubicBezTo>
                  <a:cubicBezTo>
                    <a:pt x="1842" y="634"/>
                    <a:pt x="1842" y="634"/>
                    <a:pt x="1842" y="634"/>
                  </a:cubicBezTo>
                  <a:cubicBezTo>
                    <a:pt x="1841" y="630"/>
                    <a:pt x="1840" y="626"/>
                    <a:pt x="1839" y="622"/>
                  </a:cubicBezTo>
                  <a:moveTo>
                    <a:pt x="1843" y="635"/>
                  </a:moveTo>
                  <a:cubicBezTo>
                    <a:pt x="1842" y="635"/>
                    <a:pt x="1842" y="635"/>
                    <a:pt x="1842" y="635"/>
                  </a:cubicBezTo>
                  <a:cubicBezTo>
                    <a:pt x="1845" y="644"/>
                    <a:pt x="1849" y="653"/>
                    <a:pt x="1854" y="662"/>
                  </a:cubicBezTo>
                  <a:cubicBezTo>
                    <a:pt x="1854" y="662"/>
                    <a:pt x="1855" y="662"/>
                    <a:pt x="1855" y="662"/>
                  </a:cubicBezTo>
                  <a:cubicBezTo>
                    <a:pt x="1850" y="652"/>
                    <a:pt x="1846" y="643"/>
                    <a:pt x="1843" y="635"/>
                  </a:cubicBezTo>
                  <a:moveTo>
                    <a:pt x="1296" y="647"/>
                  </a:moveTo>
                  <a:cubicBezTo>
                    <a:pt x="1295" y="647"/>
                    <a:pt x="1295" y="647"/>
                    <a:pt x="1295" y="647"/>
                  </a:cubicBezTo>
                  <a:cubicBezTo>
                    <a:pt x="1300" y="648"/>
                    <a:pt x="1305" y="649"/>
                    <a:pt x="1310" y="650"/>
                  </a:cubicBezTo>
                  <a:cubicBezTo>
                    <a:pt x="1310" y="650"/>
                    <a:pt x="1311" y="650"/>
                    <a:pt x="1311" y="649"/>
                  </a:cubicBezTo>
                  <a:cubicBezTo>
                    <a:pt x="1306" y="648"/>
                    <a:pt x="1301" y="648"/>
                    <a:pt x="1296" y="647"/>
                  </a:cubicBezTo>
                  <a:moveTo>
                    <a:pt x="1313" y="650"/>
                  </a:moveTo>
                  <a:cubicBezTo>
                    <a:pt x="1312" y="650"/>
                    <a:pt x="1312" y="650"/>
                    <a:pt x="1311" y="650"/>
                  </a:cubicBezTo>
                  <a:cubicBezTo>
                    <a:pt x="1316" y="651"/>
                    <a:pt x="1321" y="652"/>
                    <a:pt x="1326" y="653"/>
                  </a:cubicBezTo>
                  <a:cubicBezTo>
                    <a:pt x="1326" y="653"/>
                    <a:pt x="1327" y="652"/>
                    <a:pt x="1327" y="652"/>
                  </a:cubicBezTo>
                  <a:cubicBezTo>
                    <a:pt x="1322" y="651"/>
                    <a:pt x="1318" y="650"/>
                    <a:pt x="1313" y="650"/>
                  </a:cubicBezTo>
                  <a:moveTo>
                    <a:pt x="1329" y="652"/>
                  </a:moveTo>
                  <a:cubicBezTo>
                    <a:pt x="1328" y="653"/>
                    <a:pt x="1328" y="653"/>
                    <a:pt x="1327" y="653"/>
                  </a:cubicBezTo>
                  <a:cubicBezTo>
                    <a:pt x="1332" y="654"/>
                    <a:pt x="1337" y="655"/>
                    <a:pt x="1342" y="656"/>
                  </a:cubicBezTo>
                  <a:cubicBezTo>
                    <a:pt x="1343" y="655"/>
                    <a:pt x="1343" y="655"/>
                    <a:pt x="1344" y="655"/>
                  </a:cubicBezTo>
                  <a:cubicBezTo>
                    <a:pt x="1339" y="654"/>
                    <a:pt x="1334" y="653"/>
                    <a:pt x="1329" y="652"/>
                  </a:cubicBezTo>
                  <a:moveTo>
                    <a:pt x="1345" y="655"/>
                  </a:moveTo>
                  <a:cubicBezTo>
                    <a:pt x="1345" y="655"/>
                    <a:pt x="1344" y="655"/>
                    <a:pt x="1344" y="656"/>
                  </a:cubicBezTo>
                  <a:cubicBezTo>
                    <a:pt x="1348" y="656"/>
                    <a:pt x="1352" y="657"/>
                    <a:pt x="1355" y="658"/>
                  </a:cubicBezTo>
                  <a:cubicBezTo>
                    <a:pt x="1356" y="657"/>
                    <a:pt x="1356" y="657"/>
                    <a:pt x="1357" y="657"/>
                  </a:cubicBezTo>
                  <a:cubicBezTo>
                    <a:pt x="1353" y="656"/>
                    <a:pt x="1349" y="656"/>
                    <a:pt x="1345" y="655"/>
                  </a:cubicBezTo>
                  <a:moveTo>
                    <a:pt x="1358" y="657"/>
                  </a:moveTo>
                  <a:cubicBezTo>
                    <a:pt x="1358" y="657"/>
                    <a:pt x="1358" y="658"/>
                    <a:pt x="1357" y="658"/>
                  </a:cubicBezTo>
                  <a:cubicBezTo>
                    <a:pt x="1361" y="658"/>
                    <a:pt x="1364" y="659"/>
                    <a:pt x="1367" y="659"/>
                  </a:cubicBezTo>
                  <a:cubicBezTo>
                    <a:pt x="1368" y="659"/>
                    <a:pt x="1368" y="659"/>
                    <a:pt x="1369" y="659"/>
                  </a:cubicBezTo>
                  <a:cubicBezTo>
                    <a:pt x="1365" y="658"/>
                    <a:pt x="1362" y="658"/>
                    <a:pt x="1358" y="657"/>
                  </a:cubicBezTo>
                  <a:moveTo>
                    <a:pt x="1370" y="659"/>
                  </a:moveTo>
                  <a:cubicBezTo>
                    <a:pt x="1370" y="659"/>
                    <a:pt x="1369" y="659"/>
                    <a:pt x="1369" y="660"/>
                  </a:cubicBezTo>
                  <a:cubicBezTo>
                    <a:pt x="1373" y="660"/>
                    <a:pt x="1376" y="661"/>
                    <a:pt x="1380" y="661"/>
                  </a:cubicBezTo>
                  <a:cubicBezTo>
                    <a:pt x="1380" y="661"/>
                    <a:pt x="1381" y="661"/>
                    <a:pt x="1381" y="660"/>
                  </a:cubicBezTo>
                  <a:cubicBezTo>
                    <a:pt x="1378" y="660"/>
                    <a:pt x="1374" y="659"/>
                    <a:pt x="1370" y="659"/>
                  </a:cubicBezTo>
                  <a:moveTo>
                    <a:pt x="1383" y="661"/>
                  </a:moveTo>
                  <a:cubicBezTo>
                    <a:pt x="1382" y="661"/>
                    <a:pt x="1382" y="661"/>
                    <a:pt x="1381" y="661"/>
                  </a:cubicBezTo>
                  <a:cubicBezTo>
                    <a:pt x="1385" y="662"/>
                    <a:pt x="1388" y="662"/>
                    <a:pt x="1392" y="663"/>
                  </a:cubicBezTo>
                  <a:cubicBezTo>
                    <a:pt x="1392" y="663"/>
                    <a:pt x="1393" y="662"/>
                    <a:pt x="1393" y="662"/>
                  </a:cubicBezTo>
                  <a:cubicBezTo>
                    <a:pt x="1390" y="662"/>
                    <a:pt x="1386" y="661"/>
                    <a:pt x="1383" y="661"/>
                  </a:cubicBezTo>
                  <a:moveTo>
                    <a:pt x="1395" y="662"/>
                  </a:moveTo>
                  <a:cubicBezTo>
                    <a:pt x="1394" y="663"/>
                    <a:pt x="1394" y="663"/>
                    <a:pt x="1393" y="663"/>
                  </a:cubicBezTo>
                  <a:cubicBezTo>
                    <a:pt x="1397" y="664"/>
                    <a:pt x="1401" y="664"/>
                    <a:pt x="1405" y="665"/>
                  </a:cubicBezTo>
                  <a:cubicBezTo>
                    <a:pt x="1405" y="664"/>
                    <a:pt x="1405" y="664"/>
                    <a:pt x="1405" y="664"/>
                  </a:cubicBezTo>
                  <a:cubicBezTo>
                    <a:pt x="1405" y="664"/>
                    <a:pt x="1405" y="664"/>
                    <a:pt x="1405" y="664"/>
                  </a:cubicBezTo>
                  <a:cubicBezTo>
                    <a:pt x="1401" y="663"/>
                    <a:pt x="1398" y="663"/>
                    <a:pt x="1395" y="662"/>
                  </a:cubicBezTo>
                  <a:moveTo>
                    <a:pt x="1856" y="663"/>
                  </a:moveTo>
                  <a:cubicBezTo>
                    <a:pt x="1855" y="663"/>
                    <a:pt x="1855" y="663"/>
                    <a:pt x="1855" y="663"/>
                  </a:cubicBezTo>
                  <a:cubicBezTo>
                    <a:pt x="1857" y="668"/>
                    <a:pt x="1861" y="673"/>
                    <a:pt x="1864" y="678"/>
                  </a:cubicBezTo>
                  <a:cubicBezTo>
                    <a:pt x="1864" y="678"/>
                    <a:pt x="1865" y="678"/>
                    <a:pt x="1865" y="678"/>
                  </a:cubicBezTo>
                  <a:cubicBezTo>
                    <a:pt x="1862" y="673"/>
                    <a:pt x="1858" y="668"/>
                    <a:pt x="1856" y="663"/>
                  </a:cubicBezTo>
                  <a:moveTo>
                    <a:pt x="1407" y="664"/>
                  </a:moveTo>
                  <a:cubicBezTo>
                    <a:pt x="1407" y="664"/>
                    <a:pt x="1406" y="664"/>
                    <a:pt x="1406" y="665"/>
                  </a:cubicBezTo>
                  <a:cubicBezTo>
                    <a:pt x="1406" y="665"/>
                    <a:pt x="1406" y="665"/>
                    <a:pt x="1406" y="665"/>
                  </a:cubicBezTo>
                  <a:cubicBezTo>
                    <a:pt x="1407" y="665"/>
                    <a:pt x="1407" y="665"/>
                    <a:pt x="1408" y="665"/>
                  </a:cubicBezTo>
                  <a:cubicBezTo>
                    <a:pt x="1407" y="665"/>
                    <a:pt x="1407" y="664"/>
                    <a:pt x="1407" y="664"/>
                  </a:cubicBezTo>
                  <a:moveTo>
                    <a:pt x="1408" y="664"/>
                  </a:moveTo>
                  <a:cubicBezTo>
                    <a:pt x="1408" y="664"/>
                    <a:pt x="1409" y="665"/>
                    <a:pt x="1409" y="665"/>
                  </a:cubicBezTo>
                  <a:cubicBezTo>
                    <a:pt x="1410" y="665"/>
                    <a:pt x="1411" y="665"/>
                    <a:pt x="1412" y="666"/>
                  </a:cubicBezTo>
                  <a:cubicBezTo>
                    <a:pt x="1412" y="665"/>
                    <a:pt x="1412" y="665"/>
                    <a:pt x="1413" y="665"/>
                  </a:cubicBezTo>
                  <a:cubicBezTo>
                    <a:pt x="1411" y="664"/>
                    <a:pt x="1410" y="664"/>
                    <a:pt x="1408" y="664"/>
                  </a:cubicBezTo>
                  <a:moveTo>
                    <a:pt x="1413" y="665"/>
                  </a:moveTo>
                  <a:cubicBezTo>
                    <a:pt x="1413" y="665"/>
                    <a:pt x="1413" y="665"/>
                    <a:pt x="1413" y="666"/>
                  </a:cubicBezTo>
                  <a:cubicBezTo>
                    <a:pt x="1415" y="666"/>
                    <a:pt x="1417" y="666"/>
                    <a:pt x="1419" y="666"/>
                  </a:cubicBezTo>
                  <a:cubicBezTo>
                    <a:pt x="1420" y="666"/>
                    <a:pt x="1420" y="666"/>
                    <a:pt x="1420" y="666"/>
                  </a:cubicBezTo>
                  <a:cubicBezTo>
                    <a:pt x="1418" y="665"/>
                    <a:pt x="1416" y="665"/>
                    <a:pt x="1413" y="665"/>
                  </a:cubicBezTo>
                  <a:moveTo>
                    <a:pt x="1421" y="666"/>
                  </a:moveTo>
                  <a:cubicBezTo>
                    <a:pt x="1421" y="666"/>
                    <a:pt x="1421" y="666"/>
                    <a:pt x="1421" y="667"/>
                  </a:cubicBezTo>
                  <a:cubicBezTo>
                    <a:pt x="1422" y="667"/>
                    <a:pt x="1423" y="667"/>
                    <a:pt x="1424" y="667"/>
                  </a:cubicBezTo>
                  <a:cubicBezTo>
                    <a:pt x="1424" y="667"/>
                    <a:pt x="1423" y="666"/>
                    <a:pt x="1423" y="666"/>
                  </a:cubicBezTo>
                  <a:cubicBezTo>
                    <a:pt x="1422" y="666"/>
                    <a:pt x="1422" y="666"/>
                    <a:pt x="1421" y="666"/>
                  </a:cubicBezTo>
                  <a:moveTo>
                    <a:pt x="1425" y="666"/>
                  </a:moveTo>
                  <a:cubicBezTo>
                    <a:pt x="1425" y="666"/>
                    <a:pt x="1426" y="667"/>
                    <a:pt x="1426" y="667"/>
                  </a:cubicBezTo>
                  <a:cubicBezTo>
                    <a:pt x="1426" y="667"/>
                    <a:pt x="1426" y="667"/>
                    <a:pt x="1427" y="666"/>
                  </a:cubicBezTo>
                  <a:cubicBezTo>
                    <a:pt x="1426" y="666"/>
                    <a:pt x="1425" y="666"/>
                    <a:pt x="1425" y="666"/>
                  </a:cubicBezTo>
                  <a:moveTo>
                    <a:pt x="1428" y="666"/>
                  </a:moveTo>
                  <a:cubicBezTo>
                    <a:pt x="1427" y="667"/>
                    <a:pt x="1427" y="667"/>
                    <a:pt x="1427" y="667"/>
                  </a:cubicBezTo>
                  <a:cubicBezTo>
                    <a:pt x="1438" y="669"/>
                    <a:pt x="1449" y="670"/>
                    <a:pt x="1459" y="671"/>
                  </a:cubicBezTo>
                  <a:cubicBezTo>
                    <a:pt x="1458" y="671"/>
                    <a:pt x="1457" y="670"/>
                    <a:pt x="1456" y="670"/>
                  </a:cubicBezTo>
                  <a:cubicBezTo>
                    <a:pt x="1447" y="669"/>
                    <a:pt x="1438" y="668"/>
                    <a:pt x="1428" y="666"/>
                  </a:cubicBezTo>
                  <a:moveTo>
                    <a:pt x="1460" y="670"/>
                  </a:moveTo>
                  <a:cubicBezTo>
                    <a:pt x="1461" y="671"/>
                    <a:pt x="1461" y="671"/>
                    <a:pt x="1462" y="671"/>
                  </a:cubicBezTo>
                  <a:cubicBezTo>
                    <a:pt x="1477" y="673"/>
                    <a:pt x="1490" y="674"/>
                    <a:pt x="1502" y="675"/>
                  </a:cubicBezTo>
                  <a:cubicBezTo>
                    <a:pt x="1505" y="675"/>
                    <a:pt x="1508" y="676"/>
                    <a:pt x="1511" y="676"/>
                  </a:cubicBezTo>
                  <a:cubicBezTo>
                    <a:pt x="1509" y="676"/>
                    <a:pt x="1508" y="675"/>
                    <a:pt x="1507" y="675"/>
                  </a:cubicBezTo>
                  <a:cubicBezTo>
                    <a:pt x="1493" y="673"/>
                    <a:pt x="1477" y="672"/>
                    <a:pt x="1460" y="670"/>
                  </a:cubicBezTo>
                  <a:moveTo>
                    <a:pt x="1511" y="675"/>
                  </a:moveTo>
                  <a:cubicBezTo>
                    <a:pt x="1512" y="675"/>
                    <a:pt x="1513" y="676"/>
                    <a:pt x="1514" y="676"/>
                  </a:cubicBezTo>
                  <a:cubicBezTo>
                    <a:pt x="1538" y="678"/>
                    <a:pt x="1557" y="680"/>
                    <a:pt x="1570" y="681"/>
                  </a:cubicBezTo>
                  <a:cubicBezTo>
                    <a:pt x="1573" y="681"/>
                    <a:pt x="1575" y="682"/>
                    <a:pt x="1578" y="682"/>
                  </a:cubicBezTo>
                  <a:cubicBezTo>
                    <a:pt x="1576" y="682"/>
                    <a:pt x="1575" y="681"/>
                    <a:pt x="1573" y="680"/>
                  </a:cubicBezTo>
                  <a:cubicBezTo>
                    <a:pt x="1572" y="680"/>
                    <a:pt x="1571" y="680"/>
                    <a:pt x="1570" y="680"/>
                  </a:cubicBezTo>
                  <a:cubicBezTo>
                    <a:pt x="1556" y="679"/>
                    <a:pt x="1536" y="677"/>
                    <a:pt x="1511" y="675"/>
                  </a:cubicBezTo>
                  <a:moveTo>
                    <a:pt x="1866" y="679"/>
                  </a:moveTo>
                  <a:cubicBezTo>
                    <a:pt x="1865" y="679"/>
                    <a:pt x="1865" y="679"/>
                    <a:pt x="1865" y="679"/>
                  </a:cubicBezTo>
                  <a:cubicBezTo>
                    <a:pt x="1866" y="681"/>
                    <a:pt x="1867" y="683"/>
                    <a:pt x="1868" y="684"/>
                  </a:cubicBezTo>
                  <a:cubicBezTo>
                    <a:pt x="1869" y="684"/>
                    <a:pt x="1869" y="684"/>
                    <a:pt x="1870" y="685"/>
                  </a:cubicBezTo>
                  <a:cubicBezTo>
                    <a:pt x="1868" y="683"/>
                    <a:pt x="1867" y="681"/>
                    <a:pt x="1866" y="679"/>
                  </a:cubicBezTo>
                  <a:moveTo>
                    <a:pt x="1578" y="681"/>
                  </a:moveTo>
                  <a:cubicBezTo>
                    <a:pt x="1580" y="682"/>
                    <a:pt x="1582" y="682"/>
                    <a:pt x="1584" y="683"/>
                  </a:cubicBezTo>
                  <a:cubicBezTo>
                    <a:pt x="1588" y="684"/>
                    <a:pt x="1590" y="685"/>
                    <a:pt x="1591" y="686"/>
                  </a:cubicBezTo>
                  <a:cubicBezTo>
                    <a:pt x="1592" y="686"/>
                    <a:pt x="1593" y="686"/>
                    <a:pt x="1593" y="686"/>
                  </a:cubicBezTo>
                  <a:cubicBezTo>
                    <a:pt x="1592" y="684"/>
                    <a:pt x="1587" y="682"/>
                    <a:pt x="1578" y="681"/>
                  </a:cubicBezTo>
                  <a:moveTo>
                    <a:pt x="1869" y="685"/>
                  </a:moveTo>
                  <a:cubicBezTo>
                    <a:pt x="1869" y="686"/>
                    <a:pt x="1870" y="686"/>
                    <a:pt x="1870" y="686"/>
                  </a:cubicBezTo>
                  <a:cubicBezTo>
                    <a:pt x="1870" y="686"/>
                    <a:pt x="1870" y="686"/>
                    <a:pt x="1871" y="686"/>
                  </a:cubicBezTo>
                  <a:cubicBezTo>
                    <a:pt x="1871" y="686"/>
                    <a:pt x="1871" y="686"/>
                    <a:pt x="1870" y="686"/>
                  </a:cubicBezTo>
                  <a:cubicBezTo>
                    <a:pt x="1870" y="686"/>
                    <a:pt x="1869" y="686"/>
                    <a:pt x="1869" y="685"/>
                  </a:cubicBezTo>
                  <a:moveTo>
                    <a:pt x="1871" y="687"/>
                  </a:moveTo>
                  <a:cubicBezTo>
                    <a:pt x="1871" y="687"/>
                    <a:pt x="1871" y="687"/>
                    <a:pt x="1870" y="687"/>
                  </a:cubicBezTo>
                  <a:cubicBezTo>
                    <a:pt x="1871" y="688"/>
                    <a:pt x="1871" y="688"/>
                    <a:pt x="1871" y="688"/>
                  </a:cubicBezTo>
                  <a:cubicBezTo>
                    <a:pt x="1871" y="688"/>
                    <a:pt x="1872" y="688"/>
                    <a:pt x="1872" y="688"/>
                  </a:cubicBezTo>
                  <a:cubicBezTo>
                    <a:pt x="1872" y="688"/>
                    <a:pt x="1872" y="687"/>
                    <a:pt x="1871" y="687"/>
                  </a:cubicBezTo>
                  <a:moveTo>
                    <a:pt x="1592" y="687"/>
                  </a:moveTo>
                  <a:cubicBezTo>
                    <a:pt x="1592" y="687"/>
                    <a:pt x="1592" y="687"/>
                    <a:pt x="1592" y="687"/>
                  </a:cubicBezTo>
                  <a:cubicBezTo>
                    <a:pt x="1592" y="687"/>
                    <a:pt x="1592" y="687"/>
                    <a:pt x="1592" y="687"/>
                  </a:cubicBezTo>
                  <a:cubicBezTo>
                    <a:pt x="1593" y="687"/>
                    <a:pt x="1593" y="687"/>
                    <a:pt x="1593" y="687"/>
                  </a:cubicBezTo>
                  <a:cubicBezTo>
                    <a:pt x="1593" y="687"/>
                    <a:pt x="1593" y="687"/>
                    <a:pt x="1592" y="687"/>
                  </a:cubicBezTo>
                  <a:moveTo>
                    <a:pt x="1593" y="688"/>
                  </a:moveTo>
                  <a:cubicBezTo>
                    <a:pt x="1592" y="688"/>
                    <a:pt x="1592" y="689"/>
                    <a:pt x="1591" y="689"/>
                  </a:cubicBezTo>
                  <a:cubicBezTo>
                    <a:pt x="1589" y="691"/>
                    <a:pt x="1584" y="694"/>
                    <a:pt x="1576" y="697"/>
                  </a:cubicBezTo>
                  <a:cubicBezTo>
                    <a:pt x="1577" y="697"/>
                    <a:pt x="1577" y="697"/>
                    <a:pt x="1578" y="698"/>
                  </a:cubicBezTo>
                  <a:cubicBezTo>
                    <a:pt x="1587" y="694"/>
                    <a:pt x="1592" y="691"/>
                    <a:pt x="1593" y="688"/>
                  </a:cubicBezTo>
                  <a:moveTo>
                    <a:pt x="1873" y="689"/>
                  </a:moveTo>
                  <a:cubicBezTo>
                    <a:pt x="1872" y="689"/>
                    <a:pt x="1872" y="689"/>
                    <a:pt x="1872" y="689"/>
                  </a:cubicBezTo>
                  <a:cubicBezTo>
                    <a:pt x="1873" y="691"/>
                    <a:pt x="1875" y="693"/>
                    <a:pt x="1876" y="695"/>
                  </a:cubicBezTo>
                  <a:cubicBezTo>
                    <a:pt x="1877" y="695"/>
                    <a:pt x="1877" y="696"/>
                    <a:pt x="1878" y="696"/>
                  </a:cubicBezTo>
                  <a:cubicBezTo>
                    <a:pt x="1876" y="693"/>
                    <a:pt x="1874" y="691"/>
                    <a:pt x="1873" y="689"/>
                  </a:cubicBezTo>
                  <a:moveTo>
                    <a:pt x="1877" y="697"/>
                  </a:moveTo>
                  <a:cubicBezTo>
                    <a:pt x="1878" y="697"/>
                    <a:pt x="1878" y="697"/>
                    <a:pt x="1878" y="698"/>
                  </a:cubicBezTo>
                  <a:cubicBezTo>
                    <a:pt x="1879" y="698"/>
                    <a:pt x="1879" y="698"/>
                    <a:pt x="1879" y="698"/>
                  </a:cubicBezTo>
                  <a:cubicBezTo>
                    <a:pt x="1879" y="697"/>
                    <a:pt x="1879" y="697"/>
                    <a:pt x="1879" y="697"/>
                  </a:cubicBezTo>
                  <a:cubicBezTo>
                    <a:pt x="1878" y="697"/>
                    <a:pt x="1878" y="697"/>
                    <a:pt x="1877" y="697"/>
                  </a:cubicBezTo>
                  <a:moveTo>
                    <a:pt x="1575" y="698"/>
                  </a:moveTo>
                  <a:cubicBezTo>
                    <a:pt x="1573" y="699"/>
                    <a:pt x="1571" y="699"/>
                    <a:pt x="1569" y="700"/>
                  </a:cubicBezTo>
                  <a:cubicBezTo>
                    <a:pt x="1567" y="701"/>
                    <a:pt x="1565" y="703"/>
                    <a:pt x="1563" y="704"/>
                  </a:cubicBezTo>
                  <a:cubicBezTo>
                    <a:pt x="1568" y="702"/>
                    <a:pt x="1573" y="700"/>
                    <a:pt x="1576" y="698"/>
                  </a:cubicBezTo>
                  <a:cubicBezTo>
                    <a:pt x="1576" y="698"/>
                    <a:pt x="1575" y="698"/>
                    <a:pt x="1575" y="698"/>
                  </a:cubicBezTo>
                  <a:moveTo>
                    <a:pt x="1881" y="699"/>
                  </a:moveTo>
                  <a:cubicBezTo>
                    <a:pt x="1880" y="699"/>
                    <a:pt x="1880" y="699"/>
                    <a:pt x="1880" y="699"/>
                  </a:cubicBezTo>
                  <a:cubicBezTo>
                    <a:pt x="1880" y="700"/>
                    <a:pt x="1881" y="701"/>
                    <a:pt x="1881" y="701"/>
                  </a:cubicBezTo>
                  <a:cubicBezTo>
                    <a:pt x="1882" y="701"/>
                    <a:pt x="1882" y="702"/>
                    <a:pt x="1883" y="702"/>
                  </a:cubicBezTo>
                  <a:cubicBezTo>
                    <a:pt x="1882" y="701"/>
                    <a:pt x="1881" y="700"/>
                    <a:pt x="1881" y="699"/>
                  </a:cubicBezTo>
                  <a:moveTo>
                    <a:pt x="1882" y="703"/>
                  </a:moveTo>
                  <a:cubicBezTo>
                    <a:pt x="1882" y="703"/>
                    <a:pt x="1883" y="703"/>
                    <a:pt x="1883" y="704"/>
                  </a:cubicBezTo>
                  <a:cubicBezTo>
                    <a:pt x="1883" y="704"/>
                    <a:pt x="1884" y="704"/>
                    <a:pt x="1885" y="704"/>
                  </a:cubicBezTo>
                  <a:cubicBezTo>
                    <a:pt x="1884" y="704"/>
                    <a:pt x="1884" y="704"/>
                    <a:pt x="1884" y="703"/>
                  </a:cubicBezTo>
                  <a:cubicBezTo>
                    <a:pt x="1883" y="703"/>
                    <a:pt x="1883" y="703"/>
                    <a:pt x="1882" y="703"/>
                  </a:cubicBezTo>
                  <a:moveTo>
                    <a:pt x="1563" y="703"/>
                  </a:moveTo>
                  <a:cubicBezTo>
                    <a:pt x="1561" y="704"/>
                    <a:pt x="1558" y="705"/>
                    <a:pt x="1556" y="705"/>
                  </a:cubicBezTo>
                  <a:cubicBezTo>
                    <a:pt x="1557" y="706"/>
                    <a:pt x="1557" y="706"/>
                    <a:pt x="1558" y="706"/>
                  </a:cubicBezTo>
                  <a:cubicBezTo>
                    <a:pt x="1559" y="705"/>
                    <a:pt x="1561" y="704"/>
                    <a:pt x="1563" y="703"/>
                  </a:cubicBezTo>
                  <a:moveTo>
                    <a:pt x="1884" y="705"/>
                  </a:moveTo>
                  <a:cubicBezTo>
                    <a:pt x="1885" y="706"/>
                    <a:pt x="1886" y="707"/>
                    <a:pt x="1887" y="708"/>
                  </a:cubicBezTo>
                  <a:cubicBezTo>
                    <a:pt x="1887" y="708"/>
                    <a:pt x="1887" y="708"/>
                    <a:pt x="1887" y="708"/>
                  </a:cubicBezTo>
                  <a:cubicBezTo>
                    <a:pt x="1887" y="708"/>
                    <a:pt x="1887" y="708"/>
                    <a:pt x="1887" y="708"/>
                  </a:cubicBezTo>
                  <a:cubicBezTo>
                    <a:pt x="1887" y="708"/>
                    <a:pt x="1888" y="708"/>
                    <a:pt x="1888" y="708"/>
                  </a:cubicBezTo>
                  <a:cubicBezTo>
                    <a:pt x="1888" y="708"/>
                    <a:pt x="1888" y="708"/>
                    <a:pt x="1888" y="708"/>
                  </a:cubicBezTo>
                  <a:cubicBezTo>
                    <a:pt x="1887" y="707"/>
                    <a:pt x="1886" y="706"/>
                    <a:pt x="1886" y="706"/>
                  </a:cubicBezTo>
                  <a:cubicBezTo>
                    <a:pt x="1885" y="705"/>
                    <a:pt x="1885" y="705"/>
                    <a:pt x="1884" y="705"/>
                  </a:cubicBezTo>
                  <a:moveTo>
                    <a:pt x="1555" y="706"/>
                  </a:moveTo>
                  <a:cubicBezTo>
                    <a:pt x="1555" y="706"/>
                    <a:pt x="1554" y="706"/>
                    <a:pt x="1554" y="706"/>
                  </a:cubicBezTo>
                  <a:cubicBezTo>
                    <a:pt x="1554" y="706"/>
                    <a:pt x="1554" y="706"/>
                    <a:pt x="1554" y="706"/>
                  </a:cubicBezTo>
                  <a:cubicBezTo>
                    <a:pt x="1554" y="706"/>
                    <a:pt x="1553" y="707"/>
                    <a:pt x="1553" y="707"/>
                  </a:cubicBezTo>
                  <a:cubicBezTo>
                    <a:pt x="1548" y="709"/>
                    <a:pt x="1543" y="711"/>
                    <a:pt x="1538" y="713"/>
                  </a:cubicBezTo>
                  <a:cubicBezTo>
                    <a:pt x="1538" y="713"/>
                    <a:pt x="1539" y="714"/>
                    <a:pt x="1539" y="714"/>
                  </a:cubicBezTo>
                  <a:cubicBezTo>
                    <a:pt x="1544" y="712"/>
                    <a:pt x="1548" y="710"/>
                    <a:pt x="1552" y="708"/>
                  </a:cubicBezTo>
                  <a:cubicBezTo>
                    <a:pt x="1552" y="708"/>
                    <a:pt x="1553" y="708"/>
                    <a:pt x="1554" y="707"/>
                  </a:cubicBezTo>
                  <a:cubicBezTo>
                    <a:pt x="1554" y="707"/>
                    <a:pt x="1554" y="707"/>
                    <a:pt x="1554" y="707"/>
                  </a:cubicBezTo>
                  <a:cubicBezTo>
                    <a:pt x="1555" y="707"/>
                    <a:pt x="1555" y="707"/>
                    <a:pt x="1556" y="707"/>
                  </a:cubicBezTo>
                  <a:cubicBezTo>
                    <a:pt x="1556" y="706"/>
                    <a:pt x="1555" y="706"/>
                    <a:pt x="1555" y="706"/>
                  </a:cubicBezTo>
                  <a:moveTo>
                    <a:pt x="1888" y="710"/>
                  </a:moveTo>
                  <a:cubicBezTo>
                    <a:pt x="1889" y="711"/>
                    <a:pt x="1891" y="713"/>
                    <a:pt x="1892" y="714"/>
                  </a:cubicBezTo>
                  <a:cubicBezTo>
                    <a:pt x="1892" y="714"/>
                    <a:pt x="1892" y="714"/>
                    <a:pt x="1893" y="714"/>
                  </a:cubicBezTo>
                  <a:cubicBezTo>
                    <a:pt x="1893" y="714"/>
                    <a:pt x="1893" y="714"/>
                    <a:pt x="1893" y="714"/>
                  </a:cubicBezTo>
                  <a:cubicBezTo>
                    <a:pt x="1892" y="713"/>
                    <a:pt x="1891" y="711"/>
                    <a:pt x="1890" y="710"/>
                  </a:cubicBezTo>
                  <a:cubicBezTo>
                    <a:pt x="1889" y="710"/>
                    <a:pt x="1889" y="710"/>
                    <a:pt x="1888" y="710"/>
                  </a:cubicBezTo>
                  <a:moveTo>
                    <a:pt x="1537" y="714"/>
                  </a:moveTo>
                  <a:cubicBezTo>
                    <a:pt x="1532" y="716"/>
                    <a:pt x="1527" y="718"/>
                    <a:pt x="1523" y="721"/>
                  </a:cubicBezTo>
                  <a:cubicBezTo>
                    <a:pt x="1523" y="721"/>
                    <a:pt x="1524" y="721"/>
                    <a:pt x="1524" y="721"/>
                  </a:cubicBezTo>
                  <a:cubicBezTo>
                    <a:pt x="1529" y="719"/>
                    <a:pt x="1533" y="717"/>
                    <a:pt x="1538" y="714"/>
                  </a:cubicBezTo>
                  <a:cubicBezTo>
                    <a:pt x="1538" y="714"/>
                    <a:pt x="1537" y="714"/>
                    <a:pt x="1537" y="714"/>
                  </a:cubicBezTo>
                  <a:moveTo>
                    <a:pt x="1893" y="716"/>
                  </a:moveTo>
                  <a:cubicBezTo>
                    <a:pt x="1894" y="716"/>
                    <a:pt x="1894" y="717"/>
                    <a:pt x="1895" y="717"/>
                  </a:cubicBezTo>
                  <a:cubicBezTo>
                    <a:pt x="1895" y="717"/>
                    <a:pt x="1895" y="717"/>
                    <a:pt x="1896" y="717"/>
                  </a:cubicBezTo>
                  <a:cubicBezTo>
                    <a:pt x="1895" y="717"/>
                    <a:pt x="1895" y="716"/>
                    <a:pt x="1895" y="716"/>
                  </a:cubicBezTo>
                  <a:cubicBezTo>
                    <a:pt x="1894" y="716"/>
                    <a:pt x="1894" y="716"/>
                    <a:pt x="1893" y="716"/>
                  </a:cubicBezTo>
                  <a:moveTo>
                    <a:pt x="1896" y="718"/>
                  </a:moveTo>
                  <a:cubicBezTo>
                    <a:pt x="1896" y="718"/>
                    <a:pt x="1896" y="718"/>
                    <a:pt x="1895" y="718"/>
                  </a:cubicBezTo>
                  <a:cubicBezTo>
                    <a:pt x="1898" y="721"/>
                    <a:pt x="1900" y="723"/>
                    <a:pt x="1902" y="726"/>
                  </a:cubicBezTo>
                  <a:cubicBezTo>
                    <a:pt x="1902" y="726"/>
                    <a:pt x="1903" y="726"/>
                    <a:pt x="1903" y="726"/>
                  </a:cubicBezTo>
                  <a:cubicBezTo>
                    <a:pt x="1901" y="723"/>
                    <a:pt x="1899" y="721"/>
                    <a:pt x="1896" y="718"/>
                  </a:cubicBezTo>
                  <a:moveTo>
                    <a:pt x="1521" y="722"/>
                  </a:moveTo>
                  <a:cubicBezTo>
                    <a:pt x="1519" y="723"/>
                    <a:pt x="1516" y="725"/>
                    <a:pt x="1513" y="726"/>
                  </a:cubicBezTo>
                  <a:cubicBezTo>
                    <a:pt x="1512" y="727"/>
                    <a:pt x="1510" y="728"/>
                    <a:pt x="1509" y="729"/>
                  </a:cubicBezTo>
                  <a:cubicBezTo>
                    <a:pt x="1509" y="729"/>
                    <a:pt x="1510" y="729"/>
                    <a:pt x="1510" y="729"/>
                  </a:cubicBezTo>
                  <a:cubicBezTo>
                    <a:pt x="1511" y="728"/>
                    <a:pt x="1513" y="728"/>
                    <a:pt x="1514" y="727"/>
                  </a:cubicBezTo>
                  <a:cubicBezTo>
                    <a:pt x="1516" y="726"/>
                    <a:pt x="1518" y="725"/>
                    <a:pt x="1520" y="724"/>
                  </a:cubicBezTo>
                  <a:cubicBezTo>
                    <a:pt x="1521" y="723"/>
                    <a:pt x="1522" y="723"/>
                    <a:pt x="1523" y="722"/>
                  </a:cubicBezTo>
                  <a:cubicBezTo>
                    <a:pt x="1522" y="722"/>
                    <a:pt x="1522" y="722"/>
                    <a:pt x="1521" y="722"/>
                  </a:cubicBezTo>
                  <a:moveTo>
                    <a:pt x="1904" y="727"/>
                  </a:moveTo>
                  <a:cubicBezTo>
                    <a:pt x="1904" y="727"/>
                    <a:pt x="1903" y="727"/>
                    <a:pt x="1903" y="727"/>
                  </a:cubicBezTo>
                  <a:cubicBezTo>
                    <a:pt x="1905" y="729"/>
                    <a:pt x="1907" y="732"/>
                    <a:pt x="1909" y="734"/>
                  </a:cubicBezTo>
                  <a:cubicBezTo>
                    <a:pt x="1910" y="734"/>
                    <a:pt x="1910" y="734"/>
                    <a:pt x="1911" y="734"/>
                  </a:cubicBezTo>
                  <a:cubicBezTo>
                    <a:pt x="1908" y="732"/>
                    <a:pt x="1906" y="729"/>
                    <a:pt x="1904" y="727"/>
                  </a:cubicBezTo>
                  <a:moveTo>
                    <a:pt x="1508" y="729"/>
                  </a:moveTo>
                  <a:cubicBezTo>
                    <a:pt x="1508" y="729"/>
                    <a:pt x="1508" y="729"/>
                    <a:pt x="1508" y="729"/>
                  </a:cubicBezTo>
                  <a:cubicBezTo>
                    <a:pt x="1504" y="732"/>
                    <a:pt x="1500" y="734"/>
                    <a:pt x="1497" y="736"/>
                  </a:cubicBezTo>
                  <a:cubicBezTo>
                    <a:pt x="1497" y="736"/>
                    <a:pt x="1498" y="736"/>
                    <a:pt x="1498" y="736"/>
                  </a:cubicBezTo>
                  <a:cubicBezTo>
                    <a:pt x="1502" y="734"/>
                    <a:pt x="1505" y="732"/>
                    <a:pt x="1509" y="730"/>
                  </a:cubicBezTo>
                  <a:cubicBezTo>
                    <a:pt x="1509" y="730"/>
                    <a:pt x="1508" y="729"/>
                    <a:pt x="1508" y="729"/>
                  </a:cubicBezTo>
                  <a:moveTo>
                    <a:pt x="1910" y="735"/>
                  </a:moveTo>
                  <a:cubicBezTo>
                    <a:pt x="1911" y="736"/>
                    <a:pt x="1911" y="736"/>
                    <a:pt x="1911" y="737"/>
                  </a:cubicBezTo>
                  <a:cubicBezTo>
                    <a:pt x="1912" y="737"/>
                    <a:pt x="1912" y="736"/>
                    <a:pt x="1913" y="736"/>
                  </a:cubicBezTo>
                  <a:cubicBezTo>
                    <a:pt x="1912" y="736"/>
                    <a:pt x="1912" y="736"/>
                    <a:pt x="1912" y="735"/>
                  </a:cubicBezTo>
                  <a:cubicBezTo>
                    <a:pt x="1911" y="735"/>
                    <a:pt x="1911" y="735"/>
                    <a:pt x="1910" y="735"/>
                  </a:cubicBezTo>
                  <a:moveTo>
                    <a:pt x="1496" y="737"/>
                  </a:moveTo>
                  <a:cubicBezTo>
                    <a:pt x="1493" y="739"/>
                    <a:pt x="1489" y="741"/>
                    <a:pt x="1486" y="743"/>
                  </a:cubicBezTo>
                  <a:cubicBezTo>
                    <a:pt x="1486" y="743"/>
                    <a:pt x="1487" y="743"/>
                    <a:pt x="1487" y="743"/>
                  </a:cubicBezTo>
                  <a:cubicBezTo>
                    <a:pt x="1490" y="741"/>
                    <a:pt x="1494" y="739"/>
                    <a:pt x="1497" y="737"/>
                  </a:cubicBezTo>
                  <a:cubicBezTo>
                    <a:pt x="1497" y="737"/>
                    <a:pt x="1496" y="737"/>
                    <a:pt x="1496" y="737"/>
                  </a:cubicBezTo>
                  <a:moveTo>
                    <a:pt x="1913" y="737"/>
                  </a:moveTo>
                  <a:cubicBezTo>
                    <a:pt x="1913" y="737"/>
                    <a:pt x="1913" y="737"/>
                    <a:pt x="1912" y="738"/>
                  </a:cubicBezTo>
                  <a:cubicBezTo>
                    <a:pt x="1913" y="739"/>
                    <a:pt x="1914" y="740"/>
                    <a:pt x="1915" y="741"/>
                  </a:cubicBezTo>
                  <a:cubicBezTo>
                    <a:pt x="1915" y="741"/>
                    <a:pt x="1916" y="741"/>
                    <a:pt x="1916" y="741"/>
                  </a:cubicBezTo>
                  <a:cubicBezTo>
                    <a:pt x="1915" y="740"/>
                    <a:pt x="1914" y="738"/>
                    <a:pt x="1913" y="737"/>
                  </a:cubicBezTo>
                  <a:moveTo>
                    <a:pt x="1916" y="742"/>
                  </a:moveTo>
                  <a:cubicBezTo>
                    <a:pt x="1917" y="743"/>
                    <a:pt x="1918" y="744"/>
                    <a:pt x="1919" y="745"/>
                  </a:cubicBezTo>
                  <a:cubicBezTo>
                    <a:pt x="1919" y="745"/>
                    <a:pt x="1919" y="745"/>
                    <a:pt x="1920" y="745"/>
                  </a:cubicBezTo>
                  <a:cubicBezTo>
                    <a:pt x="1919" y="744"/>
                    <a:pt x="1918" y="743"/>
                    <a:pt x="1917" y="742"/>
                  </a:cubicBezTo>
                  <a:cubicBezTo>
                    <a:pt x="1917" y="742"/>
                    <a:pt x="1916" y="742"/>
                    <a:pt x="1916" y="742"/>
                  </a:cubicBezTo>
                  <a:moveTo>
                    <a:pt x="1485" y="744"/>
                  </a:moveTo>
                  <a:cubicBezTo>
                    <a:pt x="1479" y="748"/>
                    <a:pt x="1473" y="752"/>
                    <a:pt x="1466" y="756"/>
                  </a:cubicBezTo>
                  <a:cubicBezTo>
                    <a:pt x="1467" y="756"/>
                    <a:pt x="1467" y="757"/>
                    <a:pt x="1467" y="757"/>
                  </a:cubicBezTo>
                  <a:cubicBezTo>
                    <a:pt x="1474" y="752"/>
                    <a:pt x="1480" y="748"/>
                    <a:pt x="1486" y="744"/>
                  </a:cubicBezTo>
                  <a:cubicBezTo>
                    <a:pt x="1486" y="744"/>
                    <a:pt x="1485" y="744"/>
                    <a:pt x="1485" y="744"/>
                  </a:cubicBezTo>
                  <a:moveTo>
                    <a:pt x="1921" y="746"/>
                  </a:moveTo>
                  <a:cubicBezTo>
                    <a:pt x="1921" y="746"/>
                    <a:pt x="1920" y="746"/>
                    <a:pt x="1920" y="746"/>
                  </a:cubicBezTo>
                  <a:cubicBezTo>
                    <a:pt x="1921" y="747"/>
                    <a:pt x="1922" y="748"/>
                    <a:pt x="1922" y="749"/>
                  </a:cubicBezTo>
                  <a:cubicBezTo>
                    <a:pt x="1923" y="749"/>
                    <a:pt x="1923" y="749"/>
                    <a:pt x="1924" y="749"/>
                  </a:cubicBezTo>
                  <a:cubicBezTo>
                    <a:pt x="1923" y="748"/>
                    <a:pt x="1922" y="747"/>
                    <a:pt x="1921" y="746"/>
                  </a:cubicBezTo>
                  <a:moveTo>
                    <a:pt x="1924" y="750"/>
                  </a:moveTo>
                  <a:cubicBezTo>
                    <a:pt x="1924" y="750"/>
                    <a:pt x="1924" y="750"/>
                    <a:pt x="1923" y="750"/>
                  </a:cubicBezTo>
                  <a:cubicBezTo>
                    <a:pt x="1924" y="751"/>
                    <a:pt x="1924" y="751"/>
                    <a:pt x="1925" y="752"/>
                  </a:cubicBezTo>
                  <a:cubicBezTo>
                    <a:pt x="1925" y="752"/>
                    <a:pt x="1926" y="752"/>
                    <a:pt x="1926" y="752"/>
                  </a:cubicBezTo>
                  <a:cubicBezTo>
                    <a:pt x="1926" y="751"/>
                    <a:pt x="1925" y="750"/>
                    <a:pt x="1924" y="750"/>
                  </a:cubicBezTo>
                  <a:moveTo>
                    <a:pt x="1927" y="753"/>
                  </a:moveTo>
                  <a:cubicBezTo>
                    <a:pt x="1927" y="753"/>
                    <a:pt x="1926" y="753"/>
                    <a:pt x="1926" y="753"/>
                  </a:cubicBezTo>
                  <a:cubicBezTo>
                    <a:pt x="1926" y="754"/>
                    <a:pt x="1927" y="754"/>
                    <a:pt x="1927" y="755"/>
                  </a:cubicBezTo>
                  <a:cubicBezTo>
                    <a:pt x="1928" y="754"/>
                    <a:pt x="1928" y="754"/>
                    <a:pt x="1928" y="754"/>
                  </a:cubicBezTo>
                  <a:cubicBezTo>
                    <a:pt x="1928" y="754"/>
                    <a:pt x="1928" y="753"/>
                    <a:pt x="1927" y="753"/>
                  </a:cubicBezTo>
                  <a:moveTo>
                    <a:pt x="1929" y="755"/>
                  </a:moveTo>
                  <a:cubicBezTo>
                    <a:pt x="1929" y="755"/>
                    <a:pt x="1928" y="755"/>
                    <a:pt x="1928" y="755"/>
                  </a:cubicBezTo>
                  <a:cubicBezTo>
                    <a:pt x="1929" y="756"/>
                    <a:pt x="1929" y="756"/>
                    <a:pt x="1929" y="757"/>
                  </a:cubicBezTo>
                  <a:cubicBezTo>
                    <a:pt x="1930" y="757"/>
                    <a:pt x="1930" y="757"/>
                    <a:pt x="1931" y="757"/>
                  </a:cubicBezTo>
                  <a:cubicBezTo>
                    <a:pt x="1930" y="756"/>
                    <a:pt x="1930" y="756"/>
                    <a:pt x="1929" y="755"/>
                  </a:cubicBezTo>
                  <a:moveTo>
                    <a:pt x="1465" y="757"/>
                  </a:moveTo>
                  <a:cubicBezTo>
                    <a:pt x="1458" y="762"/>
                    <a:pt x="1451" y="767"/>
                    <a:pt x="1444" y="773"/>
                  </a:cubicBezTo>
                  <a:cubicBezTo>
                    <a:pt x="1444" y="773"/>
                    <a:pt x="1445" y="773"/>
                    <a:pt x="1445" y="773"/>
                  </a:cubicBezTo>
                  <a:cubicBezTo>
                    <a:pt x="1452" y="768"/>
                    <a:pt x="1459" y="762"/>
                    <a:pt x="1466" y="757"/>
                  </a:cubicBezTo>
                  <a:cubicBezTo>
                    <a:pt x="1466" y="757"/>
                    <a:pt x="1466" y="757"/>
                    <a:pt x="1465" y="757"/>
                  </a:cubicBezTo>
                  <a:moveTo>
                    <a:pt x="1931" y="758"/>
                  </a:moveTo>
                  <a:cubicBezTo>
                    <a:pt x="1931" y="758"/>
                    <a:pt x="1931" y="758"/>
                    <a:pt x="1930" y="758"/>
                  </a:cubicBezTo>
                  <a:cubicBezTo>
                    <a:pt x="1930" y="758"/>
                    <a:pt x="1931" y="759"/>
                    <a:pt x="1931" y="759"/>
                  </a:cubicBezTo>
                  <a:cubicBezTo>
                    <a:pt x="1931" y="759"/>
                    <a:pt x="1932" y="759"/>
                    <a:pt x="1932" y="759"/>
                  </a:cubicBezTo>
                  <a:cubicBezTo>
                    <a:pt x="1932" y="758"/>
                    <a:pt x="1932" y="758"/>
                    <a:pt x="1931" y="758"/>
                  </a:cubicBezTo>
                  <a:moveTo>
                    <a:pt x="1933" y="760"/>
                  </a:moveTo>
                  <a:cubicBezTo>
                    <a:pt x="1933" y="760"/>
                    <a:pt x="1933" y="760"/>
                    <a:pt x="1932" y="760"/>
                  </a:cubicBezTo>
                  <a:cubicBezTo>
                    <a:pt x="1933" y="761"/>
                    <a:pt x="1933" y="761"/>
                    <a:pt x="1934" y="762"/>
                  </a:cubicBezTo>
                  <a:cubicBezTo>
                    <a:pt x="1934" y="762"/>
                    <a:pt x="1934" y="762"/>
                    <a:pt x="1935" y="762"/>
                  </a:cubicBezTo>
                  <a:cubicBezTo>
                    <a:pt x="1934" y="761"/>
                    <a:pt x="1934" y="761"/>
                    <a:pt x="1933" y="760"/>
                  </a:cubicBezTo>
                  <a:moveTo>
                    <a:pt x="1935" y="762"/>
                  </a:moveTo>
                  <a:cubicBezTo>
                    <a:pt x="1935" y="763"/>
                    <a:pt x="1935" y="763"/>
                    <a:pt x="1934" y="763"/>
                  </a:cubicBezTo>
                  <a:cubicBezTo>
                    <a:pt x="1936" y="764"/>
                    <a:pt x="1937" y="766"/>
                    <a:pt x="1939" y="768"/>
                  </a:cubicBezTo>
                  <a:cubicBezTo>
                    <a:pt x="1939" y="768"/>
                    <a:pt x="1939" y="768"/>
                    <a:pt x="1940" y="767"/>
                  </a:cubicBezTo>
                  <a:cubicBezTo>
                    <a:pt x="1938" y="766"/>
                    <a:pt x="1937" y="764"/>
                    <a:pt x="1935" y="762"/>
                  </a:cubicBezTo>
                  <a:moveTo>
                    <a:pt x="1940" y="768"/>
                  </a:moveTo>
                  <a:cubicBezTo>
                    <a:pt x="1940" y="768"/>
                    <a:pt x="1940" y="769"/>
                    <a:pt x="1939" y="769"/>
                  </a:cubicBezTo>
                  <a:cubicBezTo>
                    <a:pt x="1952" y="783"/>
                    <a:pt x="1961" y="796"/>
                    <a:pt x="1966" y="808"/>
                  </a:cubicBezTo>
                  <a:cubicBezTo>
                    <a:pt x="1966" y="808"/>
                    <a:pt x="1966" y="808"/>
                    <a:pt x="1967" y="808"/>
                  </a:cubicBezTo>
                  <a:cubicBezTo>
                    <a:pt x="1962" y="796"/>
                    <a:pt x="1953" y="783"/>
                    <a:pt x="1940" y="768"/>
                  </a:cubicBezTo>
                  <a:moveTo>
                    <a:pt x="1443" y="774"/>
                  </a:moveTo>
                  <a:cubicBezTo>
                    <a:pt x="1437" y="779"/>
                    <a:pt x="1430" y="784"/>
                    <a:pt x="1424" y="789"/>
                  </a:cubicBezTo>
                  <a:cubicBezTo>
                    <a:pt x="1424" y="789"/>
                    <a:pt x="1425" y="789"/>
                    <a:pt x="1425" y="789"/>
                  </a:cubicBezTo>
                  <a:cubicBezTo>
                    <a:pt x="1431" y="784"/>
                    <a:pt x="1438" y="779"/>
                    <a:pt x="1444" y="774"/>
                  </a:cubicBezTo>
                  <a:cubicBezTo>
                    <a:pt x="1444" y="774"/>
                    <a:pt x="1443" y="774"/>
                    <a:pt x="1443" y="774"/>
                  </a:cubicBezTo>
                  <a:moveTo>
                    <a:pt x="1423" y="790"/>
                  </a:moveTo>
                  <a:cubicBezTo>
                    <a:pt x="1417" y="794"/>
                    <a:pt x="1412" y="799"/>
                    <a:pt x="1406" y="804"/>
                  </a:cubicBezTo>
                  <a:cubicBezTo>
                    <a:pt x="1406" y="804"/>
                    <a:pt x="1407" y="804"/>
                    <a:pt x="1407" y="804"/>
                  </a:cubicBezTo>
                  <a:cubicBezTo>
                    <a:pt x="1413" y="799"/>
                    <a:pt x="1418" y="794"/>
                    <a:pt x="1424" y="790"/>
                  </a:cubicBezTo>
                  <a:cubicBezTo>
                    <a:pt x="1424" y="790"/>
                    <a:pt x="1423" y="790"/>
                    <a:pt x="1423" y="790"/>
                  </a:cubicBezTo>
                  <a:moveTo>
                    <a:pt x="1405" y="804"/>
                  </a:moveTo>
                  <a:cubicBezTo>
                    <a:pt x="1401" y="808"/>
                    <a:pt x="1396" y="812"/>
                    <a:pt x="1392" y="816"/>
                  </a:cubicBezTo>
                  <a:cubicBezTo>
                    <a:pt x="1392" y="816"/>
                    <a:pt x="1393" y="816"/>
                    <a:pt x="1393" y="816"/>
                  </a:cubicBezTo>
                  <a:cubicBezTo>
                    <a:pt x="1397" y="812"/>
                    <a:pt x="1402" y="809"/>
                    <a:pt x="1406" y="805"/>
                  </a:cubicBezTo>
                  <a:cubicBezTo>
                    <a:pt x="1406" y="805"/>
                    <a:pt x="1405" y="805"/>
                    <a:pt x="1405" y="804"/>
                  </a:cubicBezTo>
                  <a:moveTo>
                    <a:pt x="1967" y="809"/>
                  </a:moveTo>
                  <a:cubicBezTo>
                    <a:pt x="1967" y="809"/>
                    <a:pt x="1966" y="809"/>
                    <a:pt x="1966" y="809"/>
                  </a:cubicBezTo>
                  <a:cubicBezTo>
                    <a:pt x="1968" y="814"/>
                    <a:pt x="1969" y="819"/>
                    <a:pt x="1969" y="824"/>
                  </a:cubicBezTo>
                  <a:cubicBezTo>
                    <a:pt x="1969" y="839"/>
                    <a:pt x="1960" y="852"/>
                    <a:pt x="1937" y="867"/>
                  </a:cubicBezTo>
                  <a:cubicBezTo>
                    <a:pt x="1937" y="868"/>
                    <a:pt x="1936" y="868"/>
                    <a:pt x="1936" y="868"/>
                  </a:cubicBezTo>
                  <a:cubicBezTo>
                    <a:pt x="1883" y="903"/>
                    <a:pt x="1762" y="945"/>
                    <a:pt x="1528" y="1021"/>
                  </a:cubicBezTo>
                  <a:cubicBezTo>
                    <a:pt x="1435" y="1051"/>
                    <a:pt x="1370" y="1064"/>
                    <a:pt x="1327" y="1064"/>
                  </a:cubicBezTo>
                  <a:cubicBezTo>
                    <a:pt x="1274" y="1064"/>
                    <a:pt x="1253" y="1045"/>
                    <a:pt x="1253" y="1016"/>
                  </a:cubicBezTo>
                  <a:cubicBezTo>
                    <a:pt x="1253" y="972"/>
                    <a:pt x="1302" y="904"/>
                    <a:pt x="1365" y="842"/>
                  </a:cubicBezTo>
                  <a:cubicBezTo>
                    <a:pt x="1365" y="842"/>
                    <a:pt x="1364" y="842"/>
                    <a:pt x="1364" y="842"/>
                  </a:cubicBezTo>
                  <a:cubicBezTo>
                    <a:pt x="1301" y="904"/>
                    <a:pt x="1252" y="972"/>
                    <a:pt x="1252" y="1016"/>
                  </a:cubicBezTo>
                  <a:cubicBezTo>
                    <a:pt x="1252" y="1046"/>
                    <a:pt x="1274" y="1065"/>
                    <a:pt x="1327" y="1065"/>
                  </a:cubicBezTo>
                  <a:cubicBezTo>
                    <a:pt x="1370" y="1065"/>
                    <a:pt x="1436" y="1052"/>
                    <a:pt x="1528" y="1022"/>
                  </a:cubicBezTo>
                  <a:cubicBezTo>
                    <a:pt x="1761" y="946"/>
                    <a:pt x="1883" y="904"/>
                    <a:pt x="1936" y="869"/>
                  </a:cubicBezTo>
                  <a:cubicBezTo>
                    <a:pt x="1936" y="869"/>
                    <a:pt x="1937" y="869"/>
                    <a:pt x="1937" y="869"/>
                  </a:cubicBezTo>
                  <a:cubicBezTo>
                    <a:pt x="1960" y="853"/>
                    <a:pt x="1970" y="839"/>
                    <a:pt x="1970" y="824"/>
                  </a:cubicBezTo>
                  <a:cubicBezTo>
                    <a:pt x="1970" y="819"/>
                    <a:pt x="1969" y="814"/>
                    <a:pt x="1967" y="809"/>
                  </a:cubicBezTo>
                  <a:moveTo>
                    <a:pt x="1391" y="817"/>
                  </a:moveTo>
                  <a:cubicBezTo>
                    <a:pt x="1386" y="821"/>
                    <a:pt x="1382" y="825"/>
                    <a:pt x="1378" y="829"/>
                  </a:cubicBezTo>
                  <a:cubicBezTo>
                    <a:pt x="1378" y="829"/>
                    <a:pt x="1379" y="829"/>
                    <a:pt x="1379" y="829"/>
                  </a:cubicBezTo>
                  <a:cubicBezTo>
                    <a:pt x="1384" y="825"/>
                    <a:pt x="1388" y="821"/>
                    <a:pt x="1392" y="817"/>
                  </a:cubicBezTo>
                  <a:cubicBezTo>
                    <a:pt x="1392" y="817"/>
                    <a:pt x="1391" y="817"/>
                    <a:pt x="1391" y="817"/>
                  </a:cubicBezTo>
                  <a:moveTo>
                    <a:pt x="1377" y="830"/>
                  </a:moveTo>
                  <a:cubicBezTo>
                    <a:pt x="1377" y="830"/>
                    <a:pt x="1376" y="831"/>
                    <a:pt x="1376" y="831"/>
                  </a:cubicBezTo>
                  <a:cubicBezTo>
                    <a:pt x="1376" y="831"/>
                    <a:pt x="1377" y="831"/>
                    <a:pt x="1378" y="830"/>
                  </a:cubicBezTo>
                  <a:cubicBezTo>
                    <a:pt x="1378" y="830"/>
                    <a:pt x="1378" y="830"/>
                    <a:pt x="1378" y="830"/>
                  </a:cubicBezTo>
                  <a:cubicBezTo>
                    <a:pt x="1378" y="830"/>
                    <a:pt x="1378" y="830"/>
                    <a:pt x="1377" y="830"/>
                  </a:cubicBezTo>
                  <a:moveTo>
                    <a:pt x="1376" y="832"/>
                  </a:moveTo>
                  <a:cubicBezTo>
                    <a:pt x="1376" y="832"/>
                    <a:pt x="1375" y="832"/>
                    <a:pt x="1374" y="832"/>
                  </a:cubicBezTo>
                  <a:cubicBezTo>
                    <a:pt x="1372" y="834"/>
                    <a:pt x="1370" y="836"/>
                    <a:pt x="1368" y="838"/>
                  </a:cubicBezTo>
                  <a:cubicBezTo>
                    <a:pt x="1369" y="838"/>
                    <a:pt x="1369" y="838"/>
                    <a:pt x="1370" y="838"/>
                  </a:cubicBezTo>
                  <a:cubicBezTo>
                    <a:pt x="1372" y="836"/>
                    <a:pt x="1374" y="834"/>
                    <a:pt x="1376" y="832"/>
                  </a:cubicBezTo>
                  <a:moveTo>
                    <a:pt x="1369" y="839"/>
                  </a:moveTo>
                  <a:cubicBezTo>
                    <a:pt x="1368" y="839"/>
                    <a:pt x="1368" y="839"/>
                    <a:pt x="1367" y="839"/>
                  </a:cubicBezTo>
                  <a:cubicBezTo>
                    <a:pt x="1367" y="839"/>
                    <a:pt x="1367" y="840"/>
                    <a:pt x="1367" y="840"/>
                  </a:cubicBezTo>
                  <a:cubicBezTo>
                    <a:pt x="1367" y="840"/>
                    <a:pt x="1368" y="839"/>
                    <a:pt x="1368" y="839"/>
                  </a:cubicBezTo>
                  <a:cubicBezTo>
                    <a:pt x="1368" y="839"/>
                    <a:pt x="1368" y="839"/>
                    <a:pt x="1369" y="839"/>
                  </a:cubicBezTo>
                  <a:moveTo>
                    <a:pt x="1367" y="841"/>
                  </a:moveTo>
                  <a:cubicBezTo>
                    <a:pt x="1367" y="841"/>
                    <a:pt x="1366" y="841"/>
                    <a:pt x="1365" y="841"/>
                  </a:cubicBezTo>
                  <a:cubicBezTo>
                    <a:pt x="1365" y="841"/>
                    <a:pt x="1365" y="841"/>
                    <a:pt x="1365" y="841"/>
                  </a:cubicBezTo>
                  <a:cubicBezTo>
                    <a:pt x="1366" y="841"/>
                    <a:pt x="1366" y="841"/>
                    <a:pt x="1367" y="841"/>
                  </a:cubicBezTo>
                  <a:cubicBezTo>
                    <a:pt x="1367" y="841"/>
                    <a:pt x="1367" y="841"/>
                    <a:pt x="1367" y="841"/>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35" name="Freeform 64"/>
            <p:cNvSpPr>
              <a:spLocks noEditPoints="1"/>
            </p:cNvSpPr>
            <p:nvPr userDrawn="1"/>
          </p:nvSpPr>
          <p:spPr bwMode="auto">
            <a:xfrm>
              <a:off x="-559" y="4050"/>
              <a:ext cx="4108" cy="1942"/>
            </a:xfrm>
            <a:custGeom>
              <a:avLst/>
              <a:gdLst>
                <a:gd name="T0" fmla="*/ 2147483646 w 2027"/>
                <a:gd name="T1" fmla="*/ 2147483646 h 958"/>
                <a:gd name="T2" fmla="*/ 2147483646 w 2027"/>
                <a:gd name="T3" fmla="*/ 2147483646 h 958"/>
                <a:gd name="T4" fmla="*/ 2147483646 w 2027"/>
                <a:gd name="T5" fmla="*/ 2147483646 h 958"/>
                <a:gd name="T6" fmla="*/ 2147483646 w 2027"/>
                <a:gd name="T7" fmla="*/ 2147483646 h 958"/>
                <a:gd name="T8" fmla="*/ 2147483646 w 2027"/>
                <a:gd name="T9" fmla="*/ 2147483646 h 958"/>
                <a:gd name="T10" fmla="*/ 2147483646 w 2027"/>
                <a:gd name="T11" fmla="*/ 2147483646 h 958"/>
                <a:gd name="T12" fmla="*/ 2147483646 w 2027"/>
                <a:gd name="T13" fmla="*/ 2147483646 h 958"/>
                <a:gd name="T14" fmla="*/ 2147483646 w 2027"/>
                <a:gd name="T15" fmla="*/ 2147483646 h 958"/>
                <a:gd name="T16" fmla="*/ 2147483646 w 2027"/>
                <a:gd name="T17" fmla="*/ 2147483646 h 958"/>
                <a:gd name="T18" fmla="*/ 2147483646 w 2027"/>
                <a:gd name="T19" fmla="*/ 2147483646 h 958"/>
                <a:gd name="T20" fmla="*/ 2147483646 w 2027"/>
                <a:gd name="T21" fmla="*/ 2147483646 h 958"/>
                <a:gd name="T22" fmla="*/ 2147483646 w 2027"/>
                <a:gd name="T23" fmla="*/ 2147483646 h 958"/>
                <a:gd name="T24" fmla="*/ 2147483646 w 2027"/>
                <a:gd name="T25" fmla="*/ 2147483646 h 958"/>
                <a:gd name="T26" fmla="*/ 2147483646 w 2027"/>
                <a:gd name="T27" fmla="*/ 2147483646 h 958"/>
                <a:gd name="T28" fmla="*/ 2147483646 w 2027"/>
                <a:gd name="T29" fmla="*/ 2147483646 h 958"/>
                <a:gd name="T30" fmla="*/ 2147483646 w 2027"/>
                <a:gd name="T31" fmla="*/ 2147483646 h 958"/>
                <a:gd name="T32" fmla="*/ 2147483646 w 2027"/>
                <a:gd name="T33" fmla="*/ 2147483646 h 958"/>
                <a:gd name="T34" fmla="*/ 2147483646 w 2027"/>
                <a:gd name="T35" fmla="*/ 2147483646 h 958"/>
                <a:gd name="T36" fmla="*/ 2147483646 w 2027"/>
                <a:gd name="T37" fmla="*/ 2147483646 h 958"/>
                <a:gd name="T38" fmla="*/ 2147483646 w 2027"/>
                <a:gd name="T39" fmla="*/ 2147483646 h 958"/>
                <a:gd name="T40" fmla="*/ 2147483646 w 2027"/>
                <a:gd name="T41" fmla="*/ 2147483646 h 958"/>
                <a:gd name="T42" fmla="*/ 2147483646 w 2027"/>
                <a:gd name="T43" fmla="*/ 2147483646 h 958"/>
                <a:gd name="T44" fmla="*/ 2147483646 w 2027"/>
                <a:gd name="T45" fmla="*/ 2147483646 h 958"/>
                <a:gd name="T46" fmla="*/ 2147483646 w 2027"/>
                <a:gd name="T47" fmla="*/ 2147483646 h 958"/>
                <a:gd name="T48" fmla="*/ 2147483646 w 2027"/>
                <a:gd name="T49" fmla="*/ 2147483646 h 958"/>
                <a:gd name="T50" fmla="*/ 2147483646 w 2027"/>
                <a:gd name="T51" fmla="*/ 2147483646 h 958"/>
                <a:gd name="T52" fmla="*/ 2147483646 w 2027"/>
                <a:gd name="T53" fmla="*/ 2147483646 h 958"/>
                <a:gd name="T54" fmla="*/ 2147483646 w 2027"/>
                <a:gd name="T55" fmla="*/ 2147483646 h 958"/>
                <a:gd name="T56" fmla="*/ 2147483646 w 2027"/>
                <a:gd name="T57" fmla="*/ 2147483646 h 958"/>
                <a:gd name="T58" fmla="*/ 2147483646 w 2027"/>
                <a:gd name="T59" fmla="*/ 2147483646 h 958"/>
                <a:gd name="T60" fmla="*/ 2147483646 w 2027"/>
                <a:gd name="T61" fmla="*/ 2147483646 h 958"/>
                <a:gd name="T62" fmla="*/ 2147483646 w 2027"/>
                <a:gd name="T63" fmla="*/ 2147483646 h 958"/>
                <a:gd name="T64" fmla="*/ 2147483646 w 2027"/>
                <a:gd name="T65" fmla="*/ 2147483646 h 958"/>
                <a:gd name="T66" fmla="*/ 2147483646 w 2027"/>
                <a:gd name="T67" fmla="*/ 2147483646 h 958"/>
                <a:gd name="T68" fmla="*/ 2147483646 w 2027"/>
                <a:gd name="T69" fmla="*/ 2147483646 h 958"/>
                <a:gd name="T70" fmla="*/ 2147483646 w 2027"/>
                <a:gd name="T71" fmla="*/ 2147483646 h 958"/>
                <a:gd name="T72" fmla="*/ 2147483646 w 2027"/>
                <a:gd name="T73" fmla="*/ 2147483646 h 958"/>
                <a:gd name="T74" fmla="*/ 2147483646 w 2027"/>
                <a:gd name="T75" fmla="*/ 2147483646 h 958"/>
                <a:gd name="T76" fmla="*/ 2147483646 w 2027"/>
                <a:gd name="T77" fmla="*/ 2147483646 h 958"/>
                <a:gd name="T78" fmla="*/ 2147483646 w 2027"/>
                <a:gd name="T79" fmla="*/ 2147483646 h 958"/>
                <a:gd name="T80" fmla="*/ 2147483646 w 2027"/>
                <a:gd name="T81" fmla="*/ 2147483646 h 958"/>
                <a:gd name="T82" fmla="*/ 2147483646 w 2027"/>
                <a:gd name="T83" fmla="*/ 2147483646 h 958"/>
                <a:gd name="T84" fmla="*/ 2147483646 w 2027"/>
                <a:gd name="T85" fmla="*/ 2147483646 h 958"/>
                <a:gd name="T86" fmla="*/ 2147483646 w 2027"/>
                <a:gd name="T87" fmla="*/ 2147483646 h 958"/>
                <a:gd name="T88" fmla="*/ 2147483646 w 2027"/>
                <a:gd name="T89" fmla="*/ 2147483646 h 958"/>
                <a:gd name="T90" fmla="*/ 2147483646 w 2027"/>
                <a:gd name="T91" fmla="*/ 2147483646 h 958"/>
                <a:gd name="T92" fmla="*/ 2147483646 w 2027"/>
                <a:gd name="T93" fmla="*/ 2147483646 h 958"/>
                <a:gd name="T94" fmla="*/ 2147483646 w 2027"/>
                <a:gd name="T95" fmla="*/ 2147483646 h 958"/>
                <a:gd name="T96" fmla="*/ 2147483646 w 2027"/>
                <a:gd name="T97" fmla="*/ 2147483646 h 958"/>
                <a:gd name="T98" fmla="*/ 2147483646 w 2027"/>
                <a:gd name="T99" fmla="*/ 2147483646 h 958"/>
                <a:gd name="T100" fmla="*/ 2147483646 w 2027"/>
                <a:gd name="T101" fmla="*/ 2147483646 h 958"/>
                <a:gd name="T102" fmla="*/ 2147483646 w 2027"/>
                <a:gd name="T103" fmla="*/ 2147483646 h 958"/>
                <a:gd name="T104" fmla="*/ 2147483646 w 2027"/>
                <a:gd name="T105" fmla="*/ 2147483646 h 958"/>
                <a:gd name="T106" fmla="*/ 2147483646 w 2027"/>
                <a:gd name="T107" fmla="*/ 2147483646 h 958"/>
                <a:gd name="T108" fmla="*/ 2147483646 w 2027"/>
                <a:gd name="T109" fmla="*/ 2147483646 h 958"/>
                <a:gd name="T110" fmla="*/ 2147483646 w 2027"/>
                <a:gd name="T111" fmla="*/ 2147483646 h 958"/>
                <a:gd name="T112" fmla="*/ 2147483646 w 2027"/>
                <a:gd name="T113" fmla="*/ 2147483646 h 958"/>
                <a:gd name="T114" fmla="*/ 2147483646 w 2027"/>
                <a:gd name="T115" fmla="*/ 2147483646 h 958"/>
                <a:gd name="T116" fmla="*/ 2147483646 w 2027"/>
                <a:gd name="T117" fmla="*/ 2147483646 h 958"/>
                <a:gd name="T118" fmla="*/ 2147483646 w 2027"/>
                <a:gd name="T119" fmla="*/ 2147483646 h 958"/>
                <a:gd name="T120" fmla="*/ 2147483646 w 2027"/>
                <a:gd name="T121" fmla="*/ 2147483646 h 9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027" h="958">
                  <a:moveTo>
                    <a:pt x="91" y="0"/>
                  </a:moveTo>
                  <a:cubicBezTo>
                    <a:pt x="35" y="0"/>
                    <a:pt x="1" y="10"/>
                    <a:pt x="0" y="35"/>
                  </a:cubicBezTo>
                  <a:cubicBezTo>
                    <a:pt x="1" y="71"/>
                    <a:pt x="75" y="136"/>
                    <a:pt x="258" y="239"/>
                  </a:cubicBezTo>
                  <a:cubicBezTo>
                    <a:pt x="648" y="458"/>
                    <a:pt x="963" y="552"/>
                    <a:pt x="1182" y="593"/>
                  </a:cubicBezTo>
                  <a:cubicBezTo>
                    <a:pt x="1191" y="595"/>
                    <a:pt x="1200" y="597"/>
                    <a:pt x="1209" y="598"/>
                  </a:cubicBezTo>
                  <a:cubicBezTo>
                    <a:pt x="1209" y="598"/>
                    <a:pt x="1209" y="598"/>
                    <a:pt x="1210" y="598"/>
                  </a:cubicBezTo>
                  <a:cubicBezTo>
                    <a:pt x="991" y="558"/>
                    <a:pt x="665" y="466"/>
                    <a:pt x="259" y="238"/>
                  </a:cubicBezTo>
                  <a:cubicBezTo>
                    <a:pt x="75" y="135"/>
                    <a:pt x="1" y="70"/>
                    <a:pt x="1" y="35"/>
                  </a:cubicBezTo>
                  <a:cubicBezTo>
                    <a:pt x="1" y="23"/>
                    <a:pt x="10" y="15"/>
                    <a:pt x="25" y="9"/>
                  </a:cubicBezTo>
                  <a:cubicBezTo>
                    <a:pt x="40" y="4"/>
                    <a:pt x="63" y="1"/>
                    <a:pt x="91" y="1"/>
                  </a:cubicBezTo>
                  <a:cubicBezTo>
                    <a:pt x="91" y="1"/>
                    <a:pt x="91" y="1"/>
                    <a:pt x="91" y="1"/>
                  </a:cubicBezTo>
                  <a:cubicBezTo>
                    <a:pt x="292" y="1"/>
                    <a:pt x="785" y="135"/>
                    <a:pt x="1088" y="283"/>
                  </a:cubicBezTo>
                  <a:cubicBezTo>
                    <a:pt x="1105" y="291"/>
                    <a:pt x="1121" y="299"/>
                    <a:pt x="1137" y="307"/>
                  </a:cubicBezTo>
                  <a:cubicBezTo>
                    <a:pt x="1121" y="298"/>
                    <a:pt x="1104" y="290"/>
                    <a:pt x="1087" y="282"/>
                  </a:cubicBezTo>
                  <a:cubicBezTo>
                    <a:pt x="783" y="134"/>
                    <a:pt x="292" y="0"/>
                    <a:pt x="91" y="0"/>
                  </a:cubicBezTo>
                  <a:moveTo>
                    <a:pt x="1560" y="56"/>
                  </a:moveTo>
                  <a:cubicBezTo>
                    <a:pt x="1555" y="56"/>
                    <a:pt x="1549" y="56"/>
                    <a:pt x="1544" y="57"/>
                  </a:cubicBezTo>
                  <a:cubicBezTo>
                    <a:pt x="1543" y="57"/>
                    <a:pt x="1542" y="57"/>
                    <a:pt x="1541" y="58"/>
                  </a:cubicBezTo>
                  <a:cubicBezTo>
                    <a:pt x="1547" y="57"/>
                    <a:pt x="1554" y="57"/>
                    <a:pt x="1560" y="57"/>
                  </a:cubicBezTo>
                  <a:cubicBezTo>
                    <a:pt x="1566" y="57"/>
                    <a:pt x="1573" y="57"/>
                    <a:pt x="1579" y="58"/>
                  </a:cubicBezTo>
                  <a:cubicBezTo>
                    <a:pt x="1580" y="57"/>
                    <a:pt x="1581" y="57"/>
                    <a:pt x="1582" y="57"/>
                  </a:cubicBezTo>
                  <a:cubicBezTo>
                    <a:pt x="1574" y="56"/>
                    <a:pt x="1567" y="56"/>
                    <a:pt x="1560" y="56"/>
                  </a:cubicBezTo>
                  <a:moveTo>
                    <a:pt x="1541" y="57"/>
                  </a:moveTo>
                  <a:cubicBezTo>
                    <a:pt x="1529" y="58"/>
                    <a:pt x="1518" y="61"/>
                    <a:pt x="1511" y="65"/>
                  </a:cubicBezTo>
                  <a:cubicBezTo>
                    <a:pt x="1510" y="66"/>
                    <a:pt x="1509" y="66"/>
                    <a:pt x="1509" y="66"/>
                  </a:cubicBezTo>
                  <a:cubicBezTo>
                    <a:pt x="1506" y="68"/>
                    <a:pt x="1503" y="71"/>
                    <a:pt x="1501" y="73"/>
                  </a:cubicBezTo>
                  <a:cubicBezTo>
                    <a:pt x="1501" y="73"/>
                    <a:pt x="1500" y="74"/>
                    <a:pt x="1500" y="74"/>
                  </a:cubicBezTo>
                  <a:cubicBezTo>
                    <a:pt x="1496" y="79"/>
                    <a:pt x="1494" y="85"/>
                    <a:pt x="1494" y="92"/>
                  </a:cubicBezTo>
                  <a:cubicBezTo>
                    <a:pt x="1494" y="101"/>
                    <a:pt x="1498" y="112"/>
                    <a:pt x="1505" y="124"/>
                  </a:cubicBezTo>
                  <a:cubicBezTo>
                    <a:pt x="1553" y="211"/>
                    <a:pt x="1591" y="271"/>
                    <a:pt x="1610" y="315"/>
                  </a:cubicBezTo>
                  <a:cubicBezTo>
                    <a:pt x="1610" y="315"/>
                    <a:pt x="1611" y="315"/>
                    <a:pt x="1611" y="315"/>
                  </a:cubicBezTo>
                  <a:cubicBezTo>
                    <a:pt x="1592" y="271"/>
                    <a:pt x="1554" y="211"/>
                    <a:pt x="1506" y="124"/>
                  </a:cubicBezTo>
                  <a:cubicBezTo>
                    <a:pt x="1499" y="111"/>
                    <a:pt x="1495" y="100"/>
                    <a:pt x="1495" y="92"/>
                  </a:cubicBezTo>
                  <a:cubicBezTo>
                    <a:pt x="1495" y="85"/>
                    <a:pt x="1497" y="79"/>
                    <a:pt x="1501" y="74"/>
                  </a:cubicBezTo>
                  <a:cubicBezTo>
                    <a:pt x="1502" y="74"/>
                    <a:pt x="1502" y="73"/>
                    <a:pt x="1502" y="73"/>
                  </a:cubicBezTo>
                  <a:cubicBezTo>
                    <a:pt x="1505" y="70"/>
                    <a:pt x="1507" y="68"/>
                    <a:pt x="1511" y="66"/>
                  </a:cubicBezTo>
                  <a:cubicBezTo>
                    <a:pt x="1512" y="66"/>
                    <a:pt x="1512" y="65"/>
                    <a:pt x="1513" y="65"/>
                  </a:cubicBezTo>
                  <a:cubicBezTo>
                    <a:pt x="1520" y="62"/>
                    <a:pt x="1529" y="59"/>
                    <a:pt x="1539" y="58"/>
                  </a:cubicBezTo>
                  <a:cubicBezTo>
                    <a:pt x="1540" y="58"/>
                    <a:pt x="1540" y="57"/>
                    <a:pt x="1541" y="57"/>
                  </a:cubicBezTo>
                  <a:moveTo>
                    <a:pt x="1584" y="57"/>
                  </a:moveTo>
                  <a:cubicBezTo>
                    <a:pt x="1583" y="57"/>
                    <a:pt x="1583" y="57"/>
                    <a:pt x="1582" y="58"/>
                  </a:cubicBezTo>
                  <a:cubicBezTo>
                    <a:pt x="1595" y="59"/>
                    <a:pt x="1610" y="61"/>
                    <a:pt x="1626" y="64"/>
                  </a:cubicBezTo>
                  <a:cubicBezTo>
                    <a:pt x="1627" y="63"/>
                    <a:pt x="1628" y="63"/>
                    <a:pt x="1629" y="63"/>
                  </a:cubicBezTo>
                  <a:cubicBezTo>
                    <a:pt x="1613" y="60"/>
                    <a:pt x="1598" y="58"/>
                    <a:pt x="1584" y="57"/>
                  </a:cubicBezTo>
                  <a:moveTo>
                    <a:pt x="1632" y="64"/>
                  </a:moveTo>
                  <a:cubicBezTo>
                    <a:pt x="1631" y="64"/>
                    <a:pt x="1630" y="64"/>
                    <a:pt x="1629" y="64"/>
                  </a:cubicBezTo>
                  <a:cubicBezTo>
                    <a:pt x="1640" y="66"/>
                    <a:pt x="1652" y="69"/>
                    <a:pt x="1665" y="72"/>
                  </a:cubicBezTo>
                  <a:cubicBezTo>
                    <a:pt x="1665" y="72"/>
                    <a:pt x="1666" y="71"/>
                    <a:pt x="1667" y="71"/>
                  </a:cubicBezTo>
                  <a:cubicBezTo>
                    <a:pt x="1655" y="68"/>
                    <a:pt x="1643" y="66"/>
                    <a:pt x="1632" y="64"/>
                  </a:cubicBezTo>
                  <a:moveTo>
                    <a:pt x="1670" y="72"/>
                  </a:moveTo>
                  <a:cubicBezTo>
                    <a:pt x="1669" y="72"/>
                    <a:pt x="1668" y="72"/>
                    <a:pt x="1667" y="72"/>
                  </a:cubicBezTo>
                  <a:cubicBezTo>
                    <a:pt x="1676" y="74"/>
                    <a:pt x="1685" y="77"/>
                    <a:pt x="1694" y="79"/>
                  </a:cubicBezTo>
                  <a:cubicBezTo>
                    <a:pt x="1695" y="79"/>
                    <a:pt x="1696" y="79"/>
                    <a:pt x="1696" y="79"/>
                  </a:cubicBezTo>
                  <a:cubicBezTo>
                    <a:pt x="1687" y="76"/>
                    <a:pt x="1679" y="74"/>
                    <a:pt x="1670" y="72"/>
                  </a:cubicBezTo>
                  <a:moveTo>
                    <a:pt x="1699" y="79"/>
                  </a:moveTo>
                  <a:cubicBezTo>
                    <a:pt x="1698" y="80"/>
                    <a:pt x="1697" y="80"/>
                    <a:pt x="1696" y="80"/>
                  </a:cubicBezTo>
                  <a:cubicBezTo>
                    <a:pt x="1698" y="80"/>
                    <a:pt x="1699" y="81"/>
                    <a:pt x="1700" y="81"/>
                  </a:cubicBezTo>
                  <a:cubicBezTo>
                    <a:pt x="1700" y="81"/>
                    <a:pt x="1700" y="80"/>
                    <a:pt x="1701" y="80"/>
                  </a:cubicBezTo>
                  <a:cubicBezTo>
                    <a:pt x="1700" y="80"/>
                    <a:pt x="1699" y="80"/>
                    <a:pt x="1699" y="79"/>
                  </a:cubicBezTo>
                  <a:moveTo>
                    <a:pt x="1702" y="80"/>
                  </a:moveTo>
                  <a:cubicBezTo>
                    <a:pt x="1702" y="81"/>
                    <a:pt x="1701" y="81"/>
                    <a:pt x="1701" y="81"/>
                  </a:cubicBezTo>
                  <a:cubicBezTo>
                    <a:pt x="1701" y="81"/>
                    <a:pt x="1702" y="81"/>
                    <a:pt x="1702" y="82"/>
                  </a:cubicBezTo>
                  <a:cubicBezTo>
                    <a:pt x="1702" y="81"/>
                    <a:pt x="1702" y="81"/>
                    <a:pt x="1702" y="81"/>
                  </a:cubicBezTo>
                  <a:cubicBezTo>
                    <a:pt x="1702" y="80"/>
                    <a:pt x="1702" y="80"/>
                    <a:pt x="1702" y="80"/>
                  </a:cubicBezTo>
                  <a:moveTo>
                    <a:pt x="1703" y="81"/>
                  </a:moveTo>
                  <a:cubicBezTo>
                    <a:pt x="1703" y="81"/>
                    <a:pt x="1703" y="81"/>
                    <a:pt x="1703" y="82"/>
                  </a:cubicBezTo>
                  <a:cubicBezTo>
                    <a:pt x="1705" y="82"/>
                    <a:pt x="1707" y="83"/>
                    <a:pt x="1708" y="83"/>
                  </a:cubicBezTo>
                  <a:cubicBezTo>
                    <a:pt x="1709" y="83"/>
                    <a:pt x="1709" y="83"/>
                    <a:pt x="1710" y="83"/>
                  </a:cubicBezTo>
                  <a:cubicBezTo>
                    <a:pt x="1708" y="82"/>
                    <a:pt x="1705" y="81"/>
                    <a:pt x="1703" y="81"/>
                  </a:cubicBezTo>
                  <a:moveTo>
                    <a:pt x="1711" y="83"/>
                  </a:moveTo>
                  <a:cubicBezTo>
                    <a:pt x="1711" y="83"/>
                    <a:pt x="1710" y="84"/>
                    <a:pt x="1710" y="84"/>
                  </a:cubicBezTo>
                  <a:cubicBezTo>
                    <a:pt x="1711" y="84"/>
                    <a:pt x="1712" y="84"/>
                    <a:pt x="1712" y="84"/>
                  </a:cubicBezTo>
                  <a:cubicBezTo>
                    <a:pt x="1713" y="84"/>
                    <a:pt x="1714" y="84"/>
                    <a:pt x="1714" y="84"/>
                  </a:cubicBezTo>
                  <a:cubicBezTo>
                    <a:pt x="1714" y="84"/>
                    <a:pt x="1714" y="84"/>
                    <a:pt x="1714" y="84"/>
                  </a:cubicBezTo>
                  <a:cubicBezTo>
                    <a:pt x="1713" y="84"/>
                    <a:pt x="1712" y="83"/>
                    <a:pt x="1711" y="83"/>
                  </a:cubicBezTo>
                  <a:moveTo>
                    <a:pt x="1717" y="85"/>
                  </a:moveTo>
                  <a:cubicBezTo>
                    <a:pt x="1716" y="85"/>
                    <a:pt x="1716" y="85"/>
                    <a:pt x="1716" y="85"/>
                  </a:cubicBezTo>
                  <a:cubicBezTo>
                    <a:pt x="1716" y="85"/>
                    <a:pt x="1716" y="85"/>
                    <a:pt x="1716" y="85"/>
                  </a:cubicBezTo>
                  <a:cubicBezTo>
                    <a:pt x="1716" y="85"/>
                    <a:pt x="1716" y="85"/>
                    <a:pt x="1716" y="86"/>
                  </a:cubicBezTo>
                  <a:cubicBezTo>
                    <a:pt x="1720" y="87"/>
                    <a:pt x="1725" y="88"/>
                    <a:pt x="1729" y="90"/>
                  </a:cubicBezTo>
                  <a:cubicBezTo>
                    <a:pt x="1729" y="89"/>
                    <a:pt x="1729" y="89"/>
                    <a:pt x="1729" y="89"/>
                  </a:cubicBezTo>
                  <a:cubicBezTo>
                    <a:pt x="1725" y="87"/>
                    <a:pt x="1721" y="86"/>
                    <a:pt x="1717" y="85"/>
                  </a:cubicBezTo>
                  <a:moveTo>
                    <a:pt x="1715" y="85"/>
                  </a:moveTo>
                  <a:cubicBezTo>
                    <a:pt x="1715" y="85"/>
                    <a:pt x="1715" y="85"/>
                    <a:pt x="1714" y="85"/>
                  </a:cubicBezTo>
                  <a:cubicBezTo>
                    <a:pt x="1715" y="85"/>
                    <a:pt x="1715" y="85"/>
                    <a:pt x="1715" y="85"/>
                  </a:cubicBezTo>
                  <a:cubicBezTo>
                    <a:pt x="1715" y="85"/>
                    <a:pt x="1715" y="85"/>
                    <a:pt x="1715" y="85"/>
                  </a:cubicBezTo>
                  <a:moveTo>
                    <a:pt x="1730" y="89"/>
                  </a:moveTo>
                  <a:cubicBezTo>
                    <a:pt x="1730" y="89"/>
                    <a:pt x="1730" y="90"/>
                    <a:pt x="1730" y="90"/>
                  </a:cubicBezTo>
                  <a:cubicBezTo>
                    <a:pt x="1743" y="94"/>
                    <a:pt x="1756" y="98"/>
                    <a:pt x="1769" y="103"/>
                  </a:cubicBezTo>
                  <a:cubicBezTo>
                    <a:pt x="1769" y="103"/>
                    <a:pt x="1769" y="102"/>
                    <a:pt x="1769" y="102"/>
                  </a:cubicBezTo>
                  <a:cubicBezTo>
                    <a:pt x="1756" y="97"/>
                    <a:pt x="1743" y="93"/>
                    <a:pt x="1730" y="89"/>
                  </a:cubicBezTo>
                  <a:moveTo>
                    <a:pt x="1770" y="102"/>
                  </a:moveTo>
                  <a:cubicBezTo>
                    <a:pt x="1770" y="103"/>
                    <a:pt x="1770" y="103"/>
                    <a:pt x="1770" y="103"/>
                  </a:cubicBezTo>
                  <a:cubicBezTo>
                    <a:pt x="1788" y="110"/>
                    <a:pt x="1807" y="117"/>
                    <a:pt x="1825" y="125"/>
                  </a:cubicBezTo>
                  <a:cubicBezTo>
                    <a:pt x="1825" y="125"/>
                    <a:pt x="1825" y="124"/>
                    <a:pt x="1825" y="124"/>
                  </a:cubicBezTo>
                  <a:cubicBezTo>
                    <a:pt x="1807" y="116"/>
                    <a:pt x="1788" y="109"/>
                    <a:pt x="1770" y="102"/>
                  </a:cubicBezTo>
                  <a:moveTo>
                    <a:pt x="1826" y="124"/>
                  </a:moveTo>
                  <a:cubicBezTo>
                    <a:pt x="1826" y="125"/>
                    <a:pt x="1826" y="125"/>
                    <a:pt x="1826" y="125"/>
                  </a:cubicBezTo>
                  <a:cubicBezTo>
                    <a:pt x="1833" y="128"/>
                    <a:pt x="1840" y="131"/>
                    <a:pt x="1847" y="134"/>
                  </a:cubicBezTo>
                  <a:cubicBezTo>
                    <a:pt x="1855" y="138"/>
                    <a:pt x="1863" y="142"/>
                    <a:pt x="1871" y="146"/>
                  </a:cubicBezTo>
                  <a:cubicBezTo>
                    <a:pt x="1871" y="146"/>
                    <a:pt x="1872" y="145"/>
                    <a:pt x="1872" y="145"/>
                  </a:cubicBezTo>
                  <a:cubicBezTo>
                    <a:pt x="1857" y="138"/>
                    <a:pt x="1842" y="131"/>
                    <a:pt x="1826" y="124"/>
                  </a:cubicBezTo>
                  <a:moveTo>
                    <a:pt x="1873" y="145"/>
                  </a:moveTo>
                  <a:cubicBezTo>
                    <a:pt x="1873" y="146"/>
                    <a:pt x="1872" y="146"/>
                    <a:pt x="1872" y="146"/>
                  </a:cubicBezTo>
                  <a:cubicBezTo>
                    <a:pt x="1872" y="146"/>
                    <a:pt x="1873" y="147"/>
                    <a:pt x="1873" y="147"/>
                  </a:cubicBezTo>
                  <a:cubicBezTo>
                    <a:pt x="1873" y="146"/>
                    <a:pt x="1873" y="146"/>
                    <a:pt x="1874" y="146"/>
                  </a:cubicBezTo>
                  <a:cubicBezTo>
                    <a:pt x="1873" y="146"/>
                    <a:pt x="1873" y="146"/>
                    <a:pt x="1873" y="145"/>
                  </a:cubicBezTo>
                  <a:moveTo>
                    <a:pt x="1876" y="147"/>
                  </a:moveTo>
                  <a:cubicBezTo>
                    <a:pt x="1875" y="147"/>
                    <a:pt x="1875" y="147"/>
                    <a:pt x="1874" y="147"/>
                  </a:cubicBezTo>
                  <a:cubicBezTo>
                    <a:pt x="1885" y="153"/>
                    <a:pt x="1895" y="158"/>
                    <a:pt x="1906" y="164"/>
                  </a:cubicBezTo>
                  <a:cubicBezTo>
                    <a:pt x="1906" y="163"/>
                    <a:pt x="1907" y="163"/>
                    <a:pt x="1907" y="163"/>
                  </a:cubicBezTo>
                  <a:cubicBezTo>
                    <a:pt x="1897" y="158"/>
                    <a:pt x="1887" y="152"/>
                    <a:pt x="1876" y="147"/>
                  </a:cubicBezTo>
                  <a:moveTo>
                    <a:pt x="1909" y="164"/>
                  </a:moveTo>
                  <a:cubicBezTo>
                    <a:pt x="1908" y="164"/>
                    <a:pt x="1908" y="164"/>
                    <a:pt x="1907" y="164"/>
                  </a:cubicBezTo>
                  <a:cubicBezTo>
                    <a:pt x="1908" y="165"/>
                    <a:pt x="1908" y="165"/>
                    <a:pt x="1909" y="165"/>
                  </a:cubicBezTo>
                  <a:cubicBezTo>
                    <a:pt x="1909" y="165"/>
                    <a:pt x="1909" y="165"/>
                    <a:pt x="1909" y="164"/>
                  </a:cubicBezTo>
                  <a:cubicBezTo>
                    <a:pt x="1909" y="164"/>
                    <a:pt x="1909" y="164"/>
                    <a:pt x="1909" y="164"/>
                  </a:cubicBezTo>
                  <a:moveTo>
                    <a:pt x="1910" y="165"/>
                  </a:moveTo>
                  <a:cubicBezTo>
                    <a:pt x="1910" y="165"/>
                    <a:pt x="1910" y="166"/>
                    <a:pt x="1910" y="166"/>
                  </a:cubicBezTo>
                  <a:cubicBezTo>
                    <a:pt x="1910" y="166"/>
                    <a:pt x="1911" y="166"/>
                    <a:pt x="1911" y="167"/>
                  </a:cubicBezTo>
                  <a:cubicBezTo>
                    <a:pt x="1911" y="166"/>
                    <a:pt x="1911" y="166"/>
                    <a:pt x="1912" y="166"/>
                  </a:cubicBezTo>
                  <a:cubicBezTo>
                    <a:pt x="1911" y="165"/>
                    <a:pt x="1911" y="165"/>
                    <a:pt x="1910" y="165"/>
                  </a:cubicBezTo>
                  <a:moveTo>
                    <a:pt x="1912" y="166"/>
                  </a:moveTo>
                  <a:cubicBezTo>
                    <a:pt x="1912" y="167"/>
                    <a:pt x="1912" y="167"/>
                    <a:pt x="1912" y="167"/>
                  </a:cubicBezTo>
                  <a:cubicBezTo>
                    <a:pt x="1922" y="172"/>
                    <a:pt x="1931" y="178"/>
                    <a:pt x="1939" y="183"/>
                  </a:cubicBezTo>
                  <a:cubicBezTo>
                    <a:pt x="1940" y="183"/>
                    <a:pt x="1940" y="183"/>
                    <a:pt x="1940" y="182"/>
                  </a:cubicBezTo>
                  <a:cubicBezTo>
                    <a:pt x="1931" y="177"/>
                    <a:pt x="1922" y="172"/>
                    <a:pt x="1912" y="166"/>
                  </a:cubicBezTo>
                  <a:moveTo>
                    <a:pt x="1941" y="183"/>
                  </a:moveTo>
                  <a:cubicBezTo>
                    <a:pt x="1941" y="183"/>
                    <a:pt x="1940" y="184"/>
                    <a:pt x="1940" y="184"/>
                  </a:cubicBezTo>
                  <a:cubicBezTo>
                    <a:pt x="1943" y="186"/>
                    <a:pt x="1946" y="187"/>
                    <a:pt x="1949" y="189"/>
                  </a:cubicBezTo>
                  <a:cubicBezTo>
                    <a:pt x="1949" y="189"/>
                    <a:pt x="1949" y="189"/>
                    <a:pt x="1949" y="188"/>
                  </a:cubicBezTo>
                  <a:cubicBezTo>
                    <a:pt x="1946" y="187"/>
                    <a:pt x="1944" y="185"/>
                    <a:pt x="1941" y="183"/>
                  </a:cubicBezTo>
                  <a:moveTo>
                    <a:pt x="1950" y="189"/>
                  </a:moveTo>
                  <a:cubicBezTo>
                    <a:pt x="1950" y="189"/>
                    <a:pt x="1950" y="189"/>
                    <a:pt x="1949" y="190"/>
                  </a:cubicBezTo>
                  <a:cubicBezTo>
                    <a:pt x="1954" y="193"/>
                    <a:pt x="1959" y="196"/>
                    <a:pt x="1964" y="200"/>
                  </a:cubicBezTo>
                  <a:cubicBezTo>
                    <a:pt x="1964" y="199"/>
                    <a:pt x="1964" y="199"/>
                    <a:pt x="1964" y="199"/>
                  </a:cubicBezTo>
                  <a:cubicBezTo>
                    <a:pt x="1960" y="195"/>
                    <a:pt x="1955" y="192"/>
                    <a:pt x="1950" y="189"/>
                  </a:cubicBezTo>
                  <a:moveTo>
                    <a:pt x="1966" y="200"/>
                  </a:moveTo>
                  <a:cubicBezTo>
                    <a:pt x="1965" y="200"/>
                    <a:pt x="1965" y="200"/>
                    <a:pt x="1965" y="200"/>
                  </a:cubicBezTo>
                  <a:cubicBezTo>
                    <a:pt x="1968" y="202"/>
                    <a:pt x="1970" y="204"/>
                    <a:pt x="1973" y="206"/>
                  </a:cubicBezTo>
                  <a:cubicBezTo>
                    <a:pt x="1973" y="206"/>
                    <a:pt x="1973" y="206"/>
                    <a:pt x="1973" y="206"/>
                  </a:cubicBezTo>
                  <a:cubicBezTo>
                    <a:pt x="1971" y="204"/>
                    <a:pt x="1968" y="202"/>
                    <a:pt x="1966" y="200"/>
                  </a:cubicBezTo>
                  <a:moveTo>
                    <a:pt x="1974" y="206"/>
                  </a:moveTo>
                  <a:cubicBezTo>
                    <a:pt x="1974" y="206"/>
                    <a:pt x="1974" y="207"/>
                    <a:pt x="1974" y="207"/>
                  </a:cubicBezTo>
                  <a:cubicBezTo>
                    <a:pt x="1977" y="210"/>
                    <a:pt x="1980" y="212"/>
                    <a:pt x="1984" y="215"/>
                  </a:cubicBezTo>
                  <a:cubicBezTo>
                    <a:pt x="1984" y="215"/>
                    <a:pt x="1984" y="215"/>
                    <a:pt x="1984" y="215"/>
                  </a:cubicBezTo>
                  <a:cubicBezTo>
                    <a:pt x="1981" y="212"/>
                    <a:pt x="1978" y="209"/>
                    <a:pt x="1974" y="206"/>
                  </a:cubicBezTo>
                  <a:moveTo>
                    <a:pt x="1985" y="215"/>
                  </a:moveTo>
                  <a:cubicBezTo>
                    <a:pt x="1985" y="215"/>
                    <a:pt x="1985" y="216"/>
                    <a:pt x="1985" y="216"/>
                  </a:cubicBezTo>
                  <a:cubicBezTo>
                    <a:pt x="1989" y="220"/>
                    <a:pt x="1993" y="223"/>
                    <a:pt x="1997" y="227"/>
                  </a:cubicBezTo>
                  <a:cubicBezTo>
                    <a:pt x="1997" y="227"/>
                    <a:pt x="1997" y="227"/>
                    <a:pt x="1998" y="227"/>
                  </a:cubicBezTo>
                  <a:cubicBezTo>
                    <a:pt x="1994" y="223"/>
                    <a:pt x="1990" y="219"/>
                    <a:pt x="1985" y="215"/>
                  </a:cubicBezTo>
                  <a:moveTo>
                    <a:pt x="1998" y="227"/>
                  </a:moveTo>
                  <a:cubicBezTo>
                    <a:pt x="1998" y="227"/>
                    <a:pt x="1998" y="228"/>
                    <a:pt x="1998" y="228"/>
                  </a:cubicBezTo>
                  <a:cubicBezTo>
                    <a:pt x="1998" y="228"/>
                    <a:pt x="1998" y="229"/>
                    <a:pt x="1999" y="229"/>
                  </a:cubicBezTo>
                  <a:cubicBezTo>
                    <a:pt x="1999" y="229"/>
                    <a:pt x="1999" y="229"/>
                    <a:pt x="2000" y="229"/>
                  </a:cubicBezTo>
                  <a:cubicBezTo>
                    <a:pt x="1999" y="228"/>
                    <a:pt x="1999" y="228"/>
                    <a:pt x="1998" y="227"/>
                  </a:cubicBezTo>
                  <a:moveTo>
                    <a:pt x="2000" y="229"/>
                  </a:moveTo>
                  <a:cubicBezTo>
                    <a:pt x="2000" y="229"/>
                    <a:pt x="2000" y="230"/>
                    <a:pt x="2000" y="230"/>
                  </a:cubicBezTo>
                  <a:cubicBezTo>
                    <a:pt x="2002" y="232"/>
                    <a:pt x="2004" y="235"/>
                    <a:pt x="2006" y="237"/>
                  </a:cubicBezTo>
                  <a:cubicBezTo>
                    <a:pt x="2007" y="237"/>
                    <a:pt x="2007" y="237"/>
                    <a:pt x="2007" y="237"/>
                  </a:cubicBezTo>
                  <a:cubicBezTo>
                    <a:pt x="2005" y="234"/>
                    <a:pt x="2003" y="232"/>
                    <a:pt x="2000" y="229"/>
                  </a:cubicBezTo>
                  <a:moveTo>
                    <a:pt x="2008" y="237"/>
                  </a:moveTo>
                  <a:cubicBezTo>
                    <a:pt x="2007" y="238"/>
                    <a:pt x="2007" y="238"/>
                    <a:pt x="2007" y="238"/>
                  </a:cubicBezTo>
                  <a:cubicBezTo>
                    <a:pt x="2009" y="240"/>
                    <a:pt x="2011" y="242"/>
                    <a:pt x="2012" y="244"/>
                  </a:cubicBezTo>
                  <a:cubicBezTo>
                    <a:pt x="2012" y="244"/>
                    <a:pt x="2013" y="244"/>
                    <a:pt x="2013" y="244"/>
                  </a:cubicBezTo>
                  <a:cubicBezTo>
                    <a:pt x="2011" y="242"/>
                    <a:pt x="2010" y="240"/>
                    <a:pt x="2008" y="237"/>
                  </a:cubicBezTo>
                  <a:moveTo>
                    <a:pt x="2014" y="245"/>
                  </a:moveTo>
                  <a:cubicBezTo>
                    <a:pt x="2013" y="245"/>
                    <a:pt x="2013" y="245"/>
                    <a:pt x="2013" y="245"/>
                  </a:cubicBezTo>
                  <a:cubicBezTo>
                    <a:pt x="2013" y="246"/>
                    <a:pt x="2014" y="247"/>
                    <a:pt x="2015" y="248"/>
                  </a:cubicBezTo>
                  <a:cubicBezTo>
                    <a:pt x="2015" y="248"/>
                    <a:pt x="2015" y="247"/>
                    <a:pt x="2015" y="247"/>
                  </a:cubicBezTo>
                  <a:cubicBezTo>
                    <a:pt x="2015" y="246"/>
                    <a:pt x="2014" y="246"/>
                    <a:pt x="2014" y="245"/>
                  </a:cubicBezTo>
                  <a:moveTo>
                    <a:pt x="2016" y="248"/>
                  </a:moveTo>
                  <a:cubicBezTo>
                    <a:pt x="2016" y="248"/>
                    <a:pt x="2015" y="248"/>
                    <a:pt x="2015" y="249"/>
                  </a:cubicBezTo>
                  <a:cubicBezTo>
                    <a:pt x="2017" y="252"/>
                    <a:pt x="2019" y="255"/>
                    <a:pt x="2021" y="258"/>
                  </a:cubicBezTo>
                  <a:cubicBezTo>
                    <a:pt x="2021" y="258"/>
                    <a:pt x="2021" y="258"/>
                    <a:pt x="2021" y="257"/>
                  </a:cubicBezTo>
                  <a:cubicBezTo>
                    <a:pt x="2020" y="254"/>
                    <a:pt x="2018" y="251"/>
                    <a:pt x="2016" y="248"/>
                  </a:cubicBezTo>
                  <a:moveTo>
                    <a:pt x="2022" y="258"/>
                  </a:moveTo>
                  <a:cubicBezTo>
                    <a:pt x="2022" y="258"/>
                    <a:pt x="2021" y="259"/>
                    <a:pt x="2021" y="259"/>
                  </a:cubicBezTo>
                  <a:cubicBezTo>
                    <a:pt x="2022" y="260"/>
                    <a:pt x="2022" y="262"/>
                    <a:pt x="2023" y="264"/>
                  </a:cubicBezTo>
                  <a:cubicBezTo>
                    <a:pt x="2023" y="263"/>
                    <a:pt x="2024" y="263"/>
                    <a:pt x="2024" y="263"/>
                  </a:cubicBezTo>
                  <a:cubicBezTo>
                    <a:pt x="2023" y="261"/>
                    <a:pt x="2023" y="260"/>
                    <a:pt x="2022" y="258"/>
                  </a:cubicBezTo>
                  <a:moveTo>
                    <a:pt x="2024" y="264"/>
                  </a:moveTo>
                  <a:cubicBezTo>
                    <a:pt x="2024" y="264"/>
                    <a:pt x="2024" y="264"/>
                    <a:pt x="2023" y="265"/>
                  </a:cubicBezTo>
                  <a:cubicBezTo>
                    <a:pt x="2024" y="265"/>
                    <a:pt x="2024" y="265"/>
                    <a:pt x="2024" y="265"/>
                  </a:cubicBezTo>
                  <a:cubicBezTo>
                    <a:pt x="2024" y="265"/>
                    <a:pt x="2024" y="264"/>
                    <a:pt x="2024" y="264"/>
                  </a:cubicBezTo>
                  <a:cubicBezTo>
                    <a:pt x="2024" y="264"/>
                    <a:pt x="2024" y="264"/>
                    <a:pt x="2024" y="264"/>
                  </a:cubicBezTo>
                  <a:moveTo>
                    <a:pt x="2025" y="265"/>
                  </a:moveTo>
                  <a:cubicBezTo>
                    <a:pt x="2024" y="265"/>
                    <a:pt x="2024" y="266"/>
                    <a:pt x="2024" y="266"/>
                  </a:cubicBezTo>
                  <a:cubicBezTo>
                    <a:pt x="2025" y="268"/>
                    <a:pt x="2025" y="270"/>
                    <a:pt x="2026" y="272"/>
                  </a:cubicBezTo>
                  <a:cubicBezTo>
                    <a:pt x="2026" y="272"/>
                    <a:pt x="2026" y="271"/>
                    <a:pt x="2026" y="271"/>
                  </a:cubicBezTo>
                  <a:cubicBezTo>
                    <a:pt x="2026" y="269"/>
                    <a:pt x="2025" y="267"/>
                    <a:pt x="2025" y="265"/>
                  </a:cubicBezTo>
                  <a:moveTo>
                    <a:pt x="2027" y="273"/>
                  </a:moveTo>
                  <a:cubicBezTo>
                    <a:pt x="2026" y="273"/>
                    <a:pt x="2026" y="273"/>
                    <a:pt x="2026" y="274"/>
                  </a:cubicBezTo>
                  <a:cubicBezTo>
                    <a:pt x="2026" y="276"/>
                    <a:pt x="2026" y="278"/>
                    <a:pt x="2026" y="280"/>
                  </a:cubicBezTo>
                  <a:cubicBezTo>
                    <a:pt x="2027" y="279"/>
                    <a:pt x="2027" y="279"/>
                    <a:pt x="2027" y="279"/>
                  </a:cubicBezTo>
                  <a:cubicBezTo>
                    <a:pt x="2027" y="277"/>
                    <a:pt x="2027" y="275"/>
                    <a:pt x="2027" y="273"/>
                  </a:cubicBezTo>
                  <a:moveTo>
                    <a:pt x="2027" y="280"/>
                  </a:moveTo>
                  <a:cubicBezTo>
                    <a:pt x="2027" y="281"/>
                    <a:pt x="2027" y="281"/>
                    <a:pt x="2026" y="281"/>
                  </a:cubicBezTo>
                  <a:cubicBezTo>
                    <a:pt x="2026" y="282"/>
                    <a:pt x="2026" y="282"/>
                    <a:pt x="2026" y="283"/>
                  </a:cubicBezTo>
                  <a:cubicBezTo>
                    <a:pt x="2027" y="283"/>
                    <a:pt x="2027" y="283"/>
                    <a:pt x="2027" y="283"/>
                  </a:cubicBezTo>
                  <a:cubicBezTo>
                    <a:pt x="2027" y="282"/>
                    <a:pt x="2027" y="281"/>
                    <a:pt x="2027" y="280"/>
                  </a:cubicBezTo>
                  <a:moveTo>
                    <a:pt x="2026" y="284"/>
                  </a:moveTo>
                  <a:cubicBezTo>
                    <a:pt x="2026" y="284"/>
                    <a:pt x="2026" y="285"/>
                    <a:pt x="2026" y="285"/>
                  </a:cubicBezTo>
                  <a:cubicBezTo>
                    <a:pt x="2026" y="285"/>
                    <a:pt x="2027" y="284"/>
                    <a:pt x="2027" y="284"/>
                  </a:cubicBezTo>
                  <a:cubicBezTo>
                    <a:pt x="2027" y="284"/>
                    <a:pt x="2026" y="284"/>
                    <a:pt x="2026" y="284"/>
                  </a:cubicBezTo>
                  <a:moveTo>
                    <a:pt x="2027" y="287"/>
                  </a:moveTo>
                  <a:cubicBezTo>
                    <a:pt x="2026" y="287"/>
                    <a:pt x="2026" y="287"/>
                    <a:pt x="2026" y="288"/>
                  </a:cubicBezTo>
                  <a:cubicBezTo>
                    <a:pt x="2026" y="288"/>
                    <a:pt x="2026" y="288"/>
                    <a:pt x="2026" y="288"/>
                  </a:cubicBezTo>
                  <a:cubicBezTo>
                    <a:pt x="2025" y="289"/>
                    <a:pt x="2025" y="291"/>
                    <a:pt x="2024" y="292"/>
                  </a:cubicBezTo>
                  <a:cubicBezTo>
                    <a:pt x="2025" y="291"/>
                    <a:pt x="2025" y="291"/>
                    <a:pt x="2026" y="291"/>
                  </a:cubicBezTo>
                  <a:cubicBezTo>
                    <a:pt x="2026" y="289"/>
                    <a:pt x="2026" y="288"/>
                    <a:pt x="2027" y="287"/>
                  </a:cubicBezTo>
                  <a:moveTo>
                    <a:pt x="2025" y="293"/>
                  </a:moveTo>
                  <a:cubicBezTo>
                    <a:pt x="2024" y="293"/>
                    <a:pt x="2024" y="294"/>
                    <a:pt x="2024" y="294"/>
                  </a:cubicBezTo>
                  <a:cubicBezTo>
                    <a:pt x="2024" y="294"/>
                    <a:pt x="2023" y="294"/>
                    <a:pt x="2023" y="294"/>
                  </a:cubicBezTo>
                  <a:cubicBezTo>
                    <a:pt x="2023" y="295"/>
                    <a:pt x="2023" y="295"/>
                    <a:pt x="2022" y="296"/>
                  </a:cubicBezTo>
                  <a:cubicBezTo>
                    <a:pt x="2023" y="296"/>
                    <a:pt x="2024" y="295"/>
                    <a:pt x="2024" y="295"/>
                  </a:cubicBezTo>
                  <a:cubicBezTo>
                    <a:pt x="2024" y="294"/>
                    <a:pt x="2025" y="294"/>
                    <a:pt x="2025" y="293"/>
                  </a:cubicBezTo>
                  <a:moveTo>
                    <a:pt x="2022" y="298"/>
                  </a:moveTo>
                  <a:cubicBezTo>
                    <a:pt x="2022" y="298"/>
                    <a:pt x="2021" y="298"/>
                    <a:pt x="2021" y="298"/>
                  </a:cubicBezTo>
                  <a:cubicBezTo>
                    <a:pt x="2021" y="298"/>
                    <a:pt x="2021" y="298"/>
                    <a:pt x="2021" y="298"/>
                  </a:cubicBezTo>
                  <a:cubicBezTo>
                    <a:pt x="2021" y="298"/>
                    <a:pt x="2022" y="298"/>
                    <a:pt x="2022" y="298"/>
                  </a:cubicBezTo>
                  <a:moveTo>
                    <a:pt x="2021" y="300"/>
                  </a:moveTo>
                  <a:cubicBezTo>
                    <a:pt x="2021" y="300"/>
                    <a:pt x="2021" y="301"/>
                    <a:pt x="2020" y="301"/>
                  </a:cubicBezTo>
                  <a:cubicBezTo>
                    <a:pt x="2020" y="301"/>
                    <a:pt x="2019" y="302"/>
                    <a:pt x="2019" y="302"/>
                  </a:cubicBezTo>
                  <a:cubicBezTo>
                    <a:pt x="2018" y="303"/>
                    <a:pt x="2017" y="305"/>
                    <a:pt x="2016" y="306"/>
                  </a:cubicBezTo>
                  <a:cubicBezTo>
                    <a:pt x="2016" y="306"/>
                    <a:pt x="2015" y="307"/>
                    <a:pt x="2015" y="307"/>
                  </a:cubicBezTo>
                  <a:cubicBezTo>
                    <a:pt x="2014" y="308"/>
                    <a:pt x="2013" y="308"/>
                    <a:pt x="2013" y="309"/>
                  </a:cubicBezTo>
                  <a:cubicBezTo>
                    <a:pt x="2014" y="308"/>
                    <a:pt x="2015" y="307"/>
                    <a:pt x="2016" y="307"/>
                  </a:cubicBezTo>
                  <a:cubicBezTo>
                    <a:pt x="2017" y="306"/>
                    <a:pt x="2017" y="306"/>
                    <a:pt x="2018" y="305"/>
                  </a:cubicBezTo>
                  <a:cubicBezTo>
                    <a:pt x="2019" y="303"/>
                    <a:pt x="2020" y="302"/>
                    <a:pt x="2021" y="300"/>
                  </a:cubicBezTo>
                  <a:moveTo>
                    <a:pt x="1137" y="308"/>
                  </a:moveTo>
                  <a:cubicBezTo>
                    <a:pt x="1137" y="308"/>
                    <a:pt x="1137" y="308"/>
                    <a:pt x="1137" y="308"/>
                  </a:cubicBezTo>
                  <a:cubicBezTo>
                    <a:pt x="1154" y="317"/>
                    <a:pt x="1169" y="326"/>
                    <a:pt x="1184" y="334"/>
                  </a:cubicBezTo>
                  <a:cubicBezTo>
                    <a:pt x="1200" y="344"/>
                    <a:pt x="1215" y="353"/>
                    <a:pt x="1229" y="362"/>
                  </a:cubicBezTo>
                  <a:cubicBezTo>
                    <a:pt x="1229" y="362"/>
                    <a:pt x="1229" y="362"/>
                    <a:pt x="1230" y="362"/>
                  </a:cubicBezTo>
                  <a:cubicBezTo>
                    <a:pt x="1214" y="351"/>
                    <a:pt x="1198" y="341"/>
                    <a:pt x="1180" y="331"/>
                  </a:cubicBezTo>
                  <a:cubicBezTo>
                    <a:pt x="1166" y="323"/>
                    <a:pt x="1152" y="316"/>
                    <a:pt x="1137" y="308"/>
                  </a:cubicBezTo>
                  <a:moveTo>
                    <a:pt x="2010" y="312"/>
                  </a:moveTo>
                  <a:cubicBezTo>
                    <a:pt x="2007" y="315"/>
                    <a:pt x="2004" y="317"/>
                    <a:pt x="2001" y="319"/>
                  </a:cubicBezTo>
                  <a:cubicBezTo>
                    <a:pt x="2001" y="319"/>
                    <a:pt x="2001" y="319"/>
                    <a:pt x="2001" y="319"/>
                  </a:cubicBezTo>
                  <a:cubicBezTo>
                    <a:pt x="2002" y="319"/>
                    <a:pt x="2003" y="318"/>
                    <a:pt x="2004" y="318"/>
                  </a:cubicBezTo>
                  <a:cubicBezTo>
                    <a:pt x="2004" y="318"/>
                    <a:pt x="2004" y="317"/>
                    <a:pt x="2004" y="317"/>
                  </a:cubicBezTo>
                  <a:cubicBezTo>
                    <a:pt x="2005" y="317"/>
                    <a:pt x="2005" y="317"/>
                    <a:pt x="2005" y="317"/>
                  </a:cubicBezTo>
                  <a:cubicBezTo>
                    <a:pt x="2006" y="315"/>
                    <a:pt x="2008" y="314"/>
                    <a:pt x="2010" y="312"/>
                  </a:cubicBezTo>
                  <a:moveTo>
                    <a:pt x="1611" y="316"/>
                  </a:moveTo>
                  <a:cubicBezTo>
                    <a:pt x="1611" y="316"/>
                    <a:pt x="1611" y="317"/>
                    <a:pt x="1611" y="317"/>
                  </a:cubicBezTo>
                  <a:cubicBezTo>
                    <a:pt x="1611" y="317"/>
                    <a:pt x="1612" y="317"/>
                    <a:pt x="1612" y="317"/>
                  </a:cubicBezTo>
                  <a:cubicBezTo>
                    <a:pt x="1612" y="316"/>
                    <a:pt x="1612" y="316"/>
                    <a:pt x="1612" y="316"/>
                  </a:cubicBezTo>
                  <a:cubicBezTo>
                    <a:pt x="1611" y="316"/>
                    <a:pt x="1611" y="316"/>
                    <a:pt x="1611" y="316"/>
                  </a:cubicBezTo>
                  <a:moveTo>
                    <a:pt x="1612" y="318"/>
                  </a:moveTo>
                  <a:cubicBezTo>
                    <a:pt x="1612" y="318"/>
                    <a:pt x="1612" y="318"/>
                    <a:pt x="1611" y="318"/>
                  </a:cubicBezTo>
                  <a:cubicBezTo>
                    <a:pt x="1612" y="319"/>
                    <a:pt x="1613" y="321"/>
                    <a:pt x="1613" y="322"/>
                  </a:cubicBezTo>
                  <a:cubicBezTo>
                    <a:pt x="1613" y="322"/>
                    <a:pt x="1614" y="322"/>
                    <a:pt x="1614" y="322"/>
                  </a:cubicBezTo>
                  <a:cubicBezTo>
                    <a:pt x="1614" y="320"/>
                    <a:pt x="1613" y="319"/>
                    <a:pt x="1612" y="318"/>
                  </a:cubicBezTo>
                  <a:moveTo>
                    <a:pt x="2000" y="320"/>
                  </a:moveTo>
                  <a:cubicBezTo>
                    <a:pt x="1999" y="320"/>
                    <a:pt x="1999" y="321"/>
                    <a:pt x="1998" y="321"/>
                  </a:cubicBezTo>
                  <a:cubicBezTo>
                    <a:pt x="1998" y="321"/>
                    <a:pt x="1998" y="321"/>
                    <a:pt x="1998" y="321"/>
                  </a:cubicBezTo>
                  <a:cubicBezTo>
                    <a:pt x="1999" y="321"/>
                    <a:pt x="2000" y="320"/>
                    <a:pt x="2000" y="320"/>
                  </a:cubicBezTo>
                  <a:cubicBezTo>
                    <a:pt x="2000" y="320"/>
                    <a:pt x="2000" y="320"/>
                    <a:pt x="2000" y="320"/>
                  </a:cubicBezTo>
                  <a:moveTo>
                    <a:pt x="1998" y="322"/>
                  </a:moveTo>
                  <a:cubicBezTo>
                    <a:pt x="1997" y="322"/>
                    <a:pt x="1997" y="322"/>
                    <a:pt x="1997" y="322"/>
                  </a:cubicBezTo>
                  <a:cubicBezTo>
                    <a:pt x="1997" y="322"/>
                    <a:pt x="1997" y="322"/>
                    <a:pt x="1998" y="322"/>
                  </a:cubicBezTo>
                  <a:cubicBezTo>
                    <a:pt x="1998" y="322"/>
                    <a:pt x="1998" y="322"/>
                    <a:pt x="1998" y="322"/>
                  </a:cubicBezTo>
                  <a:moveTo>
                    <a:pt x="1615" y="323"/>
                  </a:moveTo>
                  <a:cubicBezTo>
                    <a:pt x="1614" y="323"/>
                    <a:pt x="1614" y="323"/>
                    <a:pt x="1613" y="323"/>
                  </a:cubicBezTo>
                  <a:cubicBezTo>
                    <a:pt x="1614" y="324"/>
                    <a:pt x="1614" y="325"/>
                    <a:pt x="1615" y="326"/>
                  </a:cubicBezTo>
                  <a:cubicBezTo>
                    <a:pt x="1615" y="326"/>
                    <a:pt x="1615" y="326"/>
                    <a:pt x="1616" y="326"/>
                  </a:cubicBezTo>
                  <a:cubicBezTo>
                    <a:pt x="1615" y="325"/>
                    <a:pt x="1615" y="324"/>
                    <a:pt x="1615" y="323"/>
                  </a:cubicBezTo>
                  <a:moveTo>
                    <a:pt x="1992" y="323"/>
                  </a:moveTo>
                  <a:cubicBezTo>
                    <a:pt x="1992" y="323"/>
                    <a:pt x="1992" y="324"/>
                    <a:pt x="1992" y="324"/>
                  </a:cubicBezTo>
                  <a:cubicBezTo>
                    <a:pt x="1989" y="325"/>
                    <a:pt x="1987" y="326"/>
                    <a:pt x="1985" y="327"/>
                  </a:cubicBezTo>
                  <a:cubicBezTo>
                    <a:pt x="1984" y="328"/>
                    <a:pt x="1983" y="329"/>
                    <a:pt x="1981" y="330"/>
                  </a:cubicBezTo>
                  <a:cubicBezTo>
                    <a:pt x="1984" y="329"/>
                    <a:pt x="1986" y="328"/>
                    <a:pt x="1988" y="327"/>
                  </a:cubicBezTo>
                  <a:cubicBezTo>
                    <a:pt x="1989" y="326"/>
                    <a:pt x="1991" y="324"/>
                    <a:pt x="1992" y="323"/>
                  </a:cubicBezTo>
                  <a:moveTo>
                    <a:pt x="1616" y="327"/>
                  </a:moveTo>
                  <a:cubicBezTo>
                    <a:pt x="1616" y="327"/>
                    <a:pt x="1615" y="327"/>
                    <a:pt x="1615" y="327"/>
                  </a:cubicBezTo>
                  <a:cubicBezTo>
                    <a:pt x="1615" y="327"/>
                    <a:pt x="1615" y="328"/>
                    <a:pt x="1615" y="328"/>
                  </a:cubicBezTo>
                  <a:cubicBezTo>
                    <a:pt x="1616" y="328"/>
                    <a:pt x="1616" y="328"/>
                    <a:pt x="1616" y="328"/>
                  </a:cubicBezTo>
                  <a:cubicBezTo>
                    <a:pt x="1616" y="327"/>
                    <a:pt x="1616" y="327"/>
                    <a:pt x="1616" y="327"/>
                  </a:cubicBezTo>
                  <a:moveTo>
                    <a:pt x="1616" y="329"/>
                  </a:moveTo>
                  <a:cubicBezTo>
                    <a:pt x="1616" y="329"/>
                    <a:pt x="1616" y="329"/>
                    <a:pt x="1616" y="329"/>
                  </a:cubicBezTo>
                  <a:cubicBezTo>
                    <a:pt x="1616" y="329"/>
                    <a:pt x="1616" y="329"/>
                    <a:pt x="1616" y="329"/>
                  </a:cubicBezTo>
                  <a:cubicBezTo>
                    <a:pt x="1616" y="329"/>
                    <a:pt x="1616" y="329"/>
                    <a:pt x="1616" y="329"/>
                  </a:cubicBezTo>
                  <a:moveTo>
                    <a:pt x="1981" y="329"/>
                  </a:moveTo>
                  <a:cubicBezTo>
                    <a:pt x="1980" y="330"/>
                    <a:pt x="1979" y="330"/>
                    <a:pt x="1978" y="331"/>
                  </a:cubicBezTo>
                  <a:cubicBezTo>
                    <a:pt x="1977" y="331"/>
                    <a:pt x="1976" y="332"/>
                    <a:pt x="1975" y="333"/>
                  </a:cubicBezTo>
                  <a:cubicBezTo>
                    <a:pt x="1976" y="333"/>
                    <a:pt x="1976" y="333"/>
                    <a:pt x="1976" y="333"/>
                  </a:cubicBezTo>
                  <a:cubicBezTo>
                    <a:pt x="1976" y="333"/>
                    <a:pt x="1977" y="333"/>
                    <a:pt x="1977" y="332"/>
                  </a:cubicBezTo>
                  <a:cubicBezTo>
                    <a:pt x="1978" y="331"/>
                    <a:pt x="1980" y="330"/>
                    <a:pt x="1981" y="329"/>
                  </a:cubicBezTo>
                  <a:moveTo>
                    <a:pt x="1617" y="330"/>
                  </a:moveTo>
                  <a:cubicBezTo>
                    <a:pt x="1617" y="330"/>
                    <a:pt x="1616" y="330"/>
                    <a:pt x="1616" y="330"/>
                  </a:cubicBezTo>
                  <a:cubicBezTo>
                    <a:pt x="1616" y="331"/>
                    <a:pt x="1617" y="331"/>
                    <a:pt x="1617" y="332"/>
                  </a:cubicBezTo>
                  <a:cubicBezTo>
                    <a:pt x="1617" y="332"/>
                    <a:pt x="1617" y="332"/>
                    <a:pt x="1618" y="332"/>
                  </a:cubicBezTo>
                  <a:cubicBezTo>
                    <a:pt x="1618" y="331"/>
                    <a:pt x="1617" y="330"/>
                    <a:pt x="1617" y="330"/>
                  </a:cubicBezTo>
                  <a:moveTo>
                    <a:pt x="1618" y="333"/>
                  </a:moveTo>
                  <a:cubicBezTo>
                    <a:pt x="1618" y="333"/>
                    <a:pt x="1617" y="333"/>
                    <a:pt x="1617" y="333"/>
                  </a:cubicBezTo>
                  <a:cubicBezTo>
                    <a:pt x="1617" y="334"/>
                    <a:pt x="1617" y="334"/>
                    <a:pt x="1618" y="334"/>
                  </a:cubicBezTo>
                  <a:cubicBezTo>
                    <a:pt x="1618" y="334"/>
                    <a:pt x="1618" y="334"/>
                    <a:pt x="1619" y="334"/>
                  </a:cubicBezTo>
                  <a:cubicBezTo>
                    <a:pt x="1618" y="334"/>
                    <a:pt x="1618" y="333"/>
                    <a:pt x="1618" y="333"/>
                  </a:cubicBezTo>
                  <a:moveTo>
                    <a:pt x="1975" y="333"/>
                  </a:moveTo>
                  <a:cubicBezTo>
                    <a:pt x="1974" y="334"/>
                    <a:pt x="1973" y="335"/>
                    <a:pt x="1972" y="335"/>
                  </a:cubicBezTo>
                  <a:cubicBezTo>
                    <a:pt x="1973" y="335"/>
                    <a:pt x="1974" y="334"/>
                    <a:pt x="1975" y="334"/>
                  </a:cubicBezTo>
                  <a:cubicBezTo>
                    <a:pt x="1975" y="334"/>
                    <a:pt x="1975" y="333"/>
                    <a:pt x="1975" y="333"/>
                  </a:cubicBezTo>
                  <a:moveTo>
                    <a:pt x="1619" y="335"/>
                  </a:moveTo>
                  <a:cubicBezTo>
                    <a:pt x="1619" y="335"/>
                    <a:pt x="1618" y="335"/>
                    <a:pt x="1618" y="336"/>
                  </a:cubicBezTo>
                  <a:cubicBezTo>
                    <a:pt x="1618" y="336"/>
                    <a:pt x="1618" y="336"/>
                    <a:pt x="1618" y="336"/>
                  </a:cubicBezTo>
                  <a:cubicBezTo>
                    <a:pt x="1618" y="336"/>
                    <a:pt x="1619" y="336"/>
                    <a:pt x="1619" y="336"/>
                  </a:cubicBezTo>
                  <a:cubicBezTo>
                    <a:pt x="1619" y="336"/>
                    <a:pt x="1619" y="335"/>
                    <a:pt x="1619" y="335"/>
                  </a:cubicBezTo>
                  <a:moveTo>
                    <a:pt x="1619" y="337"/>
                  </a:moveTo>
                  <a:cubicBezTo>
                    <a:pt x="1619" y="337"/>
                    <a:pt x="1619" y="337"/>
                    <a:pt x="1618" y="337"/>
                  </a:cubicBezTo>
                  <a:cubicBezTo>
                    <a:pt x="1620" y="343"/>
                    <a:pt x="1622" y="349"/>
                    <a:pt x="1622" y="355"/>
                  </a:cubicBezTo>
                  <a:cubicBezTo>
                    <a:pt x="1623" y="355"/>
                    <a:pt x="1623" y="355"/>
                    <a:pt x="1623" y="355"/>
                  </a:cubicBezTo>
                  <a:cubicBezTo>
                    <a:pt x="1623" y="349"/>
                    <a:pt x="1621" y="343"/>
                    <a:pt x="1619" y="337"/>
                  </a:cubicBezTo>
                  <a:moveTo>
                    <a:pt x="1965" y="338"/>
                  </a:moveTo>
                  <a:cubicBezTo>
                    <a:pt x="1960" y="341"/>
                    <a:pt x="1954" y="343"/>
                    <a:pt x="1949" y="346"/>
                  </a:cubicBezTo>
                  <a:cubicBezTo>
                    <a:pt x="1950" y="346"/>
                    <a:pt x="1950" y="347"/>
                    <a:pt x="1950" y="347"/>
                  </a:cubicBezTo>
                  <a:cubicBezTo>
                    <a:pt x="1953" y="345"/>
                    <a:pt x="1956" y="344"/>
                    <a:pt x="1959" y="342"/>
                  </a:cubicBezTo>
                  <a:cubicBezTo>
                    <a:pt x="1961" y="341"/>
                    <a:pt x="1963" y="339"/>
                    <a:pt x="1965" y="338"/>
                  </a:cubicBezTo>
                  <a:moveTo>
                    <a:pt x="1949" y="347"/>
                  </a:moveTo>
                  <a:cubicBezTo>
                    <a:pt x="1947" y="347"/>
                    <a:pt x="1945" y="348"/>
                    <a:pt x="1944" y="349"/>
                  </a:cubicBezTo>
                  <a:cubicBezTo>
                    <a:pt x="1944" y="349"/>
                    <a:pt x="1944" y="349"/>
                    <a:pt x="1943" y="350"/>
                  </a:cubicBezTo>
                  <a:cubicBezTo>
                    <a:pt x="1944" y="350"/>
                    <a:pt x="1944" y="350"/>
                    <a:pt x="1944" y="350"/>
                  </a:cubicBezTo>
                  <a:cubicBezTo>
                    <a:pt x="1946" y="349"/>
                    <a:pt x="1948" y="348"/>
                    <a:pt x="1949" y="347"/>
                  </a:cubicBezTo>
                  <a:cubicBezTo>
                    <a:pt x="1949" y="347"/>
                    <a:pt x="1949" y="347"/>
                    <a:pt x="1949" y="347"/>
                  </a:cubicBezTo>
                  <a:moveTo>
                    <a:pt x="1943" y="350"/>
                  </a:moveTo>
                  <a:cubicBezTo>
                    <a:pt x="1943" y="351"/>
                    <a:pt x="1942" y="351"/>
                    <a:pt x="1942" y="351"/>
                  </a:cubicBezTo>
                  <a:cubicBezTo>
                    <a:pt x="1942" y="351"/>
                    <a:pt x="1943" y="351"/>
                    <a:pt x="1943" y="351"/>
                  </a:cubicBezTo>
                  <a:cubicBezTo>
                    <a:pt x="1943" y="351"/>
                    <a:pt x="1943" y="350"/>
                    <a:pt x="1943" y="350"/>
                  </a:cubicBezTo>
                  <a:moveTo>
                    <a:pt x="1941" y="351"/>
                  </a:moveTo>
                  <a:cubicBezTo>
                    <a:pt x="1936" y="354"/>
                    <a:pt x="1930" y="357"/>
                    <a:pt x="1925" y="360"/>
                  </a:cubicBezTo>
                  <a:cubicBezTo>
                    <a:pt x="1924" y="360"/>
                    <a:pt x="1924" y="361"/>
                    <a:pt x="1924" y="361"/>
                  </a:cubicBezTo>
                  <a:cubicBezTo>
                    <a:pt x="1929" y="358"/>
                    <a:pt x="1934" y="355"/>
                    <a:pt x="1940" y="353"/>
                  </a:cubicBezTo>
                  <a:cubicBezTo>
                    <a:pt x="1940" y="352"/>
                    <a:pt x="1941" y="351"/>
                    <a:pt x="1941" y="351"/>
                  </a:cubicBezTo>
                  <a:moveTo>
                    <a:pt x="1623" y="356"/>
                  </a:moveTo>
                  <a:cubicBezTo>
                    <a:pt x="1623" y="356"/>
                    <a:pt x="1623" y="356"/>
                    <a:pt x="1622" y="356"/>
                  </a:cubicBezTo>
                  <a:cubicBezTo>
                    <a:pt x="1623" y="357"/>
                    <a:pt x="1623" y="358"/>
                    <a:pt x="1623" y="359"/>
                  </a:cubicBezTo>
                  <a:cubicBezTo>
                    <a:pt x="1623" y="358"/>
                    <a:pt x="1623" y="358"/>
                    <a:pt x="1624" y="358"/>
                  </a:cubicBezTo>
                  <a:cubicBezTo>
                    <a:pt x="1624" y="357"/>
                    <a:pt x="1623" y="357"/>
                    <a:pt x="1623" y="356"/>
                  </a:cubicBezTo>
                  <a:moveTo>
                    <a:pt x="1624" y="359"/>
                  </a:moveTo>
                  <a:cubicBezTo>
                    <a:pt x="1623" y="359"/>
                    <a:pt x="1623" y="360"/>
                    <a:pt x="1623" y="360"/>
                  </a:cubicBezTo>
                  <a:cubicBezTo>
                    <a:pt x="1623" y="361"/>
                    <a:pt x="1623" y="363"/>
                    <a:pt x="1623" y="365"/>
                  </a:cubicBezTo>
                  <a:cubicBezTo>
                    <a:pt x="1623" y="374"/>
                    <a:pt x="1621" y="383"/>
                    <a:pt x="1617" y="391"/>
                  </a:cubicBezTo>
                  <a:cubicBezTo>
                    <a:pt x="1617" y="391"/>
                    <a:pt x="1618" y="391"/>
                    <a:pt x="1618" y="391"/>
                  </a:cubicBezTo>
                  <a:cubicBezTo>
                    <a:pt x="1622" y="383"/>
                    <a:pt x="1624" y="374"/>
                    <a:pt x="1624" y="365"/>
                  </a:cubicBezTo>
                  <a:cubicBezTo>
                    <a:pt x="1624" y="363"/>
                    <a:pt x="1624" y="361"/>
                    <a:pt x="1624" y="359"/>
                  </a:cubicBezTo>
                  <a:moveTo>
                    <a:pt x="1923" y="360"/>
                  </a:moveTo>
                  <a:cubicBezTo>
                    <a:pt x="1923" y="361"/>
                    <a:pt x="1922" y="361"/>
                    <a:pt x="1922" y="362"/>
                  </a:cubicBezTo>
                  <a:cubicBezTo>
                    <a:pt x="1921" y="362"/>
                    <a:pt x="1921" y="362"/>
                    <a:pt x="1921" y="362"/>
                  </a:cubicBezTo>
                  <a:cubicBezTo>
                    <a:pt x="1921" y="362"/>
                    <a:pt x="1921" y="362"/>
                    <a:pt x="1921" y="363"/>
                  </a:cubicBezTo>
                  <a:cubicBezTo>
                    <a:pt x="1922" y="362"/>
                    <a:pt x="1923" y="362"/>
                    <a:pt x="1923" y="362"/>
                  </a:cubicBezTo>
                  <a:cubicBezTo>
                    <a:pt x="1923" y="361"/>
                    <a:pt x="1923" y="361"/>
                    <a:pt x="1923" y="360"/>
                  </a:cubicBezTo>
                  <a:moveTo>
                    <a:pt x="1230" y="362"/>
                  </a:moveTo>
                  <a:cubicBezTo>
                    <a:pt x="1230" y="362"/>
                    <a:pt x="1230" y="363"/>
                    <a:pt x="1230" y="363"/>
                  </a:cubicBezTo>
                  <a:cubicBezTo>
                    <a:pt x="1230" y="363"/>
                    <a:pt x="1231" y="364"/>
                    <a:pt x="1232" y="365"/>
                  </a:cubicBezTo>
                  <a:cubicBezTo>
                    <a:pt x="1232" y="364"/>
                    <a:pt x="1233" y="364"/>
                    <a:pt x="1233" y="364"/>
                  </a:cubicBezTo>
                  <a:cubicBezTo>
                    <a:pt x="1232" y="363"/>
                    <a:pt x="1231" y="363"/>
                    <a:pt x="1230" y="362"/>
                  </a:cubicBezTo>
                  <a:moveTo>
                    <a:pt x="1920" y="362"/>
                  </a:moveTo>
                  <a:cubicBezTo>
                    <a:pt x="1919" y="364"/>
                    <a:pt x="1917" y="365"/>
                    <a:pt x="1915" y="366"/>
                  </a:cubicBezTo>
                  <a:cubicBezTo>
                    <a:pt x="1917" y="365"/>
                    <a:pt x="1919" y="364"/>
                    <a:pt x="1921" y="363"/>
                  </a:cubicBezTo>
                  <a:cubicBezTo>
                    <a:pt x="1920" y="363"/>
                    <a:pt x="1920" y="363"/>
                    <a:pt x="1920" y="362"/>
                  </a:cubicBezTo>
                  <a:moveTo>
                    <a:pt x="1234" y="365"/>
                  </a:moveTo>
                  <a:cubicBezTo>
                    <a:pt x="1234" y="365"/>
                    <a:pt x="1233" y="365"/>
                    <a:pt x="1233" y="365"/>
                  </a:cubicBezTo>
                  <a:cubicBezTo>
                    <a:pt x="1234" y="366"/>
                    <a:pt x="1236" y="367"/>
                    <a:pt x="1237" y="368"/>
                  </a:cubicBezTo>
                  <a:cubicBezTo>
                    <a:pt x="1237" y="368"/>
                    <a:pt x="1238" y="368"/>
                    <a:pt x="1238" y="367"/>
                  </a:cubicBezTo>
                  <a:cubicBezTo>
                    <a:pt x="1237" y="367"/>
                    <a:pt x="1235" y="366"/>
                    <a:pt x="1234" y="365"/>
                  </a:cubicBezTo>
                  <a:moveTo>
                    <a:pt x="1915" y="365"/>
                  </a:moveTo>
                  <a:cubicBezTo>
                    <a:pt x="1910" y="368"/>
                    <a:pt x="1905" y="371"/>
                    <a:pt x="1900" y="374"/>
                  </a:cubicBezTo>
                  <a:cubicBezTo>
                    <a:pt x="1901" y="374"/>
                    <a:pt x="1901" y="374"/>
                    <a:pt x="1901" y="374"/>
                  </a:cubicBezTo>
                  <a:cubicBezTo>
                    <a:pt x="1901" y="374"/>
                    <a:pt x="1901" y="374"/>
                    <a:pt x="1901" y="374"/>
                  </a:cubicBezTo>
                  <a:cubicBezTo>
                    <a:pt x="1904" y="373"/>
                    <a:pt x="1906" y="371"/>
                    <a:pt x="1909" y="370"/>
                  </a:cubicBezTo>
                  <a:cubicBezTo>
                    <a:pt x="1911" y="368"/>
                    <a:pt x="1913" y="367"/>
                    <a:pt x="1915" y="365"/>
                  </a:cubicBezTo>
                  <a:moveTo>
                    <a:pt x="1239" y="368"/>
                  </a:moveTo>
                  <a:cubicBezTo>
                    <a:pt x="1239" y="368"/>
                    <a:pt x="1238" y="368"/>
                    <a:pt x="1238" y="369"/>
                  </a:cubicBezTo>
                  <a:cubicBezTo>
                    <a:pt x="1240" y="370"/>
                    <a:pt x="1241" y="371"/>
                    <a:pt x="1243" y="372"/>
                  </a:cubicBezTo>
                  <a:cubicBezTo>
                    <a:pt x="1243" y="372"/>
                    <a:pt x="1244" y="372"/>
                    <a:pt x="1244" y="372"/>
                  </a:cubicBezTo>
                  <a:cubicBezTo>
                    <a:pt x="1242" y="370"/>
                    <a:pt x="1241" y="369"/>
                    <a:pt x="1239" y="368"/>
                  </a:cubicBezTo>
                  <a:moveTo>
                    <a:pt x="1245" y="372"/>
                  </a:moveTo>
                  <a:cubicBezTo>
                    <a:pt x="1245" y="372"/>
                    <a:pt x="1244" y="373"/>
                    <a:pt x="1244" y="373"/>
                  </a:cubicBezTo>
                  <a:cubicBezTo>
                    <a:pt x="1246" y="374"/>
                    <a:pt x="1247" y="375"/>
                    <a:pt x="1249" y="376"/>
                  </a:cubicBezTo>
                  <a:cubicBezTo>
                    <a:pt x="1249" y="376"/>
                    <a:pt x="1250" y="376"/>
                    <a:pt x="1250" y="376"/>
                  </a:cubicBezTo>
                  <a:cubicBezTo>
                    <a:pt x="1248" y="375"/>
                    <a:pt x="1247" y="374"/>
                    <a:pt x="1245" y="372"/>
                  </a:cubicBezTo>
                  <a:moveTo>
                    <a:pt x="1900" y="374"/>
                  </a:moveTo>
                  <a:cubicBezTo>
                    <a:pt x="1889" y="380"/>
                    <a:pt x="1879" y="386"/>
                    <a:pt x="1870" y="392"/>
                  </a:cubicBezTo>
                  <a:cubicBezTo>
                    <a:pt x="1870" y="392"/>
                    <a:pt x="1870" y="392"/>
                    <a:pt x="1870" y="392"/>
                  </a:cubicBezTo>
                  <a:cubicBezTo>
                    <a:pt x="1872" y="392"/>
                    <a:pt x="1873" y="391"/>
                    <a:pt x="1875" y="390"/>
                  </a:cubicBezTo>
                  <a:cubicBezTo>
                    <a:pt x="1883" y="385"/>
                    <a:pt x="1891" y="380"/>
                    <a:pt x="1900" y="375"/>
                  </a:cubicBezTo>
                  <a:cubicBezTo>
                    <a:pt x="1900" y="375"/>
                    <a:pt x="1900" y="375"/>
                    <a:pt x="1900" y="375"/>
                  </a:cubicBezTo>
                  <a:cubicBezTo>
                    <a:pt x="1900" y="374"/>
                    <a:pt x="1900" y="374"/>
                    <a:pt x="1900" y="374"/>
                  </a:cubicBezTo>
                  <a:moveTo>
                    <a:pt x="1251" y="377"/>
                  </a:moveTo>
                  <a:cubicBezTo>
                    <a:pt x="1251" y="377"/>
                    <a:pt x="1250" y="377"/>
                    <a:pt x="1250" y="377"/>
                  </a:cubicBezTo>
                  <a:cubicBezTo>
                    <a:pt x="1251" y="378"/>
                    <a:pt x="1253" y="379"/>
                    <a:pt x="1254" y="380"/>
                  </a:cubicBezTo>
                  <a:cubicBezTo>
                    <a:pt x="1254" y="380"/>
                    <a:pt x="1255" y="380"/>
                    <a:pt x="1255" y="380"/>
                  </a:cubicBezTo>
                  <a:cubicBezTo>
                    <a:pt x="1254" y="379"/>
                    <a:pt x="1252" y="378"/>
                    <a:pt x="1251" y="377"/>
                  </a:cubicBezTo>
                  <a:moveTo>
                    <a:pt x="1256" y="381"/>
                  </a:moveTo>
                  <a:cubicBezTo>
                    <a:pt x="1256" y="381"/>
                    <a:pt x="1255" y="381"/>
                    <a:pt x="1255" y="381"/>
                  </a:cubicBezTo>
                  <a:cubicBezTo>
                    <a:pt x="1255" y="381"/>
                    <a:pt x="1256" y="381"/>
                    <a:pt x="1256" y="382"/>
                  </a:cubicBezTo>
                  <a:cubicBezTo>
                    <a:pt x="1257" y="382"/>
                    <a:pt x="1257" y="381"/>
                    <a:pt x="1257" y="381"/>
                  </a:cubicBezTo>
                  <a:cubicBezTo>
                    <a:pt x="1257" y="381"/>
                    <a:pt x="1257" y="381"/>
                    <a:pt x="1256" y="381"/>
                  </a:cubicBezTo>
                  <a:moveTo>
                    <a:pt x="1258" y="382"/>
                  </a:moveTo>
                  <a:cubicBezTo>
                    <a:pt x="1258" y="382"/>
                    <a:pt x="1257" y="382"/>
                    <a:pt x="1257" y="382"/>
                  </a:cubicBezTo>
                  <a:cubicBezTo>
                    <a:pt x="1257" y="383"/>
                    <a:pt x="1257" y="383"/>
                    <a:pt x="1258" y="383"/>
                  </a:cubicBezTo>
                  <a:cubicBezTo>
                    <a:pt x="1258" y="383"/>
                    <a:pt x="1258" y="383"/>
                    <a:pt x="1259" y="382"/>
                  </a:cubicBezTo>
                  <a:cubicBezTo>
                    <a:pt x="1259" y="382"/>
                    <a:pt x="1258" y="382"/>
                    <a:pt x="1258" y="382"/>
                  </a:cubicBezTo>
                  <a:moveTo>
                    <a:pt x="1260" y="383"/>
                  </a:moveTo>
                  <a:cubicBezTo>
                    <a:pt x="1259" y="383"/>
                    <a:pt x="1259" y="383"/>
                    <a:pt x="1259" y="384"/>
                  </a:cubicBezTo>
                  <a:cubicBezTo>
                    <a:pt x="1259" y="384"/>
                    <a:pt x="1260" y="384"/>
                    <a:pt x="1260" y="385"/>
                  </a:cubicBezTo>
                  <a:cubicBezTo>
                    <a:pt x="1260" y="385"/>
                    <a:pt x="1261" y="384"/>
                    <a:pt x="1261" y="384"/>
                  </a:cubicBezTo>
                  <a:cubicBezTo>
                    <a:pt x="1261" y="384"/>
                    <a:pt x="1260" y="384"/>
                    <a:pt x="1260" y="383"/>
                  </a:cubicBezTo>
                  <a:moveTo>
                    <a:pt x="1262" y="385"/>
                  </a:moveTo>
                  <a:cubicBezTo>
                    <a:pt x="1262" y="385"/>
                    <a:pt x="1262" y="385"/>
                    <a:pt x="1261" y="385"/>
                  </a:cubicBezTo>
                  <a:cubicBezTo>
                    <a:pt x="1266" y="390"/>
                    <a:pt x="1271" y="394"/>
                    <a:pt x="1276" y="398"/>
                  </a:cubicBezTo>
                  <a:cubicBezTo>
                    <a:pt x="1277" y="398"/>
                    <a:pt x="1279" y="399"/>
                    <a:pt x="1280" y="399"/>
                  </a:cubicBezTo>
                  <a:cubicBezTo>
                    <a:pt x="1274" y="395"/>
                    <a:pt x="1269" y="390"/>
                    <a:pt x="1262" y="385"/>
                  </a:cubicBezTo>
                  <a:moveTo>
                    <a:pt x="1617" y="392"/>
                  </a:moveTo>
                  <a:cubicBezTo>
                    <a:pt x="1617" y="392"/>
                    <a:pt x="1617" y="392"/>
                    <a:pt x="1616" y="392"/>
                  </a:cubicBezTo>
                  <a:cubicBezTo>
                    <a:pt x="1615" y="394"/>
                    <a:pt x="1614" y="396"/>
                    <a:pt x="1612" y="398"/>
                  </a:cubicBezTo>
                  <a:cubicBezTo>
                    <a:pt x="1613" y="398"/>
                    <a:pt x="1614" y="397"/>
                    <a:pt x="1614" y="397"/>
                  </a:cubicBezTo>
                  <a:cubicBezTo>
                    <a:pt x="1614" y="397"/>
                    <a:pt x="1614" y="397"/>
                    <a:pt x="1614" y="397"/>
                  </a:cubicBezTo>
                  <a:cubicBezTo>
                    <a:pt x="1616" y="395"/>
                    <a:pt x="1617" y="394"/>
                    <a:pt x="1617" y="392"/>
                  </a:cubicBezTo>
                  <a:moveTo>
                    <a:pt x="1869" y="393"/>
                  </a:moveTo>
                  <a:cubicBezTo>
                    <a:pt x="1869" y="393"/>
                    <a:pt x="1868" y="393"/>
                    <a:pt x="1868" y="394"/>
                  </a:cubicBezTo>
                  <a:cubicBezTo>
                    <a:pt x="1868" y="393"/>
                    <a:pt x="1869" y="393"/>
                    <a:pt x="1869" y="393"/>
                  </a:cubicBezTo>
                  <a:cubicBezTo>
                    <a:pt x="1869" y="393"/>
                    <a:pt x="1869" y="393"/>
                    <a:pt x="1869" y="393"/>
                  </a:cubicBezTo>
                  <a:moveTo>
                    <a:pt x="1868" y="394"/>
                  </a:moveTo>
                  <a:cubicBezTo>
                    <a:pt x="1866" y="395"/>
                    <a:pt x="1864" y="396"/>
                    <a:pt x="1862" y="397"/>
                  </a:cubicBezTo>
                  <a:cubicBezTo>
                    <a:pt x="1860" y="398"/>
                    <a:pt x="1858" y="399"/>
                    <a:pt x="1857" y="401"/>
                  </a:cubicBezTo>
                  <a:cubicBezTo>
                    <a:pt x="1856" y="401"/>
                    <a:pt x="1856" y="401"/>
                    <a:pt x="1856" y="401"/>
                  </a:cubicBezTo>
                  <a:cubicBezTo>
                    <a:pt x="1856" y="401"/>
                    <a:pt x="1856" y="402"/>
                    <a:pt x="1857" y="402"/>
                  </a:cubicBezTo>
                  <a:cubicBezTo>
                    <a:pt x="1860" y="399"/>
                    <a:pt x="1864" y="397"/>
                    <a:pt x="1868" y="394"/>
                  </a:cubicBezTo>
                  <a:moveTo>
                    <a:pt x="1612" y="399"/>
                  </a:moveTo>
                  <a:cubicBezTo>
                    <a:pt x="1611" y="399"/>
                    <a:pt x="1611" y="400"/>
                    <a:pt x="1611" y="400"/>
                  </a:cubicBezTo>
                  <a:cubicBezTo>
                    <a:pt x="1611" y="400"/>
                    <a:pt x="1611" y="400"/>
                    <a:pt x="1611" y="400"/>
                  </a:cubicBezTo>
                  <a:cubicBezTo>
                    <a:pt x="1611" y="400"/>
                    <a:pt x="1611" y="400"/>
                    <a:pt x="1612" y="399"/>
                  </a:cubicBezTo>
                  <a:moveTo>
                    <a:pt x="1279" y="400"/>
                  </a:moveTo>
                  <a:cubicBezTo>
                    <a:pt x="1280" y="401"/>
                    <a:pt x="1281" y="402"/>
                    <a:pt x="1282" y="402"/>
                  </a:cubicBezTo>
                  <a:cubicBezTo>
                    <a:pt x="1282" y="403"/>
                    <a:pt x="1283" y="403"/>
                    <a:pt x="1283" y="403"/>
                  </a:cubicBezTo>
                  <a:cubicBezTo>
                    <a:pt x="1283" y="403"/>
                    <a:pt x="1284" y="403"/>
                    <a:pt x="1284" y="403"/>
                  </a:cubicBezTo>
                  <a:cubicBezTo>
                    <a:pt x="1284" y="403"/>
                    <a:pt x="1283" y="402"/>
                    <a:pt x="1283" y="402"/>
                  </a:cubicBezTo>
                  <a:cubicBezTo>
                    <a:pt x="1282" y="401"/>
                    <a:pt x="1281" y="401"/>
                    <a:pt x="1279" y="400"/>
                  </a:cubicBezTo>
                  <a:moveTo>
                    <a:pt x="1612" y="401"/>
                  </a:moveTo>
                  <a:cubicBezTo>
                    <a:pt x="1610" y="402"/>
                    <a:pt x="1609" y="403"/>
                    <a:pt x="1607" y="404"/>
                  </a:cubicBezTo>
                  <a:cubicBezTo>
                    <a:pt x="1606" y="406"/>
                    <a:pt x="1605" y="407"/>
                    <a:pt x="1603" y="408"/>
                  </a:cubicBezTo>
                  <a:cubicBezTo>
                    <a:pt x="1602" y="409"/>
                    <a:pt x="1601" y="410"/>
                    <a:pt x="1600" y="411"/>
                  </a:cubicBezTo>
                  <a:cubicBezTo>
                    <a:pt x="1600" y="412"/>
                    <a:pt x="1599" y="412"/>
                    <a:pt x="1599" y="412"/>
                  </a:cubicBezTo>
                  <a:cubicBezTo>
                    <a:pt x="1600" y="412"/>
                    <a:pt x="1600" y="412"/>
                    <a:pt x="1601" y="412"/>
                  </a:cubicBezTo>
                  <a:cubicBezTo>
                    <a:pt x="1605" y="408"/>
                    <a:pt x="1609" y="405"/>
                    <a:pt x="1612" y="401"/>
                  </a:cubicBezTo>
                  <a:moveTo>
                    <a:pt x="1855" y="402"/>
                  </a:moveTo>
                  <a:cubicBezTo>
                    <a:pt x="1854" y="403"/>
                    <a:pt x="1853" y="404"/>
                    <a:pt x="1852" y="405"/>
                  </a:cubicBezTo>
                  <a:cubicBezTo>
                    <a:pt x="1853" y="404"/>
                    <a:pt x="1854" y="403"/>
                    <a:pt x="1856" y="402"/>
                  </a:cubicBezTo>
                  <a:cubicBezTo>
                    <a:pt x="1856" y="402"/>
                    <a:pt x="1855" y="402"/>
                    <a:pt x="1855" y="402"/>
                  </a:cubicBezTo>
                  <a:moveTo>
                    <a:pt x="1285" y="403"/>
                  </a:moveTo>
                  <a:cubicBezTo>
                    <a:pt x="1285" y="404"/>
                    <a:pt x="1284" y="404"/>
                    <a:pt x="1284" y="404"/>
                  </a:cubicBezTo>
                  <a:cubicBezTo>
                    <a:pt x="1285" y="404"/>
                    <a:pt x="1285" y="404"/>
                    <a:pt x="1285" y="404"/>
                  </a:cubicBezTo>
                  <a:cubicBezTo>
                    <a:pt x="1285" y="404"/>
                    <a:pt x="1285" y="404"/>
                    <a:pt x="1285" y="403"/>
                  </a:cubicBezTo>
                  <a:moveTo>
                    <a:pt x="1851" y="404"/>
                  </a:moveTo>
                  <a:cubicBezTo>
                    <a:pt x="1848" y="407"/>
                    <a:pt x="1844" y="409"/>
                    <a:pt x="1841" y="411"/>
                  </a:cubicBezTo>
                  <a:cubicBezTo>
                    <a:pt x="1843" y="411"/>
                    <a:pt x="1844" y="410"/>
                    <a:pt x="1845" y="409"/>
                  </a:cubicBezTo>
                  <a:cubicBezTo>
                    <a:pt x="1846" y="409"/>
                    <a:pt x="1846" y="409"/>
                    <a:pt x="1847" y="408"/>
                  </a:cubicBezTo>
                  <a:cubicBezTo>
                    <a:pt x="1848" y="407"/>
                    <a:pt x="1850" y="406"/>
                    <a:pt x="1851" y="404"/>
                  </a:cubicBezTo>
                  <a:moveTo>
                    <a:pt x="1285" y="405"/>
                  </a:moveTo>
                  <a:cubicBezTo>
                    <a:pt x="1285" y="405"/>
                    <a:pt x="1285" y="405"/>
                    <a:pt x="1285" y="406"/>
                  </a:cubicBezTo>
                  <a:cubicBezTo>
                    <a:pt x="1286" y="405"/>
                    <a:pt x="1286" y="405"/>
                    <a:pt x="1286" y="405"/>
                  </a:cubicBezTo>
                  <a:cubicBezTo>
                    <a:pt x="1285" y="405"/>
                    <a:pt x="1285" y="405"/>
                    <a:pt x="1285" y="405"/>
                  </a:cubicBezTo>
                  <a:moveTo>
                    <a:pt x="1287" y="406"/>
                  </a:moveTo>
                  <a:cubicBezTo>
                    <a:pt x="1287" y="406"/>
                    <a:pt x="1287" y="406"/>
                    <a:pt x="1286" y="406"/>
                  </a:cubicBezTo>
                  <a:cubicBezTo>
                    <a:pt x="1290" y="410"/>
                    <a:pt x="1294" y="413"/>
                    <a:pt x="1298" y="417"/>
                  </a:cubicBezTo>
                  <a:cubicBezTo>
                    <a:pt x="1301" y="420"/>
                    <a:pt x="1304" y="423"/>
                    <a:pt x="1307" y="425"/>
                  </a:cubicBezTo>
                  <a:cubicBezTo>
                    <a:pt x="1302" y="419"/>
                    <a:pt x="1295" y="413"/>
                    <a:pt x="1288" y="407"/>
                  </a:cubicBezTo>
                  <a:cubicBezTo>
                    <a:pt x="1288" y="406"/>
                    <a:pt x="1288" y="406"/>
                    <a:pt x="1287" y="406"/>
                  </a:cubicBezTo>
                  <a:moveTo>
                    <a:pt x="1842" y="412"/>
                  </a:moveTo>
                  <a:cubicBezTo>
                    <a:pt x="1840" y="413"/>
                    <a:pt x="1839" y="413"/>
                    <a:pt x="1838" y="414"/>
                  </a:cubicBezTo>
                  <a:cubicBezTo>
                    <a:pt x="1833" y="417"/>
                    <a:pt x="1828" y="421"/>
                    <a:pt x="1823" y="424"/>
                  </a:cubicBezTo>
                  <a:cubicBezTo>
                    <a:pt x="1824" y="424"/>
                    <a:pt x="1825" y="424"/>
                    <a:pt x="1827" y="423"/>
                  </a:cubicBezTo>
                  <a:cubicBezTo>
                    <a:pt x="1831" y="419"/>
                    <a:pt x="1836" y="416"/>
                    <a:pt x="1842" y="412"/>
                  </a:cubicBezTo>
                  <a:moveTo>
                    <a:pt x="1600" y="413"/>
                  </a:moveTo>
                  <a:cubicBezTo>
                    <a:pt x="1599" y="413"/>
                    <a:pt x="1598" y="413"/>
                    <a:pt x="1598" y="413"/>
                  </a:cubicBezTo>
                  <a:cubicBezTo>
                    <a:pt x="1597" y="414"/>
                    <a:pt x="1596" y="414"/>
                    <a:pt x="1596" y="415"/>
                  </a:cubicBezTo>
                  <a:cubicBezTo>
                    <a:pt x="1595" y="415"/>
                    <a:pt x="1594" y="416"/>
                    <a:pt x="1594" y="416"/>
                  </a:cubicBezTo>
                  <a:cubicBezTo>
                    <a:pt x="1587" y="422"/>
                    <a:pt x="1578" y="427"/>
                    <a:pt x="1569" y="432"/>
                  </a:cubicBezTo>
                  <a:cubicBezTo>
                    <a:pt x="1567" y="432"/>
                    <a:pt x="1566" y="433"/>
                    <a:pt x="1565" y="434"/>
                  </a:cubicBezTo>
                  <a:cubicBezTo>
                    <a:pt x="1566" y="434"/>
                    <a:pt x="1566" y="433"/>
                    <a:pt x="1567" y="433"/>
                  </a:cubicBezTo>
                  <a:cubicBezTo>
                    <a:pt x="1570" y="432"/>
                    <a:pt x="1574" y="430"/>
                    <a:pt x="1577" y="428"/>
                  </a:cubicBezTo>
                  <a:cubicBezTo>
                    <a:pt x="1583" y="425"/>
                    <a:pt x="1588" y="422"/>
                    <a:pt x="1592" y="419"/>
                  </a:cubicBezTo>
                  <a:cubicBezTo>
                    <a:pt x="1593" y="418"/>
                    <a:pt x="1594" y="418"/>
                    <a:pt x="1594" y="417"/>
                  </a:cubicBezTo>
                  <a:cubicBezTo>
                    <a:pt x="1595" y="417"/>
                    <a:pt x="1596" y="416"/>
                    <a:pt x="1596" y="416"/>
                  </a:cubicBezTo>
                  <a:cubicBezTo>
                    <a:pt x="1597" y="415"/>
                    <a:pt x="1599" y="414"/>
                    <a:pt x="1600" y="413"/>
                  </a:cubicBezTo>
                  <a:moveTo>
                    <a:pt x="1824" y="425"/>
                  </a:moveTo>
                  <a:cubicBezTo>
                    <a:pt x="1823" y="426"/>
                    <a:pt x="1823" y="426"/>
                    <a:pt x="1822" y="426"/>
                  </a:cubicBezTo>
                  <a:cubicBezTo>
                    <a:pt x="1822" y="426"/>
                    <a:pt x="1822" y="426"/>
                    <a:pt x="1822" y="426"/>
                  </a:cubicBezTo>
                  <a:cubicBezTo>
                    <a:pt x="1823" y="426"/>
                    <a:pt x="1823" y="426"/>
                    <a:pt x="1824" y="425"/>
                  </a:cubicBezTo>
                  <a:moveTo>
                    <a:pt x="1306" y="426"/>
                  </a:moveTo>
                  <a:cubicBezTo>
                    <a:pt x="1309" y="429"/>
                    <a:pt x="1312" y="432"/>
                    <a:pt x="1314" y="435"/>
                  </a:cubicBezTo>
                  <a:cubicBezTo>
                    <a:pt x="1315" y="436"/>
                    <a:pt x="1316" y="437"/>
                    <a:pt x="1317" y="438"/>
                  </a:cubicBezTo>
                  <a:cubicBezTo>
                    <a:pt x="1317" y="438"/>
                    <a:pt x="1317" y="438"/>
                    <a:pt x="1318" y="438"/>
                  </a:cubicBezTo>
                  <a:cubicBezTo>
                    <a:pt x="1317" y="437"/>
                    <a:pt x="1316" y="436"/>
                    <a:pt x="1315" y="435"/>
                  </a:cubicBezTo>
                  <a:cubicBezTo>
                    <a:pt x="1312" y="432"/>
                    <a:pt x="1309" y="429"/>
                    <a:pt x="1306" y="426"/>
                  </a:cubicBezTo>
                  <a:moveTo>
                    <a:pt x="1821" y="426"/>
                  </a:moveTo>
                  <a:cubicBezTo>
                    <a:pt x="1821" y="426"/>
                    <a:pt x="1821" y="426"/>
                    <a:pt x="1820" y="427"/>
                  </a:cubicBezTo>
                  <a:cubicBezTo>
                    <a:pt x="1820" y="427"/>
                    <a:pt x="1819" y="428"/>
                    <a:pt x="1819" y="428"/>
                  </a:cubicBezTo>
                  <a:cubicBezTo>
                    <a:pt x="1819" y="428"/>
                    <a:pt x="1819" y="428"/>
                    <a:pt x="1820" y="428"/>
                  </a:cubicBezTo>
                  <a:cubicBezTo>
                    <a:pt x="1820" y="428"/>
                    <a:pt x="1821" y="428"/>
                    <a:pt x="1821" y="427"/>
                  </a:cubicBezTo>
                  <a:cubicBezTo>
                    <a:pt x="1821" y="427"/>
                    <a:pt x="1821" y="427"/>
                    <a:pt x="1821" y="426"/>
                  </a:cubicBezTo>
                  <a:moveTo>
                    <a:pt x="1818" y="429"/>
                  </a:moveTo>
                  <a:cubicBezTo>
                    <a:pt x="1816" y="430"/>
                    <a:pt x="1814" y="432"/>
                    <a:pt x="1812" y="434"/>
                  </a:cubicBezTo>
                  <a:cubicBezTo>
                    <a:pt x="1813" y="433"/>
                    <a:pt x="1814" y="433"/>
                    <a:pt x="1815" y="432"/>
                  </a:cubicBezTo>
                  <a:cubicBezTo>
                    <a:pt x="1816" y="431"/>
                    <a:pt x="1818" y="430"/>
                    <a:pt x="1819" y="429"/>
                  </a:cubicBezTo>
                  <a:cubicBezTo>
                    <a:pt x="1818" y="429"/>
                    <a:pt x="1818" y="429"/>
                    <a:pt x="1818" y="429"/>
                  </a:cubicBezTo>
                  <a:moveTo>
                    <a:pt x="1564" y="435"/>
                  </a:moveTo>
                  <a:cubicBezTo>
                    <a:pt x="1564" y="435"/>
                    <a:pt x="1563" y="435"/>
                    <a:pt x="1563" y="435"/>
                  </a:cubicBezTo>
                  <a:cubicBezTo>
                    <a:pt x="1560" y="437"/>
                    <a:pt x="1556" y="439"/>
                    <a:pt x="1553" y="441"/>
                  </a:cubicBezTo>
                  <a:cubicBezTo>
                    <a:pt x="1553" y="441"/>
                    <a:pt x="1554" y="441"/>
                    <a:pt x="1554" y="441"/>
                  </a:cubicBezTo>
                  <a:cubicBezTo>
                    <a:pt x="1557" y="439"/>
                    <a:pt x="1561" y="437"/>
                    <a:pt x="1564" y="435"/>
                  </a:cubicBezTo>
                  <a:moveTo>
                    <a:pt x="1810" y="436"/>
                  </a:moveTo>
                  <a:cubicBezTo>
                    <a:pt x="1810" y="437"/>
                    <a:pt x="1809" y="437"/>
                    <a:pt x="1809" y="437"/>
                  </a:cubicBezTo>
                  <a:cubicBezTo>
                    <a:pt x="1809" y="437"/>
                    <a:pt x="1810" y="437"/>
                    <a:pt x="1810" y="437"/>
                  </a:cubicBezTo>
                  <a:cubicBezTo>
                    <a:pt x="1810" y="437"/>
                    <a:pt x="1810" y="436"/>
                    <a:pt x="1810" y="436"/>
                  </a:cubicBezTo>
                  <a:moveTo>
                    <a:pt x="1808" y="438"/>
                  </a:moveTo>
                  <a:cubicBezTo>
                    <a:pt x="1808" y="438"/>
                    <a:pt x="1808" y="438"/>
                    <a:pt x="1807" y="438"/>
                  </a:cubicBezTo>
                  <a:cubicBezTo>
                    <a:pt x="1807" y="439"/>
                    <a:pt x="1806" y="440"/>
                    <a:pt x="1806" y="440"/>
                  </a:cubicBezTo>
                  <a:cubicBezTo>
                    <a:pt x="1806" y="439"/>
                    <a:pt x="1807" y="439"/>
                    <a:pt x="1808" y="438"/>
                  </a:cubicBezTo>
                  <a:moveTo>
                    <a:pt x="1319" y="438"/>
                  </a:moveTo>
                  <a:cubicBezTo>
                    <a:pt x="1318" y="439"/>
                    <a:pt x="1318" y="439"/>
                    <a:pt x="1318" y="439"/>
                  </a:cubicBezTo>
                  <a:cubicBezTo>
                    <a:pt x="1318" y="439"/>
                    <a:pt x="1318" y="440"/>
                    <a:pt x="1319" y="440"/>
                  </a:cubicBezTo>
                  <a:cubicBezTo>
                    <a:pt x="1319" y="440"/>
                    <a:pt x="1320" y="440"/>
                    <a:pt x="1320" y="440"/>
                  </a:cubicBezTo>
                  <a:cubicBezTo>
                    <a:pt x="1319" y="440"/>
                    <a:pt x="1319" y="439"/>
                    <a:pt x="1319" y="438"/>
                  </a:cubicBezTo>
                  <a:moveTo>
                    <a:pt x="1805" y="439"/>
                  </a:moveTo>
                  <a:cubicBezTo>
                    <a:pt x="1803" y="441"/>
                    <a:pt x="1801" y="443"/>
                    <a:pt x="1798" y="445"/>
                  </a:cubicBezTo>
                  <a:cubicBezTo>
                    <a:pt x="1799" y="445"/>
                    <a:pt x="1800" y="445"/>
                    <a:pt x="1801" y="445"/>
                  </a:cubicBezTo>
                  <a:cubicBezTo>
                    <a:pt x="1801" y="444"/>
                    <a:pt x="1801" y="444"/>
                    <a:pt x="1801" y="444"/>
                  </a:cubicBezTo>
                  <a:cubicBezTo>
                    <a:pt x="1802" y="443"/>
                    <a:pt x="1804" y="441"/>
                    <a:pt x="1805" y="439"/>
                  </a:cubicBezTo>
                  <a:moveTo>
                    <a:pt x="1321" y="441"/>
                  </a:moveTo>
                  <a:cubicBezTo>
                    <a:pt x="1320" y="441"/>
                    <a:pt x="1320" y="441"/>
                    <a:pt x="1320" y="441"/>
                  </a:cubicBezTo>
                  <a:cubicBezTo>
                    <a:pt x="1325" y="447"/>
                    <a:pt x="1330" y="453"/>
                    <a:pt x="1335" y="459"/>
                  </a:cubicBezTo>
                  <a:cubicBezTo>
                    <a:pt x="1333" y="457"/>
                    <a:pt x="1332" y="455"/>
                    <a:pt x="1330" y="453"/>
                  </a:cubicBezTo>
                  <a:cubicBezTo>
                    <a:pt x="1327" y="449"/>
                    <a:pt x="1324" y="445"/>
                    <a:pt x="1321" y="441"/>
                  </a:cubicBezTo>
                  <a:moveTo>
                    <a:pt x="1552" y="443"/>
                  </a:moveTo>
                  <a:cubicBezTo>
                    <a:pt x="1550" y="445"/>
                    <a:pt x="1548" y="446"/>
                    <a:pt x="1546" y="448"/>
                  </a:cubicBezTo>
                  <a:cubicBezTo>
                    <a:pt x="1546" y="448"/>
                    <a:pt x="1547" y="448"/>
                    <a:pt x="1547" y="448"/>
                  </a:cubicBezTo>
                  <a:cubicBezTo>
                    <a:pt x="1549" y="446"/>
                    <a:pt x="1550" y="445"/>
                    <a:pt x="1552" y="443"/>
                  </a:cubicBezTo>
                  <a:moveTo>
                    <a:pt x="1799" y="446"/>
                  </a:moveTo>
                  <a:cubicBezTo>
                    <a:pt x="1798" y="447"/>
                    <a:pt x="1797" y="447"/>
                    <a:pt x="1797" y="447"/>
                  </a:cubicBezTo>
                  <a:cubicBezTo>
                    <a:pt x="1796" y="447"/>
                    <a:pt x="1796" y="448"/>
                    <a:pt x="1796" y="448"/>
                  </a:cubicBezTo>
                  <a:cubicBezTo>
                    <a:pt x="1796" y="448"/>
                    <a:pt x="1797" y="448"/>
                    <a:pt x="1798" y="447"/>
                  </a:cubicBezTo>
                  <a:cubicBezTo>
                    <a:pt x="1798" y="447"/>
                    <a:pt x="1799" y="447"/>
                    <a:pt x="1799" y="446"/>
                  </a:cubicBezTo>
                  <a:moveTo>
                    <a:pt x="1545" y="448"/>
                  </a:moveTo>
                  <a:cubicBezTo>
                    <a:pt x="1544" y="449"/>
                    <a:pt x="1543" y="450"/>
                    <a:pt x="1542" y="451"/>
                  </a:cubicBezTo>
                  <a:cubicBezTo>
                    <a:pt x="1541" y="452"/>
                    <a:pt x="1540" y="453"/>
                    <a:pt x="1539" y="454"/>
                  </a:cubicBezTo>
                  <a:cubicBezTo>
                    <a:pt x="1539" y="454"/>
                    <a:pt x="1540" y="454"/>
                    <a:pt x="1540" y="454"/>
                  </a:cubicBezTo>
                  <a:cubicBezTo>
                    <a:pt x="1542" y="452"/>
                    <a:pt x="1544" y="450"/>
                    <a:pt x="1546" y="449"/>
                  </a:cubicBezTo>
                  <a:cubicBezTo>
                    <a:pt x="1546" y="448"/>
                    <a:pt x="1545" y="448"/>
                    <a:pt x="1545" y="448"/>
                  </a:cubicBezTo>
                  <a:moveTo>
                    <a:pt x="1796" y="449"/>
                  </a:moveTo>
                  <a:cubicBezTo>
                    <a:pt x="1796" y="449"/>
                    <a:pt x="1795" y="449"/>
                    <a:pt x="1795" y="449"/>
                  </a:cubicBezTo>
                  <a:cubicBezTo>
                    <a:pt x="1793" y="451"/>
                    <a:pt x="1791" y="453"/>
                    <a:pt x="1789" y="455"/>
                  </a:cubicBezTo>
                  <a:cubicBezTo>
                    <a:pt x="1789" y="455"/>
                    <a:pt x="1790" y="455"/>
                    <a:pt x="1790" y="455"/>
                  </a:cubicBezTo>
                  <a:cubicBezTo>
                    <a:pt x="1792" y="453"/>
                    <a:pt x="1794" y="451"/>
                    <a:pt x="1796" y="449"/>
                  </a:cubicBezTo>
                  <a:moveTo>
                    <a:pt x="1539" y="455"/>
                  </a:moveTo>
                  <a:cubicBezTo>
                    <a:pt x="1538" y="455"/>
                    <a:pt x="1538" y="455"/>
                    <a:pt x="1537" y="455"/>
                  </a:cubicBezTo>
                  <a:cubicBezTo>
                    <a:pt x="1536" y="456"/>
                    <a:pt x="1535" y="458"/>
                    <a:pt x="1534" y="459"/>
                  </a:cubicBezTo>
                  <a:cubicBezTo>
                    <a:pt x="1534" y="459"/>
                    <a:pt x="1534" y="459"/>
                    <a:pt x="1535" y="460"/>
                  </a:cubicBezTo>
                  <a:cubicBezTo>
                    <a:pt x="1536" y="458"/>
                    <a:pt x="1537" y="456"/>
                    <a:pt x="1539" y="455"/>
                  </a:cubicBezTo>
                  <a:moveTo>
                    <a:pt x="1788" y="456"/>
                  </a:moveTo>
                  <a:cubicBezTo>
                    <a:pt x="1787" y="457"/>
                    <a:pt x="1787" y="457"/>
                    <a:pt x="1786" y="458"/>
                  </a:cubicBezTo>
                  <a:cubicBezTo>
                    <a:pt x="1786" y="458"/>
                    <a:pt x="1787" y="458"/>
                    <a:pt x="1787" y="458"/>
                  </a:cubicBezTo>
                  <a:cubicBezTo>
                    <a:pt x="1788" y="457"/>
                    <a:pt x="1789" y="457"/>
                    <a:pt x="1789" y="456"/>
                  </a:cubicBezTo>
                  <a:cubicBezTo>
                    <a:pt x="1789" y="456"/>
                    <a:pt x="1789" y="456"/>
                    <a:pt x="1788" y="456"/>
                  </a:cubicBezTo>
                  <a:moveTo>
                    <a:pt x="1335" y="459"/>
                  </a:moveTo>
                  <a:cubicBezTo>
                    <a:pt x="1336" y="459"/>
                    <a:pt x="1336" y="460"/>
                    <a:pt x="1336" y="460"/>
                  </a:cubicBezTo>
                  <a:cubicBezTo>
                    <a:pt x="1336" y="460"/>
                    <a:pt x="1337" y="460"/>
                    <a:pt x="1337" y="460"/>
                  </a:cubicBezTo>
                  <a:cubicBezTo>
                    <a:pt x="1336" y="460"/>
                    <a:pt x="1336" y="459"/>
                    <a:pt x="1335" y="459"/>
                  </a:cubicBezTo>
                  <a:moveTo>
                    <a:pt x="1786" y="459"/>
                  </a:moveTo>
                  <a:cubicBezTo>
                    <a:pt x="1786" y="459"/>
                    <a:pt x="1785" y="459"/>
                    <a:pt x="1785" y="460"/>
                  </a:cubicBezTo>
                  <a:cubicBezTo>
                    <a:pt x="1784" y="460"/>
                    <a:pt x="1783" y="461"/>
                    <a:pt x="1783" y="461"/>
                  </a:cubicBezTo>
                  <a:cubicBezTo>
                    <a:pt x="1783" y="461"/>
                    <a:pt x="1784" y="461"/>
                    <a:pt x="1785" y="461"/>
                  </a:cubicBezTo>
                  <a:cubicBezTo>
                    <a:pt x="1785" y="461"/>
                    <a:pt x="1785" y="460"/>
                    <a:pt x="1786" y="460"/>
                  </a:cubicBezTo>
                  <a:cubicBezTo>
                    <a:pt x="1786" y="460"/>
                    <a:pt x="1786" y="459"/>
                    <a:pt x="1786" y="459"/>
                  </a:cubicBezTo>
                  <a:moveTo>
                    <a:pt x="1533" y="460"/>
                  </a:moveTo>
                  <a:cubicBezTo>
                    <a:pt x="1533" y="460"/>
                    <a:pt x="1533" y="460"/>
                    <a:pt x="1533" y="460"/>
                  </a:cubicBezTo>
                  <a:cubicBezTo>
                    <a:pt x="1533" y="460"/>
                    <a:pt x="1533" y="460"/>
                    <a:pt x="1533" y="460"/>
                  </a:cubicBezTo>
                  <a:cubicBezTo>
                    <a:pt x="1533" y="460"/>
                    <a:pt x="1533" y="460"/>
                    <a:pt x="1533" y="460"/>
                  </a:cubicBezTo>
                  <a:moveTo>
                    <a:pt x="1532" y="461"/>
                  </a:moveTo>
                  <a:cubicBezTo>
                    <a:pt x="1532" y="461"/>
                    <a:pt x="1532" y="462"/>
                    <a:pt x="1531" y="462"/>
                  </a:cubicBezTo>
                  <a:cubicBezTo>
                    <a:pt x="1532" y="462"/>
                    <a:pt x="1532" y="462"/>
                    <a:pt x="1533" y="461"/>
                  </a:cubicBezTo>
                  <a:cubicBezTo>
                    <a:pt x="1533" y="461"/>
                    <a:pt x="1533" y="461"/>
                    <a:pt x="1533" y="461"/>
                  </a:cubicBezTo>
                  <a:cubicBezTo>
                    <a:pt x="1533" y="461"/>
                    <a:pt x="1533" y="461"/>
                    <a:pt x="1532" y="461"/>
                  </a:cubicBezTo>
                  <a:moveTo>
                    <a:pt x="1337" y="461"/>
                  </a:moveTo>
                  <a:cubicBezTo>
                    <a:pt x="1337" y="461"/>
                    <a:pt x="1337" y="461"/>
                    <a:pt x="1337" y="461"/>
                  </a:cubicBezTo>
                  <a:cubicBezTo>
                    <a:pt x="1337" y="462"/>
                    <a:pt x="1337" y="462"/>
                    <a:pt x="1338" y="462"/>
                  </a:cubicBezTo>
                  <a:cubicBezTo>
                    <a:pt x="1338" y="463"/>
                    <a:pt x="1339" y="463"/>
                    <a:pt x="1340" y="464"/>
                  </a:cubicBezTo>
                  <a:cubicBezTo>
                    <a:pt x="1339" y="463"/>
                    <a:pt x="1338" y="462"/>
                    <a:pt x="1337" y="461"/>
                  </a:cubicBezTo>
                  <a:moveTo>
                    <a:pt x="1783" y="462"/>
                  </a:moveTo>
                  <a:cubicBezTo>
                    <a:pt x="1783" y="463"/>
                    <a:pt x="1782" y="463"/>
                    <a:pt x="1782" y="463"/>
                  </a:cubicBezTo>
                  <a:cubicBezTo>
                    <a:pt x="1781" y="463"/>
                    <a:pt x="1781" y="464"/>
                    <a:pt x="1781" y="464"/>
                  </a:cubicBezTo>
                  <a:cubicBezTo>
                    <a:pt x="1779" y="466"/>
                    <a:pt x="1778" y="467"/>
                    <a:pt x="1777" y="469"/>
                  </a:cubicBezTo>
                  <a:cubicBezTo>
                    <a:pt x="1777" y="469"/>
                    <a:pt x="1776" y="469"/>
                    <a:pt x="1776" y="470"/>
                  </a:cubicBezTo>
                  <a:cubicBezTo>
                    <a:pt x="1776" y="470"/>
                    <a:pt x="1776" y="470"/>
                    <a:pt x="1776" y="470"/>
                  </a:cubicBezTo>
                  <a:cubicBezTo>
                    <a:pt x="1776" y="470"/>
                    <a:pt x="1777" y="470"/>
                    <a:pt x="1777" y="470"/>
                  </a:cubicBezTo>
                  <a:cubicBezTo>
                    <a:pt x="1779" y="468"/>
                    <a:pt x="1780" y="467"/>
                    <a:pt x="1781" y="465"/>
                  </a:cubicBezTo>
                  <a:cubicBezTo>
                    <a:pt x="1782" y="464"/>
                    <a:pt x="1783" y="463"/>
                    <a:pt x="1783" y="462"/>
                  </a:cubicBezTo>
                  <a:moveTo>
                    <a:pt x="1532" y="463"/>
                  </a:moveTo>
                  <a:cubicBezTo>
                    <a:pt x="1531" y="463"/>
                    <a:pt x="1531" y="463"/>
                    <a:pt x="1530" y="464"/>
                  </a:cubicBezTo>
                  <a:cubicBezTo>
                    <a:pt x="1530" y="464"/>
                    <a:pt x="1529" y="464"/>
                    <a:pt x="1529" y="465"/>
                  </a:cubicBezTo>
                  <a:cubicBezTo>
                    <a:pt x="1530" y="464"/>
                    <a:pt x="1530" y="464"/>
                    <a:pt x="1531" y="464"/>
                  </a:cubicBezTo>
                  <a:cubicBezTo>
                    <a:pt x="1531" y="464"/>
                    <a:pt x="1531" y="463"/>
                    <a:pt x="1532" y="463"/>
                  </a:cubicBezTo>
                  <a:moveTo>
                    <a:pt x="1339" y="464"/>
                  </a:moveTo>
                  <a:cubicBezTo>
                    <a:pt x="1339" y="465"/>
                    <a:pt x="1340" y="465"/>
                    <a:pt x="1340" y="466"/>
                  </a:cubicBezTo>
                  <a:cubicBezTo>
                    <a:pt x="1343" y="469"/>
                    <a:pt x="1345" y="472"/>
                    <a:pt x="1348" y="474"/>
                  </a:cubicBezTo>
                  <a:cubicBezTo>
                    <a:pt x="1348" y="474"/>
                    <a:pt x="1348" y="474"/>
                    <a:pt x="1349" y="474"/>
                  </a:cubicBezTo>
                  <a:cubicBezTo>
                    <a:pt x="1346" y="471"/>
                    <a:pt x="1344" y="469"/>
                    <a:pt x="1341" y="466"/>
                  </a:cubicBezTo>
                  <a:cubicBezTo>
                    <a:pt x="1341" y="465"/>
                    <a:pt x="1340" y="465"/>
                    <a:pt x="1339" y="465"/>
                  </a:cubicBezTo>
                  <a:cubicBezTo>
                    <a:pt x="1339" y="465"/>
                    <a:pt x="1339" y="464"/>
                    <a:pt x="1339" y="464"/>
                  </a:cubicBezTo>
                  <a:moveTo>
                    <a:pt x="1530" y="465"/>
                  </a:moveTo>
                  <a:cubicBezTo>
                    <a:pt x="1529" y="466"/>
                    <a:pt x="1529" y="466"/>
                    <a:pt x="1528" y="466"/>
                  </a:cubicBezTo>
                  <a:cubicBezTo>
                    <a:pt x="1528" y="466"/>
                    <a:pt x="1528" y="466"/>
                    <a:pt x="1528" y="466"/>
                  </a:cubicBezTo>
                  <a:cubicBezTo>
                    <a:pt x="1528" y="466"/>
                    <a:pt x="1529" y="466"/>
                    <a:pt x="1529" y="466"/>
                  </a:cubicBezTo>
                  <a:cubicBezTo>
                    <a:pt x="1529" y="466"/>
                    <a:pt x="1529" y="466"/>
                    <a:pt x="1530" y="465"/>
                  </a:cubicBezTo>
                  <a:moveTo>
                    <a:pt x="1527" y="467"/>
                  </a:moveTo>
                  <a:cubicBezTo>
                    <a:pt x="1526" y="469"/>
                    <a:pt x="1525" y="470"/>
                    <a:pt x="1524" y="472"/>
                  </a:cubicBezTo>
                  <a:cubicBezTo>
                    <a:pt x="1524" y="472"/>
                    <a:pt x="1525" y="472"/>
                    <a:pt x="1525" y="471"/>
                  </a:cubicBezTo>
                  <a:cubicBezTo>
                    <a:pt x="1526" y="470"/>
                    <a:pt x="1527" y="469"/>
                    <a:pt x="1528" y="467"/>
                  </a:cubicBezTo>
                  <a:cubicBezTo>
                    <a:pt x="1528" y="467"/>
                    <a:pt x="1527" y="467"/>
                    <a:pt x="1527" y="467"/>
                  </a:cubicBezTo>
                  <a:moveTo>
                    <a:pt x="1776" y="471"/>
                  </a:moveTo>
                  <a:cubicBezTo>
                    <a:pt x="1776" y="471"/>
                    <a:pt x="1776" y="471"/>
                    <a:pt x="1776" y="471"/>
                  </a:cubicBezTo>
                  <a:cubicBezTo>
                    <a:pt x="1775" y="472"/>
                    <a:pt x="1774" y="473"/>
                    <a:pt x="1773" y="474"/>
                  </a:cubicBezTo>
                  <a:cubicBezTo>
                    <a:pt x="1772" y="475"/>
                    <a:pt x="1772" y="476"/>
                    <a:pt x="1771" y="477"/>
                  </a:cubicBezTo>
                  <a:cubicBezTo>
                    <a:pt x="1771" y="477"/>
                    <a:pt x="1770" y="478"/>
                    <a:pt x="1769" y="479"/>
                  </a:cubicBezTo>
                  <a:cubicBezTo>
                    <a:pt x="1765" y="487"/>
                    <a:pt x="1761" y="494"/>
                    <a:pt x="1758" y="501"/>
                  </a:cubicBezTo>
                  <a:cubicBezTo>
                    <a:pt x="1758" y="501"/>
                    <a:pt x="1759" y="501"/>
                    <a:pt x="1759" y="501"/>
                  </a:cubicBezTo>
                  <a:cubicBezTo>
                    <a:pt x="1761" y="496"/>
                    <a:pt x="1764" y="490"/>
                    <a:pt x="1767" y="485"/>
                  </a:cubicBezTo>
                  <a:cubicBezTo>
                    <a:pt x="1767" y="484"/>
                    <a:pt x="1767" y="484"/>
                    <a:pt x="1767" y="484"/>
                  </a:cubicBezTo>
                  <a:cubicBezTo>
                    <a:pt x="1767" y="483"/>
                    <a:pt x="1768" y="482"/>
                    <a:pt x="1769" y="481"/>
                  </a:cubicBezTo>
                  <a:cubicBezTo>
                    <a:pt x="1770" y="480"/>
                    <a:pt x="1771" y="479"/>
                    <a:pt x="1772" y="477"/>
                  </a:cubicBezTo>
                  <a:cubicBezTo>
                    <a:pt x="1772" y="476"/>
                    <a:pt x="1773" y="476"/>
                    <a:pt x="1774" y="475"/>
                  </a:cubicBezTo>
                  <a:cubicBezTo>
                    <a:pt x="1775" y="473"/>
                    <a:pt x="1775" y="472"/>
                    <a:pt x="1776" y="471"/>
                  </a:cubicBezTo>
                  <a:moveTo>
                    <a:pt x="1524" y="473"/>
                  </a:moveTo>
                  <a:cubicBezTo>
                    <a:pt x="1523" y="474"/>
                    <a:pt x="1523" y="474"/>
                    <a:pt x="1522" y="474"/>
                  </a:cubicBezTo>
                  <a:cubicBezTo>
                    <a:pt x="1522" y="475"/>
                    <a:pt x="1521" y="476"/>
                    <a:pt x="1521" y="477"/>
                  </a:cubicBezTo>
                  <a:cubicBezTo>
                    <a:pt x="1522" y="476"/>
                    <a:pt x="1522" y="475"/>
                    <a:pt x="1523" y="475"/>
                  </a:cubicBezTo>
                  <a:cubicBezTo>
                    <a:pt x="1523" y="474"/>
                    <a:pt x="1524" y="474"/>
                    <a:pt x="1524" y="473"/>
                  </a:cubicBezTo>
                  <a:moveTo>
                    <a:pt x="1349" y="475"/>
                  </a:moveTo>
                  <a:cubicBezTo>
                    <a:pt x="1349" y="475"/>
                    <a:pt x="1349" y="475"/>
                    <a:pt x="1348" y="475"/>
                  </a:cubicBezTo>
                  <a:cubicBezTo>
                    <a:pt x="1350" y="477"/>
                    <a:pt x="1351" y="478"/>
                    <a:pt x="1352" y="480"/>
                  </a:cubicBezTo>
                  <a:cubicBezTo>
                    <a:pt x="1352" y="480"/>
                    <a:pt x="1353" y="480"/>
                    <a:pt x="1353" y="480"/>
                  </a:cubicBezTo>
                  <a:cubicBezTo>
                    <a:pt x="1352" y="478"/>
                    <a:pt x="1350" y="477"/>
                    <a:pt x="1349" y="475"/>
                  </a:cubicBezTo>
                  <a:cubicBezTo>
                    <a:pt x="1349" y="475"/>
                    <a:pt x="1349" y="475"/>
                    <a:pt x="1349" y="475"/>
                  </a:cubicBezTo>
                  <a:moveTo>
                    <a:pt x="1521" y="477"/>
                  </a:moveTo>
                  <a:cubicBezTo>
                    <a:pt x="1521" y="478"/>
                    <a:pt x="1520" y="478"/>
                    <a:pt x="1519" y="479"/>
                  </a:cubicBezTo>
                  <a:cubicBezTo>
                    <a:pt x="1517" y="482"/>
                    <a:pt x="1516" y="485"/>
                    <a:pt x="1514" y="488"/>
                  </a:cubicBezTo>
                  <a:cubicBezTo>
                    <a:pt x="1514" y="488"/>
                    <a:pt x="1514" y="488"/>
                    <a:pt x="1515" y="488"/>
                  </a:cubicBezTo>
                  <a:cubicBezTo>
                    <a:pt x="1515" y="488"/>
                    <a:pt x="1515" y="488"/>
                    <a:pt x="1516" y="487"/>
                  </a:cubicBezTo>
                  <a:cubicBezTo>
                    <a:pt x="1517" y="484"/>
                    <a:pt x="1519" y="481"/>
                    <a:pt x="1521" y="477"/>
                  </a:cubicBezTo>
                  <a:moveTo>
                    <a:pt x="1353" y="480"/>
                  </a:moveTo>
                  <a:cubicBezTo>
                    <a:pt x="1353" y="480"/>
                    <a:pt x="1353" y="481"/>
                    <a:pt x="1353" y="481"/>
                  </a:cubicBezTo>
                  <a:cubicBezTo>
                    <a:pt x="1353" y="481"/>
                    <a:pt x="1353" y="481"/>
                    <a:pt x="1353" y="481"/>
                  </a:cubicBezTo>
                  <a:cubicBezTo>
                    <a:pt x="1355" y="483"/>
                    <a:pt x="1357" y="485"/>
                    <a:pt x="1358" y="487"/>
                  </a:cubicBezTo>
                  <a:cubicBezTo>
                    <a:pt x="1357" y="485"/>
                    <a:pt x="1355" y="483"/>
                    <a:pt x="1353" y="480"/>
                  </a:cubicBezTo>
                  <a:moveTo>
                    <a:pt x="1359" y="486"/>
                  </a:moveTo>
                  <a:cubicBezTo>
                    <a:pt x="1362" y="490"/>
                    <a:pt x="1364" y="493"/>
                    <a:pt x="1367" y="496"/>
                  </a:cubicBezTo>
                  <a:cubicBezTo>
                    <a:pt x="1367" y="496"/>
                    <a:pt x="1368" y="496"/>
                    <a:pt x="1368" y="496"/>
                  </a:cubicBezTo>
                  <a:cubicBezTo>
                    <a:pt x="1365" y="493"/>
                    <a:pt x="1362" y="490"/>
                    <a:pt x="1359" y="486"/>
                  </a:cubicBezTo>
                  <a:moveTo>
                    <a:pt x="1514" y="490"/>
                  </a:moveTo>
                  <a:cubicBezTo>
                    <a:pt x="1513" y="490"/>
                    <a:pt x="1513" y="491"/>
                    <a:pt x="1513" y="491"/>
                  </a:cubicBezTo>
                  <a:cubicBezTo>
                    <a:pt x="1513" y="491"/>
                    <a:pt x="1513" y="491"/>
                    <a:pt x="1513" y="491"/>
                  </a:cubicBezTo>
                  <a:cubicBezTo>
                    <a:pt x="1513" y="491"/>
                    <a:pt x="1514" y="491"/>
                    <a:pt x="1514" y="490"/>
                  </a:cubicBezTo>
                  <a:cubicBezTo>
                    <a:pt x="1514" y="490"/>
                    <a:pt x="1514" y="490"/>
                    <a:pt x="1514" y="490"/>
                  </a:cubicBezTo>
                  <a:cubicBezTo>
                    <a:pt x="1514" y="490"/>
                    <a:pt x="1514" y="490"/>
                    <a:pt x="1514" y="490"/>
                  </a:cubicBezTo>
                  <a:moveTo>
                    <a:pt x="1513" y="492"/>
                  </a:moveTo>
                  <a:cubicBezTo>
                    <a:pt x="1513" y="492"/>
                    <a:pt x="1512" y="492"/>
                    <a:pt x="1512" y="492"/>
                  </a:cubicBezTo>
                  <a:cubicBezTo>
                    <a:pt x="1511" y="493"/>
                    <a:pt x="1511" y="494"/>
                    <a:pt x="1511" y="495"/>
                  </a:cubicBezTo>
                  <a:cubicBezTo>
                    <a:pt x="1511" y="495"/>
                    <a:pt x="1511" y="495"/>
                    <a:pt x="1511" y="495"/>
                  </a:cubicBezTo>
                  <a:cubicBezTo>
                    <a:pt x="1511" y="495"/>
                    <a:pt x="1512" y="495"/>
                    <a:pt x="1512" y="494"/>
                  </a:cubicBezTo>
                  <a:cubicBezTo>
                    <a:pt x="1513" y="493"/>
                    <a:pt x="1513" y="493"/>
                    <a:pt x="1513" y="492"/>
                  </a:cubicBezTo>
                  <a:moveTo>
                    <a:pt x="1511" y="496"/>
                  </a:moveTo>
                  <a:cubicBezTo>
                    <a:pt x="1510" y="496"/>
                    <a:pt x="1510" y="497"/>
                    <a:pt x="1510" y="497"/>
                  </a:cubicBezTo>
                  <a:cubicBezTo>
                    <a:pt x="1509" y="499"/>
                    <a:pt x="1508" y="501"/>
                    <a:pt x="1507" y="503"/>
                  </a:cubicBezTo>
                  <a:cubicBezTo>
                    <a:pt x="1508" y="503"/>
                    <a:pt x="1508" y="503"/>
                    <a:pt x="1509" y="502"/>
                  </a:cubicBezTo>
                  <a:cubicBezTo>
                    <a:pt x="1509" y="501"/>
                    <a:pt x="1510" y="499"/>
                    <a:pt x="1511" y="497"/>
                  </a:cubicBezTo>
                  <a:cubicBezTo>
                    <a:pt x="1511" y="497"/>
                    <a:pt x="1511" y="496"/>
                    <a:pt x="1511" y="496"/>
                  </a:cubicBezTo>
                  <a:moveTo>
                    <a:pt x="1369" y="497"/>
                  </a:moveTo>
                  <a:cubicBezTo>
                    <a:pt x="1368" y="497"/>
                    <a:pt x="1368" y="497"/>
                    <a:pt x="1368" y="497"/>
                  </a:cubicBezTo>
                  <a:cubicBezTo>
                    <a:pt x="1368" y="498"/>
                    <a:pt x="1369" y="499"/>
                    <a:pt x="1369" y="499"/>
                  </a:cubicBezTo>
                  <a:cubicBezTo>
                    <a:pt x="1370" y="500"/>
                    <a:pt x="1371" y="500"/>
                    <a:pt x="1372" y="501"/>
                  </a:cubicBezTo>
                  <a:cubicBezTo>
                    <a:pt x="1372" y="501"/>
                    <a:pt x="1372" y="501"/>
                    <a:pt x="1372" y="501"/>
                  </a:cubicBezTo>
                  <a:cubicBezTo>
                    <a:pt x="1371" y="500"/>
                    <a:pt x="1370" y="498"/>
                    <a:pt x="1369" y="497"/>
                  </a:cubicBezTo>
                  <a:moveTo>
                    <a:pt x="1372" y="502"/>
                  </a:moveTo>
                  <a:cubicBezTo>
                    <a:pt x="1372" y="502"/>
                    <a:pt x="1372" y="502"/>
                    <a:pt x="1372" y="502"/>
                  </a:cubicBezTo>
                  <a:cubicBezTo>
                    <a:pt x="1372" y="503"/>
                    <a:pt x="1373" y="503"/>
                    <a:pt x="1373" y="504"/>
                  </a:cubicBezTo>
                  <a:cubicBezTo>
                    <a:pt x="1374" y="504"/>
                    <a:pt x="1374" y="504"/>
                    <a:pt x="1375" y="504"/>
                  </a:cubicBezTo>
                  <a:cubicBezTo>
                    <a:pt x="1375" y="504"/>
                    <a:pt x="1375" y="504"/>
                    <a:pt x="1375" y="504"/>
                  </a:cubicBezTo>
                  <a:cubicBezTo>
                    <a:pt x="1374" y="503"/>
                    <a:pt x="1373" y="503"/>
                    <a:pt x="1372" y="502"/>
                  </a:cubicBezTo>
                  <a:moveTo>
                    <a:pt x="1759" y="502"/>
                  </a:moveTo>
                  <a:cubicBezTo>
                    <a:pt x="1758" y="502"/>
                    <a:pt x="1758" y="502"/>
                    <a:pt x="1758" y="503"/>
                  </a:cubicBezTo>
                  <a:cubicBezTo>
                    <a:pt x="1754" y="513"/>
                    <a:pt x="1752" y="523"/>
                    <a:pt x="1752" y="534"/>
                  </a:cubicBezTo>
                  <a:cubicBezTo>
                    <a:pt x="1752" y="534"/>
                    <a:pt x="1752" y="535"/>
                    <a:pt x="1752" y="536"/>
                  </a:cubicBezTo>
                  <a:cubicBezTo>
                    <a:pt x="1752" y="536"/>
                    <a:pt x="1753" y="536"/>
                    <a:pt x="1753" y="536"/>
                  </a:cubicBezTo>
                  <a:cubicBezTo>
                    <a:pt x="1753" y="535"/>
                    <a:pt x="1753" y="534"/>
                    <a:pt x="1753" y="534"/>
                  </a:cubicBezTo>
                  <a:cubicBezTo>
                    <a:pt x="1753" y="523"/>
                    <a:pt x="1755" y="512"/>
                    <a:pt x="1759" y="502"/>
                  </a:cubicBezTo>
                  <a:moveTo>
                    <a:pt x="1508" y="505"/>
                  </a:moveTo>
                  <a:cubicBezTo>
                    <a:pt x="1507" y="505"/>
                    <a:pt x="1507" y="505"/>
                    <a:pt x="1506" y="505"/>
                  </a:cubicBezTo>
                  <a:cubicBezTo>
                    <a:pt x="1505" y="508"/>
                    <a:pt x="1504" y="510"/>
                    <a:pt x="1503" y="513"/>
                  </a:cubicBezTo>
                  <a:cubicBezTo>
                    <a:pt x="1504" y="512"/>
                    <a:pt x="1504" y="512"/>
                    <a:pt x="1505" y="512"/>
                  </a:cubicBezTo>
                  <a:cubicBezTo>
                    <a:pt x="1506" y="510"/>
                    <a:pt x="1507" y="507"/>
                    <a:pt x="1508" y="505"/>
                  </a:cubicBezTo>
                  <a:moveTo>
                    <a:pt x="1374" y="505"/>
                  </a:moveTo>
                  <a:cubicBezTo>
                    <a:pt x="1375" y="506"/>
                    <a:pt x="1376" y="507"/>
                    <a:pt x="1377" y="508"/>
                  </a:cubicBezTo>
                  <a:cubicBezTo>
                    <a:pt x="1378" y="509"/>
                    <a:pt x="1379" y="509"/>
                    <a:pt x="1380" y="509"/>
                  </a:cubicBezTo>
                  <a:cubicBezTo>
                    <a:pt x="1378" y="508"/>
                    <a:pt x="1377" y="507"/>
                    <a:pt x="1376" y="505"/>
                  </a:cubicBezTo>
                  <a:cubicBezTo>
                    <a:pt x="1375" y="505"/>
                    <a:pt x="1375" y="505"/>
                    <a:pt x="1374" y="505"/>
                  </a:cubicBezTo>
                  <a:moveTo>
                    <a:pt x="1379" y="510"/>
                  </a:moveTo>
                  <a:cubicBezTo>
                    <a:pt x="1379" y="511"/>
                    <a:pt x="1380" y="511"/>
                    <a:pt x="1380" y="512"/>
                  </a:cubicBezTo>
                  <a:cubicBezTo>
                    <a:pt x="1380" y="511"/>
                    <a:pt x="1381" y="511"/>
                    <a:pt x="1381" y="511"/>
                  </a:cubicBezTo>
                  <a:cubicBezTo>
                    <a:pt x="1380" y="511"/>
                    <a:pt x="1380" y="511"/>
                    <a:pt x="1379" y="510"/>
                  </a:cubicBezTo>
                  <a:moveTo>
                    <a:pt x="1382" y="512"/>
                  </a:moveTo>
                  <a:cubicBezTo>
                    <a:pt x="1382" y="512"/>
                    <a:pt x="1381" y="512"/>
                    <a:pt x="1381" y="513"/>
                  </a:cubicBezTo>
                  <a:cubicBezTo>
                    <a:pt x="1383" y="515"/>
                    <a:pt x="1385" y="517"/>
                    <a:pt x="1388" y="520"/>
                  </a:cubicBezTo>
                  <a:cubicBezTo>
                    <a:pt x="1388" y="519"/>
                    <a:pt x="1388" y="519"/>
                    <a:pt x="1388" y="519"/>
                  </a:cubicBezTo>
                  <a:cubicBezTo>
                    <a:pt x="1386" y="517"/>
                    <a:pt x="1384" y="515"/>
                    <a:pt x="1382" y="512"/>
                  </a:cubicBezTo>
                  <a:moveTo>
                    <a:pt x="1504" y="513"/>
                  </a:moveTo>
                  <a:cubicBezTo>
                    <a:pt x="1504" y="513"/>
                    <a:pt x="1503" y="514"/>
                    <a:pt x="1503" y="514"/>
                  </a:cubicBezTo>
                  <a:cubicBezTo>
                    <a:pt x="1502" y="516"/>
                    <a:pt x="1502" y="517"/>
                    <a:pt x="1501" y="519"/>
                  </a:cubicBezTo>
                  <a:cubicBezTo>
                    <a:pt x="1501" y="519"/>
                    <a:pt x="1502" y="519"/>
                    <a:pt x="1502" y="519"/>
                  </a:cubicBezTo>
                  <a:cubicBezTo>
                    <a:pt x="1503" y="517"/>
                    <a:pt x="1504" y="515"/>
                    <a:pt x="1504" y="513"/>
                  </a:cubicBezTo>
                  <a:moveTo>
                    <a:pt x="1389" y="520"/>
                  </a:moveTo>
                  <a:cubicBezTo>
                    <a:pt x="1389" y="520"/>
                    <a:pt x="1389" y="520"/>
                    <a:pt x="1388" y="520"/>
                  </a:cubicBezTo>
                  <a:cubicBezTo>
                    <a:pt x="1389" y="521"/>
                    <a:pt x="1389" y="522"/>
                    <a:pt x="1390" y="522"/>
                  </a:cubicBezTo>
                  <a:cubicBezTo>
                    <a:pt x="1391" y="522"/>
                    <a:pt x="1392" y="523"/>
                    <a:pt x="1392" y="523"/>
                  </a:cubicBezTo>
                  <a:cubicBezTo>
                    <a:pt x="1391" y="522"/>
                    <a:pt x="1390" y="521"/>
                    <a:pt x="1389" y="520"/>
                  </a:cubicBezTo>
                  <a:moveTo>
                    <a:pt x="1500" y="521"/>
                  </a:moveTo>
                  <a:cubicBezTo>
                    <a:pt x="1500" y="521"/>
                    <a:pt x="1500" y="521"/>
                    <a:pt x="1500" y="522"/>
                  </a:cubicBezTo>
                  <a:cubicBezTo>
                    <a:pt x="1501" y="521"/>
                    <a:pt x="1501" y="521"/>
                    <a:pt x="1501" y="521"/>
                  </a:cubicBezTo>
                  <a:cubicBezTo>
                    <a:pt x="1501" y="521"/>
                    <a:pt x="1501" y="521"/>
                    <a:pt x="1502" y="521"/>
                  </a:cubicBezTo>
                  <a:cubicBezTo>
                    <a:pt x="1501" y="521"/>
                    <a:pt x="1501" y="521"/>
                    <a:pt x="1500" y="521"/>
                  </a:cubicBezTo>
                  <a:moveTo>
                    <a:pt x="1501" y="522"/>
                  </a:moveTo>
                  <a:cubicBezTo>
                    <a:pt x="1501" y="522"/>
                    <a:pt x="1500" y="523"/>
                    <a:pt x="1500" y="523"/>
                  </a:cubicBezTo>
                  <a:cubicBezTo>
                    <a:pt x="1499" y="525"/>
                    <a:pt x="1498" y="527"/>
                    <a:pt x="1498" y="528"/>
                  </a:cubicBezTo>
                  <a:cubicBezTo>
                    <a:pt x="1498" y="528"/>
                    <a:pt x="1499" y="528"/>
                    <a:pt x="1499" y="528"/>
                  </a:cubicBezTo>
                  <a:cubicBezTo>
                    <a:pt x="1500" y="526"/>
                    <a:pt x="1500" y="524"/>
                    <a:pt x="1501" y="522"/>
                  </a:cubicBezTo>
                  <a:moveTo>
                    <a:pt x="1392" y="524"/>
                  </a:moveTo>
                  <a:cubicBezTo>
                    <a:pt x="1392" y="524"/>
                    <a:pt x="1392" y="525"/>
                    <a:pt x="1393" y="525"/>
                  </a:cubicBezTo>
                  <a:cubicBezTo>
                    <a:pt x="1393" y="525"/>
                    <a:pt x="1393" y="525"/>
                    <a:pt x="1394" y="525"/>
                  </a:cubicBezTo>
                  <a:cubicBezTo>
                    <a:pt x="1393" y="525"/>
                    <a:pt x="1392" y="524"/>
                    <a:pt x="1392" y="524"/>
                  </a:cubicBezTo>
                  <a:moveTo>
                    <a:pt x="1395" y="526"/>
                  </a:moveTo>
                  <a:cubicBezTo>
                    <a:pt x="1394" y="526"/>
                    <a:pt x="1394" y="526"/>
                    <a:pt x="1394" y="526"/>
                  </a:cubicBezTo>
                  <a:cubicBezTo>
                    <a:pt x="1394" y="526"/>
                    <a:pt x="1394" y="526"/>
                    <a:pt x="1394" y="526"/>
                  </a:cubicBezTo>
                  <a:cubicBezTo>
                    <a:pt x="1394" y="526"/>
                    <a:pt x="1394" y="526"/>
                    <a:pt x="1395" y="526"/>
                  </a:cubicBezTo>
                  <a:cubicBezTo>
                    <a:pt x="1395" y="526"/>
                    <a:pt x="1395" y="526"/>
                    <a:pt x="1395" y="526"/>
                  </a:cubicBezTo>
                  <a:moveTo>
                    <a:pt x="1395" y="526"/>
                  </a:moveTo>
                  <a:cubicBezTo>
                    <a:pt x="1395" y="527"/>
                    <a:pt x="1395" y="527"/>
                    <a:pt x="1394" y="527"/>
                  </a:cubicBezTo>
                  <a:cubicBezTo>
                    <a:pt x="1395" y="527"/>
                    <a:pt x="1395" y="527"/>
                    <a:pt x="1395" y="528"/>
                  </a:cubicBezTo>
                  <a:cubicBezTo>
                    <a:pt x="1395" y="528"/>
                    <a:pt x="1396" y="527"/>
                    <a:pt x="1396" y="527"/>
                  </a:cubicBezTo>
                  <a:cubicBezTo>
                    <a:pt x="1396" y="527"/>
                    <a:pt x="1396" y="527"/>
                    <a:pt x="1395" y="526"/>
                  </a:cubicBezTo>
                  <a:moveTo>
                    <a:pt x="1397" y="528"/>
                  </a:moveTo>
                  <a:cubicBezTo>
                    <a:pt x="1397" y="528"/>
                    <a:pt x="1396" y="528"/>
                    <a:pt x="1396" y="528"/>
                  </a:cubicBezTo>
                  <a:cubicBezTo>
                    <a:pt x="1397" y="530"/>
                    <a:pt x="1399" y="532"/>
                    <a:pt x="1400" y="533"/>
                  </a:cubicBezTo>
                  <a:cubicBezTo>
                    <a:pt x="1401" y="533"/>
                    <a:pt x="1402" y="534"/>
                    <a:pt x="1403" y="534"/>
                  </a:cubicBezTo>
                  <a:cubicBezTo>
                    <a:pt x="1401" y="532"/>
                    <a:pt x="1399" y="530"/>
                    <a:pt x="1397" y="528"/>
                  </a:cubicBezTo>
                  <a:moveTo>
                    <a:pt x="1499" y="529"/>
                  </a:moveTo>
                  <a:cubicBezTo>
                    <a:pt x="1498" y="529"/>
                    <a:pt x="1498" y="529"/>
                    <a:pt x="1497" y="530"/>
                  </a:cubicBezTo>
                  <a:cubicBezTo>
                    <a:pt x="1497" y="531"/>
                    <a:pt x="1497" y="532"/>
                    <a:pt x="1496" y="534"/>
                  </a:cubicBezTo>
                  <a:cubicBezTo>
                    <a:pt x="1497" y="534"/>
                    <a:pt x="1497" y="533"/>
                    <a:pt x="1497" y="533"/>
                  </a:cubicBezTo>
                  <a:cubicBezTo>
                    <a:pt x="1498" y="532"/>
                    <a:pt x="1498" y="531"/>
                    <a:pt x="1499" y="529"/>
                  </a:cubicBezTo>
                  <a:moveTo>
                    <a:pt x="1402" y="535"/>
                  </a:moveTo>
                  <a:cubicBezTo>
                    <a:pt x="1402" y="535"/>
                    <a:pt x="1403" y="536"/>
                    <a:pt x="1403" y="536"/>
                  </a:cubicBezTo>
                  <a:cubicBezTo>
                    <a:pt x="1403" y="536"/>
                    <a:pt x="1404" y="536"/>
                    <a:pt x="1404" y="536"/>
                  </a:cubicBezTo>
                  <a:cubicBezTo>
                    <a:pt x="1403" y="535"/>
                    <a:pt x="1403" y="535"/>
                    <a:pt x="1402" y="535"/>
                  </a:cubicBezTo>
                  <a:moveTo>
                    <a:pt x="1497" y="535"/>
                  </a:moveTo>
                  <a:cubicBezTo>
                    <a:pt x="1497" y="535"/>
                    <a:pt x="1496" y="535"/>
                    <a:pt x="1496" y="535"/>
                  </a:cubicBezTo>
                  <a:cubicBezTo>
                    <a:pt x="1495" y="536"/>
                    <a:pt x="1495" y="537"/>
                    <a:pt x="1495" y="537"/>
                  </a:cubicBezTo>
                  <a:cubicBezTo>
                    <a:pt x="1495" y="537"/>
                    <a:pt x="1496" y="537"/>
                    <a:pt x="1496" y="537"/>
                  </a:cubicBezTo>
                  <a:cubicBezTo>
                    <a:pt x="1496" y="536"/>
                    <a:pt x="1497" y="536"/>
                    <a:pt x="1497" y="535"/>
                  </a:cubicBezTo>
                  <a:moveTo>
                    <a:pt x="1405" y="536"/>
                  </a:moveTo>
                  <a:cubicBezTo>
                    <a:pt x="1404" y="536"/>
                    <a:pt x="1404" y="537"/>
                    <a:pt x="1404" y="537"/>
                  </a:cubicBezTo>
                  <a:cubicBezTo>
                    <a:pt x="1404" y="537"/>
                    <a:pt x="1404" y="537"/>
                    <a:pt x="1404" y="537"/>
                  </a:cubicBezTo>
                  <a:cubicBezTo>
                    <a:pt x="1405" y="537"/>
                    <a:pt x="1405" y="537"/>
                    <a:pt x="1406" y="537"/>
                  </a:cubicBezTo>
                  <a:cubicBezTo>
                    <a:pt x="1405" y="537"/>
                    <a:pt x="1405" y="537"/>
                    <a:pt x="1405" y="536"/>
                  </a:cubicBezTo>
                  <a:moveTo>
                    <a:pt x="1753" y="537"/>
                  </a:moveTo>
                  <a:cubicBezTo>
                    <a:pt x="1753" y="537"/>
                    <a:pt x="1752" y="537"/>
                    <a:pt x="1752" y="537"/>
                  </a:cubicBezTo>
                  <a:cubicBezTo>
                    <a:pt x="1752" y="545"/>
                    <a:pt x="1754" y="553"/>
                    <a:pt x="1756" y="561"/>
                  </a:cubicBezTo>
                  <a:cubicBezTo>
                    <a:pt x="1756" y="561"/>
                    <a:pt x="1757" y="561"/>
                    <a:pt x="1757" y="561"/>
                  </a:cubicBezTo>
                  <a:cubicBezTo>
                    <a:pt x="1755" y="553"/>
                    <a:pt x="1753" y="545"/>
                    <a:pt x="1753" y="537"/>
                  </a:cubicBezTo>
                  <a:moveTo>
                    <a:pt x="1496" y="538"/>
                  </a:moveTo>
                  <a:cubicBezTo>
                    <a:pt x="1495" y="538"/>
                    <a:pt x="1495" y="538"/>
                    <a:pt x="1495" y="539"/>
                  </a:cubicBezTo>
                  <a:cubicBezTo>
                    <a:pt x="1493" y="543"/>
                    <a:pt x="1492" y="547"/>
                    <a:pt x="1491" y="550"/>
                  </a:cubicBezTo>
                  <a:cubicBezTo>
                    <a:pt x="1491" y="550"/>
                    <a:pt x="1491" y="550"/>
                    <a:pt x="1492" y="550"/>
                  </a:cubicBezTo>
                  <a:cubicBezTo>
                    <a:pt x="1493" y="547"/>
                    <a:pt x="1494" y="542"/>
                    <a:pt x="1496" y="538"/>
                  </a:cubicBezTo>
                  <a:moveTo>
                    <a:pt x="1406" y="538"/>
                  </a:moveTo>
                  <a:cubicBezTo>
                    <a:pt x="1406" y="538"/>
                    <a:pt x="1406" y="538"/>
                    <a:pt x="1406" y="539"/>
                  </a:cubicBezTo>
                  <a:cubicBezTo>
                    <a:pt x="1406" y="539"/>
                    <a:pt x="1407" y="540"/>
                    <a:pt x="1407" y="540"/>
                  </a:cubicBezTo>
                  <a:cubicBezTo>
                    <a:pt x="1408" y="540"/>
                    <a:pt x="1408" y="540"/>
                    <a:pt x="1409" y="540"/>
                  </a:cubicBezTo>
                  <a:cubicBezTo>
                    <a:pt x="1408" y="540"/>
                    <a:pt x="1408" y="539"/>
                    <a:pt x="1407" y="538"/>
                  </a:cubicBezTo>
                  <a:cubicBezTo>
                    <a:pt x="1407" y="538"/>
                    <a:pt x="1407" y="538"/>
                    <a:pt x="1406" y="538"/>
                  </a:cubicBezTo>
                  <a:moveTo>
                    <a:pt x="1410" y="541"/>
                  </a:moveTo>
                  <a:cubicBezTo>
                    <a:pt x="1410" y="541"/>
                    <a:pt x="1410" y="541"/>
                    <a:pt x="1409" y="541"/>
                  </a:cubicBezTo>
                  <a:cubicBezTo>
                    <a:pt x="1410" y="541"/>
                    <a:pt x="1410" y="541"/>
                    <a:pt x="1410" y="541"/>
                  </a:cubicBezTo>
                  <a:cubicBezTo>
                    <a:pt x="1410" y="541"/>
                    <a:pt x="1410" y="541"/>
                    <a:pt x="1410" y="541"/>
                  </a:cubicBezTo>
                  <a:cubicBezTo>
                    <a:pt x="1410" y="541"/>
                    <a:pt x="1410" y="541"/>
                    <a:pt x="1410" y="541"/>
                  </a:cubicBezTo>
                  <a:moveTo>
                    <a:pt x="1410" y="543"/>
                  </a:moveTo>
                  <a:cubicBezTo>
                    <a:pt x="1410" y="543"/>
                    <a:pt x="1410" y="543"/>
                    <a:pt x="1410" y="543"/>
                  </a:cubicBezTo>
                  <a:cubicBezTo>
                    <a:pt x="1410" y="543"/>
                    <a:pt x="1410" y="543"/>
                    <a:pt x="1410" y="543"/>
                  </a:cubicBezTo>
                  <a:cubicBezTo>
                    <a:pt x="1411" y="543"/>
                    <a:pt x="1411" y="543"/>
                    <a:pt x="1411" y="543"/>
                  </a:cubicBezTo>
                  <a:cubicBezTo>
                    <a:pt x="1411" y="543"/>
                    <a:pt x="1411" y="543"/>
                    <a:pt x="1411" y="543"/>
                  </a:cubicBezTo>
                  <a:cubicBezTo>
                    <a:pt x="1411" y="543"/>
                    <a:pt x="1411" y="543"/>
                    <a:pt x="1411" y="543"/>
                  </a:cubicBezTo>
                  <a:cubicBezTo>
                    <a:pt x="1411" y="543"/>
                    <a:pt x="1410" y="543"/>
                    <a:pt x="1410" y="543"/>
                  </a:cubicBezTo>
                  <a:moveTo>
                    <a:pt x="1412" y="545"/>
                  </a:moveTo>
                  <a:cubicBezTo>
                    <a:pt x="1412" y="545"/>
                    <a:pt x="1412" y="545"/>
                    <a:pt x="1412" y="545"/>
                  </a:cubicBezTo>
                  <a:cubicBezTo>
                    <a:pt x="1413" y="545"/>
                    <a:pt x="1414" y="546"/>
                    <a:pt x="1414" y="546"/>
                  </a:cubicBezTo>
                  <a:cubicBezTo>
                    <a:pt x="1414" y="546"/>
                    <a:pt x="1414" y="545"/>
                    <a:pt x="1414" y="545"/>
                  </a:cubicBezTo>
                  <a:cubicBezTo>
                    <a:pt x="1413" y="545"/>
                    <a:pt x="1412" y="545"/>
                    <a:pt x="1412" y="545"/>
                  </a:cubicBezTo>
                  <a:moveTo>
                    <a:pt x="1415" y="547"/>
                  </a:moveTo>
                  <a:cubicBezTo>
                    <a:pt x="1415" y="547"/>
                    <a:pt x="1415" y="547"/>
                    <a:pt x="1415" y="547"/>
                  </a:cubicBezTo>
                  <a:cubicBezTo>
                    <a:pt x="1415" y="547"/>
                    <a:pt x="1415" y="547"/>
                    <a:pt x="1415" y="547"/>
                  </a:cubicBezTo>
                  <a:cubicBezTo>
                    <a:pt x="1415" y="547"/>
                    <a:pt x="1415" y="547"/>
                    <a:pt x="1415" y="547"/>
                  </a:cubicBezTo>
                  <a:moveTo>
                    <a:pt x="1416" y="548"/>
                  </a:moveTo>
                  <a:cubicBezTo>
                    <a:pt x="1416" y="548"/>
                    <a:pt x="1416" y="548"/>
                    <a:pt x="1415" y="548"/>
                  </a:cubicBezTo>
                  <a:cubicBezTo>
                    <a:pt x="1416" y="549"/>
                    <a:pt x="1416" y="549"/>
                    <a:pt x="1417" y="549"/>
                  </a:cubicBezTo>
                  <a:cubicBezTo>
                    <a:pt x="1417" y="549"/>
                    <a:pt x="1417" y="549"/>
                    <a:pt x="1418" y="549"/>
                  </a:cubicBezTo>
                  <a:cubicBezTo>
                    <a:pt x="1417" y="549"/>
                    <a:pt x="1417" y="548"/>
                    <a:pt x="1417" y="548"/>
                  </a:cubicBezTo>
                  <a:cubicBezTo>
                    <a:pt x="1417" y="548"/>
                    <a:pt x="1416" y="548"/>
                    <a:pt x="1416" y="548"/>
                  </a:cubicBezTo>
                  <a:moveTo>
                    <a:pt x="1419" y="550"/>
                  </a:moveTo>
                  <a:cubicBezTo>
                    <a:pt x="1418" y="550"/>
                    <a:pt x="1418" y="550"/>
                    <a:pt x="1418" y="550"/>
                  </a:cubicBezTo>
                  <a:cubicBezTo>
                    <a:pt x="1418" y="551"/>
                    <a:pt x="1419" y="551"/>
                    <a:pt x="1419" y="552"/>
                  </a:cubicBezTo>
                  <a:cubicBezTo>
                    <a:pt x="1420" y="552"/>
                    <a:pt x="1420" y="552"/>
                    <a:pt x="1421" y="552"/>
                  </a:cubicBezTo>
                  <a:cubicBezTo>
                    <a:pt x="1421" y="552"/>
                    <a:pt x="1421" y="552"/>
                    <a:pt x="1421" y="552"/>
                  </a:cubicBezTo>
                  <a:cubicBezTo>
                    <a:pt x="1420" y="551"/>
                    <a:pt x="1420" y="551"/>
                    <a:pt x="1419" y="550"/>
                  </a:cubicBezTo>
                  <a:moveTo>
                    <a:pt x="1490" y="551"/>
                  </a:moveTo>
                  <a:cubicBezTo>
                    <a:pt x="1489" y="554"/>
                    <a:pt x="1488" y="557"/>
                    <a:pt x="1487" y="559"/>
                  </a:cubicBezTo>
                  <a:cubicBezTo>
                    <a:pt x="1488" y="559"/>
                    <a:pt x="1488" y="560"/>
                    <a:pt x="1488" y="560"/>
                  </a:cubicBezTo>
                  <a:cubicBezTo>
                    <a:pt x="1489" y="557"/>
                    <a:pt x="1490" y="554"/>
                    <a:pt x="1491" y="551"/>
                  </a:cubicBezTo>
                  <a:cubicBezTo>
                    <a:pt x="1491" y="551"/>
                    <a:pt x="1491" y="551"/>
                    <a:pt x="1490" y="551"/>
                  </a:cubicBezTo>
                  <a:moveTo>
                    <a:pt x="1421" y="554"/>
                  </a:moveTo>
                  <a:cubicBezTo>
                    <a:pt x="1422" y="555"/>
                    <a:pt x="1424" y="556"/>
                    <a:pt x="1425" y="557"/>
                  </a:cubicBezTo>
                  <a:cubicBezTo>
                    <a:pt x="1425" y="557"/>
                    <a:pt x="1426" y="557"/>
                    <a:pt x="1426" y="556"/>
                  </a:cubicBezTo>
                  <a:cubicBezTo>
                    <a:pt x="1425" y="556"/>
                    <a:pt x="1425" y="555"/>
                    <a:pt x="1424" y="555"/>
                  </a:cubicBezTo>
                  <a:cubicBezTo>
                    <a:pt x="1423" y="554"/>
                    <a:pt x="1422" y="554"/>
                    <a:pt x="1421" y="554"/>
                  </a:cubicBezTo>
                  <a:moveTo>
                    <a:pt x="1427" y="558"/>
                  </a:moveTo>
                  <a:cubicBezTo>
                    <a:pt x="1427" y="558"/>
                    <a:pt x="1427" y="558"/>
                    <a:pt x="1426" y="558"/>
                  </a:cubicBezTo>
                  <a:cubicBezTo>
                    <a:pt x="1427" y="558"/>
                    <a:pt x="1427" y="559"/>
                    <a:pt x="1427" y="559"/>
                  </a:cubicBezTo>
                  <a:cubicBezTo>
                    <a:pt x="1428" y="559"/>
                    <a:pt x="1428" y="560"/>
                    <a:pt x="1429" y="560"/>
                  </a:cubicBezTo>
                  <a:cubicBezTo>
                    <a:pt x="1429" y="560"/>
                    <a:pt x="1429" y="560"/>
                    <a:pt x="1430" y="560"/>
                  </a:cubicBezTo>
                  <a:cubicBezTo>
                    <a:pt x="1429" y="559"/>
                    <a:pt x="1428" y="558"/>
                    <a:pt x="1427" y="558"/>
                  </a:cubicBezTo>
                  <a:moveTo>
                    <a:pt x="1487" y="560"/>
                  </a:moveTo>
                  <a:cubicBezTo>
                    <a:pt x="1487" y="561"/>
                    <a:pt x="1487" y="561"/>
                    <a:pt x="1487" y="561"/>
                  </a:cubicBezTo>
                  <a:cubicBezTo>
                    <a:pt x="1487" y="561"/>
                    <a:pt x="1487" y="562"/>
                    <a:pt x="1488" y="562"/>
                  </a:cubicBezTo>
                  <a:cubicBezTo>
                    <a:pt x="1488" y="561"/>
                    <a:pt x="1488" y="561"/>
                    <a:pt x="1488" y="561"/>
                  </a:cubicBezTo>
                  <a:cubicBezTo>
                    <a:pt x="1488" y="560"/>
                    <a:pt x="1487" y="560"/>
                    <a:pt x="1487" y="560"/>
                  </a:cubicBezTo>
                  <a:moveTo>
                    <a:pt x="1431" y="560"/>
                  </a:moveTo>
                  <a:cubicBezTo>
                    <a:pt x="1430" y="560"/>
                    <a:pt x="1430" y="561"/>
                    <a:pt x="1430" y="561"/>
                  </a:cubicBezTo>
                  <a:cubicBezTo>
                    <a:pt x="1430" y="561"/>
                    <a:pt x="1431" y="561"/>
                    <a:pt x="1431" y="561"/>
                  </a:cubicBezTo>
                  <a:cubicBezTo>
                    <a:pt x="1431" y="561"/>
                    <a:pt x="1431" y="561"/>
                    <a:pt x="1431" y="561"/>
                  </a:cubicBezTo>
                  <a:cubicBezTo>
                    <a:pt x="1431" y="561"/>
                    <a:pt x="1431" y="561"/>
                    <a:pt x="1431" y="560"/>
                  </a:cubicBezTo>
                  <a:moveTo>
                    <a:pt x="1757" y="562"/>
                  </a:moveTo>
                  <a:cubicBezTo>
                    <a:pt x="1757" y="562"/>
                    <a:pt x="1757" y="562"/>
                    <a:pt x="1756" y="562"/>
                  </a:cubicBezTo>
                  <a:cubicBezTo>
                    <a:pt x="1758" y="569"/>
                    <a:pt x="1761" y="575"/>
                    <a:pt x="1765" y="583"/>
                  </a:cubicBezTo>
                  <a:cubicBezTo>
                    <a:pt x="1765" y="583"/>
                    <a:pt x="1765" y="582"/>
                    <a:pt x="1766" y="582"/>
                  </a:cubicBezTo>
                  <a:cubicBezTo>
                    <a:pt x="1762" y="575"/>
                    <a:pt x="1759" y="568"/>
                    <a:pt x="1757" y="562"/>
                  </a:cubicBezTo>
                  <a:moveTo>
                    <a:pt x="1432" y="562"/>
                  </a:moveTo>
                  <a:cubicBezTo>
                    <a:pt x="1432" y="562"/>
                    <a:pt x="1432" y="562"/>
                    <a:pt x="1432" y="562"/>
                  </a:cubicBezTo>
                  <a:cubicBezTo>
                    <a:pt x="1432" y="562"/>
                    <a:pt x="1432" y="562"/>
                    <a:pt x="1432" y="562"/>
                  </a:cubicBezTo>
                  <a:cubicBezTo>
                    <a:pt x="1432" y="562"/>
                    <a:pt x="1432" y="562"/>
                    <a:pt x="1432" y="562"/>
                  </a:cubicBezTo>
                  <a:cubicBezTo>
                    <a:pt x="1432" y="562"/>
                    <a:pt x="1432" y="562"/>
                    <a:pt x="1432" y="562"/>
                  </a:cubicBezTo>
                  <a:moveTo>
                    <a:pt x="1486" y="562"/>
                  </a:moveTo>
                  <a:cubicBezTo>
                    <a:pt x="1486" y="563"/>
                    <a:pt x="1486" y="563"/>
                    <a:pt x="1486" y="564"/>
                  </a:cubicBezTo>
                  <a:cubicBezTo>
                    <a:pt x="1486" y="564"/>
                    <a:pt x="1486" y="564"/>
                    <a:pt x="1486" y="564"/>
                  </a:cubicBezTo>
                  <a:cubicBezTo>
                    <a:pt x="1487" y="564"/>
                    <a:pt x="1487" y="563"/>
                    <a:pt x="1487" y="563"/>
                  </a:cubicBezTo>
                  <a:cubicBezTo>
                    <a:pt x="1487" y="562"/>
                    <a:pt x="1486" y="562"/>
                    <a:pt x="1486" y="562"/>
                  </a:cubicBezTo>
                  <a:moveTo>
                    <a:pt x="1432" y="563"/>
                  </a:moveTo>
                  <a:cubicBezTo>
                    <a:pt x="1432" y="563"/>
                    <a:pt x="1432" y="563"/>
                    <a:pt x="1432" y="563"/>
                  </a:cubicBezTo>
                  <a:cubicBezTo>
                    <a:pt x="1433" y="564"/>
                    <a:pt x="1433" y="564"/>
                    <a:pt x="1434" y="564"/>
                  </a:cubicBezTo>
                  <a:cubicBezTo>
                    <a:pt x="1434" y="564"/>
                    <a:pt x="1434" y="564"/>
                    <a:pt x="1435" y="564"/>
                  </a:cubicBezTo>
                  <a:cubicBezTo>
                    <a:pt x="1434" y="564"/>
                    <a:pt x="1433" y="563"/>
                    <a:pt x="1432" y="563"/>
                  </a:cubicBezTo>
                  <a:moveTo>
                    <a:pt x="1485" y="565"/>
                  </a:moveTo>
                  <a:cubicBezTo>
                    <a:pt x="1485" y="565"/>
                    <a:pt x="1484" y="566"/>
                    <a:pt x="1484" y="567"/>
                  </a:cubicBezTo>
                  <a:cubicBezTo>
                    <a:pt x="1484" y="567"/>
                    <a:pt x="1484" y="567"/>
                    <a:pt x="1485" y="567"/>
                  </a:cubicBezTo>
                  <a:cubicBezTo>
                    <a:pt x="1485" y="567"/>
                    <a:pt x="1485" y="567"/>
                    <a:pt x="1485" y="567"/>
                  </a:cubicBezTo>
                  <a:cubicBezTo>
                    <a:pt x="1485" y="566"/>
                    <a:pt x="1486" y="566"/>
                    <a:pt x="1486" y="565"/>
                  </a:cubicBezTo>
                  <a:cubicBezTo>
                    <a:pt x="1486" y="565"/>
                    <a:pt x="1485" y="565"/>
                    <a:pt x="1485" y="565"/>
                  </a:cubicBezTo>
                  <a:moveTo>
                    <a:pt x="1436" y="565"/>
                  </a:moveTo>
                  <a:cubicBezTo>
                    <a:pt x="1435" y="565"/>
                    <a:pt x="1435" y="565"/>
                    <a:pt x="1435" y="565"/>
                  </a:cubicBezTo>
                  <a:cubicBezTo>
                    <a:pt x="1437" y="567"/>
                    <a:pt x="1439" y="568"/>
                    <a:pt x="1441" y="570"/>
                  </a:cubicBezTo>
                  <a:cubicBezTo>
                    <a:pt x="1441" y="570"/>
                    <a:pt x="1442" y="570"/>
                    <a:pt x="1443" y="570"/>
                  </a:cubicBezTo>
                  <a:cubicBezTo>
                    <a:pt x="1440" y="568"/>
                    <a:pt x="1438" y="567"/>
                    <a:pt x="1436" y="565"/>
                  </a:cubicBezTo>
                  <a:moveTo>
                    <a:pt x="1483" y="568"/>
                  </a:moveTo>
                  <a:cubicBezTo>
                    <a:pt x="1483" y="568"/>
                    <a:pt x="1483" y="568"/>
                    <a:pt x="1483" y="569"/>
                  </a:cubicBezTo>
                  <a:cubicBezTo>
                    <a:pt x="1483" y="569"/>
                    <a:pt x="1484" y="569"/>
                    <a:pt x="1484" y="569"/>
                  </a:cubicBezTo>
                  <a:cubicBezTo>
                    <a:pt x="1484" y="569"/>
                    <a:pt x="1484" y="568"/>
                    <a:pt x="1484" y="568"/>
                  </a:cubicBezTo>
                  <a:cubicBezTo>
                    <a:pt x="1484" y="568"/>
                    <a:pt x="1484" y="568"/>
                    <a:pt x="1483" y="568"/>
                  </a:cubicBezTo>
                  <a:moveTo>
                    <a:pt x="1482" y="570"/>
                  </a:moveTo>
                  <a:cubicBezTo>
                    <a:pt x="1481" y="571"/>
                    <a:pt x="1481" y="572"/>
                    <a:pt x="1480" y="573"/>
                  </a:cubicBezTo>
                  <a:cubicBezTo>
                    <a:pt x="1480" y="573"/>
                    <a:pt x="1480" y="573"/>
                    <a:pt x="1481" y="573"/>
                  </a:cubicBezTo>
                  <a:cubicBezTo>
                    <a:pt x="1482" y="572"/>
                    <a:pt x="1482" y="571"/>
                    <a:pt x="1483" y="570"/>
                  </a:cubicBezTo>
                  <a:cubicBezTo>
                    <a:pt x="1483" y="570"/>
                    <a:pt x="1483" y="570"/>
                    <a:pt x="1482" y="570"/>
                  </a:cubicBezTo>
                  <a:moveTo>
                    <a:pt x="1442" y="571"/>
                  </a:moveTo>
                  <a:cubicBezTo>
                    <a:pt x="1446" y="573"/>
                    <a:pt x="1449" y="575"/>
                    <a:pt x="1451" y="576"/>
                  </a:cubicBezTo>
                  <a:cubicBezTo>
                    <a:pt x="1453" y="577"/>
                    <a:pt x="1454" y="578"/>
                    <a:pt x="1456" y="578"/>
                  </a:cubicBezTo>
                  <a:cubicBezTo>
                    <a:pt x="1456" y="579"/>
                    <a:pt x="1457" y="579"/>
                    <a:pt x="1458" y="579"/>
                  </a:cubicBezTo>
                  <a:cubicBezTo>
                    <a:pt x="1459" y="580"/>
                    <a:pt x="1460" y="580"/>
                    <a:pt x="1461" y="580"/>
                  </a:cubicBezTo>
                  <a:cubicBezTo>
                    <a:pt x="1463" y="581"/>
                    <a:pt x="1465" y="581"/>
                    <a:pt x="1466" y="581"/>
                  </a:cubicBezTo>
                  <a:cubicBezTo>
                    <a:pt x="1471" y="581"/>
                    <a:pt x="1474" y="579"/>
                    <a:pt x="1477" y="577"/>
                  </a:cubicBezTo>
                  <a:cubicBezTo>
                    <a:pt x="1477" y="577"/>
                    <a:pt x="1476" y="577"/>
                    <a:pt x="1476" y="577"/>
                  </a:cubicBezTo>
                  <a:cubicBezTo>
                    <a:pt x="1473" y="579"/>
                    <a:pt x="1470" y="580"/>
                    <a:pt x="1467" y="580"/>
                  </a:cubicBezTo>
                  <a:cubicBezTo>
                    <a:pt x="1466" y="580"/>
                    <a:pt x="1466" y="580"/>
                    <a:pt x="1466" y="580"/>
                  </a:cubicBezTo>
                  <a:cubicBezTo>
                    <a:pt x="1466" y="580"/>
                    <a:pt x="1466" y="580"/>
                    <a:pt x="1466" y="580"/>
                  </a:cubicBezTo>
                  <a:cubicBezTo>
                    <a:pt x="1464" y="580"/>
                    <a:pt x="1461" y="579"/>
                    <a:pt x="1459" y="578"/>
                  </a:cubicBezTo>
                  <a:cubicBezTo>
                    <a:pt x="1458" y="578"/>
                    <a:pt x="1457" y="578"/>
                    <a:pt x="1456" y="577"/>
                  </a:cubicBezTo>
                  <a:cubicBezTo>
                    <a:pt x="1455" y="577"/>
                    <a:pt x="1453" y="576"/>
                    <a:pt x="1452" y="576"/>
                  </a:cubicBezTo>
                  <a:cubicBezTo>
                    <a:pt x="1450" y="575"/>
                    <a:pt x="1448" y="574"/>
                    <a:pt x="1446" y="572"/>
                  </a:cubicBezTo>
                  <a:cubicBezTo>
                    <a:pt x="1446" y="572"/>
                    <a:pt x="1445" y="571"/>
                    <a:pt x="1444" y="571"/>
                  </a:cubicBezTo>
                  <a:cubicBezTo>
                    <a:pt x="1444" y="571"/>
                    <a:pt x="1443" y="571"/>
                    <a:pt x="1442" y="571"/>
                  </a:cubicBezTo>
                  <a:moveTo>
                    <a:pt x="1479" y="574"/>
                  </a:moveTo>
                  <a:cubicBezTo>
                    <a:pt x="1478" y="575"/>
                    <a:pt x="1478" y="575"/>
                    <a:pt x="1477" y="576"/>
                  </a:cubicBezTo>
                  <a:cubicBezTo>
                    <a:pt x="1477" y="576"/>
                    <a:pt x="1478" y="576"/>
                    <a:pt x="1478" y="576"/>
                  </a:cubicBezTo>
                  <a:cubicBezTo>
                    <a:pt x="1479" y="576"/>
                    <a:pt x="1479" y="575"/>
                    <a:pt x="1480" y="574"/>
                  </a:cubicBezTo>
                  <a:cubicBezTo>
                    <a:pt x="1480" y="574"/>
                    <a:pt x="1479" y="574"/>
                    <a:pt x="1479" y="574"/>
                  </a:cubicBezTo>
                  <a:moveTo>
                    <a:pt x="1766" y="583"/>
                  </a:moveTo>
                  <a:cubicBezTo>
                    <a:pt x="1766" y="583"/>
                    <a:pt x="1765" y="583"/>
                    <a:pt x="1765" y="583"/>
                  </a:cubicBezTo>
                  <a:cubicBezTo>
                    <a:pt x="1771" y="596"/>
                    <a:pt x="1779" y="608"/>
                    <a:pt x="1790" y="621"/>
                  </a:cubicBezTo>
                  <a:cubicBezTo>
                    <a:pt x="1790" y="621"/>
                    <a:pt x="1790" y="621"/>
                    <a:pt x="1791" y="621"/>
                  </a:cubicBezTo>
                  <a:cubicBezTo>
                    <a:pt x="1780" y="608"/>
                    <a:pt x="1772" y="595"/>
                    <a:pt x="1766" y="583"/>
                  </a:cubicBezTo>
                  <a:moveTo>
                    <a:pt x="1211" y="598"/>
                  </a:moveTo>
                  <a:cubicBezTo>
                    <a:pt x="1211" y="598"/>
                    <a:pt x="1211" y="598"/>
                    <a:pt x="1210" y="599"/>
                  </a:cubicBezTo>
                  <a:cubicBezTo>
                    <a:pt x="1215" y="600"/>
                    <a:pt x="1221" y="600"/>
                    <a:pt x="1226" y="601"/>
                  </a:cubicBezTo>
                  <a:cubicBezTo>
                    <a:pt x="1226" y="601"/>
                    <a:pt x="1227" y="601"/>
                    <a:pt x="1227" y="601"/>
                  </a:cubicBezTo>
                  <a:cubicBezTo>
                    <a:pt x="1222" y="600"/>
                    <a:pt x="1217" y="599"/>
                    <a:pt x="1211" y="598"/>
                  </a:cubicBezTo>
                  <a:moveTo>
                    <a:pt x="1229" y="601"/>
                  </a:moveTo>
                  <a:cubicBezTo>
                    <a:pt x="1228" y="601"/>
                    <a:pt x="1228" y="601"/>
                    <a:pt x="1228" y="602"/>
                  </a:cubicBezTo>
                  <a:cubicBezTo>
                    <a:pt x="1232" y="602"/>
                    <a:pt x="1237" y="603"/>
                    <a:pt x="1242" y="604"/>
                  </a:cubicBezTo>
                  <a:cubicBezTo>
                    <a:pt x="1243" y="604"/>
                    <a:pt x="1243" y="604"/>
                    <a:pt x="1244" y="603"/>
                  </a:cubicBezTo>
                  <a:cubicBezTo>
                    <a:pt x="1239" y="602"/>
                    <a:pt x="1234" y="602"/>
                    <a:pt x="1229" y="601"/>
                  </a:cubicBezTo>
                  <a:moveTo>
                    <a:pt x="1245" y="604"/>
                  </a:moveTo>
                  <a:cubicBezTo>
                    <a:pt x="1245" y="604"/>
                    <a:pt x="1244" y="604"/>
                    <a:pt x="1244" y="604"/>
                  </a:cubicBezTo>
                  <a:cubicBezTo>
                    <a:pt x="1249" y="605"/>
                    <a:pt x="1254" y="606"/>
                    <a:pt x="1259" y="607"/>
                  </a:cubicBezTo>
                  <a:cubicBezTo>
                    <a:pt x="1260" y="606"/>
                    <a:pt x="1260" y="606"/>
                    <a:pt x="1261" y="606"/>
                  </a:cubicBezTo>
                  <a:cubicBezTo>
                    <a:pt x="1256" y="605"/>
                    <a:pt x="1250" y="604"/>
                    <a:pt x="1245" y="604"/>
                  </a:cubicBezTo>
                  <a:moveTo>
                    <a:pt x="1262" y="606"/>
                  </a:moveTo>
                  <a:cubicBezTo>
                    <a:pt x="1262" y="606"/>
                    <a:pt x="1261" y="607"/>
                    <a:pt x="1261" y="607"/>
                  </a:cubicBezTo>
                  <a:cubicBezTo>
                    <a:pt x="1265" y="608"/>
                    <a:pt x="1269" y="608"/>
                    <a:pt x="1273" y="609"/>
                  </a:cubicBezTo>
                  <a:cubicBezTo>
                    <a:pt x="1273" y="608"/>
                    <a:pt x="1274" y="608"/>
                    <a:pt x="1274" y="608"/>
                  </a:cubicBezTo>
                  <a:cubicBezTo>
                    <a:pt x="1270" y="607"/>
                    <a:pt x="1266" y="607"/>
                    <a:pt x="1262" y="606"/>
                  </a:cubicBezTo>
                  <a:moveTo>
                    <a:pt x="1276" y="608"/>
                  </a:moveTo>
                  <a:cubicBezTo>
                    <a:pt x="1275" y="608"/>
                    <a:pt x="1275" y="609"/>
                    <a:pt x="1274" y="609"/>
                  </a:cubicBezTo>
                  <a:cubicBezTo>
                    <a:pt x="1278" y="610"/>
                    <a:pt x="1281" y="610"/>
                    <a:pt x="1284" y="610"/>
                  </a:cubicBezTo>
                  <a:cubicBezTo>
                    <a:pt x="1285" y="610"/>
                    <a:pt x="1285" y="610"/>
                    <a:pt x="1286" y="610"/>
                  </a:cubicBezTo>
                  <a:cubicBezTo>
                    <a:pt x="1286" y="610"/>
                    <a:pt x="1286" y="610"/>
                    <a:pt x="1286" y="610"/>
                  </a:cubicBezTo>
                  <a:cubicBezTo>
                    <a:pt x="1282" y="609"/>
                    <a:pt x="1279" y="609"/>
                    <a:pt x="1276" y="608"/>
                  </a:cubicBezTo>
                  <a:moveTo>
                    <a:pt x="1288" y="610"/>
                  </a:moveTo>
                  <a:cubicBezTo>
                    <a:pt x="1287" y="610"/>
                    <a:pt x="1287" y="610"/>
                    <a:pt x="1287" y="610"/>
                  </a:cubicBezTo>
                  <a:cubicBezTo>
                    <a:pt x="1287" y="610"/>
                    <a:pt x="1288" y="611"/>
                    <a:pt x="1288" y="611"/>
                  </a:cubicBezTo>
                  <a:cubicBezTo>
                    <a:pt x="1290" y="611"/>
                    <a:pt x="1293" y="612"/>
                    <a:pt x="1295" y="612"/>
                  </a:cubicBezTo>
                  <a:cubicBezTo>
                    <a:pt x="1296" y="612"/>
                    <a:pt x="1296" y="611"/>
                    <a:pt x="1296" y="611"/>
                  </a:cubicBezTo>
                  <a:cubicBezTo>
                    <a:pt x="1293" y="611"/>
                    <a:pt x="1290" y="610"/>
                    <a:pt x="1288" y="610"/>
                  </a:cubicBezTo>
                  <a:moveTo>
                    <a:pt x="1297" y="611"/>
                  </a:moveTo>
                  <a:cubicBezTo>
                    <a:pt x="1297" y="611"/>
                    <a:pt x="1296" y="612"/>
                    <a:pt x="1296" y="612"/>
                  </a:cubicBezTo>
                  <a:cubicBezTo>
                    <a:pt x="1296" y="612"/>
                    <a:pt x="1297" y="612"/>
                    <a:pt x="1297" y="612"/>
                  </a:cubicBezTo>
                  <a:cubicBezTo>
                    <a:pt x="1297" y="612"/>
                    <a:pt x="1298" y="612"/>
                    <a:pt x="1298" y="611"/>
                  </a:cubicBezTo>
                  <a:cubicBezTo>
                    <a:pt x="1298" y="611"/>
                    <a:pt x="1297" y="611"/>
                    <a:pt x="1297" y="611"/>
                  </a:cubicBezTo>
                  <a:moveTo>
                    <a:pt x="1300" y="612"/>
                  </a:moveTo>
                  <a:cubicBezTo>
                    <a:pt x="1299" y="612"/>
                    <a:pt x="1299" y="612"/>
                    <a:pt x="1298" y="612"/>
                  </a:cubicBezTo>
                  <a:cubicBezTo>
                    <a:pt x="1300" y="613"/>
                    <a:pt x="1301" y="613"/>
                    <a:pt x="1303" y="613"/>
                  </a:cubicBezTo>
                  <a:cubicBezTo>
                    <a:pt x="1302" y="613"/>
                    <a:pt x="1302" y="612"/>
                    <a:pt x="1301" y="612"/>
                  </a:cubicBezTo>
                  <a:cubicBezTo>
                    <a:pt x="1301" y="612"/>
                    <a:pt x="1300" y="612"/>
                    <a:pt x="1300" y="612"/>
                  </a:cubicBezTo>
                  <a:moveTo>
                    <a:pt x="1303" y="612"/>
                  </a:moveTo>
                  <a:cubicBezTo>
                    <a:pt x="1304" y="612"/>
                    <a:pt x="1304" y="613"/>
                    <a:pt x="1305" y="613"/>
                  </a:cubicBezTo>
                  <a:cubicBezTo>
                    <a:pt x="1306" y="613"/>
                    <a:pt x="1307" y="614"/>
                    <a:pt x="1308" y="614"/>
                  </a:cubicBezTo>
                  <a:cubicBezTo>
                    <a:pt x="1308" y="613"/>
                    <a:pt x="1309" y="613"/>
                    <a:pt x="1309" y="613"/>
                  </a:cubicBezTo>
                  <a:cubicBezTo>
                    <a:pt x="1307" y="613"/>
                    <a:pt x="1305" y="612"/>
                    <a:pt x="1303" y="612"/>
                  </a:cubicBezTo>
                  <a:moveTo>
                    <a:pt x="1311" y="613"/>
                  </a:moveTo>
                  <a:cubicBezTo>
                    <a:pt x="1310" y="613"/>
                    <a:pt x="1310" y="614"/>
                    <a:pt x="1309" y="614"/>
                  </a:cubicBezTo>
                  <a:cubicBezTo>
                    <a:pt x="1310" y="614"/>
                    <a:pt x="1311" y="614"/>
                    <a:pt x="1311" y="614"/>
                  </a:cubicBezTo>
                  <a:cubicBezTo>
                    <a:pt x="1311" y="614"/>
                    <a:pt x="1312" y="613"/>
                    <a:pt x="1312" y="613"/>
                  </a:cubicBezTo>
                  <a:cubicBezTo>
                    <a:pt x="1312" y="613"/>
                    <a:pt x="1311" y="613"/>
                    <a:pt x="1311" y="613"/>
                  </a:cubicBezTo>
                  <a:moveTo>
                    <a:pt x="1313" y="613"/>
                  </a:moveTo>
                  <a:cubicBezTo>
                    <a:pt x="1313" y="614"/>
                    <a:pt x="1313" y="614"/>
                    <a:pt x="1312" y="614"/>
                  </a:cubicBezTo>
                  <a:cubicBezTo>
                    <a:pt x="1314" y="614"/>
                    <a:pt x="1316" y="615"/>
                    <a:pt x="1318" y="615"/>
                  </a:cubicBezTo>
                  <a:cubicBezTo>
                    <a:pt x="1319" y="615"/>
                    <a:pt x="1319" y="614"/>
                    <a:pt x="1320" y="614"/>
                  </a:cubicBezTo>
                  <a:cubicBezTo>
                    <a:pt x="1317" y="614"/>
                    <a:pt x="1315" y="614"/>
                    <a:pt x="1313" y="613"/>
                  </a:cubicBezTo>
                  <a:moveTo>
                    <a:pt x="1321" y="614"/>
                  </a:moveTo>
                  <a:cubicBezTo>
                    <a:pt x="1321" y="615"/>
                    <a:pt x="1320" y="615"/>
                    <a:pt x="1320" y="615"/>
                  </a:cubicBezTo>
                  <a:cubicBezTo>
                    <a:pt x="1323" y="616"/>
                    <a:pt x="1326" y="616"/>
                    <a:pt x="1329" y="616"/>
                  </a:cubicBezTo>
                  <a:cubicBezTo>
                    <a:pt x="1330" y="616"/>
                    <a:pt x="1330" y="616"/>
                    <a:pt x="1331" y="615"/>
                  </a:cubicBezTo>
                  <a:cubicBezTo>
                    <a:pt x="1328" y="615"/>
                    <a:pt x="1324" y="615"/>
                    <a:pt x="1321" y="614"/>
                  </a:cubicBezTo>
                  <a:moveTo>
                    <a:pt x="1333" y="616"/>
                  </a:moveTo>
                  <a:cubicBezTo>
                    <a:pt x="1333" y="616"/>
                    <a:pt x="1332" y="616"/>
                    <a:pt x="1332" y="617"/>
                  </a:cubicBezTo>
                  <a:cubicBezTo>
                    <a:pt x="1335" y="617"/>
                    <a:pt x="1337" y="617"/>
                    <a:pt x="1339" y="618"/>
                  </a:cubicBezTo>
                  <a:cubicBezTo>
                    <a:pt x="1338" y="617"/>
                    <a:pt x="1337" y="617"/>
                    <a:pt x="1337" y="616"/>
                  </a:cubicBezTo>
                  <a:cubicBezTo>
                    <a:pt x="1335" y="616"/>
                    <a:pt x="1334" y="616"/>
                    <a:pt x="1333" y="616"/>
                  </a:cubicBezTo>
                  <a:moveTo>
                    <a:pt x="1331" y="616"/>
                  </a:moveTo>
                  <a:cubicBezTo>
                    <a:pt x="1331" y="616"/>
                    <a:pt x="1331" y="617"/>
                    <a:pt x="1331" y="617"/>
                  </a:cubicBezTo>
                  <a:cubicBezTo>
                    <a:pt x="1331" y="617"/>
                    <a:pt x="1331" y="617"/>
                    <a:pt x="1331" y="617"/>
                  </a:cubicBezTo>
                  <a:cubicBezTo>
                    <a:pt x="1331" y="617"/>
                    <a:pt x="1331" y="616"/>
                    <a:pt x="1331" y="616"/>
                  </a:cubicBezTo>
                  <a:moveTo>
                    <a:pt x="1340" y="617"/>
                  </a:moveTo>
                  <a:cubicBezTo>
                    <a:pt x="1341" y="617"/>
                    <a:pt x="1342" y="617"/>
                    <a:pt x="1343" y="618"/>
                  </a:cubicBezTo>
                  <a:cubicBezTo>
                    <a:pt x="1362" y="620"/>
                    <a:pt x="1379" y="622"/>
                    <a:pt x="1396" y="623"/>
                  </a:cubicBezTo>
                  <a:cubicBezTo>
                    <a:pt x="1394" y="623"/>
                    <a:pt x="1393" y="622"/>
                    <a:pt x="1392" y="622"/>
                  </a:cubicBezTo>
                  <a:cubicBezTo>
                    <a:pt x="1376" y="620"/>
                    <a:pt x="1359" y="619"/>
                    <a:pt x="1340" y="617"/>
                  </a:cubicBezTo>
                  <a:moveTo>
                    <a:pt x="1791" y="622"/>
                  </a:moveTo>
                  <a:cubicBezTo>
                    <a:pt x="1791" y="622"/>
                    <a:pt x="1791" y="622"/>
                    <a:pt x="1790" y="622"/>
                  </a:cubicBezTo>
                  <a:cubicBezTo>
                    <a:pt x="1793" y="626"/>
                    <a:pt x="1796" y="629"/>
                    <a:pt x="1799" y="633"/>
                  </a:cubicBezTo>
                  <a:cubicBezTo>
                    <a:pt x="1800" y="633"/>
                    <a:pt x="1800" y="633"/>
                    <a:pt x="1800" y="632"/>
                  </a:cubicBezTo>
                  <a:cubicBezTo>
                    <a:pt x="1797" y="629"/>
                    <a:pt x="1794" y="625"/>
                    <a:pt x="1791" y="622"/>
                  </a:cubicBezTo>
                  <a:moveTo>
                    <a:pt x="1396" y="622"/>
                  </a:moveTo>
                  <a:cubicBezTo>
                    <a:pt x="1397" y="623"/>
                    <a:pt x="1398" y="623"/>
                    <a:pt x="1399" y="623"/>
                  </a:cubicBezTo>
                  <a:cubicBezTo>
                    <a:pt x="1412" y="625"/>
                    <a:pt x="1423" y="625"/>
                    <a:pt x="1434" y="626"/>
                  </a:cubicBezTo>
                  <a:cubicBezTo>
                    <a:pt x="1445" y="627"/>
                    <a:pt x="1455" y="628"/>
                    <a:pt x="1464" y="628"/>
                  </a:cubicBezTo>
                  <a:cubicBezTo>
                    <a:pt x="1462" y="628"/>
                    <a:pt x="1461" y="627"/>
                    <a:pt x="1460" y="627"/>
                  </a:cubicBezTo>
                  <a:cubicBezTo>
                    <a:pt x="1442" y="626"/>
                    <a:pt x="1421" y="624"/>
                    <a:pt x="1396" y="622"/>
                  </a:cubicBezTo>
                  <a:moveTo>
                    <a:pt x="1464" y="627"/>
                  </a:moveTo>
                  <a:cubicBezTo>
                    <a:pt x="1465" y="627"/>
                    <a:pt x="1466" y="628"/>
                    <a:pt x="1467" y="628"/>
                  </a:cubicBezTo>
                  <a:cubicBezTo>
                    <a:pt x="1480" y="629"/>
                    <a:pt x="1491" y="630"/>
                    <a:pt x="1499" y="630"/>
                  </a:cubicBezTo>
                  <a:cubicBezTo>
                    <a:pt x="1507" y="631"/>
                    <a:pt x="1512" y="632"/>
                    <a:pt x="1516" y="632"/>
                  </a:cubicBezTo>
                  <a:cubicBezTo>
                    <a:pt x="1520" y="633"/>
                    <a:pt x="1521" y="634"/>
                    <a:pt x="1521" y="635"/>
                  </a:cubicBezTo>
                  <a:cubicBezTo>
                    <a:pt x="1521" y="635"/>
                    <a:pt x="1521" y="635"/>
                    <a:pt x="1521" y="635"/>
                  </a:cubicBezTo>
                  <a:cubicBezTo>
                    <a:pt x="1522" y="635"/>
                    <a:pt x="1522" y="635"/>
                    <a:pt x="1522" y="635"/>
                  </a:cubicBezTo>
                  <a:cubicBezTo>
                    <a:pt x="1522" y="632"/>
                    <a:pt x="1514" y="631"/>
                    <a:pt x="1500" y="629"/>
                  </a:cubicBezTo>
                  <a:cubicBezTo>
                    <a:pt x="1490" y="629"/>
                    <a:pt x="1478" y="628"/>
                    <a:pt x="1464" y="627"/>
                  </a:cubicBezTo>
                  <a:moveTo>
                    <a:pt x="1801" y="633"/>
                  </a:moveTo>
                  <a:cubicBezTo>
                    <a:pt x="1801" y="633"/>
                    <a:pt x="1800" y="634"/>
                    <a:pt x="1800" y="634"/>
                  </a:cubicBezTo>
                  <a:cubicBezTo>
                    <a:pt x="1801" y="635"/>
                    <a:pt x="1802" y="636"/>
                    <a:pt x="1803" y="637"/>
                  </a:cubicBezTo>
                  <a:cubicBezTo>
                    <a:pt x="1803" y="637"/>
                    <a:pt x="1804" y="637"/>
                    <a:pt x="1804" y="637"/>
                  </a:cubicBezTo>
                  <a:cubicBezTo>
                    <a:pt x="1803" y="636"/>
                    <a:pt x="1802" y="634"/>
                    <a:pt x="1801" y="633"/>
                  </a:cubicBezTo>
                  <a:moveTo>
                    <a:pt x="1522" y="636"/>
                  </a:moveTo>
                  <a:cubicBezTo>
                    <a:pt x="1521" y="636"/>
                    <a:pt x="1521" y="637"/>
                    <a:pt x="1520" y="637"/>
                  </a:cubicBezTo>
                  <a:cubicBezTo>
                    <a:pt x="1518" y="639"/>
                    <a:pt x="1515" y="640"/>
                    <a:pt x="1510" y="643"/>
                  </a:cubicBezTo>
                  <a:cubicBezTo>
                    <a:pt x="1510" y="643"/>
                    <a:pt x="1511" y="643"/>
                    <a:pt x="1511" y="643"/>
                  </a:cubicBezTo>
                  <a:cubicBezTo>
                    <a:pt x="1518" y="640"/>
                    <a:pt x="1521" y="638"/>
                    <a:pt x="1522" y="636"/>
                  </a:cubicBezTo>
                  <a:moveTo>
                    <a:pt x="1805" y="638"/>
                  </a:moveTo>
                  <a:cubicBezTo>
                    <a:pt x="1805" y="638"/>
                    <a:pt x="1804" y="638"/>
                    <a:pt x="1804" y="638"/>
                  </a:cubicBezTo>
                  <a:cubicBezTo>
                    <a:pt x="1804" y="638"/>
                    <a:pt x="1805" y="639"/>
                    <a:pt x="1805" y="639"/>
                  </a:cubicBezTo>
                  <a:cubicBezTo>
                    <a:pt x="1807" y="641"/>
                    <a:pt x="1808" y="643"/>
                    <a:pt x="1810" y="644"/>
                  </a:cubicBezTo>
                  <a:cubicBezTo>
                    <a:pt x="1810" y="644"/>
                    <a:pt x="1811" y="644"/>
                    <a:pt x="1811" y="644"/>
                  </a:cubicBezTo>
                  <a:cubicBezTo>
                    <a:pt x="1809" y="642"/>
                    <a:pt x="1808" y="640"/>
                    <a:pt x="1806" y="639"/>
                  </a:cubicBezTo>
                  <a:cubicBezTo>
                    <a:pt x="1806" y="638"/>
                    <a:pt x="1805" y="638"/>
                    <a:pt x="1805" y="638"/>
                  </a:cubicBezTo>
                  <a:moveTo>
                    <a:pt x="1508" y="644"/>
                  </a:moveTo>
                  <a:cubicBezTo>
                    <a:pt x="1506" y="645"/>
                    <a:pt x="1504" y="646"/>
                    <a:pt x="1502" y="647"/>
                  </a:cubicBezTo>
                  <a:cubicBezTo>
                    <a:pt x="1505" y="646"/>
                    <a:pt x="1508" y="645"/>
                    <a:pt x="1510" y="644"/>
                  </a:cubicBezTo>
                  <a:cubicBezTo>
                    <a:pt x="1509" y="644"/>
                    <a:pt x="1509" y="644"/>
                    <a:pt x="1508" y="644"/>
                  </a:cubicBezTo>
                  <a:moveTo>
                    <a:pt x="1812" y="645"/>
                  </a:moveTo>
                  <a:cubicBezTo>
                    <a:pt x="1811" y="645"/>
                    <a:pt x="1811" y="645"/>
                    <a:pt x="1811" y="645"/>
                  </a:cubicBezTo>
                  <a:cubicBezTo>
                    <a:pt x="1811" y="645"/>
                    <a:pt x="1811" y="645"/>
                    <a:pt x="1811" y="645"/>
                  </a:cubicBezTo>
                  <a:cubicBezTo>
                    <a:pt x="1811" y="645"/>
                    <a:pt x="1812" y="645"/>
                    <a:pt x="1812" y="645"/>
                  </a:cubicBezTo>
                  <a:cubicBezTo>
                    <a:pt x="1812" y="645"/>
                    <a:pt x="1812" y="645"/>
                    <a:pt x="1812" y="645"/>
                  </a:cubicBezTo>
                  <a:moveTo>
                    <a:pt x="1813" y="646"/>
                  </a:moveTo>
                  <a:cubicBezTo>
                    <a:pt x="1813" y="646"/>
                    <a:pt x="1812" y="646"/>
                    <a:pt x="1812" y="646"/>
                  </a:cubicBezTo>
                  <a:cubicBezTo>
                    <a:pt x="1814" y="649"/>
                    <a:pt x="1817" y="651"/>
                    <a:pt x="1819" y="654"/>
                  </a:cubicBezTo>
                  <a:cubicBezTo>
                    <a:pt x="1819" y="654"/>
                    <a:pt x="1820" y="654"/>
                    <a:pt x="1820" y="654"/>
                  </a:cubicBezTo>
                  <a:cubicBezTo>
                    <a:pt x="1818" y="651"/>
                    <a:pt x="1815" y="649"/>
                    <a:pt x="1813" y="646"/>
                  </a:cubicBezTo>
                  <a:moveTo>
                    <a:pt x="1502" y="647"/>
                  </a:moveTo>
                  <a:cubicBezTo>
                    <a:pt x="1498" y="648"/>
                    <a:pt x="1493" y="650"/>
                    <a:pt x="1488" y="652"/>
                  </a:cubicBezTo>
                  <a:cubicBezTo>
                    <a:pt x="1487" y="653"/>
                    <a:pt x="1486" y="653"/>
                    <a:pt x="1484" y="654"/>
                  </a:cubicBezTo>
                  <a:cubicBezTo>
                    <a:pt x="1485" y="654"/>
                    <a:pt x="1485" y="654"/>
                    <a:pt x="1486" y="654"/>
                  </a:cubicBezTo>
                  <a:cubicBezTo>
                    <a:pt x="1487" y="654"/>
                    <a:pt x="1488" y="653"/>
                    <a:pt x="1488" y="653"/>
                  </a:cubicBezTo>
                  <a:cubicBezTo>
                    <a:pt x="1491" y="652"/>
                    <a:pt x="1494" y="651"/>
                    <a:pt x="1497" y="650"/>
                  </a:cubicBezTo>
                  <a:cubicBezTo>
                    <a:pt x="1498" y="649"/>
                    <a:pt x="1500" y="648"/>
                    <a:pt x="1502" y="647"/>
                  </a:cubicBezTo>
                  <a:moveTo>
                    <a:pt x="1483" y="654"/>
                  </a:moveTo>
                  <a:cubicBezTo>
                    <a:pt x="1483" y="654"/>
                    <a:pt x="1483" y="654"/>
                    <a:pt x="1482" y="654"/>
                  </a:cubicBezTo>
                  <a:cubicBezTo>
                    <a:pt x="1477" y="657"/>
                    <a:pt x="1470" y="660"/>
                    <a:pt x="1464" y="663"/>
                  </a:cubicBezTo>
                  <a:cubicBezTo>
                    <a:pt x="1464" y="664"/>
                    <a:pt x="1465" y="664"/>
                    <a:pt x="1465" y="664"/>
                  </a:cubicBezTo>
                  <a:cubicBezTo>
                    <a:pt x="1471" y="661"/>
                    <a:pt x="1476" y="658"/>
                    <a:pt x="1481" y="656"/>
                  </a:cubicBezTo>
                  <a:cubicBezTo>
                    <a:pt x="1482" y="656"/>
                    <a:pt x="1482" y="655"/>
                    <a:pt x="1483" y="655"/>
                  </a:cubicBezTo>
                  <a:cubicBezTo>
                    <a:pt x="1484" y="655"/>
                    <a:pt x="1484" y="655"/>
                    <a:pt x="1485" y="655"/>
                  </a:cubicBezTo>
                  <a:cubicBezTo>
                    <a:pt x="1484" y="654"/>
                    <a:pt x="1484" y="654"/>
                    <a:pt x="1483" y="654"/>
                  </a:cubicBezTo>
                  <a:moveTo>
                    <a:pt x="1821" y="654"/>
                  </a:moveTo>
                  <a:cubicBezTo>
                    <a:pt x="1821" y="655"/>
                    <a:pt x="1820" y="655"/>
                    <a:pt x="1820" y="655"/>
                  </a:cubicBezTo>
                  <a:cubicBezTo>
                    <a:pt x="1822" y="657"/>
                    <a:pt x="1823" y="658"/>
                    <a:pt x="1825" y="660"/>
                  </a:cubicBezTo>
                  <a:cubicBezTo>
                    <a:pt x="1826" y="660"/>
                    <a:pt x="1826" y="660"/>
                    <a:pt x="1826" y="660"/>
                  </a:cubicBezTo>
                  <a:cubicBezTo>
                    <a:pt x="1825" y="658"/>
                    <a:pt x="1823" y="656"/>
                    <a:pt x="1821" y="654"/>
                  </a:cubicBezTo>
                  <a:moveTo>
                    <a:pt x="1826" y="661"/>
                  </a:moveTo>
                  <a:cubicBezTo>
                    <a:pt x="1826" y="661"/>
                    <a:pt x="1827" y="662"/>
                    <a:pt x="1827" y="662"/>
                  </a:cubicBezTo>
                  <a:cubicBezTo>
                    <a:pt x="1827" y="662"/>
                    <a:pt x="1827" y="662"/>
                    <a:pt x="1828" y="661"/>
                  </a:cubicBezTo>
                  <a:cubicBezTo>
                    <a:pt x="1828" y="661"/>
                    <a:pt x="1828" y="661"/>
                    <a:pt x="1827" y="661"/>
                  </a:cubicBezTo>
                  <a:cubicBezTo>
                    <a:pt x="1827" y="661"/>
                    <a:pt x="1827" y="661"/>
                    <a:pt x="1826" y="661"/>
                  </a:cubicBezTo>
                  <a:moveTo>
                    <a:pt x="1829" y="662"/>
                  </a:moveTo>
                  <a:cubicBezTo>
                    <a:pt x="1828" y="662"/>
                    <a:pt x="1828" y="662"/>
                    <a:pt x="1828" y="663"/>
                  </a:cubicBezTo>
                  <a:cubicBezTo>
                    <a:pt x="1828" y="663"/>
                    <a:pt x="1828" y="663"/>
                    <a:pt x="1828" y="663"/>
                  </a:cubicBezTo>
                  <a:cubicBezTo>
                    <a:pt x="1829" y="663"/>
                    <a:pt x="1829" y="663"/>
                    <a:pt x="1830" y="663"/>
                  </a:cubicBezTo>
                  <a:cubicBezTo>
                    <a:pt x="1829" y="663"/>
                    <a:pt x="1829" y="663"/>
                    <a:pt x="1829" y="662"/>
                  </a:cubicBezTo>
                  <a:moveTo>
                    <a:pt x="1830" y="664"/>
                  </a:moveTo>
                  <a:cubicBezTo>
                    <a:pt x="1830" y="664"/>
                    <a:pt x="1830" y="664"/>
                    <a:pt x="1829" y="664"/>
                  </a:cubicBezTo>
                  <a:cubicBezTo>
                    <a:pt x="1832" y="667"/>
                    <a:pt x="1834" y="669"/>
                    <a:pt x="1837" y="672"/>
                  </a:cubicBezTo>
                  <a:cubicBezTo>
                    <a:pt x="1837" y="672"/>
                    <a:pt x="1838" y="671"/>
                    <a:pt x="1838" y="671"/>
                  </a:cubicBezTo>
                  <a:cubicBezTo>
                    <a:pt x="1836" y="669"/>
                    <a:pt x="1833" y="667"/>
                    <a:pt x="1830" y="664"/>
                  </a:cubicBezTo>
                  <a:moveTo>
                    <a:pt x="1463" y="664"/>
                  </a:moveTo>
                  <a:cubicBezTo>
                    <a:pt x="1459" y="666"/>
                    <a:pt x="1456" y="668"/>
                    <a:pt x="1453" y="670"/>
                  </a:cubicBezTo>
                  <a:cubicBezTo>
                    <a:pt x="1451" y="671"/>
                    <a:pt x="1449" y="672"/>
                    <a:pt x="1448" y="673"/>
                  </a:cubicBezTo>
                  <a:cubicBezTo>
                    <a:pt x="1448" y="673"/>
                    <a:pt x="1448" y="673"/>
                    <a:pt x="1449" y="673"/>
                  </a:cubicBezTo>
                  <a:cubicBezTo>
                    <a:pt x="1450" y="672"/>
                    <a:pt x="1452" y="672"/>
                    <a:pt x="1453" y="671"/>
                  </a:cubicBezTo>
                  <a:cubicBezTo>
                    <a:pt x="1455" y="670"/>
                    <a:pt x="1457" y="668"/>
                    <a:pt x="1459" y="667"/>
                  </a:cubicBezTo>
                  <a:cubicBezTo>
                    <a:pt x="1461" y="666"/>
                    <a:pt x="1462" y="665"/>
                    <a:pt x="1464" y="665"/>
                  </a:cubicBezTo>
                  <a:cubicBezTo>
                    <a:pt x="1464" y="664"/>
                    <a:pt x="1463" y="664"/>
                    <a:pt x="1463" y="664"/>
                  </a:cubicBezTo>
                  <a:moveTo>
                    <a:pt x="1839" y="672"/>
                  </a:moveTo>
                  <a:cubicBezTo>
                    <a:pt x="1839" y="672"/>
                    <a:pt x="1838" y="672"/>
                    <a:pt x="1838" y="672"/>
                  </a:cubicBezTo>
                  <a:cubicBezTo>
                    <a:pt x="1840" y="675"/>
                    <a:pt x="1843" y="677"/>
                    <a:pt x="1845" y="680"/>
                  </a:cubicBezTo>
                  <a:cubicBezTo>
                    <a:pt x="1846" y="680"/>
                    <a:pt x="1846" y="679"/>
                    <a:pt x="1846" y="679"/>
                  </a:cubicBezTo>
                  <a:cubicBezTo>
                    <a:pt x="1844" y="677"/>
                    <a:pt x="1841" y="675"/>
                    <a:pt x="1839" y="672"/>
                  </a:cubicBezTo>
                  <a:moveTo>
                    <a:pt x="1446" y="674"/>
                  </a:moveTo>
                  <a:cubicBezTo>
                    <a:pt x="1445" y="675"/>
                    <a:pt x="1443" y="676"/>
                    <a:pt x="1442" y="677"/>
                  </a:cubicBezTo>
                  <a:cubicBezTo>
                    <a:pt x="1440" y="678"/>
                    <a:pt x="1438" y="679"/>
                    <a:pt x="1436" y="680"/>
                  </a:cubicBezTo>
                  <a:cubicBezTo>
                    <a:pt x="1435" y="681"/>
                    <a:pt x="1434" y="681"/>
                    <a:pt x="1433" y="682"/>
                  </a:cubicBezTo>
                  <a:cubicBezTo>
                    <a:pt x="1434" y="682"/>
                    <a:pt x="1434" y="682"/>
                    <a:pt x="1435" y="682"/>
                  </a:cubicBezTo>
                  <a:cubicBezTo>
                    <a:pt x="1439" y="679"/>
                    <a:pt x="1443" y="677"/>
                    <a:pt x="1448" y="674"/>
                  </a:cubicBezTo>
                  <a:cubicBezTo>
                    <a:pt x="1447" y="674"/>
                    <a:pt x="1447" y="674"/>
                    <a:pt x="1446" y="674"/>
                  </a:cubicBezTo>
                  <a:moveTo>
                    <a:pt x="1847" y="680"/>
                  </a:moveTo>
                  <a:cubicBezTo>
                    <a:pt x="1847" y="680"/>
                    <a:pt x="1846" y="680"/>
                    <a:pt x="1846" y="680"/>
                  </a:cubicBezTo>
                  <a:cubicBezTo>
                    <a:pt x="1847" y="681"/>
                    <a:pt x="1847" y="682"/>
                    <a:pt x="1848" y="682"/>
                  </a:cubicBezTo>
                  <a:cubicBezTo>
                    <a:pt x="1848" y="682"/>
                    <a:pt x="1849" y="682"/>
                    <a:pt x="1850" y="683"/>
                  </a:cubicBezTo>
                  <a:cubicBezTo>
                    <a:pt x="1849" y="682"/>
                    <a:pt x="1848" y="681"/>
                    <a:pt x="1847" y="680"/>
                  </a:cubicBezTo>
                  <a:moveTo>
                    <a:pt x="1432" y="683"/>
                  </a:moveTo>
                  <a:cubicBezTo>
                    <a:pt x="1428" y="685"/>
                    <a:pt x="1425" y="688"/>
                    <a:pt x="1421" y="691"/>
                  </a:cubicBezTo>
                  <a:cubicBezTo>
                    <a:pt x="1421" y="691"/>
                    <a:pt x="1422" y="691"/>
                    <a:pt x="1422" y="691"/>
                  </a:cubicBezTo>
                  <a:cubicBezTo>
                    <a:pt x="1426" y="688"/>
                    <a:pt x="1430" y="686"/>
                    <a:pt x="1434" y="683"/>
                  </a:cubicBezTo>
                  <a:cubicBezTo>
                    <a:pt x="1433" y="683"/>
                    <a:pt x="1433" y="683"/>
                    <a:pt x="1432" y="683"/>
                  </a:cubicBezTo>
                  <a:moveTo>
                    <a:pt x="1849" y="683"/>
                  </a:moveTo>
                  <a:cubicBezTo>
                    <a:pt x="1850" y="684"/>
                    <a:pt x="1850" y="684"/>
                    <a:pt x="1851" y="685"/>
                  </a:cubicBezTo>
                  <a:cubicBezTo>
                    <a:pt x="1851" y="685"/>
                    <a:pt x="1852" y="685"/>
                    <a:pt x="1852" y="685"/>
                  </a:cubicBezTo>
                  <a:cubicBezTo>
                    <a:pt x="1852" y="684"/>
                    <a:pt x="1851" y="684"/>
                    <a:pt x="1851" y="684"/>
                  </a:cubicBezTo>
                  <a:cubicBezTo>
                    <a:pt x="1850" y="684"/>
                    <a:pt x="1850" y="684"/>
                    <a:pt x="1849" y="683"/>
                  </a:cubicBezTo>
                  <a:moveTo>
                    <a:pt x="1853" y="685"/>
                  </a:moveTo>
                  <a:cubicBezTo>
                    <a:pt x="1852" y="686"/>
                    <a:pt x="1852" y="686"/>
                    <a:pt x="1852" y="686"/>
                  </a:cubicBezTo>
                  <a:cubicBezTo>
                    <a:pt x="1853" y="687"/>
                    <a:pt x="1854" y="688"/>
                    <a:pt x="1856" y="689"/>
                  </a:cubicBezTo>
                  <a:cubicBezTo>
                    <a:pt x="1856" y="689"/>
                    <a:pt x="1856" y="689"/>
                    <a:pt x="1857" y="689"/>
                  </a:cubicBezTo>
                  <a:cubicBezTo>
                    <a:pt x="1855" y="688"/>
                    <a:pt x="1854" y="687"/>
                    <a:pt x="1853" y="685"/>
                  </a:cubicBezTo>
                  <a:moveTo>
                    <a:pt x="1858" y="690"/>
                  </a:moveTo>
                  <a:cubicBezTo>
                    <a:pt x="1857" y="690"/>
                    <a:pt x="1857" y="690"/>
                    <a:pt x="1856" y="690"/>
                  </a:cubicBezTo>
                  <a:cubicBezTo>
                    <a:pt x="1858" y="692"/>
                    <a:pt x="1860" y="694"/>
                    <a:pt x="1861" y="695"/>
                  </a:cubicBezTo>
                  <a:cubicBezTo>
                    <a:pt x="1862" y="695"/>
                    <a:pt x="1863" y="695"/>
                    <a:pt x="1863" y="696"/>
                  </a:cubicBezTo>
                  <a:cubicBezTo>
                    <a:pt x="1862" y="694"/>
                    <a:pt x="1860" y="692"/>
                    <a:pt x="1858" y="690"/>
                  </a:cubicBezTo>
                  <a:moveTo>
                    <a:pt x="1420" y="691"/>
                  </a:moveTo>
                  <a:cubicBezTo>
                    <a:pt x="1416" y="694"/>
                    <a:pt x="1413" y="696"/>
                    <a:pt x="1409" y="699"/>
                  </a:cubicBezTo>
                  <a:cubicBezTo>
                    <a:pt x="1410" y="699"/>
                    <a:pt x="1410" y="699"/>
                    <a:pt x="1410" y="699"/>
                  </a:cubicBezTo>
                  <a:cubicBezTo>
                    <a:pt x="1414" y="697"/>
                    <a:pt x="1417" y="694"/>
                    <a:pt x="1421" y="692"/>
                  </a:cubicBezTo>
                  <a:cubicBezTo>
                    <a:pt x="1421" y="692"/>
                    <a:pt x="1420" y="691"/>
                    <a:pt x="1420" y="691"/>
                  </a:cubicBezTo>
                  <a:moveTo>
                    <a:pt x="1863" y="697"/>
                  </a:moveTo>
                  <a:cubicBezTo>
                    <a:pt x="1863" y="697"/>
                    <a:pt x="1864" y="697"/>
                    <a:pt x="1864" y="697"/>
                  </a:cubicBezTo>
                  <a:cubicBezTo>
                    <a:pt x="1864" y="697"/>
                    <a:pt x="1865" y="697"/>
                    <a:pt x="1865" y="697"/>
                  </a:cubicBezTo>
                  <a:cubicBezTo>
                    <a:pt x="1865" y="697"/>
                    <a:pt x="1865" y="697"/>
                    <a:pt x="1865" y="697"/>
                  </a:cubicBezTo>
                  <a:cubicBezTo>
                    <a:pt x="1864" y="697"/>
                    <a:pt x="1864" y="697"/>
                    <a:pt x="1863" y="697"/>
                  </a:cubicBezTo>
                  <a:moveTo>
                    <a:pt x="1865" y="699"/>
                  </a:moveTo>
                  <a:cubicBezTo>
                    <a:pt x="1866" y="699"/>
                    <a:pt x="1866" y="699"/>
                    <a:pt x="1866" y="699"/>
                  </a:cubicBezTo>
                  <a:cubicBezTo>
                    <a:pt x="1867" y="700"/>
                    <a:pt x="1867" y="700"/>
                    <a:pt x="1868" y="700"/>
                  </a:cubicBezTo>
                  <a:cubicBezTo>
                    <a:pt x="1868" y="700"/>
                    <a:pt x="1868" y="700"/>
                    <a:pt x="1867" y="699"/>
                  </a:cubicBezTo>
                  <a:cubicBezTo>
                    <a:pt x="1867" y="699"/>
                    <a:pt x="1866" y="699"/>
                    <a:pt x="1865" y="699"/>
                  </a:cubicBezTo>
                  <a:moveTo>
                    <a:pt x="1408" y="700"/>
                  </a:moveTo>
                  <a:cubicBezTo>
                    <a:pt x="1405" y="702"/>
                    <a:pt x="1402" y="704"/>
                    <a:pt x="1399" y="707"/>
                  </a:cubicBezTo>
                  <a:cubicBezTo>
                    <a:pt x="1399" y="707"/>
                    <a:pt x="1399" y="707"/>
                    <a:pt x="1400" y="707"/>
                  </a:cubicBezTo>
                  <a:cubicBezTo>
                    <a:pt x="1403" y="705"/>
                    <a:pt x="1406" y="702"/>
                    <a:pt x="1409" y="700"/>
                  </a:cubicBezTo>
                  <a:cubicBezTo>
                    <a:pt x="1409" y="700"/>
                    <a:pt x="1409" y="700"/>
                    <a:pt x="1408" y="700"/>
                  </a:cubicBezTo>
                  <a:moveTo>
                    <a:pt x="1867" y="701"/>
                  </a:moveTo>
                  <a:cubicBezTo>
                    <a:pt x="1868" y="701"/>
                    <a:pt x="1868" y="702"/>
                    <a:pt x="1869" y="702"/>
                  </a:cubicBezTo>
                  <a:cubicBezTo>
                    <a:pt x="1870" y="703"/>
                    <a:pt x="1870" y="703"/>
                    <a:pt x="1871" y="703"/>
                  </a:cubicBezTo>
                  <a:cubicBezTo>
                    <a:pt x="1871" y="703"/>
                    <a:pt x="1870" y="702"/>
                    <a:pt x="1870" y="702"/>
                  </a:cubicBezTo>
                  <a:cubicBezTo>
                    <a:pt x="1869" y="701"/>
                    <a:pt x="1868" y="701"/>
                    <a:pt x="1867" y="701"/>
                  </a:cubicBezTo>
                  <a:moveTo>
                    <a:pt x="1870" y="704"/>
                  </a:moveTo>
                  <a:cubicBezTo>
                    <a:pt x="1871" y="704"/>
                    <a:pt x="1871" y="705"/>
                    <a:pt x="1872" y="705"/>
                  </a:cubicBezTo>
                  <a:cubicBezTo>
                    <a:pt x="1872" y="705"/>
                    <a:pt x="1872" y="705"/>
                    <a:pt x="1873" y="705"/>
                  </a:cubicBezTo>
                  <a:cubicBezTo>
                    <a:pt x="1873" y="705"/>
                    <a:pt x="1873" y="705"/>
                    <a:pt x="1873" y="705"/>
                  </a:cubicBezTo>
                  <a:cubicBezTo>
                    <a:pt x="1872" y="704"/>
                    <a:pt x="1871" y="704"/>
                    <a:pt x="1870" y="704"/>
                  </a:cubicBezTo>
                  <a:moveTo>
                    <a:pt x="1874" y="706"/>
                  </a:moveTo>
                  <a:cubicBezTo>
                    <a:pt x="1873" y="706"/>
                    <a:pt x="1873" y="706"/>
                    <a:pt x="1872" y="706"/>
                  </a:cubicBezTo>
                  <a:cubicBezTo>
                    <a:pt x="1874" y="707"/>
                    <a:pt x="1875" y="709"/>
                    <a:pt x="1876" y="710"/>
                  </a:cubicBezTo>
                  <a:cubicBezTo>
                    <a:pt x="1877" y="710"/>
                    <a:pt x="1877" y="710"/>
                    <a:pt x="1878" y="710"/>
                  </a:cubicBezTo>
                  <a:cubicBezTo>
                    <a:pt x="1877" y="709"/>
                    <a:pt x="1875" y="707"/>
                    <a:pt x="1874" y="706"/>
                  </a:cubicBezTo>
                  <a:moveTo>
                    <a:pt x="1398" y="708"/>
                  </a:moveTo>
                  <a:cubicBezTo>
                    <a:pt x="1395" y="710"/>
                    <a:pt x="1392" y="712"/>
                    <a:pt x="1389" y="715"/>
                  </a:cubicBezTo>
                  <a:cubicBezTo>
                    <a:pt x="1389" y="715"/>
                    <a:pt x="1389" y="715"/>
                    <a:pt x="1390" y="715"/>
                  </a:cubicBezTo>
                  <a:cubicBezTo>
                    <a:pt x="1393" y="713"/>
                    <a:pt x="1396" y="710"/>
                    <a:pt x="1399" y="708"/>
                  </a:cubicBezTo>
                  <a:cubicBezTo>
                    <a:pt x="1398" y="708"/>
                    <a:pt x="1398" y="708"/>
                    <a:pt x="1398" y="708"/>
                  </a:cubicBezTo>
                  <a:moveTo>
                    <a:pt x="1880" y="715"/>
                  </a:moveTo>
                  <a:cubicBezTo>
                    <a:pt x="1880" y="715"/>
                    <a:pt x="1880" y="715"/>
                    <a:pt x="1880" y="715"/>
                  </a:cubicBezTo>
                  <a:cubicBezTo>
                    <a:pt x="1880" y="715"/>
                    <a:pt x="1880" y="715"/>
                    <a:pt x="1880" y="715"/>
                  </a:cubicBezTo>
                  <a:cubicBezTo>
                    <a:pt x="1880" y="715"/>
                    <a:pt x="1880" y="715"/>
                    <a:pt x="1880" y="715"/>
                  </a:cubicBezTo>
                  <a:moveTo>
                    <a:pt x="1388" y="715"/>
                  </a:moveTo>
                  <a:cubicBezTo>
                    <a:pt x="1382" y="720"/>
                    <a:pt x="1377" y="724"/>
                    <a:pt x="1372" y="729"/>
                  </a:cubicBezTo>
                  <a:cubicBezTo>
                    <a:pt x="1372" y="729"/>
                    <a:pt x="1373" y="729"/>
                    <a:pt x="1373" y="729"/>
                  </a:cubicBezTo>
                  <a:cubicBezTo>
                    <a:pt x="1378" y="725"/>
                    <a:pt x="1384" y="720"/>
                    <a:pt x="1389" y="716"/>
                  </a:cubicBezTo>
                  <a:cubicBezTo>
                    <a:pt x="1389" y="716"/>
                    <a:pt x="1388" y="716"/>
                    <a:pt x="1388" y="715"/>
                  </a:cubicBezTo>
                  <a:moveTo>
                    <a:pt x="1882" y="716"/>
                  </a:moveTo>
                  <a:cubicBezTo>
                    <a:pt x="1882" y="716"/>
                    <a:pt x="1882" y="716"/>
                    <a:pt x="1881" y="716"/>
                  </a:cubicBezTo>
                  <a:cubicBezTo>
                    <a:pt x="1881" y="716"/>
                    <a:pt x="1882" y="716"/>
                    <a:pt x="1882" y="716"/>
                  </a:cubicBezTo>
                  <a:cubicBezTo>
                    <a:pt x="1882" y="716"/>
                    <a:pt x="1882" y="716"/>
                    <a:pt x="1883" y="716"/>
                  </a:cubicBezTo>
                  <a:cubicBezTo>
                    <a:pt x="1883" y="716"/>
                    <a:pt x="1883" y="716"/>
                    <a:pt x="1882" y="716"/>
                  </a:cubicBezTo>
                  <a:moveTo>
                    <a:pt x="1883" y="717"/>
                  </a:moveTo>
                  <a:cubicBezTo>
                    <a:pt x="1883" y="717"/>
                    <a:pt x="1883" y="717"/>
                    <a:pt x="1882" y="717"/>
                  </a:cubicBezTo>
                  <a:cubicBezTo>
                    <a:pt x="1889" y="725"/>
                    <a:pt x="1892" y="732"/>
                    <a:pt x="1892" y="739"/>
                  </a:cubicBezTo>
                  <a:cubicBezTo>
                    <a:pt x="1893" y="750"/>
                    <a:pt x="1882" y="761"/>
                    <a:pt x="1857" y="775"/>
                  </a:cubicBezTo>
                  <a:cubicBezTo>
                    <a:pt x="1856" y="775"/>
                    <a:pt x="1856" y="775"/>
                    <a:pt x="1856" y="775"/>
                  </a:cubicBezTo>
                  <a:cubicBezTo>
                    <a:pt x="1844" y="781"/>
                    <a:pt x="1830" y="788"/>
                    <a:pt x="1812" y="795"/>
                  </a:cubicBezTo>
                  <a:cubicBezTo>
                    <a:pt x="1812" y="795"/>
                    <a:pt x="1811" y="795"/>
                    <a:pt x="1811" y="795"/>
                  </a:cubicBezTo>
                  <a:cubicBezTo>
                    <a:pt x="1750" y="820"/>
                    <a:pt x="1650" y="855"/>
                    <a:pt x="1495" y="910"/>
                  </a:cubicBezTo>
                  <a:cubicBezTo>
                    <a:pt x="1401" y="943"/>
                    <a:pt x="1336" y="957"/>
                    <a:pt x="1295" y="957"/>
                  </a:cubicBezTo>
                  <a:cubicBezTo>
                    <a:pt x="1251" y="957"/>
                    <a:pt x="1234" y="942"/>
                    <a:pt x="1234" y="918"/>
                  </a:cubicBezTo>
                  <a:cubicBezTo>
                    <a:pt x="1234" y="888"/>
                    <a:pt x="1260" y="847"/>
                    <a:pt x="1296" y="804"/>
                  </a:cubicBezTo>
                  <a:cubicBezTo>
                    <a:pt x="1296" y="804"/>
                    <a:pt x="1295" y="804"/>
                    <a:pt x="1295" y="805"/>
                  </a:cubicBezTo>
                  <a:cubicBezTo>
                    <a:pt x="1258" y="846"/>
                    <a:pt x="1233" y="888"/>
                    <a:pt x="1233" y="918"/>
                  </a:cubicBezTo>
                  <a:cubicBezTo>
                    <a:pt x="1233" y="942"/>
                    <a:pt x="1251" y="958"/>
                    <a:pt x="1295" y="958"/>
                  </a:cubicBezTo>
                  <a:cubicBezTo>
                    <a:pt x="1337" y="958"/>
                    <a:pt x="1401" y="944"/>
                    <a:pt x="1495" y="911"/>
                  </a:cubicBezTo>
                  <a:cubicBezTo>
                    <a:pt x="1650" y="856"/>
                    <a:pt x="1750" y="821"/>
                    <a:pt x="1811" y="796"/>
                  </a:cubicBezTo>
                  <a:cubicBezTo>
                    <a:pt x="1812" y="796"/>
                    <a:pt x="1812" y="796"/>
                    <a:pt x="1812" y="796"/>
                  </a:cubicBezTo>
                  <a:cubicBezTo>
                    <a:pt x="1830" y="789"/>
                    <a:pt x="1845" y="782"/>
                    <a:pt x="1856" y="776"/>
                  </a:cubicBezTo>
                  <a:cubicBezTo>
                    <a:pt x="1856" y="776"/>
                    <a:pt x="1857" y="776"/>
                    <a:pt x="1857" y="776"/>
                  </a:cubicBezTo>
                  <a:cubicBezTo>
                    <a:pt x="1883" y="762"/>
                    <a:pt x="1893" y="751"/>
                    <a:pt x="1893" y="739"/>
                  </a:cubicBezTo>
                  <a:cubicBezTo>
                    <a:pt x="1893" y="732"/>
                    <a:pt x="1890" y="725"/>
                    <a:pt x="1883" y="717"/>
                  </a:cubicBezTo>
                  <a:moveTo>
                    <a:pt x="1371" y="729"/>
                  </a:moveTo>
                  <a:cubicBezTo>
                    <a:pt x="1365" y="735"/>
                    <a:pt x="1359" y="740"/>
                    <a:pt x="1353" y="745"/>
                  </a:cubicBezTo>
                  <a:cubicBezTo>
                    <a:pt x="1353" y="745"/>
                    <a:pt x="1354" y="746"/>
                    <a:pt x="1354" y="746"/>
                  </a:cubicBezTo>
                  <a:cubicBezTo>
                    <a:pt x="1360" y="740"/>
                    <a:pt x="1366" y="735"/>
                    <a:pt x="1372" y="730"/>
                  </a:cubicBezTo>
                  <a:cubicBezTo>
                    <a:pt x="1372" y="730"/>
                    <a:pt x="1371" y="730"/>
                    <a:pt x="1371" y="729"/>
                  </a:cubicBezTo>
                  <a:moveTo>
                    <a:pt x="1352" y="746"/>
                  </a:moveTo>
                  <a:cubicBezTo>
                    <a:pt x="1347" y="751"/>
                    <a:pt x="1341" y="756"/>
                    <a:pt x="1336" y="761"/>
                  </a:cubicBezTo>
                  <a:cubicBezTo>
                    <a:pt x="1337" y="761"/>
                    <a:pt x="1337" y="761"/>
                    <a:pt x="1337" y="761"/>
                  </a:cubicBezTo>
                  <a:cubicBezTo>
                    <a:pt x="1343" y="756"/>
                    <a:pt x="1348" y="751"/>
                    <a:pt x="1353" y="746"/>
                  </a:cubicBezTo>
                  <a:cubicBezTo>
                    <a:pt x="1353" y="746"/>
                    <a:pt x="1352" y="746"/>
                    <a:pt x="1352" y="746"/>
                  </a:cubicBezTo>
                  <a:moveTo>
                    <a:pt x="1335" y="762"/>
                  </a:moveTo>
                  <a:cubicBezTo>
                    <a:pt x="1331" y="766"/>
                    <a:pt x="1326" y="771"/>
                    <a:pt x="1322" y="775"/>
                  </a:cubicBezTo>
                  <a:cubicBezTo>
                    <a:pt x="1322" y="775"/>
                    <a:pt x="1323" y="775"/>
                    <a:pt x="1323" y="775"/>
                  </a:cubicBezTo>
                  <a:cubicBezTo>
                    <a:pt x="1328" y="771"/>
                    <a:pt x="1332" y="766"/>
                    <a:pt x="1337" y="762"/>
                  </a:cubicBezTo>
                  <a:cubicBezTo>
                    <a:pt x="1336" y="762"/>
                    <a:pt x="1336" y="762"/>
                    <a:pt x="1335" y="762"/>
                  </a:cubicBezTo>
                  <a:moveTo>
                    <a:pt x="1321" y="776"/>
                  </a:moveTo>
                  <a:cubicBezTo>
                    <a:pt x="1318" y="779"/>
                    <a:pt x="1315" y="782"/>
                    <a:pt x="1313" y="785"/>
                  </a:cubicBezTo>
                  <a:cubicBezTo>
                    <a:pt x="1313" y="785"/>
                    <a:pt x="1314" y="784"/>
                    <a:pt x="1315" y="784"/>
                  </a:cubicBezTo>
                  <a:cubicBezTo>
                    <a:pt x="1317" y="782"/>
                    <a:pt x="1320" y="779"/>
                    <a:pt x="1322" y="776"/>
                  </a:cubicBezTo>
                  <a:cubicBezTo>
                    <a:pt x="1322" y="776"/>
                    <a:pt x="1321" y="776"/>
                    <a:pt x="1321" y="776"/>
                  </a:cubicBezTo>
                  <a:moveTo>
                    <a:pt x="1313" y="786"/>
                  </a:moveTo>
                  <a:cubicBezTo>
                    <a:pt x="1313" y="786"/>
                    <a:pt x="1312" y="786"/>
                    <a:pt x="1311" y="786"/>
                  </a:cubicBezTo>
                  <a:cubicBezTo>
                    <a:pt x="1311" y="786"/>
                    <a:pt x="1311" y="786"/>
                    <a:pt x="1311" y="786"/>
                  </a:cubicBezTo>
                  <a:cubicBezTo>
                    <a:pt x="1311" y="787"/>
                    <a:pt x="1312" y="787"/>
                    <a:pt x="1312" y="787"/>
                  </a:cubicBezTo>
                  <a:cubicBezTo>
                    <a:pt x="1313" y="786"/>
                    <a:pt x="1313" y="786"/>
                    <a:pt x="1313" y="786"/>
                  </a:cubicBezTo>
                  <a:moveTo>
                    <a:pt x="1310" y="787"/>
                  </a:moveTo>
                  <a:cubicBezTo>
                    <a:pt x="1307" y="791"/>
                    <a:pt x="1304" y="794"/>
                    <a:pt x="1302" y="797"/>
                  </a:cubicBezTo>
                  <a:cubicBezTo>
                    <a:pt x="1302" y="797"/>
                    <a:pt x="1303" y="797"/>
                    <a:pt x="1303" y="796"/>
                  </a:cubicBezTo>
                  <a:cubicBezTo>
                    <a:pt x="1306" y="793"/>
                    <a:pt x="1309" y="790"/>
                    <a:pt x="1311" y="788"/>
                  </a:cubicBezTo>
                  <a:cubicBezTo>
                    <a:pt x="1311" y="787"/>
                    <a:pt x="1311" y="787"/>
                    <a:pt x="1310" y="787"/>
                  </a:cubicBezTo>
                  <a:moveTo>
                    <a:pt x="1300" y="798"/>
                  </a:moveTo>
                  <a:cubicBezTo>
                    <a:pt x="1299" y="800"/>
                    <a:pt x="1298" y="801"/>
                    <a:pt x="1297" y="802"/>
                  </a:cubicBezTo>
                  <a:cubicBezTo>
                    <a:pt x="1297" y="802"/>
                    <a:pt x="1298" y="802"/>
                    <a:pt x="1298" y="802"/>
                  </a:cubicBezTo>
                  <a:cubicBezTo>
                    <a:pt x="1299" y="801"/>
                    <a:pt x="1300" y="800"/>
                    <a:pt x="1302" y="798"/>
                  </a:cubicBezTo>
                  <a:cubicBezTo>
                    <a:pt x="1301" y="798"/>
                    <a:pt x="1301" y="798"/>
                    <a:pt x="1300" y="798"/>
                  </a:cubicBezTo>
                  <a:moveTo>
                    <a:pt x="1297" y="803"/>
                  </a:moveTo>
                  <a:cubicBezTo>
                    <a:pt x="1297" y="803"/>
                    <a:pt x="1297" y="803"/>
                    <a:pt x="1296" y="803"/>
                  </a:cubicBezTo>
                  <a:cubicBezTo>
                    <a:pt x="1297" y="803"/>
                    <a:pt x="1297" y="803"/>
                    <a:pt x="1297" y="803"/>
                  </a:cubicBezTo>
                  <a:cubicBezTo>
                    <a:pt x="1297" y="803"/>
                    <a:pt x="1297" y="803"/>
                    <a:pt x="1297" y="803"/>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36" name="Freeform 65"/>
            <p:cNvSpPr>
              <a:spLocks noEditPoints="1"/>
            </p:cNvSpPr>
            <p:nvPr userDrawn="1"/>
          </p:nvSpPr>
          <p:spPr bwMode="auto">
            <a:xfrm>
              <a:off x="-334" y="4115"/>
              <a:ext cx="3906" cy="1729"/>
            </a:xfrm>
            <a:custGeom>
              <a:avLst/>
              <a:gdLst>
                <a:gd name="T0" fmla="*/ 2147483646 w 1928"/>
                <a:gd name="T1" fmla="*/ 0 h 853"/>
                <a:gd name="T2" fmla="*/ 2147483646 w 1928"/>
                <a:gd name="T3" fmla="*/ 2147483646 h 853"/>
                <a:gd name="T4" fmla="*/ 2147483646 w 1928"/>
                <a:gd name="T5" fmla="*/ 2147483646 h 853"/>
                <a:gd name="T6" fmla="*/ 2147483646 w 1928"/>
                <a:gd name="T7" fmla="*/ 2147483646 h 853"/>
                <a:gd name="T8" fmla="*/ 2147483646 w 1928"/>
                <a:gd name="T9" fmla="*/ 2147483646 h 853"/>
                <a:gd name="T10" fmla="*/ 2147483646 w 1928"/>
                <a:gd name="T11" fmla="*/ 2147483646 h 853"/>
                <a:gd name="T12" fmla="*/ 2147483646 w 1928"/>
                <a:gd name="T13" fmla="*/ 2147483646 h 853"/>
                <a:gd name="T14" fmla="*/ 2147483646 w 1928"/>
                <a:gd name="T15" fmla="*/ 2147483646 h 853"/>
                <a:gd name="T16" fmla="*/ 2147483646 w 1928"/>
                <a:gd name="T17" fmla="*/ 2147483646 h 853"/>
                <a:gd name="T18" fmla="*/ 2147483646 w 1928"/>
                <a:gd name="T19" fmla="*/ 2147483646 h 853"/>
                <a:gd name="T20" fmla="*/ 2147483646 w 1928"/>
                <a:gd name="T21" fmla="*/ 2147483646 h 853"/>
                <a:gd name="T22" fmla="*/ 2147483646 w 1928"/>
                <a:gd name="T23" fmla="*/ 2147483646 h 853"/>
                <a:gd name="T24" fmla="*/ 2147483646 w 1928"/>
                <a:gd name="T25" fmla="*/ 2147483646 h 853"/>
                <a:gd name="T26" fmla="*/ 2147483646 w 1928"/>
                <a:gd name="T27" fmla="*/ 2147483646 h 853"/>
                <a:gd name="T28" fmla="*/ 2147483646 w 1928"/>
                <a:gd name="T29" fmla="*/ 2147483646 h 853"/>
                <a:gd name="T30" fmla="*/ 2147483646 w 1928"/>
                <a:gd name="T31" fmla="*/ 2147483646 h 853"/>
                <a:gd name="T32" fmla="*/ 2147483646 w 1928"/>
                <a:gd name="T33" fmla="*/ 2147483646 h 853"/>
                <a:gd name="T34" fmla="*/ 2147483646 w 1928"/>
                <a:gd name="T35" fmla="*/ 2147483646 h 853"/>
                <a:gd name="T36" fmla="*/ 2147483646 w 1928"/>
                <a:gd name="T37" fmla="*/ 2147483646 h 853"/>
                <a:gd name="T38" fmla="*/ 2147483646 w 1928"/>
                <a:gd name="T39" fmla="*/ 2147483646 h 853"/>
                <a:gd name="T40" fmla="*/ 2147483646 w 1928"/>
                <a:gd name="T41" fmla="*/ 2147483646 h 853"/>
                <a:gd name="T42" fmla="*/ 2147483646 w 1928"/>
                <a:gd name="T43" fmla="*/ 2147483646 h 853"/>
                <a:gd name="T44" fmla="*/ 2147483646 w 1928"/>
                <a:gd name="T45" fmla="*/ 2147483646 h 853"/>
                <a:gd name="T46" fmla="*/ 2147483646 w 1928"/>
                <a:gd name="T47" fmla="*/ 2147483646 h 853"/>
                <a:gd name="T48" fmla="*/ 2147483646 w 1928"/>
                <a:gd name="T49" fmla="*/ 2147483646 h 853"/>
                <a:gd name="T50" fmla="*/ 2147483646 w 1928"/>
                <a:gd name="T51" fmla="*/ 2147483646 h 853"/>
                <a:gd name="T52" fmla="*/ 2147483646 w 1928"/>
                <a:gd name="T53" fmla="*/ 2147483646 h 853"/>
                <a:gd name="T54" fmla="*/ 2147483646 w 1928"/>
                <a:gd name="T55" fmla="*/ 2147483646 h 853"/>
                <a:gd name="T56" fmla="*/ 2147483646 w 1928"/>
                <a:gd name="T57" fmla="*/ 2147483646 h 853"/>
                <a:gd name="T58" fmla="*/ 2147483646 w 1928"/>
                <a:gd name="T59" fmla="*/ 2147483646 h 853"/>
                <a:gd name="T60" fmla="*/ 2147483646 w 1928"/>
                <a:gd name="T61" fmla="*/ 2147483646 h 853"/>
                <a:gd name="T62" fmla="*/ 2147483646 w 1928"/>
                <a:gd name="T63" fmla="*/ 2147483646 h 853"/>
                <a:gd name="T64" fmla="*/ 2147483646 w 1928"/>
                <a:gd name="T65" fmla="*/ 2147483646 h 853"/>
                <a:gd name="T66" fmla="*/ 2147483646 w 1928"/>
                <a:gd name="T67" fmla="*/ 2147483646 h 853"/>
                <a:gd name="T68" fmla="*/ 2147483646 w 1928"/>
                <a:gd name="T69" fmla="*/ 2147483646 h 853"/>
                <a:gd name="T70" fmla="*/ 2147483646 w 1928"/>
                <a:gd name="T71" fmla="*/ 2147483646 h 853"/>
                <a:gd name="T72" fmla="*/ 2147483646 w 1928"/>
                <a:gd name="T73" fmla="*/ 2147483646 h 853"/>
                <a:gd name="T74" fmla="*/ 2147483646 w 1928"/>
                <a:gd name="T75" fmla="*/ 2147483646 h 853"/>
                <a:gd name="T76" fmla="*/ 2147483646 w 1928"/>
                <a:gd name="T77" fmla="*/ 2147483646 h 853"/>
                <a:gd name="T78" fmla="*/ 2147483646 w 1928"/>
                <a:gd name="T79" fmla="*/ 2147483646 h 853"/>
                <a:gd name="T80" fmla="*/ 2147483646 w 1928"/>
                <a:gd name="T81" fmla="*/ 2147483646 h 853"/>
                <a:gd name="T82" fmla="*/ 2147483646 w 1928"/>
                <a:gd name="T83" fmla="*/ 2147483646 h 853"/>
                <a:gd name="T84" fmla="*/ 2147483646 w 1928"/>
                <a:gd name="T85" fmla="*/ 2147483646 h 853"/>
                <a:gd name="T86" fmla="*/ 2147483646 w 1928"/>
                <a:gd name="T87" fmla="*/ 2147483646 h 853"/>
                <a:gd name="T88" fmla="*/ 2147483646 w 1928"/>
                <a:gd name="T89" fmla="*/ 2147483646 h 853"/>
                <a:gd name="T90" fmla="*/ 2147483646 w 1928"/>
                <a:gd name="T91" fmla="*/ 2147483646 h 853"/>
                <a:gd name="T92" fmla="*/ 2147483646 w 1928"/>
                <a:gd name="T93" fmla="*/ 2147483646 h 853"/>
                <a:gd name="T94" fmla="*/ 2147483646 w 1928"/>
                <a:gd name="T95" fmla="*/ 2147483646 h 853"/>
                <a:gd name="T96" fmla="*/ 2147483646 w 1928"/>
                <a:gd name="T97" fmla="*/ 2147483646 h 853"/>
                <a:gd name="T98" fmla="*/ 2147483646 w 1928"/>
                <a:gd name="T99" fmla="*/ 2147483646 h 853"/>
                <a:gd name="T100" fmla="*/ 2147483646 w 1928"/>
                <a:gd name="T101" fmla="*/ 2147483646 h 853"/>
                <a:gd name="T102" fmla="*/ 2147483646 w 1928"/>
                <a:gd name="T103" fmla="*/ 2147483646 h 853"/>
                <a:gd name="T104" fmla="*/ 2147483646 w 1928"/>
                <a:gd name="T105" fmla="*/ 2147483646 h 853"/>
                <a:gd name="T106" fmla="*/ 2147483646 w 1928"/>
                <a:gd name="T107" fmla="*/ 2147483646 h 853"/>
                <a:gd name="T108" fmla="*/ 2147483646 w 1928"/>
                <a:gd name="T109" fmla="*/ 2147483646 h 853"/>
                <a:gd name="T110" fmla="*/ 2147483646 w 1928"/>
                <a:gd name="T111" fmla="*/ 2147483646 h 853"/>
                <a:gd name="T112" fmla="*/ 2147483646 w 1928"/>
                <a:gd name="T113" fmla="*/ 2147483646 h 853"/>
                <a:gd name="T114" fmla="*/ 2147483646 w 1928"/>
                <a:gd name="T115" fmla="*/ 2147483646 h 853"/>
                <a:gd name="T116" fmla="*/ 2147483646 w 1928"/>
                <a:gd name="T117" fmla="*/ 2147483646 h 853"/>
                <a:gd name="T118" fmla="*/ 2147483646 w 1928"/>
                <a:gd name="T119" fmla="*/ 2147483646 h 85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928" h="853">
                  <a:moveTo>
                    <a:pt x="79" y="0"/>
                  </a:moveTo>
                  <a:cubicBezTo>
                    <a:pt x="30" y="0"/>
                    <a:pt x="0" y="9"/>
                    <a:pt x="0" y="31"/>
                  </a:cubicBezTo>
                  <a:cubicBezTo>
                    <a:pt x="0" y="64"/>
                    <a:pt x="69" y="124"/>
                    <a:pt x="241" y="220"/>
                  </a:cubicBezTo>
                  <a:cubicBezTo>
                    <a:pt x="611" y="427"/>
                    <a:pt x="914" y="514"/>
                    <a:pt x="1123" y="550"/>
                  </a:cubicBezTo>
                  <a:cubicBezTo>
                    <a:pt x="1124" y="551"/>
                    <a:pt x="1124" y="551"/>
                    <a:pt x="1124" y="551"/>
                  </a:cubicBezTo>
                  <a:cubicBezTo>
                    <a:pt x="1125" y="550"/>
                    <a:pt x="1125" y="550"/>
                    <a:pt x="1126" y="550"/>
                  </a:cubicBezTo>
                  <a:cubicBezTo>
                    <a:pt x="916" y="513"/>
                    <a:pt x="613" y="427"/>
                    <a:pt x="242" y="219"/>
                  </a:cubicBezTo>
                  <a:cubicBezTo>
                    <a:pt x="70" y="123"/>
                    <a:pt x="1" y="63"/>
                    <a:pt x="1" y="31"/>
                  </a:cubicBezTo>
                  <a:cubicBezTo>
                    <a:pt x="1" y="21"/>
                    <a:pt x="8" y="13"/>
                    <a:pt x="21" y="9"/>
                  </a:cubicBezTo>
                  <a:cubicBezTo>
                    <a:pt x="35" y="4"/>
                    <a:pt x="54" y="1"/>
                    <a:pt x="79" y="1"/>
                  </a:cubicBezTo>
                  <a:cubicBezTo>
                    <a:pt x="79" y="1"/>
                    <a:pt x="79" y="1"/>
                    <a:pt x="79" y="1"/>
                  </a:cubicBezTo>
                  <a:cubicBezTo>
                    <a:pt x="267" y="1"/>
                    <a:pt x="745" y="135"/>
                    <a:pt x="1022" y="274"/>
                  </a:cubicBezTo>
                  <a:cubicBezTo>
                    <a:pt x="1024" y="275"/>
                    <a:pt x="1025" y="275"/>
                    <a:pt x="1026" y="276"/>
                  </a:cubicBezTo>
                  <a:cubicBezTo>
                    <a:pt x="1041" y="284"/>
                    <a:pt x="1055" y="291"/>
                    <a:pt x="1069" y="299"/>
                  </a:cubicBezTo>
                  <a:cubicBezTo>
                    <a:pt x="1087" y="309"/>
                    <a:pt x="1104" y="319"/>
                    <a:pt x="1119" y="329"/>
                  </a:cubicBezTo>
                  <a:cubicBezTo>
                    <a:pt x="1120" y="328"/>
                    <a:pt x="1120" y="328"/>
                    <a:pt x="1120" y="328"/>
                  </a:cubicBezTo>
                  <a:cubicBezTo>
                    <a:pt x="1093" y="310"/>
                    <a:pt x="1061" y="293"/>
                    <a:pt x="1026" y="275"/>
                  </a:cubicBezTo>
                  <a:cubicBezTo>
                    <a:pt x="1026" y="275"/>
                    <a:pt x="1026" y="275"/>
                    <a:pt x="1026" y="275"/>
                  </a:cubicBezTo>
                  <a:cubicBezTo>
                    <a:pt x="1010" y="267"/>
                    <a:pt x="994" y="259"/>
                    <a:pt x="977" y="251"/>
                  </a:cubicBezTo>
                  <a:cubicBezTo>
                    <a:pt x="695" y="120"/>
                    <a:pt x="257" y="0"/>
                    <a:pt x="79" y="0"/>
                  </a:cubicBezTo>
                  <a:moveTo>
                    <a:pt x="1483" y="15"/>
                  </a:moveTo>
                  <a:cubicBezTo>
                    <a:pt x="1460" y="15"/>
                    <a:pt x="1442" y="18"/>
                    <a:pt x="1430" y="25"/>
                  </a:cubicBezTo>
                  <a:cubicBezTo>
                    <a:pt x="1429" y="25"/>
                    <a:pt x="1429" y="26"/>
                    <a:pt x="1428" y="26"/>
                  </a:cubicBezTo>
                  <a:cubicBezTo>
                    <a:pt x="1425" y="28"/>
                    <a:pt x="1423" y="30"/>
                    <a:pt x="1420" y="33"/>
                  </a:cubicBezTo>
                  <a:cubicBezTo>
                    <a:pt x="1420" y="33"/>
                    <a:pt x="1420" y="33"/>
                    <a:pt x="1420" y="34"/>
                  </a:cubicBezTo>
                  <a:cubicBezTo>
                    <a:pt x="1417" y="36"/>
                    <a:pt x="1416" y="39"/>
                    <a:pt x="1415" y="43"/>
                  </a:cubicBezTo>
                  <a:cubicBezTo>
                    <a:pt x="1415" y="43"/>
                    <a:pt x="1415" y="44"/>
                    <a:pt x="1415" y="44"/>
                  </a:cubicBezTo>
                  <a:cubicBezTo>
                    <a:pt x="1414" y="46"/>
                    <a:pt x="1414" y="49"/>
                    <a:pt x="1414" y="52"/>
                  </a:cubicBezTo>
                  <a:cubicBezTo>
                    <a:pt x="1414" y="61"/>
                    <a:pt x="1417" y="72"/>
                    <a:pt x="1423" y="84"/>
                  </a:cubicBezTo>
                  <a:cubicBezTo>
                    <a:pt x="1470" y="171"/>
                    <a:pt x="1504" y="232"/>
                    <a:pt x="1518" y="276"/>
                  </a:cubicBezTo>
                  <a:cubicBezTo>
                    <a:pt x="1519" y="276"/>
                    <a:pt x="1519" y="276"/>
                    <a:pt x="1519" y="276"/>
                  </a:cubicBezTo>
                  <a:cubicBezTo>
                    <a:pt x="1505" y="231"/>
                    <a:pt x="1471" y="170"/>
                    <a:pt x="1424" y="83"/>
                  </a:cubicBezTo>
                  <a:cubicBezTo>
                    <a:pt x="1418" y="71"/>
                    <a:pt x="1415" y="61"/>
                    <a:pt x="1415" y="52"/>
                  </a:cubicBezTo>
                  <a:cubicBezTo>
                    <a:pt x="1415" y="49"/>
                    <a:pt x="1415" y="47"/>
                    <a:pt x="1416" y="44"/>
                  </a:cubicBezTo>
                  <a:cubicBezTo>
                    <a:pt x="1416" y="44"/>
                    <a:pt x="1416" y="43"/>
                    <a:pt x="1416" y="43"/>
                  </a:cubicBezTo>
                  <a:cubicBezTo>
                    <a:pt x="1417" y="40"/>
                    <a:pt x="1419" y="36"/>
                    <a:pt x="1421" y="34"/>
                  </a:cubicBezTo>
                  <a:cubicBezTo>
                    <a:pt x="1421" y="33"/>
                    <a:pt x="1422" y="33"/>
                    <a:pt x="1422" y="33"/>
                  </a:cubicBezTo>
                  <a:cubicBezTo>
                    <a:pt x="1424" y="30"/>
                    <a:pt x="1427" y="28"/>
                    <a:pt x="1430" y="26"/>
                  </a:cubicBezTo>
                  <a:cubicBezTo>
                    <a:pt x="1431" y="25"/>
                    <a:pt x="1432" y="25"/>
                    <a:pt x="1433" y="25"/>
                  </a:cubicBezTo>
                  <a:cubicBezTo>
                    <a:pt x="1444" y="18"/>
                    <a:pt x="1462" y="16"/>
                    <a:pt x="1483" y="16"/>
                  </a:cubicBezTo>
                  <a:cubicBezTo>
                    <a:pt x="1495" y="16"/>
                    <a:pt x="1509" y="17"/>
                    <a:pt x="1524" y="18"/>
                  </a:cubicBezTo>
                  <a:cubicBezTo>
                    <a:pt x="1528" y="19"/>
                    <a:pt x="1531" y="19"/>
                    <a:pt x="1535" y="19"/>
                  </a:cubicBezTo>
                  <a:cubicBezTo>
                    <a:pt x="1516" y="16"/>
                    <a:pt x="1498" y="15"/>
                    <a:pt x="1483" y="15"/>
                  </a:cubicBezTo>
                  <a:moveTo>
                    <a:pt x="1535" y="20"/>
                  </a:moveTo>
                  <a:cubicBezTo>
                    <a:pt x="1553" y="23"/>
                    <a:pt x="1571" y="26"/>
                    <a:pt x="1591" y="31"/>
                  </a:cubicBezTo>
                  <a:cubicBezTo>
                    <a:pt x="1593" y="31"/>
                    <a:pt x="1596" y="32"/>
                    <a:pt x="1599" y="32"/>
                  </a:cubicBezTo>
                  <a:cubicBezTo>
                    <a:pt x="1599" y="32"/>
                    <a:pt x="1599" y="32"/>
                    <a:pt x="1599" y="32"/>
                  </a:cubicBezTo>
                  <a:cubicBezTo>
                    <a:pt x="1581" y="27"/>
                    <a:pt x="1564" y="24"/>
                    <a:pt x="1547" y="21"/>
                  </a:cubicBezTo>
                  <a:cubicBezTo>
                    <a:pt x="1543" y="21"/>
                    <a:pt x="1539" y="20"/>
                    <a:pt x="1535" y="20"/>
                  </a:cubicBezTo>
                  <a:moveTo>
                    <a:pt x="1599" y="33"/>
                  </a:moveTo>
                  <a:cubicBezTo>
                    <a:pt x="1599" y="33"/>
                    <a:pt x="1599" y="33"/>
                    <a:pt x="1599" y="33"/>
                  </a:cubicBezTo>
                  <a:cubicBezTo>
                    <a:pt x="1599" y="33"/>
                    <a:pt x="1600" y="33"/>
                    <a:pt x="1600" y="33"/>
                  </a:cubicBezTo>
                  <a:cubicBezTo>
                    <a:pt x="1600" y="33"/>
                    <a:pt x="1600" y="33"/>
                    <a:pt x="1600" y="33"/>
                  </a:cubicBezTo>
                  <a:cubicBezTo>
                    <a:pt x="1600" y="33"/>
                    <a:pt x="1599" y="33"/>
                    <a:pt x="1599" y="33"/>
                  </a:cubicBezTo>
                  <a:moveTo>
                    <a:pt x="1601" y="33"/>
                  </a:moveTo>
                  <a:cubicBezTo>
                    <a:pt x="1601" y="33"/>
                    <a:pt x="1601" y="33"/>
                    <a:pt x="1601" y="33"/>
                  </a:cubicBezTo>
                  <a:cubicBezTo>
                    <a:pt x="1603" y="34"/>
                    <a:pt x="1605" y="35"/>
                    <a:pt x="1607" y="35"/>
                  </a:cubicBezTo>
                  <a:cubicBezTo>
                    <a:pt x="1608" y="35"/>
                    <a:pt x="1608" y="35"/>
                    <a:pt x="1609" y="34"/>
                  </a:cubicBezTo>
                  <a:cubicBezTo>
                    <a:pt x="1608" y="34"/>
                    <a:pt x="1608" y="34"/>
                    <a:pt x="1608" y="34"/>
                  </a:cubicBezTo>
                  <a:cubicBezTo>
                    <a:pt x="1606" y="34"/>
                    <a:pt x="1603" y="34"/>
                    <a:pt x="1601" y="33"/>
                  </a:cubicBezTo>
                  <a:moveTo>
                    <a:pt x="1610" y="35"/>
                  </a:moveTo>
                  <a:cubicBezTo>
                    <a:pt x="1610" y="35"/>
                    <a:pt x="1609" y="35"/>
                    <a:pt x="1609" y="36"/>
                  </a:cubicBezTo>
                  <a:cubicBezTo>
                    <a:pt x="1611" y="36"/>
                    <a:pt x="1612" y="36"/>
                    <a:pt x="1614" y="37"/>
                  </a:cubicBezTo>
                  <a:cubicBezTo>
                    <a:pt x="1614" y="37"/>
                    <a:pt x="1614" y="36"/>
                    <a:pt x="1614" y="36"/>
                  </a:cubicBezTo>
                  <a:cubicBezTo>
                    <a:pt x="1613" y="35"/>
                    <a:pt x="1611" y="35"/>
                    <a:pt x="1610" y="35"/>
                  </a:cubicBezTo>
                  <a:moveTo>
                    <a:pt x="1615" y="36"/>
                  </a:moveTo>
                  <a:cubicBezTo>
                    <a:pt x="1615" y="36"/>
                    <a:pt x="1615" y="37"/>
                    <a:pt x="1615" y="37"/>
                  </a:cubicBezTo>
                  <a:cubicBezTo>
                    <a:pt x="1618" y="38"/>
                    <a:pt x="1621" y="39"/>
                    <a:pt x="1624" y="40"/>
                  </a:cubicBezTo>
                  <a:cubicBezTo>
                    <a:pt x="1626" y="40"/>
                    <a:pt x="1628" y="40"/>
                    <a:pt x="1630" y="40"/>
                  </a:cubicBezTo>
                  <a:cubicBezTo>
                    <a:pt x="1625" y="39"/>
                    <a:pt x="1620" y="37"/>
                    <a:pt x="1615" y="36"/>
                  </a:cubicBezTo>
                  <a:moveTo>
                    <a:pt x="1630" y="41"/>
                  </a:moveTo>
                  <a:cubicBezTo>
                    <a:pt x="1631" y="42"/>
                    <a:pt x="1632" y="42"/>
                    <a:pt x="1633" y="42"/>
                  </a:cubicBezTo>
                  <a:cubicBezTo>
                    <a:pt x="1634" y="42"/>
                    <a:pt x="1635" y="42"/>
                    <a:pt x="1636" y="42"/>
                  </a:cubicBezTo>
                  <a:cubicBezTo>
                    <a:pt x="1634" y="42"/>
                    <a:pt x="1632" y="42"/>
                    <a:pt x="1630" y="41"/>
                  </a:cubicBezTo>
                  <a:moveTo>
                    <a:pt x="1638" y="43"/>
                  </a:moveTo>
                  <a:cubicBezTo>
                    <a:pt x="1638" y="43"/>
                    <a:pt x="1637" y="43"/>
                    <a:pt x="1636" y="43"/>
                  </a:cubicBezTo>
                  <a:cubicBezTo>
                    <a:pt x="1638" y="44"/>
                    <a:pt x="1640" y="44"/>
                    <a:pt x="1642" y="45"/>
                  </a:cubicBezTo>
                  <a:cubicBezTo>
                    <a:pt x="1644" y="45"/>
                    <a:pt x="1645" y="45"/>
                    <a:pt x="1647" y="45"/>
                  </a:cubicBezTo>
                  <a:cubicBezTo>
                    <a:pt x="1644" y="44"/>
                    <a:pt x="1641" y="44"/>
                    <a:pt x="1638" y="43"/>
                  </a:cubicBezTo>
                  <a:moveTo>
                    <a:pt x="1646" y="46"/>
                  </a:moveTo>
                  <a:cubicBezTo>
                    <a:pt x="1649" y="47"/>
                    <a:pt x="1652" y="48"/>
                    <a:pt x="1655" y="49"/>
                  </a:cubicBezTo>
                  <a:cubicBezTo>
                    <a:pt x="1656" y="49"/>
                    <a:pt x="1657" y="49"/>
                    <a:pt x="1657" y="49"/>
                  </a:cubicBezTo>
                  <a:cubicBezTo>
                    <a:pt x="1657" y="49"/>
                    <a:pt x="1657" y="49"/>
                    <a:pt x="1657" y="49"/>
                  </a:cubicBezTo>
                  <a:cubicBezTo>
                    <a:pt x="1655" y="48"/>
                    <a:pt x="1653" y="47"/>
                    <a:pt x="1651" y="47"/>
                  </a:cubicBezTo>
                  <a:cubicBezTo>
                    <a:pt x="1649" y="47"/>
                    <a:pt x="1648" y="46"/>
                    <a:pt x="1646" y="46"/>
                  </a:cubicBezTo>
                  <a:moveTo>
                    <a:pt x="1659" y="50"/>
                  </a:moveTo>
                  <a:cubicBezTo>
                    <a:pt x="1659" y="50"/>
                    <a:pt x="1659" y="50"/>
                    <a:pt x="1659" y="50"/>
                  </a:cubicBezTo>
                  <a:cubicBezTo>
                    <a:pt x="1678" y="56"/>
                    <a:pt x="1698" y="64"/>
                    <a:pt x="1718" y="71"/>
                  </a:cubicBezTo>
                  <a:cubicBezTo>
                    <a:pt x="1718" y="71"/>
                    <a:pt x="1718" y="71"/>
                    <a:pt x="1718" y="70"/>
                  </a:cubicBezTo>
                  <a:cubicBezTo>
                    <a:pt x="1699" y="63"/>
                    <a:pt x="1680" y="56"/>
                    <a:pt x="1662" y="50"/>
                  </a:cubicBezTo>
                  <a:cubicBezTo>
                    <a:pt x="1661" y="50"/>
                    <a:pt x="1660" y="50"/>
                    <a:pt x="1659" y="50"/>
                  </a:cubicBezTo>
                  <a:moveTo>
                    <a:pt x="1719" y="71"/>
                  </a:moveTo>
                  <a:cubicBezTo>
                    <a:pt x="1719" y="71"/>
                    <a:pt x="1719" y="71"/>
                    <a:pt x="1718" y="72"/>
                  </a:cubicBezTo>
                  <a:cubicBezTo>
                    <a:pt x="1732" y="77"/>
                    <a:pt x="1745" y="82"/>
                    <a:pt x="1757" y="88"/>
                  </a:cubicBezTo>
                  <a:cubicBezTo>
                    <a:pt x="1761" y="89"/>
                    <a:pt x="1764" y="91"/>
                    <a:pt x="1768" y="93"/>
                  </a:cubicBezTo>
                  <a:cubicBezTo>
                    <a:pt x="1768" y="92"/>
                    <a:pt x="1768" y="92"/>
                    <a:pt x="1768" y="92"/>
                  </a:cubicBezTo>
                  <a:cubicBezTo>
                    <a:pt x="1752" y="84"/>
                    <a:pt x="1735" y="77"/>
                    <a:pt x="1719" y="71"/>
                  </a:cubicBezTo>
                  <a:moveTo>
                    <a:pt x="1769" y="92"/>
                  </a:moveTo>
                  <a:cubicBezTo>
                    <a:pt x="1769" y="92"/>
                    <a:pt x="1769" y="93"/>
                    <a:pt x="1769" y="93"/>
                  </a:cubicBezTo>
                  <a:cubicBezTo>
                    <a:pt x="1774" y="96"/>
                    <a:pt x="1780" y="98"/>
                    <a:pt x="1785" y="101"/>
                  </a:cubicBezTo>
                  <a:cubicBezTo>
                    <a:pt x="1785" y="101"/>
                    <a:pt x="1786" y="100"/>
                    <a:pt x="1786" y="100"/>
                  </a:cubicBezTo>
                  <a:cubicBezTo>
                    <a:pt x="1780" y="97"/>
                    <a:pt x="1775" y="95"/>
                    <a:pt x="1769" y="92"/>
                  </a:cubicBezTo>
                  <a:moveTo>
                    <a:pt x="1787" y="101"/>
                  </a:moveTo>
                  <a:cubicBezTo>
                    <a:pt x="1787" y="101"/>
                    <a:pt x="1786" y="101"/>
                    <a:pt x="1786" y="101"/>
                  </a:cubicBezTo>
                  <a:cubicBezTo>
                    <a:pt x="1790" y="103"/>
                    <a:pt x="1794" y="105"/>
                    <a:pt x="1798" y="107"/>
                  </a:cubicBezTo>
                  <a:cubicBezTo>
                    <a:pt x="1799" y="107"/>
                    <a:pt x="1800" y="107"/>
                    <a:pt x="1800" y="107"/>
                  </a:cubicBezTo>
                  <a:cubicBezTo>
                    <a:pt x="1796" y="105"/>
                    <a:pt x="1792" y="103"/>
                    <a:pt x="1787" y="101"/>
                  </a:cubicBezTo>
                  <a:moveTo>
                    <a:pt x="1802" y="108"/>
                  </a:moveTo>
                  <a:cubicBezTo>
                    <a:pt x="1801" y="108"/>
                    <a:pt x="1801" y="108"/>
                    <a:pt x="1800" y="108"/>
                  </a:cubicBezTo>
                  <a:cubicBezTo>
                    <a:pt x="1803" y="110"/>
                    <a:pt x="1806" y="111"/>
                    <a:pt x="1809" y="113"/>
                  </a:cubicBezTo>
                  <a:cubicBezTo>
                    <a:pt x="1809" y="113"/>
                    <a:pt x="1809" y="112"/>
                    <a:pt x="1809" y="112"/>
                  </a:cubicBezTo>
                  <a:cubicBezTo>
                    <a:pt x="1807" y="111"/>
                    <a:pt x="1804" y="109"/>
                    <a:pt x="1802" y="108"/>
                  </a:cubicBezTo>
                  <a:moveTo>
                    <a:pt x="1810" y="112"/>
                  </a:moveTo>
                  <a:cubicBezTo>
                    <a:pt x="1810" y="113"/>
                    <a:pt x="1810" y="113"/>
                    <a:pt x="1810" y="113"/>
                  </a:cubicBezTo>
                  <a:cubicBezTo>
                    <a:pt x="1811" y="114"/>
                    <a:pt x="1812" y="115"/>
                    <a:pt x="1813" y="115"/>
                  </a:cubicBezTo>
                  <a:cubicBezTo>
                    <a:pt x="1814" y="115"/>
                    <a:pt x="1814" y="115"/>
                    <a:pt x="1814" y="115"/>
                  </a:cubicBezTo>
                  <a:cubicBezTo>
                    <a:pt x="1813" y="114"/>
                    <a:pt x="1811" y="113"/>
                    <a:pt x="1810" y="112"/>
                  </a:cubicBezTo>
                  <a:moveTo>
                    <a:pt x="1815" y="115"/>
                  </a:moveTo>
                  <a:cubicBezTo>
                    <a:pt x="1815" y="115"/>
                    <a:pt x="1814" y="116"/>
                    <a:pt x="1814" y="116"/>
                  </a:cubicBezTo>
                  <a:cubicBezTo>
                    <a:pt x="1822" y="120"/>
                    <a:pt x="1830" y="125"/>
                    <a:pt x="1837" y="129"/>
                  </a:cubicBezTo>
                  <a:cubicBezTo>
                    <a:pt x="1838" y="129"/>
                    <a:pt x="1838" y="129"/>
                    <a:pt x="1839" y="129"/>
                  </a:cubicBezTo>
                  <a:cubicBezTo>
                    <a:pt x="1831" y="124"/>
                    <a:pt x="1823" y="120"/>
                    <a:pt x="1815" y="115"/>
                  </a:cubicBezTo>
                  <a:moveTo>
                    <a:pt x="1840" y="130"/>
                  </a:moveTo>
                  <a:cubicBezTo>
                    <a:pt x="1840" y="130"/>
                    <a:pt x="1839" y="130"/>
                    <a:pt x="1839" y="130"/>
                  </a:cubicBezTo>
                  <a:cubicBezTo>
                    <a:pt x="1840" y="131"/>
                    <a:pt x="1841" y="131"/>
                    <a:pt x="1842" y="132"/>
                  </a:cubicBezTo>
                  <a:cubicBezTo>
                    <a:pt x="1843" y="132"/>
                    <a:pt x="1843" y="132"/>
                    <a:pt x="1843" y="131"/>
                  </a:cubicBezTo>
                  <a:cubicBezTo>
                    <a:pt x="1842" y="131"/>
                    <a:pt x="1841" y="130"/>
                    <a:pt x="1840" y="130"/>
                  </a:cubicBezTo>
                  <a:moveTo>
                    <a:pt x="1844" y="132"/>
                  </a:moveTo>
                  <a:cubicBezTo>
                    <a:pt x="1844" y="132"/>
                    <a:pt x="1844" y="132"/>
                    <a:pt x="1843" y="133"/>
                  </a:cubicBezTo>
                  <a:cubicBezTo>
                    <a:pt x="1846" y="134"/>
                    <a:pt x="1848" y="136"/>
                    <a:pt x="1851" y="138"/>
                  </a:cubicBezTo>
                  <a:cubicBezTo>
                    <a:pt x="1851" y="137"/>
                    <a:pt x="1851" y="137"/>
                    <a:pt x="1851" y="137"/>
                  </a:cubicBezTo>
                  <a:cubicBezTo>
                    <a:pt x="1849" y="135"/>
                    <a:pt x="1846" y="134"/>
                    <a:pt x="1844" y="132"/>
                  </a:cubicBezTo>
                  <a:moveTo>
                    <a:pt x="1852" y="137"/>
                  </a:moveTo>
                  <a:cubicBezTo>
                    <a:pt x="1852" y="138"/>
                    <a:pt x="1852" y="138"/>
                    <a:pt x="1852" y="138"/>
                  </a:cubicBezTo>
                  <a:cubicBezTo>
                    <a:pt x="1854" y="140"/>
                    <a:pt x="1856" y="141"/>
                    <a:pt x="1858" y="143"/>
                  </a:cubicBezTo>
                  <a:cubicBezTo>
                    <a:pt x="1858" y="142"/>
                    <a:pt x="1859" y="142"/>
                    <a:pt x="1859" y="142"/>
                  </a:cubicBezTo>
                  <a:cubicBezTo>
                    <a:pt x="1857" y="140"/>
                    <a:pt x="1854" y="139"/>
                    <a:pt x="1852" y="137"/>
                  </a:cubicBezTo>
                  <a:moveTo>
                    <a:pt x="1860" y="143"/>
                  </a:moveTo>
                  <a:cubicBezTo>
                    <a:pt x="1860" y="143"/>
                    <a:pt x="1860" y="143"/>
                    <a:pt x="1860" y="144"/>
                  </a:cubicBezTo>
                  <a:cubicBezTo>
                    <a:pt x="1863" y="146"/>
                    <a:pt x="1866" y="148"/>
                    <a:pt x="1870" y="150"/>
                  </a:cubicBezTo>
                  <a:cubicBezTo>
                    <a:pt x="1870" y="150"/>
                    <a:pt x="1870" y="150"/>
                    <a:pt x="1870" y="150"/>
                  </a:cubicBezTo>
                  <a:cubicBezTo>
                    <a:pt x="1867" y="147"/>
                    <a:pt x="1864" y="145"/>
                    <a:pt x="1860" y="143"/>
                  </a:cubicBezTo>
                  <a:moveTo>
                    <a:pt x="1871" y="150"/>
                  </a:moveTo>
                  <a:cubicBezTo>
                    <a:pt x="1871" y="151"/>
                    <a:pt x="1871" y="151"/>
                    <a:pt x="1870" y="151"/>
                  </a:cubicBezTo>
                  <a:cubicBezTo>
                    <a:pt x="1873" y="153"/>
                    <a:pt x="1875" y="155"/>
                    <a:pt x="1878" y="157"/>
                  </a:cubicBezTo>
                  <a:cubicBezTo>
                    <a:pt x="1878" y="156"/>
                    <a:pt x="1878" y="156"/>
                    <a:pt x="1878" y="156"/>
                  </a:cubicBezTo>
                  <a:cubicBezTo>
                    <a:pt x="1876" y="154"/>
                    <a:pt x="1874" y="152"/>
                    <a:pt x="1871" y="150"/>
                  </a:cubicBezTo>
                  <a:moveTo>
                    <a:pt x="1879" y="157"/>
                  </a:moveTo>
                  <a:cubicBezTo>
                    <a:pt x="1879" y="157"/>
                    <a:pt x="1879" y="157"/>
                    <a:pt x="1879" y="157"/>
                  </a:cubicBezTo>
                  <a:cubicBezTo>
                    <a:pt x="1883" y="161"/>
                    <a:pt x="1887" y="164"/>
                    <a:pt x="1891" y="167"/>
                  </a:cubicBezTo>
                  <a:cubicBezTo>
                    <a:pt x="1891" y="167"/>
                    <a:pt x="1891" y="167"/>
                    <a:pt x="1891" y="167"/>
                  </a:cubicBezTo>
                  <a:cubicBezTo>
                    <a:pt x="1888" y="163"/>
                    <a:pt x="1884" y="160"/>
                    <a:pt x="1879" y="157"/>
                  </a:cubicBezTo>
                  <a:moveTo>
                    <a:pt x="1892" y="167"/>
                  </a:moveTo>
                  <a:cubicBezTo>
                    <a:pt x="1892" y="168"/>
                    <a:pt x="1892" y="168"/>
                    <a:pt x="1892" y="168"/>
                  </a:cubicBezTo>
                  <a:cubicBezTo>
                    <a:pt x="1896" y="172"/>
                    <a:pt x="1899" y="176"/>
                    <a:pt x="1903" y="179"/>
                  </a:cubicBezTo>
                  <a:cubicBezTo>
                    <a:pt x="1903" y="179"/>
                    <a:pt x="1903" y="179"/>
                    <a:pt x="1904" y="179"/>
                  </a:cubicBezTo>
                  <a:cubicBezTo>
                    <a:pt x="1900" y="175"/>
                    <a:pt x="1896" y="171"/>
                    <a:pt x="1892" y="167"/>
                  </a:cubicBezTo>
                  <a:moveTo>
                    <a:pt x="1904" y="179"/>
                  </a:moveTo>
                  <a:cubicBezTo>
                    <a:pt x="1904" y="180"/>
                    <a:pt x="1904" y="180"/>
                    <a:pt x="1904" y="180"/>
                  </a:cubicBezTo>
                  <a:cubicBezTo>
                    <a:pt x="1904" y="180"/>
                    <a:pt x="1904" y="181"/>
                    <a:pt x="1905" y="181"/>
                  </a:cubicBezTo>
                  <a:cubicBezTo>
                    <a:pt x="1905" y="181"/>
                    <a:pt x="1906" y="181"/>
                    <a:pt x="1906" y="182"/>
                  </a:cubicBezTo>
                  <a:cubicBezTo>
                    <a:pt x="1906" y="181"/>
                    <a:pt x="1905" y="180"/>
                    <a:pt x="1904" y="179"/>
                  </a:cubicBezTo>
                  <a:moveTo>
                    <a:pt x="1906" y="182"/>
                  </a:moveTo>
                  <a:cubicBezTo>
                    <a:pt x="1906" y="183"/>
                    <a:pt x="1906" y="183"/>
                    <a:pt x="1907" y="183"/>
                  </a:cubicBezTo>
                  <a:cubicBezTo>
                    <a:pt x="1907" y="183"/>
                    <a:pt x="1907" y="183"/>
                    <a:pt x="1907" y="183"/>
                  </a:cubicBezTo>
                  <a:cubicBezTo>
                    <a:pt x="1907" y="183"/>
                    <a:pt x="1907" y="183"/>
                    <a:pt x="1907" y="183"/>
                  </a:cubicBezTo>
                  <a:cubicBezTo>
                    <a:pt x="1907" y="183"/>
                    <a:pt x="1906" y="182"/>
                    <a:pt x="1906" y="182"/>
                  </a:cubicBezTo>
                  <a:moveTo>
                    <a:pt x="1908" y="184"/>
                  </a:moveTo>
                  <a:cubicBezTo>
                    <a:pt x="1908" y="184"/>
                    <a:pt x="1908" y="184"/>
                    <a:pt x="1907" y="184"/>
                  </a:cubicBezTo>
                  <a:cubicBezTo>
                    <a:pt x="1909" y="187"/>
                    <a:pt x="1911" y="189"/>
                    <a:pt x="1913" y="191"/>
                  </a:cubicBezTo>
                  <a:cubicBezTo>
                    <a:pt x="1913" y="191"/>
                    <a:pt x="1914" y="191"/>
                    <a:pt x="1914" y="191"/>
                  </a:cubicBezTo>
                  <a:cubicBezTo>
                    <a:pt x="1912" y="188"/>
                    <a:pt x="1910" y="186"/>
                    <a:pt x="1908" y="184"/>
                  </a:cubicBezTo>
                  <a:moveTo>
                    <a:pt x="1915" y="192"/>
                  </a:moveTo>
                  <a:cubicBezTo>
                    <a:pt x="1914" y="192"/>
                    <a:pt x="1914" y="192"/>
                    <a:pt x="1914" y="192"/>
                  </a:cubicBezTo>
                  <a:cubicBezTo>
                    <a:pt x="1914" y="193"/>
                    <a:pt x="1915" y="194"/>
                    <a:pt x="1916" y="195"/>
                  </a:cubicBezTo>
                  <a:cubicBezTo>
                    <a:pt x="1916" y="195"/>
                    <a:pt x="1916" y="194"/>
                    <a:pt x="1916" y="193"/>
                  </a:cubicBezTo>
                  <a:cubicBezTo>
                    <a:pt x="1915" y="193"/>
                    <a:pt x="1915" y="192"/>
                    <a:pt x="1915" y="192"/>
                  </a:cubicBezTo>
                  <a:moveTo>
                    <a:pt x="1917" y="195"/>
                  </a:moveTo>
                  <a:cubicBezTo>
                    <a:pt x="1917" y="195"/>
                    <a:pt x="1917" y="196"/>
                    <a:pt x="1917" y="197"/>
                  </a:cubicBezTo>
                  <a:cubicBezTo>
                    <a:pt x="1917" y="197"/>
                    <a:pt x="1918" y="198"/>
                    <a:pt x="1918" y="199"/>
                  </a:cubicBezTo>
                  <a:cubicBezTo>
                    <a:pt x="1918" y="199"/>
                    <a:pt x="1919" y="199"/>
                    <a:pt x="1919" y="198"/>
                  </a:cubicBezTo>
                  <a:cubicBezTo>
                    <a:pt x="1918" y="197"/>
                    <a:pt x="1917" y="196"/>
                    <a:pt x="1917" y="195"/>
                  </a:cubicBezTo>
                  <a:moveTo>
                    <a:pt x="1919" y="199"/>
                  </a:moveTo>
                  <a:cubicBezTo>
                    <a:pt x="1919" y="199"/>
                    <a:pt x="1919" y="200"/>
                    <a:pt x="1919" y="200"/>
                  </a:cubicBezTo>
                  <a:cubicBezTo>
                    <a:pt x="1919" y="201"/>
                    <a:pt x="1919" y="201"/>
                    <a:pt x="1920" y="202"/>
                  </a:cubicBezTo>
                  <a:cubicBezTo>
                    <a:pt x="1920" y="202"/>
                    <a:pt x="1920" y="202"/>
                    <a:pt x="1921" y="201"/>
                  </a:cubicBezTo>
                  <a:cubicBezTo>
                    <a:pt x="1920" y="201"/>
                    <a:pt x="1920" y="200"/>
                    <a:pt x="1919" y="199"/>
                  </a:cubicBezTo>
                  <a:moveTo>
                    <a:pt x="1921" y="202"/>
                  </a:moveTo>
                  <a:cubicBezTo>
                    <a:pt x="1921" y="202"/>
                    <a:pt x="1921" y="203"/>
                    <a:pt x="1920" y="203"/>
                  </a:cubicBezTo>
                  <a:cubicBezTo>
                    <a:pt x="1923" y="208"/>
                    <a:pt x="1925" y="212"/>
                    <a:pt x="1926" y="217"/>
                  </a:cubicBezTo>
                  <a:cubicBezTo>
                    <a:pt x="1926" y="217"/>
                    <a:pt x="1926" y="216"/>
                    <a:pt x="1926" y="216"/>
                  </a:cubicBezTo>
                  <a:cubicBezTo>
                    <a:pt x="1925" y="212"/>
                    <a:pt x="1924" y="207"/>
                    <a:pt x="1921" y="202"/>
                  </a:cubicBezTo>
                  <a:moveTo>
                    <a:pt x="1927" y="217"/>
                  </a:moveTo>
                  <a:cubicBezTo>
                    <a:pt x="1926" y="217"/>
                    <a:pt x="1926" y="218"/>
                    <a:pt x="1926" y="218"/>
                  </a:cubicBezTo>
                  <a:cubicBezTo>
                    <a:pt x="1926" y="218"/>
                    <a:pt x="1926" y="219"/>
                    <a:pt x="1926" y="220"/>
                  </a:cubicBezTo>
                  <a:cubicBezTo>
                    <a:pt x="1926" y="219"/>
                    <a:pt x="1927" y="219"/>
                    <a:pt x="1927" y="219"/>
                  </a:cubicBezTo>
                  <a:cubicBezTo>
                    <a:pt x="1927" y="218"/>
                    <a:pt x="1927" y="218"/>
                    <a:pt x="1927" y="217"/>
                  </a:cubicBezTo>
                  <a:moveTo>
                    <a:pt x="1927" y="220"/>
                  </a:moveTo>
                  <a:cubicBezTo>
                    <a:pt x="1927" y="220"/>
                    <a:pt x="1927" y="221"/>
                    <a:pt x="1926" y="221"/>
                  </a:cubicBezTo>
                  <a:cubicBezTo>
                    <a:pt x="1926" y="223"/>
                    <a:pt x="1927" y="224"/>
                    <a:pt x="1927" y="226"/>
                  </a:cubicBezTo>
                  <a:cubicBezTo>
                    <a:pt x="1927" y="227"/>
                    <a:pt x="1927" y="228"/>
                    <a:pt x="1926" y="228"/>
                  </a:cubicBezTo>
                  <a:cubicBezTo>
                    <a:pt x="1927" y="228"/>
                    <a:pt x="1927" y="228"/>
                    <a:pt x="1928" y="228"/>
                  </a:cubicBezTo>
                  <a:cubicBezTo>
                    <a:pt x="1928" y="227"/>
                    <a:pt x="1928" y="227"/>
                    <a:pt x="1928" y="226"/>
                  </a:cubicBezTo>
                  <a:cubicBezTo>
                    <a:pt x="1928" y="224"/>
                    <a:pt x="1927" y="222"/>
                    <a:pt x="1927" y="220"/>
                  </a:cubicBezTo>
                  <a:moveTo>
                    <a:pt x="1927" y="229"/>
                  </a:moveTo>
                  <a:cubicBezTo>
                    <a:pt x="1927" y="229"/>
                    <a:pt x="1927" y="229"/>
                    <a:pt x="1926" y="229"/>
                  </a:cubicBezTo>
                  <a:cubicBezTo>
                    <a:pt x="1926" y="230"/>
                    <a:pt x="1926" y="230"/>
                    <a:pt x="1926" y="230"/>
                  </a:cubicBezTo>
                  <a:cubicBezTo>
                    <a:pt x="1927" y="230"/>
                    <a:pt x="1927" y="229"/>
                    <a:pt x="1927" y="229"/>
                  </a:cubicBezTo>
                  <a:moveTo>
                    <a:pt x="1927" y="232"/>
                  </a:moveTo>
                  <a:cubicBezTo>
                    <a:pt x="1927" y="232"/>
                    <a:pt x="1926" y="232"/>
                    <a:pt x="1926" y="232"/>
                  </a:cubicBezTo>
                  <a:cubicBezTo>
                    <a:pt x="1925" y="235"/>
                    <a:pt x="1925" y="238"/>
                    <a:pt x="1924" y="240"/>
                  </a:cubicBezTo>
                  <a:cubicBezTo>
                    <a:pt x="1924" y="240"/>
                    <a:pt x="1925" y="239"/>
                    <a:pt x="1925" y="239"/>
                  </a:cubicBezTo>
                  <a:cubicBezTo>
                    <a:pt x="1926" y="236"/>
                    <a:pt x="1927" y="234"/>
                    <a:pt x="1927" y="232"/>
                  </a:cubicBezTo>
                  <a:moveTo>
                    <a:pt x="1924" y="241"/>
                  </a:moveTo>
                  <a:cubicBezTo>
                    <a:pt x="1924" y="242"/>
                    <a:pt x="1923" y="242"/>
                    <a:pt x="1922" y="243"/>
                  </a:cubicBezTo>
                  <a:cubicBezTo>
                    <a:pt x="1921" y="245"/>
                    <a:pt x="1920" y="247"/>
                    <a:pt x="1918" y="249"/>
                  </a:cubicBezTo>
                  <a:cubicBezTo>
                    <a:pt x="1919" y="249"/>
                    <a:pt x="1919" y="250"/>
                    <a:pt x="1919" y="250"/>
                  </a:cubicBezTo>
                  <a:cubicBezTo>
                    <a:pt x="1921" y="247"/>
                    <a:pt x="1923" y="244"/>
                    <a:pt x="1924" y="241"/>
                  </a:cubicBezTo>
                  <a:moveTo>
                    <a:pt x="1918" y="250"/>
                  </a:moveTo>
                  <a:cubicBezTo>
                    <a:pt x="1917" y="250"/>
                    <a:pt x="1917" y="251"/>
                    <a:pt x="1917" y="251"/>
                  </a:cubicBezTo>
                  <a:cubicBezTo>
                    <a:pt x="1917" y="251"/>
                    <a:pt x="1917" y="251"/>
                    <a:pt x="1918" y="251"/>
                  </a:cubicBezTo>
                  <a:cubicBezTo>
                    <a:pt x="1918" y="251"/>
                    <a:pt x="1918" y="250"/>
                    <a:pt x="1918" y="250"/>
                  </a:cubicBezTo>
                  <a:moveTo>
                    <a:pt x="1916" y="252"/>
                  </a:moveTo>
                  <a:cubicBezTo>
                    <a:pt x="1916" y="252"/>
                    <a:pt x="1915" y="253"/>
                    <a:pt x="1915" y="253"/>
                  </a:cubicBezTo>
                  <a:cubicBezTo>
                    <a:pt x="1914" y="254"/>
                    <a:pt x="1913" y="255"/>
                    <a:pt x="1912" y="256"/>
                  </a:cubicBezTo>
                  <a:cubicBezTo>
                    <a:pt x="1912" y="256"/>
                    <a:pt x="1913" y="255"/>
                    <a:pt x="1914" y="255"/>
                  </a:cubicBezTo>
                  <a:cubicBezTo>
                    <a:pt x="1915" y="254"/>
                    <a:pt x="1916" y="253"/>
                    <a:pt x="1917" y="252"/>
                  </a:cubicBezTo>
                  <a:cubicBezTo>
                    <a:pt x="1917" y="252"/>
                    <a:pt x="1916" y="252"/>
                    <a:pt x="1916" y="252"/>
                  </a:cubicBezTo>
                  <a:moveTo>
                    <a:pt x="1909" y="260"/>
                  </a:moveTo>
                  <a:cubicBezTo>
                    <a:pt x="1908" y="260"/>
                    <a:pt x="1907" y="261"/>
                    <a:pt x="1906" y="261"/>
                  </a:cubicBezTo>
                  <a:cubicBezTo>
                    <a:pt x="1906" y="261"/>
                    <a:pt x="1905" y="262"/>
                    <a:pt x="1904" y="262"/>
                  </a:cubicBezTo>
                  <a:cubicBezTo>
                    <a:pt x="1904" y="262"/>
                    <a:pt x="1904" y="263"/>
                    <a:pt x="1904" y="263"/>
                  </a:cubicBezTo>
                  <a:cubicBezTo>
                    <a:pt x="1900" y="265"/>
                    <a:pt x="1897" y="267"/>
                    <a:pt x="1893" y="269"/>
                  </a:cubicBezTo>
                  <a:cubicBezTo>
                    <a:pt x="1892" y="270"/>
                    <a:pt x="1891" y="271"/>
                    <a:pt x="1890" y="271"/>
                  </a:cubicBezTo>
                  <a:cubicBezTo>
                    <a:pt x="1890" y="272"/>
                    <a:pt x="1889" y="272"/>
                    <a:pt x="1889" y="273"/>
                  </a:cubicBezTo>
                  <a:cubicBezTo>
                    <a:pt x="1889" y="273"/>
                    <a:pt x="1889" y="273"/>
                    <a:pt x="1889" y="273"/>
                  </a:cubicBezTo>
                  <a:cubicBezTo>
                    <a:pt x="1889" y="273"/>
                    <a:pt x="1889" y="273"/>
                    <a:pt x="1890" y="272"/>
                  </a:cubicBezTo>
                  <a:cubicBezTo>
                    <a:pt x="1891" y="272"/>
                    <a:pt x="1892" y="271"/>
                    <a:pt x="1894" y="270"/>
                  </a:cubicBezTo>
                  <a:cubicBezTo>
                    <a:pt x="1897" y="269"/>
                    <a:pt x="1899" y="267"/>
                    <a:pt x="1902" y="265"/>
                  </a:cubicBezTo>
                  <a:cubicBezTo>
                    <a:pt x="1904" y="263"/>
                    <a:pt x="1907" y="261"/>
                    <a:pt x="1909" y="260"/>
                  </a:cubicBezTo>
                  <a:moveTo>
                    <a:pt x="1888" y="272"/>
                  </a:moveTo>
                  <a:cubicBezTo>
                    <a:pt x="1887" y="273"/>
                    <a:pt x="1885" y="274"/>
                    <a:pt x="1884" y="274"/>
                  </a:cubicBezTo>
                  <a:cubicBezTo>
                    <a:pt x="1882" y="276"/>
                    <a:pt x="1880" y="277"/>
                    <a:pt x="1878" y="279"/>
                  </a:cubicBezTo>
                  <a:cubicBezTo>
                    <a:pt x="1881" y="277"/>
                    <a:pt x="1884" y="276"/>
                    <a:pt x="1886" y="274"/>
                  </a:cubicBezTo>
                  <a:cubicBezTo>
                    <a:pt x="1887" y="274"/>
                    <a:pt x="1887" y="273"/>
                    <a:pt x="1888" y="272"/>
                  </a:cubicBezTo>
                  <a:moveTo>
                    <a:pt x="1520" y="277"/>
                  </a:moveTo>
                  <a:cubicBezTo>
                    <a:pt x="1519" y="277"/>
                    <a:pt x="1519" y="277"/>
                    <a:pt x="1519" y="277"/>
                  </a:cubicBezTo>
                  <a:cubicBezTo>
                    <a:pt x="1519" y="279"/>
                    <a:pt x="1520" y="281"/>
                    <a:pt x="1520" y="283"/>
                  </a:cubicBezTo>
                  <a:cubicBezTo>
                    <a:pt x="1521" y="283"/>
                    <a:pt x="1521" y="283"/>
                    <a:pt x="1521" y="283"/>
                  </a:cubicBezTo>
                  <a:cubicBezTo>
                    <a:pt x="1521" y="281"/>
                    <a:pt x="1520" y="279"/>
                    <a:pt x="1520" y="277"/>
                  </a:cubicBezTo>
                  <a:moveTo>
                    <a:pt x="1877" y="278"/>
                  </a:moveTo>
                  <a:cubicBezTo>
                    <a:pt x="1876" y="279"/>
                    <a:pt x="1875" y="279"/>
                    <a:pt x="1875" y="280"/>
                  </a:cubicBezTo>
                  <a:cubicBezTo>
                    <a:pt x="1875" y="280"/>
                    <a:pt x="1875" y="280"/>
                    <a:pt x="1875" y="280"/>
                  </a:cubicBezTo>
                  <a:cubicBezTo>
                    <a:pt x="1876" y="279"/>
                    <a:pt x="1876" y="279"/>
                    <a:pt x="1877" y="278"/>
                  </a:cubicBezTo>
                  <a:moveTo>
                    <a:pt x="1874" y="280"/>
                  </a:moveTo>
                  <a:cubicBezTo>
                    <a:pt x="1873" y="281"/>
                    <a:pt x="1872" y="281"/>
                    <a:pt x="1871" y="282"/>
                  </a:cubicBezTo>
                  <a:cubicBezTo>
                    <a:pt x="1870" y="282"/>
                    <a:pt x="1870" y="282"/>
                    <a:pt x="1870" y="282"/>
                  </a:cubicBezTo>
                  <a:cubicBezTo>
                    <a:pt x="1871" y="282"/>
                    <a:pt x="1871" y="282"/>
                    <a:pt x="1871" y="283"/>
                  </a:cubicBezTo>
                  <a:cubicBezTo>
                    <a:pt x="1872" y="282"/>
                    <a:pt x="1873" y="281"/>
                    <a:pt x="1874" y="281"/>
                  </a:cubicBezTo>
                  <a:cubicBezTo>
                    <a:pt x="1874" y="280"/>
                    <a:pt x="1874" y="280"/>
                    <a:pt x="1874" y="280"/>
                  </a:cubicBezTo>
                  <a:moveTo>
                    <a:pt x="1869" y="283"/>
                  </a:moveTo>
                  <a:cubicBezTo>
                    <a:pt x="1867" y="284"/>
                    <a:pt x="1864" y="286"/>
                    <a:pt x="1862" y="287"/>
                  </a:cubicBezTo>
                  <a:cubicBezTo>
                    <a:pt x="1862" y="288"/>
                    <a:pt x="1862" y="288"/>
                    <a:pt x="1862" y="288"/>
                  </a:cubicBezTo>
                  <a:cubicBezTo>
                    <a:pt x="1865" y="286"/>
                    <a:pt x="1867" y="285"/>
                    <a:pt x="1870" y="283"/>
                  </a:cubicBezTo>
                  <a:cubicBezTo>
                    <a:pt x="1870" y="283"/>
                    <a:pt x="1870" y="283"/>
                    <a:pt x="1870" y="283"/>
                  </a:cubicBezTo>
                  <a:cubicBezTo>
                    <a:pt x="1870" y="283"/>
                    <a:pt x="1869" y="283"/>
                    <a:pt x="1869" y="283"/>
                  </a:cubicBezTo>
                  <a:moveTo>
                    <a:pt x="1522" y="284"/>
                  </a:moveTo>
                  <a:cubicBezTo>
                    <a:pt x="1521" y="284"/>
                    <a:pt x="1521" y="285"/>
                    <a:pt x="1521" y="285"/>
                  </a:cubicBezTo>
                  <a:cubicBezTo>
                    <a:pt x="1521" y="287"/>
                    <a:pt x="1522" y="288"/>
                    <a:pt x="1522" y="290"/>
                  </a:cubicBezTo>
                  <a:cubicBezTo>
                    <a:pt x="1522" y="290"/>
                    <a:pt x="1523" y="290"/>
                    <a:pt x="1523" y="290"/>
                  </a:cubicBezTo>
                  <a:cubicBezTo>
                    <a:pt x="1523" y="288"/>
                    <a:pt x="1522" y="286"/>
                    <a:pt x="1522" y="284"/>
                  </a:cubicBezTo>
                  <a:moveTo>
                    <a:pt x="1861" y="288"/>
                  </a:moveTo>
                  <a:cubicBezTo>
                    <a:pt x="1860" y="288"/>
                    <a:pt x="1860" y="289"/>
                    <a:pt x="1860" y="289"/>
                  </a:cubicBezTo>
                  <a:cubicBezTo>
                    <a:pt x="1860" y="289"/>
                    <a:pt x="1860" y="289"/>
                    <a:pt x="1861" y="288"/>
                  </a:cubicBezTo>
                  <a:cubicBezTo>
                    <a:pt x="1861" y="288"/>
                    <a:pt x="1861" y="288"/>
                    <a:pt x="1861" y="288"/>
                  </a:cubicBezTo>
                  <a:moveTo>
                    <a:pt x="1858" y="290"/>
                  </a:moveTo>
                  <a:cubicBezTo>
                    <a:pt x="1853" y="293"/>
                    <a:pt x="1848" y="295"/>
                    <a:pt x="1844" y="298"/>
                  </a:cubicBezTo>
                  <a:cubicBezTo>
                    <a:pt x="1848" y="296"/>
                    <a:pt x="1852" y="294"/>
                    <a:pt x="1856" y="291"/>
                  </a:cubicBezTo>
                  <a:cubicBezTo>
                    <a:pt x="1857" y="291"/>
                    <a:pt x="1857" y="290"/>
                    <a:pt x="1858" y="290"/>
                  </a:cubicBezTo>
                  <a:moveTo>
                    <a:pt x="1522" y="291"/>
                  </a:moveTo>
                  <a:cubicBezTo>
                    <a:pt x="1522" y="291"/>
                    <a:pt x="1522" y="291"/>
                    <a:pt x="1522" y="291"/>
                  </a:cubicBezTo>
                  <a:cubicBezTo>
                    <a:pt x="1523" y="291"/>
                    <a:pt x="1523" y="291"/>
                    <a:pt x="1523" y="291"/>
                  </a:cubicBezTo>
                  <a:cubicBezTo>
                    <a:pt x="1523" y="291"/>
                    <a:pt x="1523" y="291"/>
                    <a:pt x="1523" y="291"/>
                  </a:cubicBezTo>
                  <a:cubicBezTo>
                    <a:pt x="1522" y="291"/>
                    <a:pt x="1522" y="291"/>
                    <a:pt x="1522" y="291"/>
                  </a:cubicBezTo>
                  <a:moveTo>
                    <a:pt x="1524" y="292"/>
                  </a:moveTo>
                  <a:cubicBezTo>
                    <a:pt x="1523" y="292"/>
                    <a:pt x="1523" y="292"/>
                    <a:pt x="1523" y="292"/>
                  </a:cubicBezTo>
                  <a:cubicBezTo>
                    <a:pt x="1523" y="293"/>
                    <a:pt x="1523" y="294"/>
                    <a:pt x="1523" y="295"/>
                  </a:cubicBezTo>
                  <a:cubicBezTo>
                    <a:pt x="1524" y="295"/>
                    <a:pt x="1524" y="295"/>
                    <a:pt x="1524" y="295"/>
                  </a:cubicBezTo>
                  <a:cubicBezTo>
                    <a:pt x="1524" y="294"/>
                    <a:pt x="1524" y="293"/>
                    <a:pt x="1524" y="292"/>
                  </a:cubicBezTo>
                  <a:moveTo>
                    <a:pt x="1524" y="296"/>
                  </a:moveTo>
                  <a:cubicBezTo>
                    <a:pt x="1524" y="296"/>
                    <a:pt x="1524" y="296"/>
                    <a:pt x="1523" y="296"/>
                  </a:cubicBezTo>
                  <a:cubicBezTo>
                    <a:pt x="1524" y="297"/>
                    <a:pt x="1524" y="298"/>
                    <a:pt x="1524" y="299"/>
                  </a:cubicBezTo>
                  <a:cubicBezTo>
                    <a:pt x="1524" y="299"/>
                    <a:pt x="1524" y="299"/>
                    <a:pt x="1525" y="299"/>
                  </a:cubicBezTo>
                  <a:cubicBezTo>
                    <a:pt x="1525" y="299"/>
                    <a:pt x="1525" y="299"/>
                    <a:pt x="1525" y="299"/>
                  </a:cubicBezTo>
                  <a:cubicBezTo>
                    <a:pt x="1525" y="298"/>
                    <a:pt x="1525" y="297"/>
                    <a:pt x="1524" y="296"/>
                  </a:cubicBezTo>
                  <a:moveTo>
                    <a:pt x="1843" y="298"/>
                  </a:moveTo>
                  <a:cubicBezTo>
                    <a:pt x="1838" y="300"/>
                    <a:pt x="1833" y="303"/>
                    <a:pt x="1829" y="306"/>
                  </a:cubicBezTo>
                  <a:cubicBezTo>
                    <a:pt x="1829" y="306"/>
                    <a:pt x="1829" y="306"/>
                    <a:pt x="1829" y="306"/>
                  </a:cubicBezTo>
                  <a:cubicBezTo>
                    <a:pt x="1834" y="303"/>
                    <a:pt x="1838" y="300"/>
                    <a:pt x="1843" y="298"/>
                  </a:cubicBezTo>
                  <a:moveTo>
                    <a:pt x="1525" y="300"/>
                  </a:moveTo>
                  <a:cubicBezTo>
                    <a:pt x="1525" y="300"/>
                    <a:pt x="1525" y="300"/>
                    <a:pt x="1525" y="300"/>
                  </a:cubicBezTo>
                  <a:cubicBezTo>
                    <a:pt x="1525" y="300"/>
                    <a:pt x="1524" y="300"/>
                    <a:pt x="1524" y="300"/>
                  </a:cubicBezTo>
                  <a:cubicBezTo>
                    <a:pt x="1524" y="301"/>
                    <a:pt x="1524" y="301"/>
                    <a:pt x="1524" y="301"/>
                  </a:cubicBezTo>
                  <a:cubicBezTo>
                    <a:pt x="1525" y="301"/>
                    <a:pt x="1525" y="301"/>
                    <a:pt x="1525" y="301"/>
                  </a:cubicBezTo>
                  <a:cubicBezTo>
                    <a:pt x="1525" y="301"/>
                    <a:pt x="1525" y="301"/>
                    <a:pt x="1525" y="300"/>
                  </a:cubicBezTo>
                  <a:moveTo>
                    <a:pt x="1525" y="302"/>
                  </a:moveTo>
                  <a:cubicBezTo>
                    <a:pt x="1525" y="302"/>
                    <a:pt x="1525" y="302"/>
                    <a:pt x="1524" y="302"/>
                  </a:cubicBezTo>
                  <a:cubicBezTo>
                    <a:pt x="1524" y="303"/>
                    <a:pt x="1524" y="303"/>
                    <a:pt x="1525" y="303"/>
                  </a:cubicBezTo>
                  <a:cubicBezTo>
                    <a:pt x="1525" y="303"/>
                    <a:pt x="1525" y="303"/>
                    <a:pt x="1526" y="303"/>
                  </a:cubicBezTo>
                  <a:cubicBezTo>
                    <a:pt x="1525" y="303"/>
                    <a:pt x="1525" y="303"/>
                    <a:pt x="1525" y="302"/>
                  </a:cubicBezTo>
                  <a:moveTo>
                    <a:pt x="1526" y="304"/>
                  </a:moveTo>
                  <a:cubicBezTo>
                    <a:pt x="1525" y="304"/>
                    <a:pt x="1525" y="304"/>
                    <a:pt x="1525" y="304"/>
                  </a:cubicBezTo>
                  <a:cubicBezTo>
                    <a:pt x="1525" y="308"/>
                    <a:pt x="1525" y="312"/>
                    <a:pt x="1525" y="315"/>
                  </a:cubicBezTo>
                  <a:cubicBezTo>
                    <a:pt x="1525" y="316"/>
                    <a:pt x="1525" y="317"/>
                    <a:pt x="1525" y="318"/>
                  </a:cubicBezTo>
                  <a:cubicBezTo>
                    <a:pt x="1526" y="318"/>
                    <a:pt x="1526" y="318"/>
                    <a:pt x="1526" y="318"/>
                  </a:cubicBezTo>
                  <a:cubicBezTo>
                    <a:pt x="1526" y="317"/>
                    <a:pt x="1526" y="316"/>
                    <a:pt x="1526" y="315"/>
                  </a:cubicBezTo>
                  <a:cubicBezTo>
                    <a:pt x="1526" y="312"/>
                    <a:pt x="1526" y="308"/>
                    <a:pt x="1526" y="304"/>
                  </a:cubicBezTo>
                  <a:moveTo>
                    <a:pt x="1828" y="307"/>
                  </a:moveTo>
                  <a:cubicBezTo>
                    <a:pt x="1827" y="307"/>
                    <a:pt x="1826" y="308"/>
                    <a:pt x="1825" y="308"/>
                  </a:cubicBezTo>
                  <a:cubicBezTo>
                    <a:pt x="1825" y="309"/>
                    <a:pt x="1825" y="309"/>
                    <a:pt x="1825" y="309"/>
                  </a:cubicBezTo>
                  <a:cubicBezTo>
                    <a:pt x="1826" y="308"/>
                    <a:pt x="1827" y="308"/>
                    <a:pt x="1828" y="307"/>
                  </a:cubicBezTo>
                  <a:cubicBezTo>
                    <a:pt x="1828" y="307"/>
                    <a:pt x="1828" y="307"/>
                    <a:pt x="1828" y="307"/>
                  </a:cubicBezTo>
                  <a:moveTo>
                    <a:pt x="1824" y="309"/>
                  </a:moveTo>
                  <a:cubicBezTo>
                    <a:pt x="1822" y="310"/>
                    <a:pt x="1820" y="311"/>
                    <a:pt x="1818" y="312"/>
                  </a:cubicBezTo>
                  <a:cubicBezTo>
                    <a:pt x="1818" y="313"/>
                    <a:pt x="1817" y="313"/>
                    <a:pt x="1817" y="314"/>
                  </a:cubicBezTo>
                  <a:cubicBezTo>
                    <a:pt x="1818" y="313"/>
                    <a:pt x="1819" y="313"/>
                    <a:pt x="1820" y="312"/>
                  </a:cubicBezTo>
                  <a:cubicBezTo>
                    <a:pt x="1821" y="311"/>
                    <a:pt x="1823" y="310"/>
                    <a:pt x="1824" y="309"/>
                  </a:cubicBezTo>
                  <a:cubicBezTo>
                    <a:pt x="1824" y="309"/>
                    <a:pt x="1824" y="309"/>
                    <a:pt x="1824" y="309"/>
                  </a:cubicBezTo>
                  <a:moveTo>
                    <a:pt x="1816" y="313"/>
                  </a:moveTo>
                  <a:cubicBezTo>
                    <a:pt x="1813" y="315"/>
                    <a:pt x="1810" y="317"/>
                    <a:pt x="1807" y="319"/>
                  </a:cubicBezTo>
                  <a:cubicBezTo>
                    <a:pt x="1807" y="319"/>
                    <a:pt x="1807" y="320"/>
                    <a:pt x="1807" y="320"/>
                  </a:cubicBezTo>
                  <a:cubicBezTo>
                    <a:pt x="1810" y="318"/>
                    <a:pt x="1813" y="316"/>
                    <a:pt x="1816" y="315"/>
                  </a:cubicBezTo>
                  <a:cubicBezTo>
                    <a:pt x="1816" y="314"/>
                    <a:pt x="1816" y="314"/>
                    <a:pt x="1816" y="313"/>
                  </a:cubicBezTo>
                  <a:moveTo>
                    <a:pt x="1526" y="319"/>
                  </a:moveTo>
                  <a:cubicBezTo>
                    <a:pt x="1526" y="319"/>
                    <a:pt x="1526" y="319"/>
                    <a:pt x="1525" y="319"/>
                  </a:cubicBezTo>
                  <a:cubicBezTo>
                    <a:pt x="1525" y="320"/>
                    <a:pt x="1525" y="321"/>
                    <a:pt x="1525" y="322"/>
                  </a:cubicBezTo>
                  <a:cubicBezTo>
                    <a:pt x="1525" y="322"/>
                    <a:pt x="1526" y="322"/>
                    <a:pt x="1526" y="322"/>
                  </a:cubicBezTo>
                  <a:cubicBezTo>
                    <a:pt x="1526" y="321"/>
                    <a:pt x="1526" y="320"/>
                    <a:pt x="1526" y="319"/>
                  </a:cubicBezTo>
                  <a:moveTo>
                    <a:pt x="1806" y="320"/>
                  </a:moveTo>
                  <a:cubicBezTo>
                    <a:pt x="1806" y="320"/>
                    <a:pt x="1805" y="320"/>
                    <a:pt x="1805" y="320"/>
                  </a:cubicBezTo>
                  <a:cubicBezTo>
                    <a:pt x="1803" y="322"/>
                    <a:pt x="1801" y="324"/>
                    <a:pt x="1798" y="325"/>
                  </a:cubicBezTo>
                  <a:cubicBezTo>
                    <a:pt x="1801" y="324"/>
                    <a:pt x="1804" y="322"/>
                    <a:pt x="1806" y="321"/>
                  </a:cubicBezTo>
                  <a:cubicBezTo>
                    <a:pt x="1806" y="320"/>
                    <a:pt x="1806" y="320"/>
                    <a:pt x="1806" y="320"/>
                  </a:cubicBezTo>
                  <a:moveTo>
                    <a:pt x="1526" y="323"/>
                  </a:moveTo>
                  <a:cubicBezTo>
                    <a:pt x="1526" y="323"/>
                    <a:pt x="1525" y="323"/>
                    <a:pt x="1525" y="323"/>
                  </a:cubicBezTo>
                  <a:cubicBezTo>
                    <a:pt x="1523" y="336"/>
                    <a:pt x="1518" y="348"/>
                    <a:pt x="1509" y="359"/>
                  </a:cubicBezTo>
                  <a:cubicBezTo>
                    <a:pt x="1510" y="359"/>
                    <a:pt x="1510" y="359"/>
                    <a:pt x="1511" y="359"/>
                  </a:cubicBezTo>
                  <a:cubicBezTo>
                    <a:pt x="1520" y="348"/>
                    <a:pt x="1525" y="336"/>
                    <a:pt x="1526" y="323"/>
                  </a:cubicBezTo>
                  <a:moveTo>
                    <a:pt x="1798" y="325"/>
                  </a:moveTo>
                  <a:cubicBezTo>
                    <a:pt x="1792" y="328"/>
                    <a:pt x="1787" y="331"/>
                    <a:pt x="1782" y="335"/>
                  </a:cubicBezTo>
                  <a:cubicBezTo>
                    <a:pt x="1782" y="335"/>
                    <a:pt x="1782" y="335"/>
                    <a:pt x="1782" y="335"/>
                  </a:cubicBezTo>
                  <a:cubicBezTo>
                    <a:pt x="1784" y="334"/>
                    <a:pt x="1786" y="333"/>
                    <a:pt x="1788" y="332"/>
                  </a:cubicBezTo>
                  <a:cubicBezTo>
                    <a:pt x="1788" y="332"/>
                    <a:pt x="1789" y="332"/>
                    <a:pt x="1789" y="331"/>
                  </a:cubicBezTo>
                  <a:cubicBezTo>
                    <a:pt x="1792" y="329"/>
                    <a:pt x="1795" y="327"/>
                    <a:pt x="1798" y="325"/>
                  </a:cubicBezTo>
                  <a:moveTo>
                    <a:pt x="1121" y="329"/>
                  </a:moveTo>
                  <a:cubicBezTo>
                    <a:pt x="1121" y="329"/>
                    <a:pt x="1121" y="329"/>
                    <a:pt x="1120" y="329"/>
                  </a:cubicBezTo>
                  <a:cubicBezTo>
                    <a:pt x="1121" y="330"/>
                    <a:pt x="1122" y="331"/>
                    <a:pt x="1123" y="331"/>
                  </a:cubicBezTo>
                  <a:cubicBezTo>
                    <a:pt x="1124" y="331"/>
                    <a:pt x="1124" y="331"/>
                    <a:pt x="1124" y="331"/>
                  </a:cubicBezTo>
                  <a:cubicBezTo>
                    <a:pt x="1123" y="330"/>
                    <a:pt x="1122" y="329"/>
                    <a:pt x="1121" y="329"/>
                  </a:cubicBezTo>
                  <a:moveTo>
                    <a:pt x="1125" y="331"/>
                  </a:moveTo>
                  <a:cubicBezTo>
                    <a:pt x="1125" y="331"/>
                    <a:pt x="1125" y="332"/>
                    <a:pt x="1124" y="332"/>
                  </a:cubicBezTo>
                  <a:cubicBezTo>
                    <a:pt x="1126" y="333"/>
                    <a:pt x="1127" y="334"/>
                    <a:pt x="1129" y="335"/>
                  </a:cubicBezTo>
                  <a:cubicBezTo>
                    <a:pt x="1129" y="335"/>
                    <a:pt x="1129" y="334"/>
                    <a:pt x="1130" y="334"/>
                  </a:cubicBezTo>
                  <a:cubicBezTo>
                    <a:pt x="1128" y="333"/>
                    <a:pt x="1127" y="332"/>
                    <a:pt x="1125" y="331"/>
                  </a:cubicBezTo>
                  <a:moveTo>
                    <a:pt x="1131" y="335"/>
                  </a:moveTo>
                  <a:cubicBezTo>
                    <a:pt x="1130" y="335"/>
                    <a:pt x="1130" y="335"/>
                    <a:pt x="1130" y="335"/>
                  </a:cubicBezTo>
                  <a:cubicBezTo>
                    <a:pt x="1132" y="337"/>
                    <a:pt x="1133" y="338"/>
                    <a:pt x="1135" y="339"/>
                  </a:cubicBezTo>
                  <a:cubicBezTo>
                    <a:pt x="1135" y="339"/>
                    <a:pt x="1136" y="339"/>
                    <a:pt x="1136" y="338"/>
                  </a:cubicBezTo>
                  <a:cubicBezTo>
                    <a:pt x="1134" y="337"/>
                    <a:pt x="1133" y="336"/>
                    <a:pt x="1131" y="335"/>
                  </a:cubicBezTo>
                  <a:moveTo>
                    <a:pt x="1781" y="335"/>
                  </a:moveTo>
                  <a:cubicBezTo>
                    <a:pt x="1781" y="335"/>
                    <a:pt x="1781" y="336"/>
                    <a:pt x="1780" y="336"/>
                  </a:cubicBezTo>
                  <a:cubicBezTo>
                    <a:pt x="1781" y="336"/>
                    <a:pt x="1781" y="335"/>
                    <a:pt x="1781" y="335"/>
                  </a:cubicBezTo>
                  <a:cubicBezTo>
                    <a:pt x="1781" y="335"/>
                    <a:pt x="1781" y="335"/>
                    <a:pt x="1781" y="335"/>
                  </a:cubicBezTo>
                  <a:moveTo>
                    <a:pt x="1781" y="337"/>
                  </a:moveTo>
                  <a:cubicBezTo>
                    <a:pt x="1779" y="338"/>
                    <a:pt x="1777" y="339"/>
                    <a:pt x="1775" y="339"/>
                  </a:cubicBezTo>
                  <a:cubicBezTo>
                    <a:pt x="1768" y="344"/>
                    <a:pt x="1762" y="348"/>
                    <a:pt x="1756" y="353"/>
                  </a:cubicBezTo>
                  <a:cubicBezTo>
                    <a:pt x="1756" y="353"/>
                    <a:pt x="1756" y="353"/>
                    <a:pt x="1756" y="353"/>
                  </a:cubicBezTo>
                  <a:cubicBezTo>
                    <a:pt x="1764" y="348"/>
                    <a:pt x="1772" y="342"/>
                    <a:pt x="1781" y="337"/>
                  </a:cubicBezTo>
                  <a:moveTo>
                    <a:pt x="1137" y="339"/>
                  </a:moveTo>
                  <a:cubicBezTo>
                    <a:pt x="1137" y="339"/>
                    <a:pt x="1136" y="339"/>
                    <a:pt x="1136" y="340"/>
                  </a:cubicBezTo>
                  <a:cubicBezTo>
                    <a:pt x="1138" y="341"/>
                    <a:pt x="1139" y="342"/>
                    <a:pt x="1141" y="343"/>
                  </a:cubicBezTo>
                  <a:cubicBezTo>
                    <a:pt x="1142" y="343"/>
                    <a:pt x="1142" y="343"/>
                    <a:pt x="1142" y="343"/>
                  </a:cubicBezTo>
                  <a:cubicBezTo>
                    <a:pt x="1141" y="342"/>
                    <a:pt x="1139" y="340"/>
                    <a:pt x="1137" y="339"/>
                  </a:cubicBezTo>
                  <a:moveTo>
                    <a:pt x="1143" y="344"/>
                  </a:moveTo>
                  <a:cubicBezTo>
                    <a:pt x="1143" y="344"/>
                    <a:pt x="1143" y="344"/>
                    <a:pt x="1142" y="344"/>
                  </a:cubicBezTo>
                  <a:cubicBezTo>
                    <a:pt x="1144" y="345"/>
                    <a:pt x="1145" y="346"/>
                    <a:pt x="1147" y="347"/>
                  </a:cubicBezTo>
                  <a:cubicBezTo>
                    <a:pt x="1147" y="347"/>
                    <a:pt x="1147" y="347"/>
                    <a:pt x="1148" y="347"/>
                  </a:cubicBezTo>
                  <a:cubicBezTo>
                    <a:pt x="1146" y="346"/>
                    <a:pt x="1145" y="345"/>
                    <a:pt x="1143" y="344"/>
                  </a:cubicBezTo>
                  <a:moveTo>
                    <a:pt x="1149" y="348"/>
                  </a:moveTo>
                  <a:cubicBezTo>
                    <a:pt x="1149" y="348"/>
                    <a:pt x="1148" y="348"/>
                    <a:pt x="1148" y="348"/>
                  </a:cubicBezTo>
                  <a:cubicBezTo>
                    <a:pt x="1148" y="348"/>
                    <a:pt x="1148" y="348"/>
                    <a:pt x="1148" y="348"/>
                  </a:cubicBezTo>
                  <a:cubicBezTo>
                    <a:pt x="1149" y="348"/>
                    <a:pt x="1149" y="348"/>
                    <a:pt x="1149" y="348"/>
                  </a:cubicBezTo>
                  <a:cubicBezTo>
                    <a:pt x="1149" y="348"/>
                    <a:pt x="1149" y="348"/>
                    <a:pt x="1149" y="348"/>
                  </a:cubicBezTo>
                  <a:moveTo>
                    <a:pt x="1150" y="348"/>
                  </a:moveTo>
                  <a:cubicBezTo>
                    <a:pt x="1150" y="349"/>
                    <a:pt x="1150" y="349"/>
                    <a:pt x="1149" y="349"/>
                  </a:cubicBezTo>
                  <a:cubicBezTo>
                    <a:pt x="1150" y="349"/>
                    <a:pt x="1150" y="349"/>
                    <a:pt x="1150" y="350"/>
                  </a:cubicBezTo>
                  <a:cubicBezTo>
                    <a:pt x="1151" y="350"/>
                    <a:pt x="1151" y="350"/>
                    <a:pt x="1152" y="349"/>
                  </a:cubicBezTo>
                  <a:cubicBezTo>
                    <a:pt x="1151" y="349"/>
                    <a:pt x="1151" y="349"/>
                    <a:pt x="1150" y="348"/>
                  </a:cubicBezTo>
                  <a:moveTo>
                    <a:pt x="1153" y="350"/>
                  </a:moveTo>
                  <a:cubicBezTo>
                    <a:pt x="1152" y="350"/>
                    <a:pt x="1152" y="351"/>
                    <a:pt x="1152" y="351"/>
                  </a:cubicBezTo>
                  <a:cubicBezTo>
                    <a:pt x="1152" y="351"/>
                    <a:pt x="1153" y="351"/>
                    <a:pt x="1153" y="352"/>
                  </a:cubicBezTo>
                  <a:cubicBezTo>
                    <a:pt x="1153" y="352"/>
                    <a:pt x="1154" y="351"/>
                    <a:pt x="1154" y="351"/>
                  </a:cubicBezTo>
                  <a:cubicBezTo>
                    <a:pt x="1154" y="351"/>
                    <a:pt x="1153" y="351"/>
                    <a:pt x="1153" y="350"/>
                  </a:cubicBezTo>
                  <a:moveTo>
                    <a:pt x="1155" y="352"/>
                  </a:moveTo>
                  <a:cubicBezTo>
                    <a:pt x="1155" y="352"/>
                    <a:pt x="1155" y="352"/>
                    <a:pt x="1154" y="353"/>
                  </a:cubicBezTo>
                  <a:cubicBezTo>
                    <a:pt x="1162" y="358"/>
                    <a:pt x="1169" y="364"/>
                    <a:pt x="1176" y="370"/>
                  </a:cubicBezTo>
                  <a:cubicBezTo>
                    <a:pt x="1176" y="369"/>
                    <a:pt x="1177" y="369"/>
                    <a:pt x="1177" y="369"/>
                  </a:cubicBezTo>
                  <a:cubicBezTo>
                    <a:pt x="1170" y="364"/>
                    <a:pt x="1163" y="358"/>
                    <a:pt x="1155" y="352"/>
                  </a:cubicBezTo>
                  <a:moveTo>
                    <a:pt x="1755" y="353"/>
                  </a:moveTo>
                  <a:cubicBezTo>
                    <a:pt x="1752" y="355"/>
                    <a:pt x="1750" y="357"/>
                    <a:pt x="1748" y="358"/>
                  </a:cubicBezTo>
                  <a:cubicBezTo>
                    <a:pt x="1749" y="358"/>
                    <a:pt x="1750" y="357"/>
                    <a:pt x="1752" y="357"/>
                  </a:cubicBezTo>
                  <a:cubicBezTo>
                    <a:pt x="1753" y="356"/>
                    <a:pt x="1754" y="355"/>
                    <a:pt x="1755" y="354"/>
                  </a:cubicBezTo>
                  <a:cubicBezTo>
                    <a:pt x="1755" y="354"/>
                    <a:pt x="1755" y="353"/>
                    <a:pt x="1755" y="353"/>
                  </a:cubicBezTo>
                  <a:moveTo>
                    <a:pt x="1510" y="360"/>
                  </a:moveTo>
                  <a:cubicBezTo>
                    <a:pt x="1509" y="360"/>
                    <a:pt x="1509" y="360"/>
                    <a:pt x="1508" y="360"/>
                  </a:cubicBezTo>
                  <a:cubicBezTo>
                    <a:pt x="1507" y="361"/>
                    <a:pt x="1505" y="363"/>
                    <a:pt x="1503" y="365"/>
                  </a:cubicBezTo>
                  <a:cubicBezTo>
                    <a:pt x="1503" y="365"/>
                    <a:pt x="1503" y="365"/>
                    <a:pt x="1503" y="365"/>
                  </a:cubicBezTo>
                  <a:cubicBezTo>
                    <a:pt x="1504" y="365"/>
                    <a:pt x="1505" y="364"/>
                    <a:pt x="1506" y="364"/>
                  </a:cubicBezTo>
                  <a:cubicBezTo>
                    <a:pt x="1507" y="362"/>
                    <a:pt x="1509" y="361"/>
                    <a:pt x="1510" y="360"/>
                  </a:cubicBezTo>
                  <a:moveTo>
                    <a:pt x="1747" y="360"/>
                  </a:moveTo>
                  <a:cubicBezTo>
                    <a:pt x="1746" y="360"/>
                    <a:pt x="1745" y="361"/>
                    <a:pt x="1744" y="361"/>
                  </a:cubicBezTo>
                  <a:cubicBezTo>
                    <a:pt x="1743" y="362"/>
                    <a:pt x="1742" y="362"/>
                    <a:pt x="1741" y="363"/>
                  </a:cubicBezTo>
                  <a:cubicBezTo>
                    <a:pt x="1743" y="362"/>
                    <a:pt x="1745" y="361"/>
                    <a:pt x="1747" y="360"/>
                  </a:cubicBezTo>
                  <a:moveTo>
                    <a:pt x="1742" y="364"/>
                  </a:moveTo>
                  <a:cubicBezTo>
                    <a:pt x="1741" y="365"/>
                    <a:pt x="1740" y="365"/>
                    <a:pt x="1739" y="366"/>
                  </a:cubicBezTo>
                  <a:cubicBezTo>
                    <a:pt x="1739" y="366"/>
                    <a:pt x="1739" y="366"/>
                    <a:pt x="1740" y="366"/>
                  </a:cubicBezTo>
                  <a:cubicBezTo>
                    <a:pt x="1740" y="365"/>
                    <a:pt x="1741" y="365"/>
                    <a:pt x="1742" y="364"/>
                  </a:cubicBezTo>
                  <a:moveTo>
                    <a:pt x="1504" y="366"/>
                  </a:moveTo>
                  <a:cubicBezTo>
                    <a:pt x="1503" y="366"/>
                    <a:pt x="1502" y="367"/>
                    <a:pt x="1501" y="367"/>
                  </a:cubicBezTo>
                  <a:cubicBezTo>
                    <a:pt x="1500" y="368"/>
                    <a:pt x="1500" y="368"/>
                    <a:pt x="1500" y="368"/>
                  </a:cubicBezTo>
                  <a:cubicBezTo>
                    <a:pt x="1498" y="369"/>
                    <a:pt x="1497" y="371"/>
                    <a:pt x="1495" y="372"/>
                  </a:cubicBezTo>
                  <a:cubicBezTo>
                    <a:pt x="1494" y="373"/>
                    <a:pt x="1494" y="373"/>
                    <a:pt x="1493" y="374"/>
                  </a:cubicBezTo>
                  <a:cubicBezTo>
                    <a:pt x="1491" y="375"/>
                    <a:pt x="1489" y="376"/>
                    <a:pt x="1487" y="378"/>
                  </a:cubicBezTo>
                  <a:cubicBezTo>
                    <a:pt x="1486" y="378"/>
                    <a:pt x="1486" y="378"/>
                    <a:pt x="1485" y="379"/>
                  </a:cubicBezTo>
                  <a:cubicBezTo>
                    <a:pt x="1484" y="379"/>
                    <a:pt x="1483" y="380"/>
                    <a:pt x="1482" y="381"/>
                  </a:cubicBezTo>
                  <a:cubicBezTo>
                    <a:pt x="1483" y="381"/>
                    <a:pt x="1484" y="381"/>
                    <a:pt x="1484" y="380"/>
                  </a:cubicBezTo>
                  <a:cubicBezTo>
                    <a:pt x="1485" y="380"/>
                    <a:pt x="1485" y="380"/>
                    <a:pt x="1485" y="380"/>
                  </a:cubicBezTo>
                  <a:cubicBezTo>
                    <a:pt x="1485" y="380"/>
                    <a:pt x="1486" y="380"/>
                    <a:pt x="1486" y="379"/>
                  </a:cubicBezTo>
                  <a:cubicBezTo>
                    <a:pt x="1488" y="378"/>
                    <a:pt x="1490" y="377"/>
                    <a:pt x="1491" y="376"/>
                  </a:cubicBezTo>
                  <a:cubicBezTo>
                    <a:pt x="1492" y="375"/>
                    <a:pt x="1493" y="375"/>
                    <a:pt x="1494" y="374"/>
                  </a:cubicBezTo>
                  <a:cubicBezTo>
                    <a:pt x="1495" y="374"/>
                    <a:pt x="1495" y="373"/>
                    <a:pt x="1496" y="372"/>
                  </a:cubicBezTo>
                  <a:cubicBezTo>
                    <a:pt x="1498" y="371"/>
                    <a:pt x="1499" y="370"/>
                    <a:pt x="1501" y="369"/>
                  </a:cubicBezTo>
                  <a:cubicBezTo>
                    <a:pt x="1502" y="368"/>
                    <a:pt x="1503" y="367"/>
                    <a:pt x="1504" y="366"/>
                  </a:cubicBezTo>
                  <a:moveTo>
                    <a:pt x="1738" y="366"/>
                  </a:moveTo>
                  <a:cubicBezTo>
                    <a:pt x="1737" y="367"/>
                    <a:pt x="1736" y="368"/>
                    <a:pt x="1735" y="368"/>
                  </a:cubicBezTo>
                  <a:cubicBezTo>
                    <a:pt x="1733" y="370"/>
                    <a:pt x="1731" y="372"/>
                    <a:pt x="1729" y="373"/>
                  </a:cubicBezTo>
                  <a:cubicBezTo>
                    <a:pt x="1730" y="373"/>
                    <a:pt x="1731" y="373"/>
                    <a:pt x="1732" y="372"/>
                  </a:cubicBezTo>
                  <a:cubicBezTo>
                    <a:pt x="1734" y="370"/>
                    <a:pt x="1736" y="368"/>
                    <a:pt x="1739" y="366"/>
                  </a:cubicBezTo>
                  <a:cubicBezTo>
                    <a:pt x="1739" y="366"/>
                    <a:pt x="1738" y="366"/>
                    <a:pt x="1738" y="366"/>
                  </a:cubicBezTo>
                  <a:moveTo>
                    <a:pt x="1178" y="370"/>
                  </a:moveTo>
                  <a:cubicBezTo>
                    <a:pt x="1177" y="370"/>
                    <a:pt x="1177" y="370"/>
                    <a:pt x="1177" y="370"/>
                  </a:cubicBezTo>
                  <a:cubicBezTo>
                    <a:pt x="1177" y="371"/>
                    <a:pt x="1178" y="372"/>
                    <a:pt x="1179" y="372"/>
                  </a:cubicBezTo>
                  <a:cubicBezTo>
                    <a:pt x="1179" y="372"/>
                    <a:pt x="1180" y="372"/>
                    <a:pt x="1180" y="372"/>
                  </a:cubicBezTo>
                  <a:cubicBezTo>
                    <a:pt x="1179" y="371"/>
                    <a:pt x="1179" y="371"/>
                    <a:pt x="1178" y="370"/>
                  </a:cubicBezTo>
                  <a:moveTo>
                    <a:pt x="1181" y="373"/>
                  </a:moveTo>
                  <a:cubicBezTo>
                    <a:pt x="1181" y="373"/>
                    <a:pt x="1181" y="373"/>
                    <a:pt x="1180" y="373"/>
                  </a:cubicBezTo>
                  <a:cubicBezTo>
                    <a:pt x="1181" y="374"/>
                    <a:pt x="1182" y="374"/>
                    <a:pt x="1183" y="374"/>
                  </a:cubicBezTo>
                  <a:cubicBezTo>
                    <a:pt x="1182" y="374"/>
                    <a:pt x="1182" y="373"/>
                    <a:pt x="1181" y="373"/>
                  </a:cubicBezTo>
                  <a:moveTo>
                    <a:pt x="1729" y="374"/>
                  </a:moveTo>
                  <a:cubicBezTo>
                    <a:pt x="1728" y="375"/>
                    <a:pt x="1727" y="375"/>
                    <a:pt x="1726" y="375"/>
                  </a:cubicBezTo>
                  <a:cubicBezTo>
                    <a:pt x="1722" y="379"/>
                    <a:pt x="1719" y="382"/>
                    <a:pt x="1715" y="385"/>
                  </a:cubicBezTo>
                  <a:cubicBezTo>
                    <a:pt x="1716" y="385"/>
                    <a:pt x="1717" y="385"/>
                    <a:pt x="1718" y="384"/>
                  </a:cubicBezTo>
                  <a:cubicBezTo>
                    <a:pt x="1721" y="381"/>
                    <a:pt x="1725" y="378"/>
                    <a:pt x="1729" y="374"/>
                  </a:cubicBezTo>
                  <a:moveTo>
                    <a:pt x="1182" y="375"/>
                  </a:moveTo>
                  <a:cubicBezTo>
                    <a:pt x="1183" y="376"/>
                    <a:pt x="1183" y="376"/>
                    <a:pt x="1184" y="377"/>
                  </a:cubicBezTo>
                  <a:cubicBezTo>
                    <a:pt x="1185" y="377"/>
                    <a:pt x="1186" y="378"/>
                    <a:pt x="1187" y="378"/>
                  </a:cubicBezTo>
                  <a:cubicBezTo>
                    <a:pt x="1187" y="378"/>
                    <a:pt x="1186" y="377"/>
                    <a:pt x="1186" y="377"/>
                  </a:cubicBezTo>
                  <a:cubicBezTo>
                    <a:pt x="1185" y="376"/>
                    <a:pt x="1183" y="376"/>
                    <a:pt x="1182" y="375"/>
                  </a:cubicBezTo>
                  <a:moveTo>
                    <a:pt x="1186" y="379"/>
                  </a:moveTo>
                  <a:cubicBezTo>
                    <a:pt x="1196" y="388"/>
                    <a:pt x="1204" y="396"/>
                    <a:pt x="1210" y="405"/>
                  </a:cubicBezTo>
                  <a:cubicBezTo>
                    <a:pt x="1211" y="404"/>
                    <a:pt x="1211" y="404"/>
                    <a:pt x="1211" y="404"/>
                  </a:cubicBezTo>
                  <a:cubicBezTo>
                    <a:pt x="1205" y="396"/>
                    <a:pt x="1198" y="388"/>
                    <a:pt x="1189" y="380"/>
                  </a:cubicBezTo>
                  <a:cubicBezTo>
                    <a:pt x="1188" y="380"/>
                    <a:pt x="1187" y="379"/>
                    <a:pt x="1186" y="379"/>
                  </a:cubicBezTo>
                  <a:moveTo>
                    <a:pt x="1483" y="382"/>
                  </a:moveTo>
                  <a:cubicBezTo>
                    <a:pt x="1482" y="382"/>
                    <a:pt x="1481" y="382"/>
                    <a:pt x="1480" y="382"/>
                  </a:cubicBezTo>
                  <a:cubicBezTo>
                    <a:pt x="1475" y="385"/>
                    <a:pt x="1469" y="388"/>
                    <a:pt x="1463" y="391"/>
                  </a:cubicBezTo>
                  <a:cubicBezTo>
                    <a:pt x="1455" y="395"/>
                    <a:pt x="1448" y="399"/>
                    <a:pt x="1442" y="404"/>
                  </a:cubicBezTo>
                  <a:cubicBezTo>
                    <a:pt x="1442" y="403"/>
                    <a:pt x="1443" y="403"/>
                    <a:pt x="1444" y="403"/>
                  </a:cubicBezTo>
                  <a:cubicBezTo>
                    <a:pt x="1450" y="399"/>
                    <a:pt x="1456" y="395"/>
                    <a:pt x="1463" y="392"/>
                  </a:cubicBezTo>
                  <a:cubicBezTo>
                    <a:pt x="1470" y="389"/>
                    <a:pt x="1477" y="385"/>
                    <a:pt x="1483" y="382"/>
                  </a:cubicBezTo>
                  <a:moveTo>
                    <a:pt x="1716" y="386"/>
                  </a:moveTo>
                  <a:cubicBezTo>
                    <a:pt x="1715" y="386"/>
                    <a:pt x="1714" y="387"/>
                    <a:pt x="1713" y="387"/>
                  </a:cubicBezTo>
                  <a:cubicBezTo>
                    <a:pt x="1712" y="388"/>
                    <a:pt x="1711" y="389"/>
                    <a:pt x="1710" y="390"/>
                  </a:cubicBezTo>
                  <a:cubicBezTo>
                    <a:pt x="1710" y="391"/>
                    <a:pt x="1710" y="391"/>
                    <a:pt x="1710" y="391"/>
                  </a:cubicBezTo>
                  <a:cubicBezTo>
                    <a:pt x="1712" y="390"/>
                    <a:pt x="1714" y="388"/>
                    <a:pt x="1716" y="386"/>
                  </a:cubicBezTo>
                  <a:moveTo>
                    <a:pt x="1709" y="391"/>
                  </a:moveTo>
                  <a:cubicBezTo>
                    <a:pt x="1708" y="392"/>
                    <a:pt x="1706" y="394"/>
                    <a:pt x="1705" y="395"/>
                  </a:cubicBezTo>
                  <a:cubicBezTo>
                    <a:pt x="1705" y="395"/>
                    <a:pt x="1705" y="395"/>
                    <a:pt x="1705" y="395"/>
                  </a:cubicBezTo>
                  <a:cubicBezTo>
                    <a:pt x="1706" y="395"/>
                    <a:pt x="1706" y="395"/>
                    <a:pt x="1707" y="394"/>
                  </a:cubicBezTo>
                  <a:cubicBezTo>
                    <a:pt x="1708" y="394"/>
                    <a:pt x="1709" y="393"/>
                    <a:pt x="1709" y="392"/>
                  </a:cubicBezTo>
                  <a:cubicBezTo>
                    <a:pt x="1709" y="392"/>
                    <a:pt x="1709" y="392"/>
                    <a:pt x="1709" y="391"/>
                  </a:cubicBezTo>
                  <a:moveTo>
                    <a:pt x="1705" y="396"/>
                  </a:moveTo>
                  <a:cubicBezTo>
                    <a:pt x="1705" y="396"/>
                    <a:pt x="1704" y="397"/>
                    <a:pt x="1703" y="397"/>
                  </a:cubicBezTo>
                  <a:cubicBezTo>
                    <a:pt x="1701" y="399"/>
                    <a:pt x="1699" y="401"/>
                    <a:pt x="1698" y="403"/>
                  </a:cubicBezTo>
                  <a:cubicBezTo>
                    <a:pt x="1698" y="403"/>
                    <a:pt x="1699" y="402"/>
                    <a:pt x="1700" y="402"/>
                  </a:cubicBezTo>
                  <a:cubicBezTo>
                    <a:pt x="1702" y="400"/>
                    <a:pt x="1703" y="398"/>
                    <a:pt x="1705" y="396"/>
                  </a:cubicBezTo>
                  <a:moveTo>
                    <a:pt x="1442" y="405"/>
                  </a:moveTo>
                  <a:cubicBezTo>
                    <a:pt x="1441" y="405"/>
                    <a:pt x="1441" y="405"/>
                    <a:pt x="1440" y="405"/>
                  </a:cubicBezTo>
                  <a:cubicBezTo>
                    <a:pt x="1437" y="407"/>
                    <a:pt x="1433" y="410"/>
                    <a:pt x="1430" y="413"/>
                  </a:cubicBezTo>
                  <a:cubicBezTo>
                    <a:pt x="1431" y="412"/>
                    <a:pt x="1432" y="412"/>
                    <a:pt x="1432" y="412"/>
                  </a:cubicBezTo>
                  <a:cubicBezTo>
                    <a:pt x="1435" y="409"/>
                    <a:pt x="1439" y="407"/>
                    <a:pt x="1442" y="405"/>
                  </a:cubicBezTo>
                  <a:moveTo>
                    <a:pt x="1212" y="405"/>
                  </a:moveTo>
                  <a:cubicBezTo>
                    <a:pt x="1212" y="405"/>
                    <a:pt x="1211" y="405"/>
                    <a:pt x="1211" y="405"/>
                  </a:cubicBezTo>
                  <a:cubicBezTo>
                    <a:pt x="1211" y="406"/>
                    <a:pt x="1212" y="407"/>
                    <a:pt x="1212" y="407"/>
                  </a:cubicBezTo>
                  <a:cubicBezTo>
                    <a:pt x="1213" y="407"/>
                    <a:pt x="1213" y="407"/>
                    <a:pt x="1213" y="407"/>
                  </a:cubicBezTo>
                  <a:cubicBezTo>
                    <a:pt x="1213" y="406"/>
                    <a:pt x="1212" y="406"/>
                    <a:pt x="1212" y="405"/>
                  </a:cubicBezTo>
                  <a:moveTo>
                    <a:pt x="1696" y="406"/>
                  </a:moveTo>
                  <a:cubicBezTo>
                    <a:pt x="1696" y="406"/>
                    <a:pt x="1695" y="407"/>
                    <a:pt x="1695" y="407"/>
                  </a:cubicBezTo>
                  <a:cubicBezTo>
                    <a:pt x="1694" y="407"/>
                    <a:pt x="1694" y="407"/>
                    <a:pt x="1694" y="407"/>
                  </a:cubicBezTo>
                  <a:cubicBezTo>
                    <a:pt x="1693" y="409"/>
                    <a:pt x="1691" y="411"/>
                    <a:pt x="1690" y="412"/>
                  </a:cubicBezTo>
                  <a:cubicBezTo>
                    <a:pt x="1690" y="412"/>
                    <a:pt x="1690" y="412"/>
                    <a:pt x="1690" y="412"/>
                  </a:cubicBezTo>
                  <a:cubicBezTo>
                    <a:pt x="1691" y="412"/>
                    <a:pt x="1691" y="412"/>
                    <a:pt x="1692" y="412"/>
                  </a:cubicBezTo>
                  <a:cubicBezTo>
                    <a:pt x="1693" y="411"/>
                    <a:pt x="1694" y="409"/>
                    <a:pt x="1695" y="408"/>
                  </a:cubicBezTo>
                  <a:cubicBezTo>
                    <a:pt x="1695" y="408"/>
                    <a:pt x="1696" y="407"/>
                    <a:pt x="1696" y="406"/>
                  </a:cubicBezTo>
                  <a:moveTo>
                    <a:pt x="1214" y="408"/>
                  </a:moveTo>
                  <a:cubicBezTo>
                    <a:pt x="1214" y="408"/>
                    <a:pt x="1213" y="408"/>
                    <a:pt x="1213" y="408"/>
                  </a:cubicBezTo>
                  <a:cubicBezTo>
                    <a:pt x="1213" y="409"/>
                    <a:pt x="1214" y="409"/>
                    <a:pt x="1214" y="409"/>
                  </a:cubicBezTo>
                  <a:cubicBezTo>
                    <a:pt x="1218" y="416"/>
                    <a:pt x="1223" y="422"/>
                    <a:pt x="1227" y="428"/>
                  </a:cubicBezTo>
                  <a:cubicBezTo>
                    <a:pt x="1227" y="428"/>
                    <a:pt x="1228" y="427"/>
                    <a:pt x="1228" y="427"/>
                  </a:cubicBezTo>
                  <a:cubicBezTo>
                    <a:pt x="1224" y="422"/>
                    <a:pt x="1219" y="415"/>
                    <a:pt x="1215" y="409"/>
                  </a:cubicBezTo>
                  <a:cubicBezTo>
                    <a:pt x="1214" y="409"/>
                    <a:pt x="1214" y="408"/>
                    <a:pt x="1214" y="408"/>
                  </a:cubicBezTo>
                  <a:moveTo>
                    <a:pt x="1691" y="413"/>
                  </a:moveTo>
                  <a:cubicBezTo>
                    <a:pt x="1690" y="414"/>
                    <a:pt x="1690" y="414"/>
                    <a:pt x="1689" y="414"/>
                  </a:cubicBezTo>
                  <a:cubicBezTo>
                    <a:pt x="1689" y="414"/>
                    <a:pt x="1688" y="415"/>
                    <a:pt x="1688" y="415"/>
                  </a:cubicBezTo>
                  <a:cubicBezTo>
                    <a:pt x="1689" y="415"/>
                    <a:pt x="1689" y="415"/>
                    <a:pt x="1689" y="415"/>
                  </a:cubicBezTo>
                  <a:cubicBezTo>
                    <a:pt x="1690" y="414"/>
                    <a:pt x="1690" y="414"/>
                    <a:pt x="1691" y="413"/>
                  </a:cubicBezTo>
                  <a:moveTo>
                    <a:pt x="1431" y="413"/>
                  </a:moveTo>
                  <a:cubicBezTo>
                    <a:pt x="1431" y="414"/>
                    <a:pt x="1430" y="414"/>
                    <a:pt x="1430" y="414"/>
                  </a:cubicBezTo>
                  <a:cubicBezTo>
                    <a:pt x="1430" y="414"/>
                    <a:pt x="1430" y="414"/>
                    <a:pt x="1430" y="414"/>
                  </a:cubicBezTo>
                  <a:cubicBezTo>
                    <a:pt x="1430" y="414"/>
                    <a:pt x="1431" y="414"/>
                    <a:pt x="1431" y="413"/>
                  </a:cubicBezTo>
                  <a:moveTo>
                    <a:pt x="1429" y="414"/>
                  </a:moveTo>
                  <a:cubicBezTo>
                    <a:pt x="1429" y="414"/>
                    <a:pt x="1429" y="414"/>
                    <a:pt x="1429" y="414"/>
                  </a:cubicBezTo>
                  <a:cubicBezTo>
                    <a:pt x="1425" y="417"/>
                    <a:pt x="1422" y="420"/>
                    <a:pt x="1419" y="424"/>
                  </a:cubicBezTo>
                  <a:cubicBezTo>
                    <a:pt x="1419" y="424"/>
                    <a:pt x="1420" y="423"/>
                    <a:pt x="1420" y="423"/>
                  </a:cubicBezTo>
                  <a:cubicBezTo>
                    <a:pt x="1423" y="420"/>
                    <a:pt x="1426" y="417"/>
                    <a:pt x="1430" y="414"/>
                  </a:cubicBezTo>
                  <a:cubicBezTo>
                    <a:pt x="1429" y="414"/>
                    <a:pt x="1429" y="414"/>
                    <a:pt x="1429" y="414"/>
                  </a:cubicBezTo>
                  <a:moveTo>
                    <a:pt x="1689" y="416"/>
                  </a:moveTo>
                  <a:cubicBezTo>
                    <a:pt x="1688" y="416"/>
                    <a:pt x="1688" y="416"/>
                    <a:pt x="1687" y="416"/>
                  </a:cubicBezTo>
                  <a:cubicBezTo>
                    <a:pt x="1686" y="417"/>
                    <a:pt x="1686" y="418"/>
                    <a:pt x="1685" y="419"/>
                  </a:cubicBezTo>
                  <a:cubicBezTo>
                    <a:pt x="1685" y="420"/>
                    <a:pt x="1684" y="421"/>
                    <a:pt x="1683" y="422"/>
                  </a:cubicBezTo>
                  <a:cubicBezTo>
                    <a:pt x="1683" y="423"/>
                    <a:pt x="1683" y="423"/>
                    <a:pt x="1682" y="424"/>
                  </a:cubicBezTo>
                  <a:cubicBezTo>
                    <a:pt x="1683" y="424"/>
                    <a:pt x="1683" y="424"/>
                    <a:pt x="1683" y="424"/>
                  </a:cubicBezTo>
                  <a:cubicBezTo>
                    <a:pt x="1684" y="423"/>
                    <a:pt x="1685" y="421"/>
                    <a:pt x="1686" y="420"/>
                  </a:cubicBezTo>
                  <a:cubicBezTo>
                    <a:pt x="1686" y="419"/>
                    <a:pt x="1687" y="418"/>
                    <a:pt x="1688" y="417"/>
                  </a:cubicBezTo>
                  <a:cubicBezTo>
                    <a:pt x="1688" y="417"/>
                    <a:pt x="1688" y="417"/>
                    <a:pt x="1689" y="416"/>
                  </a:cubicBezTo>
                  <a:moveTo>
                    <a:pt x="1682" y="425"/>
                  </a:moveTo>
                  <a:cubicBezTo>
                    <a:pt x="1682" y="425"/>
                    <a:pt x="1682" y="425"/>
                    <a:pt x="1682" y="425"/>
                  </a:cubicBezTo>
                  <a:cubicBezTo>
                    <a:pt x="1682" y="425"/>
                    <a:pt x="1682" y="425"/>
                    <a:pt x="1683" y="425"/>
                  </a:cubicBezTo>
                  <a:cubicBezTo>
                    <a:pt x="1682" y="425"/>
                    <a:pt x="1682" y="425"/>
                    <a:pt x="1682" y="425"/>
                  </a:cubicBezTo>
                  <a:moveTo>
                    <a:pt x="1418" y="425"/>
                  </a:moveTo>
                  <a:cubicBezTo>
                    <a:pt x="1418" y="425"/>
                    <a:pt x="1418" y="425"/>
                    <a:pt x="1418" y="425"/>
                  </a:cubicBezTo>
                  <a:cubicBezTo>
                    <a:pt x="1417" y="426"/>
                    <a:pt x="1416" y="426"/>
                    <a:pt x="1416" y="427"/>
                  </a:cubicBezTo>
                  <a:cubicBezTo>
                    <a:pt x="1416" y="427"/>
                    <a:pt x="1416" y="427"/>
                    <a:pt x="1417" y="427"/>
                  </a:cubicBezTo>
                  <a:cubicBezTo>
                    <a:pt x="1417" y="426"/>
                    <a:pt x="1418" y="426"/>
                    <a:pt x="1419" y="425"/>
                  </a:cubicBezTo>
                  <a:cubicBezTo>
                    <a:pt x="1418" y="425"/>
                    <a:pt x="1418" y="425"/>
                    <a:pt x="1418" y="425"/>
                  </a:cubicBezTo>
                  <a:moveTo>
                    <a:pt x="1682" y="426"/>
                  </a:moveTo>
                  <a:cubicBezTo>
                    <a:pt x="1682" y="426"/>
                    <a:pt x="1681" y="426"/>
                    <a:pt x="1681" y="426"/>
                  </a:cubicBezTo>
                  <a:cubicBezTo>
                    <a:pt x="1681" y="427"/>
                    <a:pt x="1680" y="427"/>
                    <a:pt x="1680" y="427"/>
                  </a:cubicBezTo>
                  <a:cubicBezTo>
                    <a:pt x="1681" y="427"/>
                    <a:pt x="1681" y="427"/>
                    <a:pt x="1682" y="427"/>
                  </a:cubicBezTo>
                  <a:cubicBezTo>
                    <a:pt x="1682" y="427"/>
                    <a:pt x="1682" y="426"/>
                    <a:pt x="1682" y="426"/>
                  </a:cubicBezTo>
                  <a:moveTo>
                    <a:pt x="1415" y="428"/>
                  </a:moveTo>
                  <a:cubicBezTo>
                    <a:pt x="1413" y="430"/>
                    <a:pt x="1411" y="432"/>
                    <a:pt x="1410" y="434"/>
                  </a:cubicBezTo>
                  <a:cubicBezTo>
                    <a:pt x="1410" y="434"/>
                    <a:pt x="1411" y="433"/>
                    <a:pt x="1412" y="433"/>
                  </a:cubicBezTo>
                  <a:cubicBezTo>
                    <a:pt x="1413" y="431"/>
                    <a:pt x="1414" y="430"/>
                    <a:pt x="1416" y="428"/>
                  </a:cubicBezTo>
                  <a:cubicBezTo>
                    <a:pt x="1416" y="428"/>
                    <a:pt x="1415" y="428"/>
                    <a:pt x="1415" y="428"/>
                  </a:cubicBezTo>
                  <a:moveTo>
                    <a:pt x="1681" y="428"/>
                  </a:moveTo>
                  <a:cubicBezTo>
                    <a:pt x="1680" y="428"/>
                    <a:pt x="1680" y="428"/>
                    <a:pt x="1680" y="429"/>
                  </a:cubicBezTo>
                  <a:cubicBezTo>
                    <a:pt x="1679" y="430"/>
                    <a:pt x="1678" y="431"/>
                    <a:pt x="1678" y="432"/>
                  </a:cubicBezTo>
                  <a:cubicBezTo>
                    <a:pt x="1678" y="432"/>
                    <a:pt x="1677" y="433"/>
                    <a:pt x="1677" y="433"/>
                  </a:cubicBezTo>
                  <a:cubicBezTo>
                    <a:pt x="1677" y="435"/>
                    <a:pt x="1676" y="436"/>
                    <a:pt x="1676" y="437"/>
                  </a:cubicBezTo>
                  <a:cubicBezTo>
                    <a:pt x="1676" y="437"/>
                    <a:pt x="1676" y="437"/>
                    <a:pt x="1677" y="437"/>
                  </a:cubicBezTo>
                  <a:cubicBezTo>
                    <a:pt x="1677" y="435"/>
                    <a:pt x="1678" y="434"/>
                    <a:pt x="1679" y="432"/>
                  </a:cubicBezTo>
                  <a:cubicBezTo>
                    <a:pt x="1679" y="432"/>
                    <a:pt x="1679" y="431"/>
                    <a:pt x="1680" y="430"/>
                  </a:cubicBezTo>
                  <a:cubicBezTo>
                    <a:pt x="1680" y="430"/>
                    <a:pt x="1680" y="429"/>
                    <a:pt x="1681" y="428"/>
                  </a:cubicBezTo>
                  <a:moveTo>
                    <a:pt x="1229" y="428"/>
                  </a:moveTo>
                  <a:cubicBezTo>
                    <a:pt x="1228" y="428"/>
                    <a:pt x="1228" y="428"/>
                    <a:pt x="1228" y="429"/>
                  </a:cubicBezTo>
                  <a:cubicBezTo>
                    <a:pt x="1229" y="430"/>
                    <a:pt x="1229" y="431"/>
                    <a:pt x="1230" y="432"/>
                  </a:cubicBezTo>
                  <a:cubicBezTo>
                    <a:pt x="1231" y="432"/>
                    <a:pt x="1231" y="432"/>
                    <a:pt x="1232" y="432"/>
                  </a:cubicBezTo>
                  <a:cubicBezTo>
                    <a:pt x="1231" y="431"/>
                    <a:pt x="1230" y="430"/>
                    <a:pt x="1229" y="428"/>
                  </a:cubicBezTo>
                  <a:moveTo>
                    <a:pt x="1232" y="434"/>
                  </a:moveTo>
                  <a:cubicBezTo>
                    <a:pt x="1232" y="434"/>
                    <a:pt x="1233" y="434"/>
                    <a:pt x="1233" y="434"/>
                  </a:cubicBezTo>
                  <a:cubicBezTo>
                    <a:pt x="1233" y="434"/>
                    <a:pt x="1233" y="434"/>
                    <a:pt x="1233" y="434"/>
                  </a:cubicBezTo>
                  <a:cubicBezTo>
                    <a:pt x="1232" y="434"/>
                    <a:pt x="1232" y="434"/>
                    <a:pt x="1232" y="434"/>
                  </a:cubicBezTo>
                  <a:moveTo>
                    <a:pt x="1232" y="435"/>
                  </a:moveTo>
                  <a:cubicBezTo>
                    <a:pt x="1234" y="437"/>
                    <a:pt x="1236" y="440"/>
                    <a:pt x="1238" y="442"/>
                  </a:cubicBezTo>
                  <a:cubicBezTo>
                    <a:pt x="1238" y="442"/>
                    <a:pt x="1238" y="442"/>
                    <a:pt x="1239" y="442"/>
                  </a:cubicBezTo>
                  <a:cubicBezTo>
                    <a:pt x="1237" y="440"/>
                    <a:pt x="1236" y="438"/>
                    <a:pt x="1234" y="436"/>
                  </a:cubicBezTo>
                  <a:cubicBezTo>
                    <a:pt x="1234" y="435"/>
                    <a:pt x="1233" y="435"/>
                    <a:pt x="1232" y="435"/>
                  </a:cubicBezTo>
                  <a:moveTo>
                    <a:pt x="1410" y="435"/>
                  </a:moveTo>
                  <a:cubicBezTo>
                    <a:pt x="1409" y="436"/>
                    <a:pt x="1409" y="436"/>
                    <a:pt x="1408" y="436"/>
                  </a:cubicBezTo>
                  <a:cubicBezTo>
                    <a:pt x="1407" y="438"/>
                    <a:pt x="1405" y="440"/>
                    <a:pt x="1404" y="442"/>
                  </a:cubicBezTo>
                  <a:cubicBezTo>
                    <a:pt x="1404" y="442"/>
                    <a:pt x="1404" y="442"/>
                    <a:pt x="1404" y="442"/>
                  </a:cubicBezTo>
                  <a:cubicBezTo>
                    <a:pt x="1405" y="441"/>
                    <a:pt x="1406" y="439"/>
                    <a:pt x="1408" y="438"/>
                  </a:cubicBezTo>
                  <a:cubicBezTo>
                    <a:pt x="1408" y="437"/>
                    <a:pt x="1409" y="436"/>
                    <a:pt x="1410" y="435"/>
                  </a:cubicBezTo>
                  <a:moveTo>
                    <a:pt x="1676" y="438"/>
                  </a:moveTo>
                  <a:cubicBezTo>
                    <a:pt x="1676" y="438"/>
                    <a:pt x="1675" y="438"/>
                    <a:pt x="1675" y="438"/>
                  </a:cubicBezTo>
                  <a:cubicBezTo>
                    <a:pt x="1673" y="442"/>
                    <a:pt x="1672" y="446"/>
                    <a:pt x="1671" y="450"/>
                  </a:cubicBezTo>
                  <a:cubicBezTo>
                    <a:pt x="1671" y="450"/>
                    <a:pt x="1671" y="450"/>
                    <a:pt x="1672" y="450"/>
                  </a:cubicBezTo>
                  <a:cubicBezTo>
                    <a:pt x="1673" y="446"/>
                    <a:pt x="1674" y="442"/>
                    <a:pt x="1676" y="438"/>
                  </a:cubicBezTo>
                  <a:moveTo>
                    <a:pt x="1239" y="443"/>
                  </a:moveTo>
                  <a:cubicBezTo>
                    <a:pt x="1239" y="443"/>
                    <a:pt x="1239" y="443"/>
                    <a:pt x="1238" y="443"/>
                  </a:cubicBezTo>
                  <a:cubicBezTo>
                    <a:pt x="1238" y="443"/>
                    <a:pt x="1238" y="443"/>
                    <a:pt x="1238" y="443"/>
                  </a:cubicBezTo>
                  <a:cubicBezTo>
                    <a:pt x="1239" y="445"/>
                    <a:pt x="1241" y="446"/>
                    <a:pt x="1242" y="448"/>
                  </a:cubicBezTo>
                  <a:cubicBezTo>
                    <a:pt x="1242" y="447"/>
                    <a:pt x="1242" y="447"/>
                    <a:pt x="1243" y="447"/>
                  </a:cubicBezTo>
                  <a:cubicBezTo>
                    <a:pt x="1242" y="446"/>
                    <a:pt x="1240" y="444"/>
                    <a:pt x="1239" y="443"/>
                  </a:cubicBezTo>
                  <a:moveTo>
                    <a:pt x="1403" y="443"/>
                  </a:moveTo>
                  <a:cubicBezTo>
                    <a:pt x="1403" y="443"/>
                    <a:pt x="1403" y="443"/>
                    <a:pt x="1403" y="443"/>
                  </a:cubicBezTo>
                  <a:cubicBezTo>
                    <a:pt x="1403" y="443"/>
                    <a:pt x="1402" y="444"/>
                    <a:pt x="1402" y="444"/>
                  </a:cubicBezTo>
                  <a:cubicBezTo>
                    <a:pt x="1402" y="443"/>
                    <a:pt x="1403" y="443"/>
                    <a:pt x="1403" y="443"/>
                  </a:cubicBezTo>
                  <a:moveTo>
                    <a:pt x="1402" y="446"/>
                  </a:moveTo>
                  <a:cubicBezTo>
                    <a:pt x="1402" y="446"/>
                    <a:pt x="1402" y="446"/>
                    <a:pt x="1401" y="446"/>
                  </a:cubicBezTo>
                  <a:cubicBezTo>
                    <a:pt x="1400" y="447"/>
                    <a:pt x="1399" y="449"/>
                    <a:pt x="1398" y="450"/>
                  </a:cubicBezTo>
                  <a:cubicBezTo>
                    <a:pt x="1397" y="452"/>
                    <a:pt x="1395" y="454"/>
                    <a:pt x="1394" y="457"/>
                  </a:cubicBezTo>
                  <a:cubicBezTo>
                    <a:pt x="1394" y="457"/>
                    <a:pt x="1394" y="457"/>
                    <a:pt x="1395" y="457"/>
                  </a:cubicBezTo>
                  <a:cubicBezTo>
                    <a:pt x="1397" y="453"/>
                    <a:pt x="1399" y="450"/>
                    <a:pt x="1402" y="446"/>
                  </a:cubicBezTo>
                  <a:moveTo>
                    <a:pt x="1243" y="448"/>
                  </a:moveTo>
                  <a:cubicBezTo>
                    <a:pt x="1243" y="448"/>
                    <a:pt x="1243" y="448"/>
                    <a:pt x="1242" y="448"/>
                  </a:cubicBezTo>
                  <a:cubicBezTo>
                    <a:pt x="1244" y="451"/>
                    <a:pt x="1246" y="453"/>
                    <a:pt x="1247" y="455"/>
                  </a:cubicBezTo>
                  <a:cubicBezTo>
                    <a:pt x="1250" y="458"/>
                    <a:pt x="1253" y="462"/>
                    <a:pt x="1255" y="465"/>
                  </a:cubicBezTo>
                  <a:cubicBezTo>
                    <a:pt x="1255" y="465"/>
                    <a:pt x="1256" y="465"/>
                    <a:pt x="1256" y="464"/>
                  </a:cubicBezTo>
                  <a:cubicBezTo>
                    <a:pt x="1253" y="461"/>
                    <a:pt x="1251" y="458"/>
                    <a:pt x="1248" y="454"/>
                  </a:cubicBezTo>
                  <a:cubicBezTo>
                    <a:pt x="1247" y="454"/>
                    <a:pt x="1247" y="453"/>
                    <a:pt x="1246" y="452"/>
                  </a:cubicBezTo>
                  <a:cubicBezTo>
                    <a:pt x="1246" y="451"/>
                    <a:pt x="1245" y="450"/>
                    <a:pt x="1245" y="450"/>
                  </a:cubicBezTo>
                  <a:cubicBezTo>
                    <a:pt x="1244" y="449"/>
                    <a:pt x="1244" y="449"/>
                    <a:pt x="1243" y="448"/>
                  </a:cubicBezTo>
                  <a:moveTo>
                    <a:pt x="1671" y="451"/>
                  </a:moveTo>
                  <a:cubicBezTo>
                    <a:pt x="1669" y="456"/>
                    <a:pt x="1669" y="460"/>
                    <a:pt x="1668" y="465"/>
                  </a:cubicBezTo>
                  <a:cubicBezTo>
                    <a:pt x="1669" y="465"/>
                    <a:pt x="1669" y="465"/>
                    <a:pt x="1669" y="465"/>
                  </a:cubicBezTo>
                  <a:cubicBezTo>
                    <a:pt x="1670" y="460"/>
                    <a:pt x="1670" y="456"/>
                    <a:pt x="1672" y="451"/>
                  </a:cubicBezTo>
                  <a:cubicBezTo>
                    <a:pt x="1671" y="451"/>
                    <a:pt x="1671" y="451"/>
                    <a:pt x="1671" y="451"/>
                  </a:cubicBezTo>
                  <a:moveTo>
                    <a:pt x="1393" y="458"/>
                  </a:moveTo>
                  <a:cubicBezTo>
                    <a:pt x="1393" y="458"/>
                    <a:pt x="1393" y="458"/>
                    <a:pt x="1393" y="458"/>
                  </a:cubicBezTo>
                  <a:cubicBezTo>
                    <a:pt x="1393" y="459"/>
                    <a:pt x="1393" y="459"/>
                    <a:pt x="1393" y="459"/>
                  </a:cubicBezTo>
                  <a:cubicBezTo>
                    <a:pt x="1393" y="458"/>
                    <a:pt x="1394" y="458"/>
                    <a:pt x="1394" y="458"/>
                  </a:cubicBezTo>
                  <a:cubicBezTo>
                    <a:pt x="1394" y="458"/>
                    <a:pt x="1393" y="458"/>
                    <a:pt x="1393" y="458"/>
                  </a:cubicBezTo>
                  <a:moveTo>
                    <a:pt x="1392" y="461"/>
                  </a:moveTo>
                  <a:cubicBezTo>
                    <a:pt x="1392" y="461"/>
                    <a:pt x="1391" y="462"/>
                    <a:pt x="1391" y="462"/>
                  </a:cubicBezTo>
                  <a:cubicBezTo>
                    <a:pt x="1391" y="462"/>
                    <a:pt x="1391" y="462"/>
                    <a:pt x="1392" y="462"/>
                  </a:cubicBezTo>
                  <a:cubicBezTo>
                    <a:pt x="1392" y="462"/>
                    <a:pt x="1392" y="461"/>
                    <a:pt x="1392" y="461"/>
                  </a:cubicBezTo>
                  <a:moveTo>
                    <a:pt x="1391" y="463"/>
                  </a:moveTo>
                  <a:cubicBezTo>
                    <a:pt x="1390" y="464"/>
                    <a:pt x="1390" y="464"/>
                    <a:pt x="1389" y="464"/>
                  </a:cubicBezTo>
                  <a:cubicBezTo>
                    <a:pt x="1389" y="464"/>
                    <a:pt x="1389" y="465"/>
                    <a:pt x="1389" y="465"/>
                  </a:cubicBezTo>
                  <a:cubicBezTo>
                    <a:pt x="1389" y="465"/>
                    <a:pt x="1390" y="465"/>
                    <a:pt x="1390" y="464"/>
                  </a:cubicBezTo>
                  <a:cubicBezTo>
                    <a:pt x="1391" y="464"/>
                    <a:pt x="1391" y="464"/>
                    <a:pt x="1391" y="463"/>
                  </a:cubicBezTo>
                  <a:moveTo>
                    <a:pt x="1257" y="465"/>
                  </a:moveTo>
                  <a:cubicBezTo>
                    <a:pt x="1256" y="465"/>
                    <a:pt x="1256" y="466"/>
                    <a:pt x="1256" y="466"/>
                  </a:cubicBezTo>
                  <a:cubicBezTo>
                    <a:pt x="1256" y="466"/>
                    <a:pt x="1256" y="466"/>
                    <a:pt x="1256" y="466"/>
                  </a:cubicBezTo>
                  <a:cubicBezTo>
                    <a:pt x="1257" y="466"/>
                    <a:pt x="1257" y="467"/>
                    <a:pt x="1258" y="467"/>
                  </a:cubicBezTo>
                  <a:cubicBezTo>
                    <a:pt x="1258" y="467"/>
                    <a:pt x="1257" y="466"/>
                    <a:pt x="1257" y="465"/>
                  </a:cubicBezTo>
                  <a:moveTo>
                    <a:pt x="1669" y="466"/>
                  </a:moveTo>
                  <a:cubicBezTo>
                    <a:pt x="1669" y="466"/>
                    <a:pt x="1669" y="466"/>
                    <a:pt x="1668" y="466"/>
                  </a:cubicBezTo>
                  <a:cubicBezTo>
                    <a:pt x="1668" y="467"/>
                    <a:pt x="1668" y="468"/>
                    <a:pt x="1668" y="470"/>
                  </a:cubicBezTo>
                  <a:cubicBezTo>
                    <a:pt x="1668" y="470"/>
                    <a:pt x="1669" y="471"/>
                    <a:pt x="1669" y="471"/>
                  </a:cubicBezTo>
                  <a:cubicBezTo>
                    <a:pt x="1669" y="469"/>
                    <a:pt x="1669" y="467"/>
                    <a:pt x="1669" y="466"/>
                  </a:cubicBezTo>
                  <a:moveTo>
                    <a:pt x="1390" y="466"/>
                  </a:moveTo>
                  <a:cubicBezTo>
                    <a:pt x="1389" y="466"/>
                    <a:pt x="1388" y="466"/>
                    <a:pt x="1388" y="467"/>
                  </a:cubicBezTo>
                  <a:cubicBezTo>
                    <a:pt x="1388" y="467"/>
                    <a:pt x="1387" y="467"/>
                    <a:pt x="1387" y="468"/>
                  </a:cubicBezTo>
                  <a:cubicBezTo>
                    <a:pt x="1388" y="467"/>
                    <a:pt x="1388" y="467"/>
                    <a:pt x="1389" y="466"/>
                  </a:cubicBezTo>
                  <a:cubicBezTo>
                    <a:pt x="1389" y="466"/>
                    <a:pt x="1389" y="466"/>
                    <a:pt x="1390" y="466"/>
                  </a:cubicBezTo>
                  <a:moveTo>
                    <a:pt x="1258" y="468"/>
                  </a:moveTo>
                  <a:cubicBezTo>
                    <a:pt x="1258" y="469"/>
                    <a:pt x="1259" y="469"/>
                    <a:pt x="1259" y="470"/>
                  </a:cubicBezTo>
                  <a:cubicBezTo>
                    <a:pt x="1259" y="470"/>
                    <a:pt x="1259" y="470"/>
                    <a:pt x="1260" y="469"/>
                  </a:cubicBezTo>
                  <a:cubicBezTo>
                    <a:pt x="1259" y="469"/>
                    <a:pt x="1258" y="469"/>
                    <a:pt x="1258" y="468"/>
                  </a:cubicBezTo>
                  <a:moveTo>
                    <a:pt x="1388" y="469"/>
                  </a:moveTo>
                  <a:cubicBezTo>
                    <a:pt x="1387" y="469"/>
                    <a:pt x="1387" y="470"/>
                    <a:pt x="1386" y="470"/>
                  </a:cubicBezTo>
                  <a:cubicBezTo>
                    <a:pt x="1386" y="471"/>
                    <a:pt x="1385" y="471"/>
                    <a:pt x="1385" y="472"/>
                  </a:cubicBezTo>
                  <a:cubicBezTo>
                    <a:pt x="1386" y="471"/>
                    <a:pt x="1386" y="471"/>
                    <a:pt x="1387" y="471"/>
                  </a:cubicBezTo>
                  <a:cubicBezTo>
                    <a:pt x="1387" y="470"/>
                    <a:pt x="1388" y="469"/>
                    <a:pt x="1388" y="469"/>
                  </a:cubicBezTo>
                  <a:moveTo>
                    <a:pt x="1261" y="470"/>
                  </a:moveTo>
                  <a:cubicBezTo>
                    <a:pt x="1260" y="470"/>
                    <a:pt x="1260" y="470"/>
                    <a:pt x="1260" y="471"/>
                  </a:cubicBezTo>
                  <a:cubicBezTo>
                    <a:pt x="1260" y="471"/>
                    <a:pt x="1260" y="471"/>
                    <a:pt x="1260" y="471"/>
                  </a:cubicBezTo>
                  <a:cubicBezTo>
                    <a:pt x="1261" y="472"/>
                    <a:pt x="1261" y="472"/>
                    <a:pt x="1262" y="472"/>
                  </a:cubicBezTo>
                  <a:cubicBezTo>
                    <a:pt x="1261" y="471"/>
                    <a:pt x="1261" y="471"/>
                    <a:pt x="1261" y="470"/>
                  </a:cubicBezTo>
                  <a:moveTo>
                    <a:pt x="1668" y="471"/>
                  </a:moveTo>
                  <a:cubicBezTo>
                    <a:pt x="1668" y="480"/>
                    <a:pt x="1670" y="489"/>
                    <a:pt x="1672" y="498"/>
                  </a:cubicBezTo>
                  <a:cubicBezTo>
                    <a:pt x="1673" y="498"/>
                    <a:pt x="1673" y="498"/>
                    <a:pt x="1673" y="497"/>
                  </a:cubicBezTo>
                  <a:cubicBezTo>
                    <a:pt x="1671" y="489"/>
                    <a:pt x="1669" y="481"/>
                    <a:pt x="1669" y="472"/>
                  </a:cubicBezTo>
                  <a:cubicBezTo>
                    <a:pt x="1669" y="472"/>
                    <a:pt x="1668" y="472"/>
                    <a:pt x="1668" y="471"/>
                  </a:cubicBezTo>
                  <a:moveTo>
                    <a:pt x="1386" y="472"/>
                  </a:moveTo>
                  <a:cubicBezTo>
                    <a:pt x="1385" y="473"/>
                    <a:pt x="1385" y="473"/>
                    <a:pt x="1384" y="474"/>
                  </a:cubicBezTo>
                  <a:cubicBezTo>
                    <a:pt x="1384" y="474"/>
                    <a:pt x="1383" y="475"/>
                    <a:pt x="1383" y="476"/>
                  </a:cubicBezTo>
                  <a:cubicBezTo>
                    <a:pt x="1383" y="476"/>
                    <a:pt x="1384" y="475"/>
                    <a:pt x="1384" y="475"/>
                  </a:cubicBezTo>
                  <a:cubicBezTo>
                    <a:pt x="1385" y="474"/>
                    <a:pt x="1385" y="473"/>
                    <a:pt x="1386" y="472"/>
                  </a:cubicBezTo>
                  <a:moveTo>
                    <a:pt x="1261" y="473"/>
                  </a:moveTo>
                  <a:cubicBezTo>
                    <a:pt x="1262" y="473"/>
                    <a:pt x="1262" y="474"/>
                    <a:pt x="1263" y="474"/>
                  </a:cubicBezTo>
                  <a:cubicBezTo>
                    <a:pt x="1263" y="475"/>
                    <a:pt x="1264" y="475"/>
                    <a:pt x="1265" y="475"/>
                  </a:cubicBezTo>
                  <a:cubicBezTo>
                    <a:pt x="1264" y="475"/>
                    <a:pt x="1263" y="474"/>
                    <a:pt x="1263" y="473"/>
                  </a:cubicBezTo>
                  <a:cubicBezTo>
                    <a:pt x="1262" y="473"/>
                    <a:pt x="1262" y="473"/>
                    <a:pt x="1261" y="473"/>
                  </a:cubicBezTo>
                  <a:moveTo>
                    <a:pt x="1264" y="476"/>
                  </a:moveTo>
                  <a:cubicBezTo>
                    <a:pt x="1265" y="478"/>
                    <a:pt x="1266" y="479"/>
                    <a:pt x="1267" y="480"/>
                  </a:cubicBezTo>
                  <a:cubicBezTo>
                    <a:pt x="1268" y="480"/>
                    <a:pt x="1268" y="480"/>
                    <a:pt x="1268" y="480"/>
                  </a:cubicBezTo>
                  <a:cubicBezTo>
                    <a:pt x="1268" y="479"/>
                    <a:pt x="1267" y="478"/>
                    <a:pt x="1266" y="477"/>
                  </a:cubicBezTo>
                  <a:cubicBezTo>
                    <a:pt x="1266" y="477"/>
                    <a:pt x="1265" y="477"/>
                    <a:pt x="1264" y="476"/>
                  </a:cubicBezTo>
                  <a:moveTo>
                    <a:pt x="1383" y="477"/>
                  </a:moveTo>
                  <a:cubicBezTo>
                    <a:pt x="1383" y="477"/>
                    <a:pt x="1382" y="478"/>
                    <a:pt x="1382" y="478"/>
                  </a:cubicBezTo>
                  <a:cubicBezTo>
                    <a:pt x="1380" y="481"/>
                    <a:pt x="1379" y="483"/>
                    <a:pt x="1377" y="486"/>
                  </a:cubicBezTo>
                  <a:cubicBezTo>
                    <a:pt x="1378" y="486"/>
                    <a:pt x="1378" y="486"/>
                    <a:pt x="1379" y="486"/>
                  </a:cubicBezTo>
                  <a:cubicBezTo>
                    <a:pt x="1380" y="483"/>
                    <a:pt x="1382" y="480"/>
                    <a:pt x="1383" y="477"/>
                  </a:cubicBezTo>
                  <a:moveTo>
                    <a:pt x="1269" y="481"/>
                  </a:moveTo>
                  <a:cubicBezTo>
                    <a:pt x="1269" y="481"/>
                    <a:pt x="1269" y="481"/>
                    <a:pt x="1268" y="481"/>
                  </a:cubicBezTo>
                  <a:cubicBezTo>
                    <a:pt x="1270" y="483"/>
                    <a:pt x="1272" y="486"/>
                    <a:pt x="1274" y="488"/>
                  </a:cubicBezTo>
                  <a:cubicBezTo>
                    <a:pt x="1274" y="488"/>
                    <a:pt x="1274" y="488"/>
                    <a:pt x="1275" y="488"/>
                  </a:cubicBezTo>
                  <a:cubicBezTo>
                    <a:pt x="1275" y="488"/>
                    <a:pt x="1275" y="488"/>
                    <a:pt x="1275" y="488"/>
                  </a:cubicBezTo>
                  <a:cubicBezTo>
                    <a:pt x="1273" y="486"/>
                    <a:pt x="1271" y="483"/>
                    <a:pt x="1269" y="481"/>
                  </a:cubicBezTo>
                  <a:moveTo>
                    <a:pt x="1378" y="487"/>
                  </a:moveTo>
                  <a:cubicBezTo>
                    <a:pt x="1378" y="487"/>
                    <a:pt x="1378" y="487"/>
                    <a:pt x="1378" y="487"/>
                  </a:cubicBezTo>
                  <a:cubicBezTo>
                    <a:pt x="1378" y="487"/>
                    <a:pt x="1378" y="487"/>
                    <a:pt x="1378" y="487"/>
                  </a:cubicBezTo>
                  <a:cubicBezTo>
                    <a:pt x="1378" y="487"/>
                    <a:pt x="1378" y="487"/>
                    <a:pt x="1378" y="487"/>
                  </a:cubicBezTo>
                  <a:moveTo>
                    <a:pt x="1376" y="488"/>
                  </a:moveTo>
                  <a:cubicBezTo>
                    <a:pt x="1376" y="489"/>
                    <a:pt x="1375" y="491"/>
                    <a:pt x="1374" y="492"/>
                  </a:cubicBezTo>
                  <a:cubicBezTo>
                    <a:pt x="1375" y="492"/>
                    <a:pt x="1375" y="492"/>
                    <a:pt x="1376" y="492"/>
                  </a:cubicBezTo>
                  <a:cubicBezTo>
                    <a:pt x="1376" y="491"/>
                    <a:pt x="1377" y="489"/>
                    <a:pt x="1378" y="488"/>
                  </a:cubicBezTo>
                  <a:cubicBezTo>
                    <a:pt x="1377" y="488"/>
                    <a:pt x="1377" y="488"/>
                    <a:pt x="1376" y="488"/>
                  </a:cubicBezTo>
                  <a:moveTo>
                    <a:pt x="1275" y="489"/>
                  </a:moveTo>
                  <a:cubicBezTo>
                    <a:pt x="1277" y="491"/>
                    <a:pt x="1278" y="493"/>
                    <a:pt x="1279" y="494"/>
                  </a:cubicBezTo>
                  <a:cubicBezTo>
                    <a:pt x="1280" y="494"/>
                    <a:pt x="1280" y="494"/>
                    <a:pt x="1280" y="494"/>
                  </a:cubicBezTo>
                  <a:cubicBezTo>
                    <a:pt x="1279" y="493"/>
                    <a:pt x="1278" y="492"/>
                    <a:pt x="1277" y="491"/>
                  </a:cubicBezTo>
                  <a:cubicBezTo>
                    <a:pt x="1277" y="490"/>
                    <a:pt x="1276" y="490"/>
                    <a:pt x="1275" y="489"/>
                  </a:cubicBezTo>
                  <a:moveTo>
                    <a:pt x="1375" y="493"/>
                  </a:moveTo>
                  <a:cubicBezTo>
                    <a:pt x="1375" y="493"/>
                    <a:pt x="1374" y="493"/>
                    <a:pt x="1374" y="493"/>
                  </a:cubicBezTo>
                  <a:cubicBezTo>
                    <a:pt x="1374" y="494"/>
                    <a:pt x="1374" y="494"/>
                    <a:pt x="1374" y="494"/>
                  </a:cubicBezTo>
                  <a:cubicBezTo>
                    <a:pt x="1375" y="494"/>
                    <a:pt x="1375" y="493"/>
                    <a:pt x="1375" y="493"/>
                  </a:cubicBezTo>
                  <a:moveTo>
                    <a:pt x="1373" y="494"/>
                  </a:moveTo>
                  <a:cubicBezTo>
                    <a:pt x="1373" y="495"/>
                    <a:pt x="1373" y="495"/>
                    <a:pt x="1372" y="496"/>
                  </a:cubicBezTo>
                  <a:cubicBezTo>
                    <a:pt x="1373" y="496"/>
                    <a:pt x="1373" y="496"/>
                    <a:pt x="1374" y="495"/>
                  </a:cubicBezTo>
                  <a:cubicBezTo>
                    <a:pt x="1374" y="495"/>
                    <a:pt x="1374" y="495"/>
                    <a:pt x="1374" y="495"/>
                  </a:cubicBezTo>
                  <a:cubicBezTo>
                    <a:pt x="1374" y="494"/>
                    <a:pt x="1374" y="494"/>
                    <a:pt x="1373" y="494"/>
                  </a:cubicBezTo>
                  <a:moveTo>
                    <a:pt x="1281" y="495"/>
                  </a:moveTo>
                  <a:cubicBezTo>
                    <a:pt x="1281" y="495"/>
                    <a:pt x="1280" y="495"/>
                    <a:pt x="1280" y="495"/>
                  </a:cubicBezTo>
                  <a:cubicBezTo>
                    <a:pt x="1280" y="495"/>
                    <a:pt x="1280" y="495"/>
                    <a:pt x="1280" y="495"/>
                  </a:cubicBezTo>
                  <a:cubicBezTo>
                    <a:pt x="1281" y="495"/>
                    <a:pt x="1281" y="495"/>
                    <a:pt x="1281" y="495"/>
                  </a:cubicBezTo>
                  <a:cubicBezTo>
                    <a:pt x="1281" y="495"/>
                    <a:pt x="1281" y="495"/>
                    <a:pt x="1281" y="495"/>
                  </a:cubicBezTo>
                  <a:moveTo>
                    <a:pt x="1282" y="496"/>
                  </a:moveTo>
                  <a:cubicBezTo>
                    <a:pt x="1282" y="496"/>
                    <a:pt x="1281" y="496"/>
                    <a:pt x="1281" y="496"/>
                  </a:cubicBezTo>
                  <a:cubicBezTo>
                    <a:pt x="1281" y="496"/>
                    <a:pt x="1281" y="497"/>
                    <a:pt x="1282" y="497"/>
                  </a:cubicBezTo>
                  <a:cubicBezTo>
                    <a:pt x="1282" y="497"/>
                    <a:pt x="1282" y="496"/>
                    <a:pt x="1283" y="496"/>
                  </a:cubicBezTo>
                  <a:cubicBezTo>
                    <a:pt x="1282" y="496"/>
                    <a:pt x="1282" y="496"/>
                    <a:pt x="1282" y="496"/>
                  </a:cubicBezTo>
                  <a:moveTo>
                    <a:pt x="1373" y="497"/>
                  </a:moveTo>
                  <a:cubicBezTo>
                    <a:pt x="1373" y="497"/>
                    <a:pt x="1372" y="497"/>
                    <a:pt x="1372" y="497"/>
                  </a:cubicBezTo>
                  <a:cubicBezTo>
                    <a:pt x="1370" y="499"/>
                    <a:pt x="1369" y="501"/>
                    <a:pt x="1368" y="503"/>
                  </a:cubicBezTo>
                  <a:cubicBezTo>
                    <a:pt x="1369" y="503"/>
                    <a:pt x="1369" y="503"/>
                    <a:pt x="1370" y="503"/>
                  </a:cubicBezTo>
                  <a:cubicBezTo>
                    <a:pt x="1371" y="501"/>
                    <a:pt x="1372" y="499"/>
                    <a:pt x="1373" y="497"/>
                  </a:cubicBezTo>
                  <a:moveTo>
                    <a:pt x="1283" y="497"/>
                  </a:moveTo>
                  <a:cubicBezTo>
                    <a:pt x="1283" y="497"/>
                    <a:pt x="1283" y="497"/>
                    <a:pt x="1282" y="498"/>
                  </a:cubicBezTo>
                  <a:cubicBezTo>
                    <a:pt x="1283" y="498"/>
                    <a:pt x="1283" y="498"/>
                    <a:pt x="1283" y="498"/>
                  </a:cubicBezTo>
                  <a:cubicBezTo>
                    <a:pt x="1284" y="499"/>
                    <a:pt x="1285" y="499"/>
                    <a:pt x="1285" y="499"/>
                  </a:cubicBezTo>
                  <a:cubicBezTo>
                    <a:pt x="1285" y="499"/>
                    <a:pt x="1284" y="498"/>
                    <a:pt x="1283" y="497"/>
                  </a:cubicBezTo>
                  <a:moveTo>
                    <a:pt x="1674" y="498"/>
                  </a:moveTo>
                  <a:cubicBezTo>
                    <a:pt x="1673" y="499"/>
                    <a:pt x="1673" y="499"/>
                    <a:pt x="1673" y="499"/>
                  </a:cubicBezTo>
                  <a:cubicBezTo>
                    <a:pt x="1675" y="506"/>
                    <a:pt x="1678" y="514"/>
                    <a:pt x="1683" y="521"/>
                  </a:cubicBezTo>
                  <a:cubicBezTo>
                    <a:pt x="1683" y="521"/>
                    <a:pt x="1684" y="521"/>
                    <a:pt x="1684" y="521"/>
                  </a:cubicBezTo>
                  <a:cubicBezTo>
                    <a:pt x="1680" y="513"/>
                    <a:pt x="1676" y="506"/>
                    <a:pt x="1674" y="498"/>
                  </a:cubicBezTo>
                  <a:moveTo>
                    <a:pt x="1285" y="500"/>
                  </a:moveTo>
                  <a:cubicBezTo>
                    <a:pt x="1286" y="501"/>
                    <a:pt x="1287" y="503"/>
                    <a:pt x="1288" y="504"/>
                  </a:cubicBezTo>
                  <a:cubicBezTo>
                    <a:pt x="1289" y="504"/>
                    <a:pt x="1289" y="504"/>
                    <a:pt x="1290" y="504"/>
                  </a:cubicBezTo>
                  <a:cubicBezTo>
                    <a:pt x="1289" y="503"/>
                    <a:pt x="1288" y="502"/>
                    <a:pt x="1287" y="501"/>
                  </a:cubicBezTo>
                  <a:cubicBezTo>
                    <a:pt x="1286" y="501"/>
                    <a:pt x="1285" y="500"/>
                    <a:pt x="1285" y="500"/>
                  </a:cubicBezTo>
                  <a:moveTo>
                    <a:pt x="1369" y="504"/>
                  </a:moveTo>
                  <a:cubicBezTo>
                    <a:pt x="1369" y="504"/>
                    <a:pt x="1368" y="504"/>
                    <a:pt x="1368" y="505"/>
                  </a:cubicBezTo>
                  <a:cubicBezTo>
                    <a:pt x="1367" y="506"/>
                    <a:pt x="1366" y="508"/>
                    <a:pt x="1365" y="509"/>
                  </a:cubicBezTo>
                  <a:cubicBezTo>
                    <a:pt x="1366" y="509"/>
                    <a:pt x="1366" y="509"/>
                    <a:pt x="1367" y="509"/>
                  </a:cubicBezTo>
                  <a:cubicBezTo>
                    <a:pt x="1367" y="507"/>
                    <a:pt x="1368" y="506"/>
                    <a:pt x="1369" y="504"/>
                  </a:cubicBezTo>
                  <a:moveTo>
                    <a:pt x="1291" y="505"/>
                  </a:moveTo>
                  <a:cubicBezTo>
                    <a:pt x="1291" y="506"/>
                    <a:pt x="1290" y="506"/>
                    <a:pt x="1290" y="506"/>
                  </a:cubicBezTo>
                  <a:cubicBezTo>
                    <a:pt x="1290" y="506"/>
                    <a:pt x="1290" y="506"/>
                    <a:pt x="1290" y="506"/>
                  </a:cubicBezTo>
                  <a:cubicBezTo>
                    <a:pt x="1291" y="506"/>
                    <a:pt x="1291" y="506"/>
                    <a:pt x="1292" y="507"/>
                  </a:cubicBezTo>
                  <a:cubicBezTo>
                    <a:pt x="1292" y="507"/>
                    <a:pt x="1292" y="507"/>
                    <a:pt x="1292" y="506"/>
                  </a:cubicBezTo>
                  <a:cubicBezTo>
                    <a:pt x="1292" y="506"/>
                    <a:pt x="1292" y="506"/>
                    <a:pt x="1291" y="506"/>
                  </a:cubicBezTo>
                  <a:cubicBezTo>
                    <a:pt x="1291" y="506"/>
                    <a:pt x="1291" y="506"/>
                    <a:pt x="1291" y="505"/>
                  </a:cubicBezTo>
                  <a:moveTo>
                    <a:pt x="1292" y="508"/>
                  </a:moveTo>
                  <a:cubicBezTo>
                    <a:pt x="1292" y="508"/>
                    <a:pt x="1292" y="508"/>
                    <a:pt x="1293" y="508"/>
                  </a:cubicBezTo>
                  <a:cubicBezTo>
                    <a:pt x="1293" y="508"/>
                    <a:pt x="1293" y="508"/>
                    <a:pt x="1293" y="508"/>
                  </a:cubicBezTo>
                  <a:cubicBezTo>
                    <a:pt x="1293" y="508"/>
                    <a:pt x="1293" y="508"/>
                    <a:pt x="1292" y="508"/>
                  </a:cubicBezTo>
                  <a:moveTo>
                    <a:pt x="1366" y="510"/>
                  </a:moveTo>
                  <a:cubicBezTo>
                    <a:pt x="1365" y="510"/>
                    <a:pt x="1365" y="510"/>
                    <a:pt x="1364" y="511"/>
                  </a:cubicBezTo>
                  <a:cubicBezTo>
                    <a:pt x="1364" y="511"/>
                    <a:pt x="1364" y="511"/>
                    <a:pt x="1363" y="512"/>
                  </a:cubicBezTo>
                  <a:cubicBezTo>
                    <a:pt x="1364" y="512"/>
                    <a:pt x="1364" y="512"/>
                    <a:pt x="1365" y="512"/>
                  </a:cubicBezTo>
                  <a:cubicBezTo>
                    <a:pt x="1365" y="511"/>
                    <a:pt x="1365" y="511"/>
                    <a:pt x="1366" y="510"/>
                  </a:cubicBezTo>
                  <a:moveTo>
                    <a:pt x="1364" y="513"/>
                  </a:moveTo>
                  <a:cubicBezTo>
                    <a:pt x="1364" y="513"/>
                    <a:pt x="1363" y="513"/>
                    <a:pt x="1363" y="513"/>
                  </a:cubicBezTo>
                  <a:cubicBezTo>
                    <a:pt x="1363" y="513"/>
                    <a:pt x="1363" y="513"/>
                    <a:pt x="1363" y="513"/>
                  </a:cubicBezTo>
                  <a:cubicBezTo>
                    <a:pt x="1363" y="513"/>
                    <a:pt x="1363" y="513"/>
                    <a:pt x="1364" y="513"/>
                  </a:cubicBezTo>
                  <a:moveTo>
                    <a:pt x="1298" y="514"/>
                  </a:moveTo>
                  <a:cubicBezTo>
                    <a:pt x="1298" y="514"/>
                    <a:pt x="1298" y="514"/>
                    <a:pt x="1298" y="514"/>
                  </a:cubicBezTo>
                  <a:cubicBezTo>
                    <a:pt x="1299" y="515"/>
                    <a:pt x="1300" y="516"/>
                    <a:pt x="1301" y="517"/>
                  </a:cubicBezTo>
                  <a:cubicBezTo>
                    <a:pt x="1302" y="516"/>
                    <a:pt x="1302" y="516"/>
                    <a:pt x="1302" y="516"/>
                  </a:cubicBezTo>
                  <a:cubicBezTo>
                    <a:pt x="1302" y="515"/>
                    <a:pt x="1301" y="515"/>
                    <a:pt x="1300" y="514"/>
                  </a:cubicBezTo>
                  <a:cubicBezTo>
                    <a:pt x="1299" y="514"/>
                    <a:pt x="1299" y="514"/>
                    <a:pt x="1298" y="514"/>
                  </a:cubicBezTo>
                  <a:moveTo>
                    <a:pt x="1363" y="514"/>
                  </a:moveTo>
                  <a:cubicBezTo>
                    <a:pt x="1363" y="514"/>
                    <a:pt x="1362" y="515"/>
                    <a:pt x="1362" y="515"/>
                  </a:cubicBezTo>
                  <a:cubicBezTo>
                    <a:pt x="1361" y="516"/>
                    <a:pt x="1361" y="516"/>
                    <a:pt x="1360" y="517"/>
                  </a:cubicBezTo>
                  <a:cubicBezTo>
                    <a:pt x="1361" y="517"/>
                    <a:pt x="1361" y="517"/>
                    <a:pt x="1361" y="517"/>
                  </a:cubicBezTo>
                  <a:cubicBezTo>
                    <a:pt x="1362" y="516"/>
                    <a:pt x="1363" y="515"/>
                    <a:pt x="1363" y="514"/>
                  </a:cubicBezTo>
                  <a:moveTo>
                    <a:pt x="1303" y="517"/>
                  </a:moveTo>
                  <a:cubicBezTo>
                    <a:pt x="1303" y="517"/>
                    <a:pt x="1303" y="517"/>
                    <a:pt x="1302" y="517"/>
                  </a:cubicBezTo>
                  <a:cubicBezTo>
                    <a:pt x="1303" y="517"/>
                    <a:pt x="1304" y="518"/>
                    <a:pt x="1304" y="518"/>
                  </a:cubicBezTo>
                  <a:cubicBezTo>
                    <a:pt x="1304" y="518"/>
                    <a:pt x="1303" y="517"/>
                    <a:pt x="1303" y="517"/>
                  </a:cubicBezTo>
                  <a:moveTo>
                    <a:pt x="1360" y="518"/>
                  </a:moveTo>
                  <a:cubicBezTo>
                    <a:pt x="1359" y="518"/>
                    <a:pt x="1359" y="519"/>
                    <a:pt x="1358" y="519"/>
                  </a:cubicBezTo>
                  <a:cubicBezTo>
                    <a:pt x="1359" y="520"/>
                    <a:pt x="1359" y="520"/>
                    <a:pt x="1359" y="520"/>
                  </a:cubicBezTo>
                  <a:cubicBezTo>
                    <a:pt x="1360" y="519"/>
                    <a:pt x="1360" y="519"/>
                    <a:pt x="1361" y="518"/>
                  </a:cubicBezTo>
                  <a:cubicBezTo>
                    <a:pt x="1360" y="518"/>
                    <a:pt x="1360" y="518"/>
                    <a:pt x="1360" y="518"/>
                  </a:cubicBezTo>
                  <a:moveTo>
                    <a:pt x="1304" y="519"/>
                  </a:moveTo>
                  <a:cubicBezTo>
                    <a:pt x="1304" y="519"/>
                    <a:pt x="1304" y="519"/>
                    <a:pt x="1304" y="519"/>
                  </a:cubicBezTo>
                  <a:cubicBezTo>
                    <a:pt x="1305" y="520"/>
                    <a:pt x="1306" y="521"/>
                    <a:pt x="1307" y="522"/>
                  </a:cubicBezTo>
                  <a:cubicBezTo>
                    <a:pt x="1308" y="522"/>
                    <a:pt x="1308" y="521"/>
                    <a:pt x="1308" y="521"/>
                  </a:cubicBezTo>
                  <a:cubicBezTo>
                    <a:pt x="1308" y="521"/>
                    <a:pt x="1307" y="521"/>
                    <a:pt x="1307" y="520"/>
                  </a:cubicBezTo>
                  <a:cubicBezTo>
                    <a:pt x="1306" y="520"/>
                    <a:pt x="1305" y="519"/>
                    <a:pt x="1304" y="519"/>
                  </a:cubicBezTo>
                  <a:moveTo>
                    <a:pt x="1358" y="520"/>
                  </a:moveTo>
                  <a:cubicBezTo>
                    <a:pt x="1357" y="521"/>
                    <a:pt x="1356" y="523"/>
                    <a:pt x="1355" y="524"/>
                  </a:cubicBezTo>
                  <a:cubicBezTo>
                    <a:pt x="1355" y="524"/>
                    <a:pt x="1356" y="524"/>
                    <a:pt x="1356" y="524"/>
                  </a:cubicBezTo>
                  <a:cubicBezTo>
                    <a:pt x="1357" y="523"/>
                    <a:pt x="1358" y="522"/>
                    <a:pt x="1359" y="521"/>
                  </a:cubicBezTo>
                  <a:cubicBezTo>
                    <a:pt x="1358" y="520"/>
                    <a:pt x="1358" y="520"/>
                    <a:pt x="1358" y="520"/>
                  </a:cubicBezTo>
                  <a:moveTo>
                    <a:pt x="1684" y="522"/>
                  </a:moveTo>
                  <a:cubicBezTo>
                    <a:pt x="1684" y="522"/>
                    <a:pt x="1684" y="522"/>
                    <a:pt x="1683" y="522"/>
                  </a:cubicBezTo>
                  <a:cubicBezTo>
                    <a:pt x="1689" y="532"/>
                    <a:pt x="1696" y="541"/>
                    <a:pt x="1704" y="551"/>
                  </a:cubicBezTo>
                  <a:cubicBezTo>
                    <a:pt x="1705" y="551"/>
                    <a:pt x="1705" y="551"/>
                    <a:pt x="1706" y="551"/>
                  </a:cubicBezTo>
                  <a:cubicBezTo>
                    <a:pt x="1697" y="541"/>
                    <a:pt x="1690" y="531"/>
                    <a:pt x="1684" y="522"/>
                  </a:cubicBezTo>
                  <a:moveTo>
                    <a:pt x="1309" y="522"/>
                  </a:moveTo>
                  <a:cubicBezTo>
                    <a:pt x="1309" y="522"/>
                    <a:pt x="1309" y="522"/>
                    <a:pt x="1308" y="523"/>
                  </a:cubicBezTo>
                  <a:cubicBezTo>
                    <a:pt x="1310" y="524"/>
                    <a:pt x="1311" y="525"/>
                    <a:pt x="1312" y="526"/>
                  </a:cubicBezTo>
                  <a:cubicBezTo>
                    <a:pt x="1313" y="525"/>
                    <a:pt x="1313" y="525"/>
                    <a:pt x="1313" y="525"/>
                  </a:cubicBezTo>
                  <a:cubicBezTo>
                    <a:pt x="1312" y="524"/>
                    <a:pt x="1311" y="523"/>
                    <a:pt x="1309" y="522"/>
                  </a:cubicBezTo>
                  <a:moveTo>
                    <a:pt x="1354" y="524"/>
                  </a:moveTo>
                  <a:cubicBezTo>
                    <a:pt x="1354" y="524"/>
                    <a:pt x="1354" y="525"/>
                    <a:pt x="1354" y="525"/>
                  </a:cubicBezTo>
                  <a:cubicBezTo>
                    <a:pt x="1354" y="525"/>
                    <a:pt x="1355" y="525"/>
                    <a:pt x="1355" y="525"/>
                  </a:cubicBezTo>
                  <a:cubicBezTo>
                    <a:pt x="1355" y="525"/>
                    <a:pt x="1355" y="525"/>
                    <a:pt x="1355" y="525"/>
                  </a:cubicBezTo>
                  <a:cubicBezTo>
                    <a:pt x="1355" y="525"/>
                    <a:pt x="1355" y="525"/>
                    <a:pt x="1354" y="524"/>
                  </a:cubicBezTo>
                  <a:moveTo>
                    <a:pt x="1353" y="526"/>
                  </a:moveTo>
                  <a:cubicBezTo>
                    <a:pt x="1353" y="526"/>
                    <a:pt x="1353" y="526"/>
                    <a:pt x="1352" y="527"/>
                  </a:cubicBezTo>
                  <a:cubicBezTo>
                    <a:pt x="1353" y="527"/>
                    <a:pt x="1353" y="527"/>
                    <a:pt x="1353" y="527"/>
                  </a:cubicBezTo>
                  <a:cubicBezTo>
                    <a:pt x="1354" y="527"/>
                    <a:pt x="1354" y="526"/>
                    <a:pt x="1354" y="526"/>
                  </a:cubicBezTo>
                  <a:cubicBezTo>
                    <a:pt x="1354" y="526"/>
                    <a:pt x="1354" y="526"/>
                    <a:pt x="1353" y="526"/>
                  </a:cubicBezTo>
                  <a:moveTo>
                    <a:pt x="1314" y="526"/>
                  </a:moveTo>
                  <a:cubicBezTo>
                    <a:pt x="1314" y="526"/>
                    <a:pt x="1313" y="526"/>
                    <a:pt x="1313" y="526"/>
                  </a:cubicBezTo>
                  <a:cubicBezTo>
                    <a:pt x="1313" y="526"/>
                    <a:pt x="1313" y="526"/>
                    <a:pt x="1313" y="526"/>
                  </a:cubicBezTo>
                  <a:cubicBezTo>
                    <a:pt x="1314" y="526"/>
                    <a:pt x="1314" y="526"/>
                    <a:pt x="1314" y="526"/>
                  </a:cubicBezTo>
                  <a:moveTo>
                    <a:pt x="1315" y="526"/>
                  </a:moveTo>
                  <a:cubicBezTo>
                    <a:pt x="1315" y="526"/>
                    <a:pt x="1315" y="527"/>
                    <a:pt x="1314" y="527"/>
                  </a:cubicBezTo>
                  <a:cubicBezTo>
                    <a:pt x="1315" y="527"/>
                    <a:pt x="1316" y="528"/>
                    <a:pt x="1317" y="528"/>
                  </a:cubicBezTo>
                  <a:cubicBezTo>
                    <a:pt x="1317" y="528"/>
                    <a:pt x="1317" y="528"/>
                    <a:pt x="1318" y="528"/>
                  </a:cubicBezTo>
                  <a:cubicBezTo>
                    <a:pt x="1317" y="528"/>
                    <a:pt x="1317" y="527"/>
                    <a:pt x="1316" y="527"/>
                  </a:cubicBezTo>
                  <a:cubicBezTo>
                    <a:pt x="1316" y="527"/>
                    <a:pt x="1316" y="527"/>
                    <a:pt x="1315" y="526"/>
                  </a:cubicBezTo>
                  <a:moveTo>
                    <a:pt x="1351" y="527"/>
                  </a:moveTo>
                  <a:cubicBezTo>
                    <a:pt x="1351" y="528"/>
                    <a:pt x="1351" y="528"/>
                    <a:pt x="1350" y="528"/>
                  </a:cubicBezTo>
                  <a:cubicBezTo>
                    <a:pt x="1351" y="528"/>
                    <a:pt x="1351" y="529"/>
                    <a:pt x="1351" y="529"/>
                  </a:cubicBezTo>
                  <a:cubicBezTo>
                    <a:pt x="1352" y="528"/>
                    <a:pt x="1352" y="528"/>
                    <a:pt x="1352" y="528"/>
                  </a:cubicBezTo>
                  <a:cubicBezTo>
                    <a:pt x="1352" y="528"/>
                    <a:pt x="1352" y="528"/>
                    <a:pt x="1351" y="527"/>
                  </a:cubicBezTo>
                  <a:moveTo>
                    <a:pt x="1319" y="529"/>
                  </a:moveTo>
                  <a:cubicBezTo>
                    <a:pt x="1319" y="529"/>
                    <a:pt x="1318" y="529"/>
                    <a:pt x="1318" y="529"/>
                  </a:cubicBezTo>
                  <a:cubicBezTo>
                    <a:pt x="1318" y="529"/>
                    <a:pt x="1319" y="530"/>
                    <a:pt x="1319" y="530"/>
                  </a:cubicBezTo>
                  <a:cubicBezTo>
                    <a:pt x="1320" y="530"/>
                    <a:pt x="1320" y="530"/>
                    <a:pt x="1320" y="529"/>
                  </a:cubicBezTo>
                  <a:cubicBezTo>
                    <a:pt x="1320" y="529"/>
                    <a:pt x="1319" y="529"/>
                    <a:pt x="1319" y="529"/>
                  </a:cubicBezTo>
                  <a:moveTo>
                    <a:pt x="1321" y="530"/>
                  </a:moveTo>
                  <a:cubicBezTo>
                    <a:pt x="1321" y="530"/>
                    <a:pt x="1321" y="530"/>
                    <a:pt x="1321" y="530"/>
                  </a:cubicBezTo>
                  <a:cubicBezTo>
                    <a:pt x="1321" y="530"/>
                    <a:pt x="1321" y="530"/>
                    <a:pt x="1321" y="530"/>
                  </a:cubicBezTo>
                  <a:cubicBezTo>
                    <a:pt x="1321" y="530"/>
                    <a:pt x="1321" y="530"/>
                    <a:pt x="1321" y="530"/>
                  </a:cubicBezTo>
                  <a:moveTo>
                    <a:pt x="1348" y="530"/>
                  </a:moveTo>
                  <a:cubicBezTo>
                    <a:pt x="1346" y="532"/>
                    <a:pt x="1343" y="533"/>
                    <a:pt x="1341" y="533"/>
                  </a:cubicBezTo>
                  <a:cubicBezTo>
                    <a:pt x="1341" y="534"/>
                    <a:pt x="1341" y="534"/>
                    <a:pt x="1342" y="534"/>
                  </a:cubicBezTo>
                  <a:cubicBezTo>
                    <a:pt x="1345" y="533"/>
                    <a:pt x="1347" y="532"/>
                    <a:pt x="1349" y="530"/>
                  </a:cubicBezTo>
                  <a:cubicBezTo>
                    <a:pt x="1349" y="530"/>
                    <a:pt x="1349" y="530"/>
                    <a:pt x="1348" y="530"/>
                  </a:cubicBezTo>
                  <a:moveTo>
                    <a:pt x="1322" y="530"/>
                  </a:moveTo>
                  <a:cubicBezTo>
                    <a:pt x="1322" y="531"/>
                    <a:pt x="1322" y="531"/>
                    <a:pt x="1321" y="531"/>
                  </a:cubicBezTo>
                  <a:cubicBezTo>
                    <a:pt x="1322" y="531"/>
                    <a:pt x="1323" y="532"/>
                    <a:pt x="1324" y="532"/>
                  </a:cubicBezTo>
                  <a:cubicBezTo>
                    <a:pt x="1324" y="532"/>
                    <a:pt x="1325" y="532"/>
                    <a:pt x="1325" y="532"/>
                  </a:cubicBezTo>
                  <a:cubicBezTo>
                    <a:pt x="1324" y="531"/>
                    <a:pt x="1323" y="531"/>
                    <a:pt x="1322" y="530"/>
                  </a:cubicBezTo>
                  <a:moveTo>
                    <a:pt x="1326" y="532"/>
                  </a:moveTo>
                  <a:cubicBezTo>
                    <a:pt x="1326" y="532"/>
                    <a:pt x="1325" y="532"/>
                    <a:pt x="1325" y="533"/>
                  </a:cubicBezTo>
                  <a:cubicBezTo>
                    <a:pt x="1326" y="533"/>
                    <a:pt x="1327" y="533"/>
                    <a:pt x="1328" y="534"/>
                  </a:cubicBezTo>
                  <a:cubicBezTo>
                    <a:pt x="1328" y="534"/>
                    <a:pt x="1329" y="534"/>
                    <a:pt x="1330" y="534"/>
                  </a:cubicBezTo>
                  <a:cubicBezTo>
                    <a:pt x="1331" y="534"/>
                    <a:pt x="1332" y="535"/>
                    <a:pt x="1333" y="535"/>
                  </a:cubicBezTo>
                  <a:cubicBezTo>
                    <a:pt x="1333" y="535"/>
                    <a:pt x="1334" y="535"/>
                    <a:pt x="1334" y="535"/>
                  </a:cubicBezTo>
                  <a:cubicBezTo>
                    <a:pt x="1335" y="535"/>
                    <a:pt x="1335" y="535"/>
                    <a:pt x="1336" y="535"/>
                  </a:cubicBezTo>
                  <a:cubicBezTo>
                    <a:pt x="1337" y="535"/>
                    <a:pt x="1339" y="535"/>
                    <a:pt x="1340" y="534"/>
                  </a:cubicBezTo>
                  <a:cubicBezTo>
                    <a:pt x="1340" y="534"/>
                    <a:pt x="1339" y="534"/>
                    <a:pt x="1339" y="534"/>
                  </a:cubicBezTo>
                  <a:cubicBezTo>
                    <a:pt x="1338" y="534"/>
                    <a:pt x="1337" y="534"/>
                    <a:pt x="1336" y="534"/>
                  </a:cubicBezTo>
                  <a:cubicBezTo>
                    <a:pt x="1336" y="534"/>
                    <a:pt x="1336" y="534"/>
                    <a:pt x="1336" y="534"/>
                  </a:cubicBezTo>
                  <a:cubicBezTo>
                    <a:pt x="1336" y="534"/>
                    <a:pt x="1336" y="534"/>
                    <a:pt x="1336" y="534"/>
                  </a:cubicBezTo>
                  <a:cubicBezTo>
                    <a:pt x="1335" y="534"/>
                    <a:pt x="1334" y="534"/>
                    <a:pt x="1333" y="534"/>
                  </a:cubicBezTo>
                  <a:cubicBezTo>
                    <a:pt x="1333" y="534"/>
                    <a:pt x="1332" y="534"/>
                    <a:pt x="1331" y="534"/>
                  </a:cubicBezTo>
                  <a:cubicBezTo>
                    <a:pt x="1330" y="533"/>
                    <a:pt x="1329" y="533"/>
                    <a:pt x="1328" y="533"/>
                  </a:cubicBezTo>
                  <a:cubicBezTo>
                    <a:pt x="1328" y="533"/>
                    <a:pt x="1327" y="532"/>
                    <a:pt x="1326" y="532"/>
                  </a:cubicBezTo>
                  <a:moveTo>
                    <a:pt x="1127" y="550"/>
                  </a:moveTo>
                  <a:cubicBezTo>
                    <a:pt x="1127" y="550"/>
                    <a:pt x="1126" y="551"/>
                    <a:pt x="1126" y="551"/>
                  </a:cubicBezTo>
                  <a:cubicBezTo>
                    <a:pt x="1131" y="552"/>
                    <a:pt x="1137" y="553"/>
                    <a:pt x="1142" y="554"/>
                  </a:cubicBezTo>
                  <a:cubicBezTo>
                    <a:pt x="1143" y="553"/>
                    <a:pt x="1143" y="553"/>
                    <a:pt x="1144" y="553"/>
                  </a:cubicBezTo>
                  <a:cubicBezTo>
                    <a:pt x="1138" y="552"/>
                    <a:pt x="1133" y="551"/>
                    <a:pt x="1127" y="550"/>
                  </a:cubicBezTo>
                  <a:moveTo>
                    <a:pt x="1706" y="552"/>
                  </a:moveTo>
                  <a:cubicBezTo>
                    <a:pt x="1706" y="552"/>
                    <a:pt x="1706" y="552"/>
                    <a:pt x="1705" y="552"/>
                  </a:cubicBezTo>
                  <a:cubicBezTo>
                    <a:pt x="1709" y="557"/>
                    <a:pt x="1714" y="562"/>
                    <a:pt x="1719" y="567"/>
                  </a:cubicBezTo>
                  <a:cubicBezTo>
                    <a:pt x="1719" y="567"/>
                    <a:pt x="1719" y="567"/>
                    <a:pt x="1720" y="566"/>
                  </a:cubicBezTo>
                  <a:cubicBezTo>
                    <a:pt x="1715" y="562"/>
                    <a:pt x="1710" y="557"/>
                    <a:pt x="1706" y="552"/>
                  </a:cubicBezTo>
                  <a:moveTo>
                    <a:pt x="1145" y="553"/>
                  </a:moveTo>
                  <a:cubicBezTo>
                    <a:pt x="1145" y="553"/>
                    <a:pt x="1144" y="554"/>
                    <a:pt x="1144" y="554"/>
                  </a:cubicBezTo>
                  <a:cubicBezTo>
                    <a:pt x="1149" y="555"/>
                    <a:pt x="1154" y="556"/>
                    <a:pt x="1159" y="556"/>
                  </a:cubicBezTo>
                  <a:cubicBezTo>
                    <a:pt x="1160" y="556"/>
                    <a:pt x="1160" y="556"/>
                    <a:pt x="1161" y="556"/>
                  </a:cubicBezTo>
                  <a:cubicBezTo>
                    <a:pt x="1155" y="555"/>
                    <a:pt x="1150" y="554"/>
                    <a:pt x="1145" y="553"/>
                  </a:cubicBezTo>
                  <a:moveTo>
                    <a:pt x="1162" y="556"/>
                  </a:moveTo>
                  <a:cubicBezTo>
                    <a:pt x="1162" y="556"/>
                    <a:pt x="1161" y="556"/>
                    <a:pt x="1161" y="557"/>
                  </a:cubicBezTo>
                  <a:cubicBezTo>
                    <a:pt x="1162" y="557"/>
                    <a:pt x="1164" y="557"/>
                    <a:pt x="1166" y="557"/>
                  </a:cubicBezTo>
                  <a:cubicBezTo>
                    <a:pt x="1166" y="557"/>
                    <a:pt x="1165" y="557"/>
                    <a:pt x="1165" y="556"/>
                  </a:cubicBezTo>
                  <a:cubicBezTo>
                    <a:pt x="1164" y="556"/>
                    <a:pt x="1163" y="556"/>
                    <a:pt x="1162" y="556"/>
                  </a:cubicBezTo>
                  <a:moveTo>
                    <a:pt x="1167" y="557"/>
                  </a:moveTo>
                  <a:cubicBezTo>
                    <a:pt x="1167" y="557"/>
                    <a:pt x="1167" y="557"/>
                    <a:pt x="1167" y="558"/>
                  </a:cubicBezTo>
                  <a:cubicBezTo>
                    <a:pt x="1170" y="558"/>
                    <a:pt x="1174" y="559"/>
                    <a:pt x="1177" y="559"/>
                  </a:cubicBezTo>
                  <a:cubicBezTo>
                    <a:pt x="1177" y="559"/>
                    <a:pt x="1178" y="559"/>
                    <a:pt x="1178" y="558"/>
                  </a:cubicBezTo>
                  <a:cubicBezTo>
                    <a:pt x="1175" y="558"/>
                    <a:pt x="1171" y="557"/>
                    <a:pt x="1167" y="557"/>
                  </a:cubicBezTo>
                  <a:moveTo>
                    <a:pt x="1180" y="559"/>
                  </a:moveTo>
                  <a:cubicBezTo>
                    <a:pt x="1180" y="559"/>
                    <a:pt x="1179" y="559"/>
                    <a:pt x="1179" y="559"/>
                  </a:cubicBezTo>
                  <a:cubicBezTo>
                    <a:pt x="1179" y="559"/>
                    <a:pt x="1179" y="559"/>
                    <a:pt x="1179" y="559"/>
                  </a:cubicBezTo>
                  <a:cubicBezTo>
                    <a:pt x="1180" y="560"/>
                    <a:pt x="1182" y="560"/>
                    <a:pt x="1183" y="560"/>
                  </a:cubicBezTo>
                  <a:cubicBezTo>
                    <a:pt x="1183" y="560"/>
                    <a:pt x="1182" y="559"/>
                    <a:pt x="1182" y="559"/>
                  </a:cubicBezTo>
                  <a:cubicBezTo>
                    <a:pt x="1181" y="559"/>
                    <a:pt x="1180" y="559"/>
                    <a:pt x="1180" y="559"/>
                  </a:cubicBezTo>
                  <a:moveTo>
                    <a:pt x="1184" y="559"/>
                  </a:moveTo>
                  <a:cubicBezTo>
                    <a:pt x="1184" y="560"/>
                    <a:pt x="1185" y="560"/>
                    <a:pt x="1186" y="560"/>
                  </a:cubicBezTo>
                  <a:cubicBezTo>
                    <a:pt x="1187" y="561"/>
                    <a:pt x="1189" y="561"/>
                    <a:pt x="1191" y="561"/>
                  </a:cubicBezTo>
                  <a:cubicBezTo>
                    <a:pt x="1191" y="561"/>
                    <a:pt x="1192" y="561"/>
                    <a:pt x="1192" y="560"/>
                  </a:cubicBezTo>
                  <a:cubicBezTo>
                    <a:pt x="1189" y="560"/>
                    <a:pt x="1187" y="560"/>
                    <a:pt x="1184" y="559"/>
                  </a:cubicBezTo>
                  <a:moveTo>
                    <a:pt x="1194" y="561"/>
                  </a:moveTo>
                  <a:cubicBezTo>
                    <a:pt x="1193" y="561"/>
                    <a:pt x="1193" y="561"/>
                    <a:pt x="1192" y="561"/>
                  </a:cubicBezTo>
                  <a:cubicBezTo>
                    <a:pt x="1194" y="562"/>
                    <a:pt x="1195" y="562"/>
                    <a:pt x="1196" y="562"/>
                  </a:cubicBezTo>
                  <a:cubicBezTo>
                    <a:pt x="1196" y="562"/>
                    <a:pt x="1196" y="561"/>
                    <a:pt x="1197" y="561"/>
                  </a:cubicBezTo>
                  <a:cubicBezTo>
                    <a:pt x="1196" y="561"/>
                    <a:pt x="1195" y="561"/>
                    <a:pt x="1194" y="561"/>
                  </a:cubicBezTo>
                  <a:moveTo>
                    <a:pt x="1198" y="561"/>
                  </a:moveTo>
                  <a:cubicBezTo>
                    <a:pt x="1198" y="561"/>
                    <a:pt x="1197" y="562"/>
                    <a:pt x="1197" y="562"/>
                  </a:cubicBezTo>
                  <a:cubicBezTo>
                    <a:pt x="1199" y="562"/>
                    <a:pt x="1201" y="563"/>
                    <a:pt x="1203" y="563"/>
                  </a:cubicBezTo>
                  <a:cubicBezTo>
                    <a:pt x="1203" y="562"/>
                    <a:pt x="1204" y="562"/>
                    <a:pt x="1204" y="562"/>
                  </a:cubicBezTo>
                  <a:cubicBezTo>
                    <a:pt x="1202" y="562"/>
                    <a:pt x="1200" y="561"/>
                    <a:pt x="1198" y="561"/>
                  </a:cubicBezTo>
                  <a:moveTo>
                    <a:pt x="1206" y="562"/>
                  </a:moveTo>
                  <a:cubicBezTo>
                    <a:pt x="1205" y="562"/>
                    <a:pt x="1205" y="563"/>
                    <a:pt x="1204" y="563"/>
                  </a:cubicBezTo>
                  <a:cubicBezTo>
                    <a:pt x="1208" y="563"/>
                    <a:pt x="1211" y="564"/>
                    <a:pt x="1215" y="564"/>
                  </a:cubicBezTo>
                  <a:cubicBezTo>
                    <a:pt x="1216" y="564"/>
                    <a:pt x="1216" y="564"/>
                    <a:pt x="1217" y="564"/>
                  </a:cubicBezTo>
                  <a:cubicBezTo>
                    <a:pt x="1213" y="563"/>
                    <a:pt x="1209" y="563"/>
                    <a:pt x="1206" y="562"/>
                  </a:cubicBezTo>
                  <a:moveTo>
                    <a:pt x="1218" y="564"/>
                  </a:moveTo>
                  <a:cubicBezTo>
                    <a:pt x="1218" y="564"/>
                    <a:pt x="1217" y="564"/>
                    <a:pt x="1217" y="565"/>
                  </a:cubicBezTo>
                  <a:cubicBezTo>
                    <a:pt x="1217" y="565"/>
                    <a:pt x="1217" y="565"/>
                    <a:pt x="1218" y="565"/>
                  </a:cubicBezTo>
                  <a:cubicBezTo>
                    <a:pt x="1218" y="564"/>
                    <a:pt x="1218" y="564"/>
                    <a:pt x="1219" y="564"/>
                  </a:cubicBezTo>
                  <a:cubicBezTo>
                    <a:pt x="1219" y="564"/>
                    <a:pt x="1219" y="564"/>
                    <a:pt x="1218" y="564"/>
                  </a:cubicBezTo>
                  <a:moveTo>
                    <a:pt x="1220" y="564"/>
                  </a:moveTo>
                  <a:cubicBezTo>
                    <a:pt x="1220" y="564"/>
                    <a:pt x="1219" y="565"/>
                    <a:pt x="1219" y="565"/>
                  </a:cubicBezTo>
                  <a:cubicBezTo>
                    <a:pt x="1221" y="565"/>
                    <a:pt x="1223" y="565"/>
                    <a:pt x="1225" y="566"/>
                  </a:cubicBezTo>
                  <a:cubicBezTo>
                    <a:pt x="1225" y="566"/>
                    <a:pt x="1225" y="566"/>
                    <a:pt x="1226" y="566"/>
                  </a:cubicBezTo>
                  <a:cubicBezTo>
                    <a:pt x="1225" y="565"/>
                    <a:pt x="1224" y="565"/>
                    <a:pt x="1223" y="564"/>
                  </a:cubicBezTo>
                  <a:cubicBezTo>
                    <a:pt x="1222" y="564"/>
                    <a:pt x="1221" y="564"/>
                    <a:pt x="1220" y="564"/>
                  </a:cubicBezTo>
                  <a:moveTo>
                    <a:pt x="1226" y="565"/>
                  </a:moveTo>
                  <a:cubicBezTo>
                    <a:pt x="1226" y="565"/>
                    <a:pt x="1226" y="565"/>
                    <a:pt x="1227" y="565"/>
                  </a:cubicBezTo>
                  <a:cubicBezTo>
                    <a:pt x="1227" y="565"/>
                    <a:pt x="1227" y="565"/>
                    <a:pt x="1227" y="565"/>
                  </a:cubicBezTo>
                  <a:cubicBezTo>
                    <a:pt x="1227" y="565"/>
                    <a:pt x="1226" y="565"/>
                    <a:pt x="1226" y="565"/>
                  </a:cubicBezTo>
                  <a:moveTo>
                    <a:pt x="1229" y="565"/>
                  </a:moveTo>
                  <a:cubicBezTo>
                    <a:pt x="1228" y="565"/>
                    <a:pt x="1228" y="565"/>
                    <a:pt x="1228" y="566"/>
                  </a:cubicBezTo>
                  <a:cubicBezTo>
                    <a:pt x="1228" y="566"/>
                    <a:pt x="1228" y="566"/>
                    <a:pt x="1229" y="566"/>
                  </a:cubicBezTo>
                  <a:cubicBezTo>
                    <a:pt x="1231" y="566"/>
                    <a:pt x="1233" y="567"/>
                    <a:pt x="1235" y="567"/>
                  </a:cubicBezTo>
                  <a:cubicBezTo>
                    <a:pt x="1235" y="567"/>
                    <a:pt x="1236" y="566"/>
                    <a:pt x="1236" y="566"/>
                  </a:cubicBezTo>
                  <a:cubicBezTo>
                    <a:pt x="1234" y="566"/>
                    <a:pt x="1231" y="565"/>
                    <a:pt x="1229" y="565"/>
                  </a:cubicBezTo>
                  <a:moveTo>
                    <a:pt x="1238" y="566"/>
                  </a:moveTo>
                  <a:cubicBezTo>
                    <a:pt x="1238" y="566"/>
                    <a:pt x="1237" y="567"/>
                    <a:pt x="1237" y="567"/>
                  </a:cubicBezTo>
                  <a:cubicBezTo>
                    <a:pt x="1238" y="567"/>
                    <a:pt x="1240" y="567"/>
                    <a:pt x="1242" y="568"/>
                  </a:cubicBezTo>
                  <a:cubicBezTo>
                    <a:pt x="1242" y="567"/>
                    <a:pt x="1243" y="567"/>
                    <a:pt x="1243" y="567"/>
                  </a:cubicBezTo>
                  <a:cubicBezTo>
                    <a:pt x="1241" y="567"/>
                    <a:pt x="1240" y="566"/>
                    <a:pt x="1238" y="566"/>
                  </a:cubicBezTo>
                  <a:moveTo>
                    <a:pt x="1245" y="567"/>
                  </a:moveTo>
                  <a:cubicBezTo>
                    <a:pt x="1244" y="567"/>
                    <a:pt x="1244" y="568"/>
                    <a:pt x="1243" y="568"/>
                  </a:cubicBezTo>
                  <a:cubicBezTo>
                    <a:pt x="1243" y="568"/>
                    <a:pt x="1244" y="568"/>
                    <a:pt x="1244" y="568"/>
                  </a:cubicBezTo>
                  <a:cubicBezTo>
                    <a:pt x="1244" y="568"/>
                    <a:pt x="1245" y="567"/>
                    <a:pt x="1245" y="567"/>
                  </a:cubicBezTo>
                  <a:cubicBezTo>
                    <a:pt x="1245" y="567"/>
                    <a:pt x="1245" y="567"/>
                    <a:pt x="1245" y="567"/>
                  </a:cubicBezTo>
                  <a:moveTo>
                    <a:pt x="1720" y="567"/>
                  </a:moveTo>
                  <a:cubicBezTo>
                    <a:pt x="1720" y="567"/>
                    <a:pt x="1720" y="568"/>
                    <a:pt x="1719" y="568"/>
                  </a:cubicBezTo>
                  <a:cubicBezTo>
                    <a:pt x="1720" y="569"/>
                    <a:pt x="1721" y="570"/>
                    <a:pt x="1722" y="571"/>
                  </a:cubicBezTo>
                  <a:cubicBezTo>
                    <a:pt x="1725" y="573"/>
                    <a:pt x="1727" y="576"/>
                    <a:pt x="1730" y="578"/>
                  </a:cubicBezTo>
                  <a:cubicBezTo>
                    <a:pt x="1730" y="578"/>
                    <a:pt x="1730" y="577"/>
                    <a:pt x="1731" y="577"/>
                  </a:cubicBezTo>
                  <a:cubicBezTo>
                    <a:pt x="1728" y="575"/>
                    <a:pt x="1726" y="573"/>
                    <a:pt x="1723" y="570"/>
                  </a:cubicBezTo>
                  <a:cubicBezTo>
                    <a:pt x="1722" y="569"/>
                    <a:pt x="1721" y="568"/>
                    <a:pt x="1720" y="567"/>
                  </a:cubicBezTo>
                  <a:moveTo>
                    <a:pt x="1247" y="567"/>
                  </a:moveTo>
                  <a:cubicBezTo>
                    <a:pt x="1246" y="567"/>
                    <a:pt x="1246" y="568"/>
                    <a:pt x="1245" y="568"/>
                  </a:cubicBezTo>
                  <a:cubicBezTo>
                    <a:pt x="1261" y="570"/>
                    <a:pt x="1276" y="571"/>
                    <a:pt x="1290" y="573"/>
                  </a:cubicBezTo>
                  <a:cubicBezTo>
                    <a:pt x="1289" y="572"/>
                    <a:pt x="1288" y="572"/>
                    <a:pt x="1287" y="571"/>
                  </a:cubicBezTo>
                  <a:cubicBezTo>
                    <a:pt x="1274" y="570"/>
                    <a:pt x="1261" y="569"/>
                    <a:pt x="1247" y="567"/>
                  </a:cubicBezTo>
                  <a:moveTo>
                    <a:pt x="1291" y="572"/>
                  </a:moveTo>
                  <a:cubicBezTo>
                    <a:pt x="1292" y="572"/>
                    <a:pt x="1293" y="572"/>
                    <a:pt x="1294" y="573"/>
                  </a:cubicBezTo>
                  <a:cubicBezTo>
                    <a:pt x="1321" y="575"/>
                    <a:pt x="1345" y="577"/>
                    <a:pt x="1365" y="578"/>
                  </a:cubicBezTo>
                  <a:cubicBezTo>
                    <a:pt x="1379" y="578"/>
                    <a:pt x="1391" y="579"/>
                    <a:pt x="1402" y="579"/>
                  </a:cubicBezTo>
                  <a:cubicBezTo>
                    <a:pt x="1388" y="578"/>
                    <a:pt x="1374" y="577"/>
                    <a:pt x="1360" y="576"/>
                  </a:cubicBezTo>
                  <a:cubicBezTo>
                    <a:pt x="1340" y="575"/>
                    <a:pt x="1317" y="574"/>
                    <a:pt x="1291" y="572"/>
                  </a:cubicBezTo>
                  <a:moveTo>
                    <a:pt x="1731" y="578"/>
                  </a:moveTo>
                  <a:cubicBezTo>
                    <a:pt x="1731" y="578"/>
                    <a:pt x="1731" y="578"/>
                    <a:pt x="1730" y="579"/>
                  </a:cubicBezTo>
                  <a:cubicBezTo>
                    <a:pt x="1735" y="582"/>
                    <a:pt x="1739" y="586"/>
                    <a:pt x="1743" y="590"/>
                  </a:cubicBezTo>
                  <a:cubicBezTo>
                    <a:pt x="1743" y="590"/>
                    <a:pt x="1744" y="589"/>
                    <a:pt x="1744" y="589"/>
                  </a:cubicBezTo>
                  <a:cubicBezTo>
                    <a:pt x="1740" y="586"/>
                    <a:pt x="1736" y="582"/>
                    <a:pt x="1731" y="578"/>
                  </a:cubicBezTo>
                  <a:moveTo>
                    <a:pt x="1430" y="580"/>
                  </a:moveTo>
                  <a:cubicBezTo>
                    <a:pt x="1436" y="581"/>
                    <a:pt x="1441" y="581"/>
                    <a:pt x="1445" y="582"/>
                  </a:cubicBezTo>
                  <a:cubicBezTo>
                    <a:pt x="1448" y="582"/>
                    <a:pt x="1450" y="583"/>
                    <a:pt x="1450" y="584"/>
                  </a:cubicBezTo>
                  <a:cubicBezTo>
                    <a:pt x="1450" y="585"/>
                    <a:pt x="1447" y="587"/>
                    <a:pt x="1440" y="590"/>
                  </a:cubicBezTo>
                  <a:cubicBezTo>
                    <a:pt x="1440" y="590"/>
                    <a:pt x="1441" y="591"/>
                    <a:pt x="1441" y="591"/>
                  </a:cubicBezTo>
                  <a:cubicBezTo>
                    <a:pt x="1447" y="588"/>
                    <a:pt x="1450" y="586"/>
                    <a:pt x="1451" y="584"/>
                  </a:cubicBezTo>
                  <a:cubicBezTo>
                    <a:pt x="1450" y="582"/>
                    <a:pt x="1448" y="581"/>
                    <a:pt x="1445" y="581"/>
                  </a:cubicBezTo>
                  <a:cubicBezTo>
                    <a:pt x="1440" y="580"/>
                    <a:pt x="1435" y="580"/>
                    <a:pt x="1430" y="580"/>
                  </a:cubicBezTo>
                  <a:moveTo>
                    <a:pt x="1745" y="590"/>
                  </a:moveTo>
                  <a:cubicBezTo>
                    <a:pt x="1744" y="590"/>
                    <a:pt x="1744" y="590"/>
                    <a:pt x="1744" y="590"/>
                  </a:cubicBezTo>
                  <a:cubicBezTo>
                    <a:pt x="1750" y="595"/>
                    <a:pt x="1755" y="600"/>
                    <a:pt x="1761" y="604"/>
                  </a:cubicBezTo>
                  <a:cubicBezTo>
                    <a:pt x="1761" y="604"/>
                    <a:pt x="1762" y="604"/>
                    <a:pt x="1763" y="605"/>
                  </a:cubicBezTo>
                  <a:cubicBezTo>
                    <a:pt x="1757" y="600"/>
                    <a:pt x="1751" y="595"/>
                    <a:pt x="1745" y="590"/>
                  </a:cubicBezTo>
                  <a:moveTo>
                    <a:pt x="1439" y="591"/>
                  </a:moveTo>
                  <a:cubicBezTo>
                    <a:pt x="1434" y="593"/>
                    <a:pt x="1429" y="595"/>
                    <a:pt x="1421" y="598"/>
                  </a:cubicBezTo>
                  <a:cubicBezTo>
                    <a:pt x="1418" y="600"/>
                    <a:pt x="1415" y="601"/>
                    <a:pt x="1411" y="603"/>
                  </a:cubicBezTo>
                  <a:cubicBezTo>
                    <a:pt x="1411" y="603"/>
                    <a:pt x="1411" y="603"/>
                    <a:pt x="1410" y="603"/>
                  </a:cubicBezTo>
                  <a:cubicBezTo>
                    <a:pt x="1406" y="605"/>
                    <a:pt x="1402" y="608"/>
                    <a:pt x="1397" y="610"/>
                  </a:cubicBezTo>
                  <a:cubicBezTo>
                    <a:pt x="1398" y="611"/>
                    <a:pt x="1398" y="611"/>
                    <a:pt x="1398" y="611"/>
                  </a:cubicBezTo>
                  <a:cubicBezTo>
                    <a:pt x="1402" y="609"/>
                    <a:pt x="1406" y="607"/>
                    <a:pt x="1409" y="605"/>
                  </a:cubicBezTo>
                  <a:cubicBezTo>
                    <a:pt x="1410" y="605"/>
                    <a:pt x="1410" y="604"/>
                    <a:pt x="1411" y="604"/>
                  </a:cubicBezTo>
                  <a:cubicBezTo>
                    <a:pt x="1415" y="602"/>
                    <a:pt x="1418" y="601"/>
                    <a:pt x="1422" y="599"/>
                  </a:cubicBezTo>
                  <a:cubicBezTo>
                    <a:pt x="1429" y="596"/>
                    <a:pt x="1435" y="593"/>
                    <a:pt x="1440" y="591"/>
                  </a:cubicBezTo>
                  <a:cubicBezTo>
                    <a:pt x="1440" y="591"/>
                    <a:pt x="1439" y="591"/>
                    <a:pt x="1439" y="591"/>
                  </a:cubicBezTo>
                  <a:moveTo>
                    <a:pt x="1762" y="605"/>
                  </a:moveTo>
                  <a:cubicBezTo>
                    <a:pt x="1763" y="606"/>
                    <a:pt x="1763" y="606"/>
                    <a:pt x="1763" y="606"/>
                  </a:cubicBezTo>
                  <a:cubicBezTo>
                    <a:pt x="1764" y="606"/>
                    <a:pt x="1764" y="606"/>
                    <a:pt x="1764" y="606"/>
                  </a:cubicBezTo>
                  <a:cubicBezTo>
                    <a:pt x="1763" y="606"/>
                    <a:pt x="1763" y="606"/>
                    <a:pt x="1762" y="605"/>
                  </a:cubicBezTo>
                  <a:moveTo>
                    <a:pt x="1765" y="606"/>
                  </a:moveTo>
                  <a:cubicBezTo>
                    <a:pt x="1764" y="606"/>
                    <a:pt x="1764" y="607"/>
                    <a:pt x="1764" y="607"/>
                  </a:cubicBezTo>
                  <a:cubicBezTo>
                    <a:pt x="1765" y="608"/>
                    <a:pt x="1766" y="608"/>
                    <a:pt x="1766" y="609"/>
                  </a:cubicBezTo>
                  <a:cubicBezTo>
                    <a:pt x="1767" y="609"/>
                    <a:pt x="1767" y="608"/>
                    <a:pt x="1767" y="608"/>
                  </a:cubicBezTo>
                  <a:cubicBezTo>
                    <a:pt x="1766" y="607"/>
                    <a:pt x="1766" y="607"/>
                    <a:pt x="1765" y="606"/>
                  </a:cubicBezTo>
                  <a:moveTo>
                    <a:pt x="1768" y="609"/>
                  </a:moveTo>
                  <a:cubicBezTo>
                    <a:pt x="1768" y="609"/>
                    <a:pt x="1768" y="609"/>
                    <a:pt x="1767" y="609"/>
                  </a:cubicBezTo>
                  <a:cubicBezTo>
                    <a:pt x="1767" y="609"/>
                    <a:pt x="1768" y="610"/>
                    <a:pt x="1768" y="610"/>
                  </a:cubicBezTo>
                  <a:cubicBezTo>
                    <a:pt x="1768" y="610"/>
                    <a:pt x="1769" y="610"/>
                    <a:pt x="1770" y="610"/>
                  </a:cubicBezTo>
                  <a:cubicBezTo>
                    <a:pt x="1769" y="610"/>
                    <a:pt x="1769" y="609"/>
                    <a:pt x="1768" y="609"/>
                  </a:cubicBezTo>
                  <a:moveTo>
                    <a:pt x="1769" y="611"/>
                  </a:moveTo>
                  <a:cubicBezTo>
                    <a:pt x="1772" y="613"/>
                    <a:pt x="1774" y="614"/>
                    <a:pt x="1776" y="616"/>
                  </a:cubicBezTo>
                  <a:cubicBezTo>
                    <a:pt x="1777" y="616"/>
                    <a:pt x="1777" y="616"/>
                    <a:pt x="1778" y="616"/>
                  </a:cubicBezTo>
                  <a:cubicBezTo>
                    <a:pt x="1776" y="614"/>
                    <a:pt x="1773" y="613"/>
                    <a:pt x="1771" y="611"/>
                  </a:cubicBezTo>
                  <a:cubicBezTo>
                    <a:pt x="1771" y="611"/>
                    <a:pt x="1770" y="611"/>
                    <a:pt x="1769" y="611"/>
                  </a:cubicBezTo>
                  <a:moveTo>
                    <a:pt x="1396" y="611"/>
                  </a:moveTo>
                  <a:cubicBezTo>
                    <a:pt x="1394" y="612"/>
                    <a:pt x="1392" y="613"/>
                    <a:pt x="1391" y="615"/>
                  </a:cubicBezTo>
                  <a:cubicBezTo>
                    <a:pt x="1389" y="616"/>
                    <a:pt x="1387" y="617"/>
                    <a:pt x="1386" y="618"/>
                  </a:cubicBezTo>
                  <a:cubicBezTo>
                    <a:pt x="1383" y="619"/>
                    <a:pt x="1380" y="621"/>
                    <a:pt x="1378" y="623"/>
                  </a:cubicBezTo>
                  <a:cubicBezTo>
                    <a:pt x="1378" y="623"/>
                    <a:pt x="1379" y="623"/>
                    <a:pt x="1379" y="623"/>
                  </a:cubicBezTo>
                  <a:cubicBezTo>
                    <a:pt x="1383" y="621"/>
                    <a:pt x="1387" y="618"/>
                    <a:pt x="1391" y="615"/>
                  </a:cubicBezTo>
                  <a:cubicBezTo>
                    <a:pt x="1393" y="614"/>
                    <a:pt x="1395" y="613"/>
                    <a:pt x="1397" y="612"/>
                  </a:cubicBezTo>
                  <a:cubicBezTo>
                    <a:pt x="1397" y="611"/>
                    <a:pt x="1397" y="611"/>
                    <a:pt x="1396" y="611"/>
                  </a:cubicBezTo>
                  <a:moveTo>
                    <a:pt x="1777" y="617"/>
                  </a:moveTo>
                  <a:cubicBezTo>
                    <a:pt x="1781" y="619"/>
                    <a:pt x="1784" y="621"/>
                    <a:pt x="1787" y="624"/>
                  </a:cubicBezTo>
                  <a:cubicBezTo>
                    <a:pt x="1787" y="624"/>
                    <a:pt x="1788" y="624"/>
                    <a:pt x="1788" y="624"/>
                  </a:cubicBezTo>
                  <a:cubicBezTo>
                    <a:pt x="1786" y="621"/>
                    <a:pt x="1782" y="619"/>
                    <a:pt x="1779" y="617"/>
                  </a:cubicBezTo>
                  <a:cubicBezTo>
                    <a:pt x="1779" y="617"/>
                    <a:pt x="1778" y="617"/>
                    <a:pt x="1777" y="617"/>
                  </a:cubicBezTo>
                  <a:moveTo>
                    <a:pt x="1377" y="624"/>
                  </a:moveTo>
                  <a:cubicBezTo>
                    <a:pt x="1372" y="627"/>
                    <a:pt x="1367" y="631"/>
                    <a:pt x="1362" y="634"/>
                  </a:cubicBezTo>
                  <a:cubicBezTo>
                    <a:pt x="1362" y="634"/>
                    <a:pt x="1363" y="634"/>
                    <a:pt x="1363" y="635"/>
                  </a:cubicBezTo>
                  <a:cubicBezTo>
                    <a:pt x="1368" y="631"/>
                    <a:pt x="1373" y="627"/>
                    <a:pt x="1378" y="624"/>
                  </a:cubicBezTo>
                  <a:cubicBezTo>
                    <a:pt x="1378" y="624"/>
                    <a:pt x="1377" y="624"/>
                    <a:pt x="1377" y="624"/>
                  </a:cubicBezTo>
                  <a:moveTo>
                    <a:pt x="1789" y="625"/>
                  </a:moveTo>
                  <a:cubicBezTo>
                    <a:pt x="1788" y="625"/>
                    <a:pt x="1788" y="625"/>
                    <a:pt x="1788" y="625"/>
                  </a:cubicBezTo>
                  <a:cubicBezTo>
                    <a:pt x="1791" y="626"/>
                    <a:pt x="1793" y="628"/>
                    <a:pt x="1796" y="630"/>
                  </a:cubicBezTo>
                  <a:cubicBezTo>
                    <a:pt x="1796" y="630"/>
                    <a:pt x="1797" y="630"/>
                    <a:pt x="1797" y="630"/>
                  </a:cubicBezTo>
                  <a:cubicBezTo>
                    <a:pt x="1795" y="628"/>
                    <a:pt x="1793" y="626"/>
                    <a:pt x="1790" y="625"/>
                  </a:cubicBezTo>
                  <a:cubicBezTo>
                    <a:pt x="1789" y="625"/>
                    <a:pt x="1789" y="625"/>
                    <a:pt x="1789" y="625"/>
                  </a:cubicBezTo>
                  <a:moveTo>
                    <a:pt x="1799" y="631"/>
                  </a:moveTo>
                  <a:cubicBezTo>
                    <a:pt x="1798" y="631"/>
                    <a:pt x="1797" y="631"/>
                    <a:pt x="1797" y="631"/>
                  </a:cubicBezTo>
                  <a:cubicBezTo>
                    <a:pt x="1797" y="631"/>
                    <a:pt x="1798" y="631"/>
                    <a:pt x="1798" y="632"/>
                  </a:cubicBezTo>
                  <a:cubicBezTo>
                    <a:pt x="1798" y="632"/>
                    <a:pt x="1799" y="631"/>
                    <a:pt x="1799" y="631"/>
                  </a:cubicBezTo>
                  <a:cubicBezTo>
                    <a:pt x="1799" y="631"/>
                    <a:pt x="1799" y="631"/>
                    <a:pt x="1799" y="631"/>
                  </a:cubicBezTo>
                  <a:moveTo>
                    <a:pt x="1800" y="632"/>
                  </a:moveTo>
                  <a:cubicBezTo>
                    <a:pt x="1800" y="632"/>
                    <a:pt x="1799" y="632"/>
                    <a:pt x="1799" y="632"/>
                  </a:cubicBezTo>
                  <a:cubicBezTo>
                    <a:pt x="1801" y="634"/>
                    <a:pt x="1802" y="635"/>
                    <a:pt x="1804" y="636"/>
                  </a:cubicBezTo>
                  <a:cubicBezTo>
                    <a:pt x="1805" y="636"/>
                    <a:pt x="1805" y="636"/>
                    <a:pt x="1806" y="636"/>
                  </a:cubicBezTo>
                  <a:cubicBezTo>
                    <a:pt x="1804" y="635"/>
                    <a:pt x="1802" y="633"/>
                    <a:pt x="1800" y="632"/>
                  </a:cubicBezTo>
                  <a:moveTo>
                    <a:pt x="1361" y="635"/>
                  </a:moveTo>
                  <a:cubicBezTo>
                    <a:pt x="1357" y="638"/>
                    <a:pt x="1353" y="641"/>
                    <a:pt x="1349" y="645"/>
                  </a:cubicBezTo>
                  <a:cubicBezTo>
                    <a:pt x="1349" y="645"/>
                    <a:pt x="1349" y="645"/>
                    <a:pt x="1350" y="645"/>
                  </a:cubicBezTo>
                  <a:cubicBezTo>
                    <a:pt x="1354" y="642"/>
                    <a:pt x="1358" y="638"/>
                    <a:pt x="1362" y="635"/>
                  </a:cubicBezTo>
                  <a:cubicBezTo>
                    <a:pt x="1362" y="635"/>
                    <a:pt x="1361" y="635"/>
                    <a:pt x="1361" y="635"/>
                  </a:cubicBezTo>
                  <a:moveTo>
                    <a:pt x="1807" y="637"/>
                  </a:moveTo>
                  <a:cubicBezTo>
                    <a:pt x="1806" y="637"/>
                    <a:pt x="1806" y="637"/>
                    <a:pt x="1805" y="637"/>
                  </a:cubicBezTo>
                  <a:cubicBezTo>
                    <a:pt x="1808" y="640"/>
                    <a:pt x="1810" y="642"/>
                    <a:pt x="1812" y="644"/>
                  </a:cubicBezTo>
                  <a:cubicBezTo>
                    <a:pt x="1812" y="644"/>
                    <a:pt x="1812" y="644"/>
                    <a:pt x="1813" y="644"/>
                  </a:cubicBezTo>
                  <a:cubicBezTo>
                    <a:pt x="1811" y="642"/>
                    <a:pt x="1809" y="639"/>
                    <a:pt x="1807" y="637"/>
                  </a:cubicBezTo>
                  <a:moveTo>
                    <a:pt x="1814" y="644"/>
                  </a:moveTo>
                  <a:cubicBezTo>
                    <a:pt x="1813" y="644"/>
                    <a:pt x="1813" y="645"/>
                    <a:pt x="1812" y="645"/>
                  </a:cubicBezTo>
                  <a:cubicBezTo>
                    <a:pt x="1814" y="647"/>
                    <a:pt x="1816" y="650"/>
                    <a:pt x="1816" y="652"/>
                  </a:cubicBezTo>
                  <a:cubicBezTo>
                    <a:pt x="1816" y="652"/>
                    <a:pt x="1816" y="652"/>
                    <a:pt x="1817" y="652"/>
                  </a:cubicBezTo>
                  <a:cubicBezTo>
                    <a:pt x="1816" y="649"/>
                    <a:pt x="1815" y="647"/>
                    <a:pt x="1814" y="644"/>
                  </a:cubicBezTo>
                  <a:moveTo>
                    <a:pt x="1348" y="645"/>
                  </a:moveTo>
                  <a:cubicBezTo>
                    <a:pt x="1344" y="648"/>
                    <a:pt x="1340" y="651"/>
                    <a:pt x="1337" y="654"/>
                  </a:cubicBezTo>
                  <a:cubicBezTo>
                    <a:pt x="1337" y="654"/>
                    <a:pt x="1337" y="654"/>
                    <a:pt x="1338" y="655"/>
                  </a:cubicBezTo>
                  <a:cubicBezTo>
                    <a:pt x="1342" y="652"/>
                    <a:pt x="1345" y="649"/>
                    <a:pt x="1349" y="646"/>
                  </a:cubicBezTo>
                  <a:cubicBezTo>
                    <a:pt x="1348" y="646"/>
                    <a:pt x="1348" y="645"/>
                    <a:pt x="1348" y="645"/>
                  </a:cubicBezTo>
                  <a:moveTo>
                    <a:pt x="1817" y="653"/>
                  </a:moveTo>
                  <a:cubicBezTo>
                    <a:pt x="1816" y="653"/>
                    <a:pt x="1816" y="653"/>
                    <a:pt x="1816" y="653"/>
                  </a:cubicBezTo>
                  <a:cubicBezTo>
                    <a:pt x="1815" y="655"/>
                    <a:pt x="1814" y="657"/>
                    <a:pt x="1812" y="660"/>
                  </a:cubicBezTo>
                  <a:cubicBezTo>
                    <a:pt x="1813" y="660"/>
                    <a:pt x="1813" y="660"/>
                    <a:pt x="1813" y="660"/>
                  </a:cubicBezTo>
                  <a:cubicBezTo>
                    <a:pt x="1815" y="657"/>
                    <a:pt x="1816" y="655"/>
                    <a:pt x="1817" y="653"/>
                  </a:cubicBezTo>
                  <a:moveTo>
                    <a:pt x="1336" y="655"/>
                  </a:moveTo>
                  <a:cubicBezTo>
                    <a:pt x="1333" y="658"/>
                    <a:pt x="1329" y="661"/>
                    <a:pt x="1326" y="663"/>
                  </a:cubicBezTo>
                  <a:cubicBezTo>
                    <a:pt x="1326" y="664"/>
                    <a:pt x="1327" y="664"/>
                    <a:pt x="1327" y="664"/>
                  </a:cubicBezTo>
                  <a:cubicBezTo>
                    <a:pt x="1330" y="661"/>
                    <a:pt x="1334" y="658"/>
                    <a:pt x="1337" y="655"/>
                  </a:cubicBezTo>
                  <a:cubicBezTo>
                    <a:pt x="1337" y="655"/>
                    <a:pt x="1336" y="655"/>
                    <a:pt x="1336" y="655"/>
                  </a:cubicBezTo>
                  <a:moveTo>
                    <a:pt x="1811" y="661"/>
                  </a:moveTo>
                  <a:cubicBezTo>
                    <a:pt x="1811" y="661"/>
                    <a:pt x="1810" y="662"/>
                    <a:pt x="1810" y="662"/>
                  </a:cubicBezTo>
                  <a:cubicBezTo>
                    <a:pt x="1810" y="662"/>
                    <a:pt x="1811" y="662"/>
                    <a:pt x="1811" y="662"/>
                  </a:cubicBezTo>
                  <a:cubicBezTo>
                    <a:pt x="1812" y="661"/>
                    <a:pt x="1812" y="661"/>
                    <a:pt x="1812" y="661"/>
                  </a:cubicBezTo>
                  <a:cubicBezTo>
                    <a:pt x="1812" y="661"/>
                    <a:pt x="1812" y="661"/>
                    <a:pt x="1811" y="661"/>
                  </a:cubicBezTo>
                  <a:moveTo>
                    <a:pt x="1810" y="663"/>
                  </a:moveTo>
                  <a:cubicBezTo>
                    <a:pt x="1809" y="663"/>
                    <a:pt x="1809" y="663"/>
                    <a:pt x="1808" y="663"/>
                  </a:cubicBezTo>
                  <a:cubicBezTo>
                    <a:pt x="1804" y="666"/>
                    <a:pt x="1798" y="670"/>
                    <a:pt x="1791" y="673"/>
                  </a:cubicBezTo>
                  <a:cubicBezTo>
                    <a:pt x="1791" y="673"/>
                    <a:pt x="1792" y="674"/>
                    <a:pt x="1792" y="674"/>
                  </a:cubicBezTo>
                  <a:cubicBezTo>
                    <a:pt x="1800" y="670"/>
                    <a:pt x="1806" y="666"/>
                    <a:pt x="1810" y="663"/>
                  </a:cubicBezTo>
                  <a:moveTo>
                    <a:pt x="1325" y="664"/>
                  </a:moveTo>
                  <a:cubicBezTo>
                    <a:pt x="1322" y="667"/>
                    <a:pt x="1319" y="670"/>
                    <a:pt x="1316" y="672"/>
                  </a:cubicBezTo>
                  <a:cubicBezTo>
                    <a:pt x="1316" y="672"/>
                    <a:pt x="1317" y="673"/>
                    <a:pt x="1317" y="673"/>
                  </a:cubicBezTo>
                  <a:cubicBezTo>
                    <a:pt x="1320" y="670"/>
                    <a:pt x="1323" y="667"/>
                    <a:pt x="1326" y="665"/>
                  </a:cubicBezTo>
                  <a:cubicBezTo>
                    <a:pt x="1326" y="664"/>
                    <a:pt x="1326" y="664"/>
                    <a:pt x="1325" y="664"/>
                  </a:cubicBezTo>
                  <a:moveTo>
                    <a:pt x="1315" y="673"/>
                  </a:moveTo>
                  <a:cubicBezTo>
                    <a:pt x="1312" y="676"/>
                    <a:pt x="1310" y="678"/>
                    <a:pt x="1307" y="681"/>
                  </a:cubicBezTo>
                  <a:cubicBezTo>
                    <a:pt x="1307" y="681"/>
                    <a:pt x="1308" y="681"/>
                    <a:pt x="1308" y="681"/>
                  </a:cubicBezTo>
                  <a:cubicBezTo>
                    <a:pt x="1311" y="679"/>
                    <a:pt x="1314" y="676"/>
                    <a:pt x="1316" y="673"/>
                  </a:cubicBezTo>
                  <a:cubicBezTo>
                    <a:pt x="1316" y="673"/>
                    <a:pt x="1316" y="673"/>
                    <a:pt x="1315" y="673"/>
                  </a:cubicBezTo>
                  <a:moveTo>
                    <a:pt x="1789" y="674"/>
                  </a:moveTo>
                  <a:cubicBezTo>
                    <a:pt x="1789" y="674"/>
                    <a:pt x="1788" y="674"/>
                    <a:pt x="1788" y="675"/>
                  </a:cubicBezTo>
                  <a:cubicBezTo>
                    <a:pt x="1788" y="675"/>
                    <a:pt x="1789" y="675"/>
                    <a:pt x="1789" y="675"/>
                  </a:cubicBezTo>
                  <a:cubicBezTo>
                    <a:pt x="1790" y="675"/>
                    <a:pt x="1790" y="675"/>
                    <a:pt x="1791" y="674"/>
                  </a:cubicBezTo>
                  <a:cubicBezTo>
                    <a:pt x="1790" y="674"/>
                    <a:pt x="1790" y="674"/>
                    <a:pt x="1789" y="674"/>
                  </a:cubicBezTo>
                  <a:moveTo>
                    <a:pt x="1786" y="675"/>
                  </a:moveTo>
                  <a:cubicBezTo>
                    <a:pt x="1786" y="676"/>
                    <a:pt x="1785" y="676"/>
                    <a:pt x="1784" y="676"/>
                  </a:cubicBezTo>
                  <a:cubicBezTo>
                    <a:pt x="1785" y="676"/>
                    <a:pt x="1786" y="676"/>
                    <a:pt x="1787" y="676"/>
                  </a:cubicBezTo>
                  <a:cubicBezTo>
                    <a:pt x="1787" y="676"/>
                    <a:pt x="1787" y="675"/>
                    <a:pt x="1786" y="675"/>
                  </a:cubicBezTo>
                  <a:moveTo>
                    <a:pt x="1783" y="678"/>
                  </a:moveTo>
                  <a:cubicBezTo>
                    <a:pt x="1783" y="678"/>
                    <a:pt x="1783" y="678"/>
                    <a:pt x="1782" y="678"/>
                  </a:cubicBezTo>
                  <a:cubicBezTo>
                    <a:pt x="1782" y="678"/>
                    <a:pt x="1783" y="678"/>
                    <a:pt x="1783" y="678"/>
                  </a:cubicBezTo>
                  <a:cubicBezTo>
                    <a:pt x="1783" y="678"/>
                    <a:pt x="1783" y="678"/>
                    <a:pt x="1784" y="678"/>
                  </a:cubicBezTo>
                  <a:cubicBezTo>
                    <a:pt x="1784" y="678"/>
                    <a:pt x="1783" y="678"/>
                    <a:pt x="1783" y="678"/>
                  </a:cubicBezTo>
                  <a:moveTo>
                    <a:pt x="1780" y="678"/>
                  </a:moveTo>
                  <a:cubicBezTo>
                    <a:pt x="1780" y="678"/>
                    <a:pt x="1780" y="678"/>
                    <a:pt x="1779" y="678"/>
                  </a:cubicBezTo>
                  <a:cubicBezTo>
                    <a:pt x="1779" y="679"/>
                    <a:pt x="1778" y="679"/>
                    <a:pt x="1777" y="679"/>
                  </a:cubicBezTo>
                  <a:cubicBezTo>
                    <a:pt x="1778" y="679"/>
                    <a:pt x="1779" y="679"/>
                    <a:pt x="1781" y="679"/>
                  </a:cubicBezTo>
                  <a:cubicBezTo>
                    <a:pt x="1781" y="679"/>
                    <a:pt x="1781" y="679"/>
                    <a:pt x="1781" y="679"/>
                  </a:cubicBezTo>
                  <a:cubicBezTo>
                    <a:pt x="1781" y="679"/>
                    <a:pt x="1781" y="678"/>
                    <a:pt x="1780" y="678"/>
                  </a:cubicBezTo>
                  <a:moveTo>
                    <a:pt x="1306" y="682"/>
                  </a:moveTo>
                  <a:cubicBezTo>
                    <a:pt x="1303" y="684"/>
                    <a:pt x="1301" y="687"/>
                    <a:pt x="1298" y="689"/>
                  </a:cubicBezTo>
                  <a:cubicBezTo>
                    <a:pt x="1299" y="689"/>
                    <a:pt x="1299" y="689"/>
                    <a:pt x="1299" y="690"/>
                  </a:cubicBezTo>
                  <a:cubicBezTo>
                    <a:pt x="1302" y="687"/>
                    <a:pt x="1305" y="685"/>
                    <a:pt x="1307" y="682"/>
                  </a:cubicBezTo>
                  <a:cubicBezTo>
                    <a:pt x="1307" y="682"/>
                    <a:pt x="1306" y="682"/>
                    <a:pt x="1306" y="682"/>
                  </a:cubicBezTo>
                  <a:moveTo>
                    <a:pt x="1774" y="682"/>
                  </a:moveTo>
                  <a:cubicBezTo>
                    <a:pt x="1772" y="682"/>
                    <a:pt x="1771" y="682"/>
                    <a:pt x="1769" y="683"/>
                  </a:cubicBezTo>
                  <a:cubicBezTo>
                    <a:pt x="1769" y="683"/>
                    <a:pt x="1769" y="683"/>
                    <a:pt x="1769" y="683"/>
                  </a:cubicBezTo>
                  <a:cubicBezTo>
                    <a:pt x="1769" y="683"/>
                    <a:pt x="1769" y="683"/>
                    <a:pt x="1768" y="683"/>
                  </a:cubicBezTo>
                  <a:cubicBezTo>
                    <a:pt x="1770" y="683"/>
                    <a:pt x="1772" y="682"/>
                    <a:pt x="1774" y="682"/>
                  </a:cubicBezTo>
                  <a:cubicBezTo>
                    <a:pt x="1774" y="682"/>
                    <a:pt x="1774" y="682"/>
                    <a:pt x="1774" y="682"/>
                  </a:cubicBezTo>
                  <a:moveTo>
                    <a:pt x="1769" y="684"/>
                  </a:moveTo>
                  <a:cubicBezTo>
                    <a:pt x="1767" y="684"/>
                    <a:pt x="1765" y="685"/>
                    <a:pt x="1764" y="685"/>
                  </a:cubicBezTo>
                  <a:cubicBezTo>
                    <a:pt x="1763" y="686"/>
                    <a:pt x="1761" y="686"/>
                    <a:pt x="1760" y="686"/>
                  </a:cubicBezTo>
                  <a:cubicBezTo>
                    <a:pt x="1762" y="686"/>
                    <a:pt x="1764" y="686"/>
                    <a:pt x="1766" y="685"/>
                  </a:cubicBezTo>
                  <a:cubicBezTo>
                    <a:pt x="1767" y="685"/>
                    <a:pt x="1768" y="684"/>
                    <a:pt x="1769" y="684"/>
                  </a:cubicBezTo>
                  <a:moveTo>
                    <a:pt x="1761" y="687"/>
                  </a:moveTo>
                  <a:cubicBezTo>
                    <a:pt x="1759" y="688"/>
                    <a:pt x="1757" y="688"/>
                    <a:pt x="1754" y="689"/>
                  </a:cubicBezTo>
                  <a:cubicBezTo>
                    <a:pt x="1744" y="693"/>
                    <a:pt x="1732" y="697"/>
                    <a:pt x="1719" y="702"/>
                  </a:cubicBezTo>
                  <a:cubicBezTo>
                    <a:pt x="1718" y="703"/>
                    <a:pt x="1718" y="703"/>
                    <a:pt x="1718" y="703"/>
                  </a:cubicBezTo>
                  <a:cubicBezTo>
                    <a:pt x="1704" y="708"/>
                    <a:pt x="1688" y="714"/>
                    <a:pt x="1671" y="720"/>
                  </a:cubicBezTo>
                  <a:cubicBezTo>
                    <a:pt x="1671" y="720"/>
                    <a:pt x="1670" y="720"/>
                    <a:pt x="1670" y="721"/>
                  </a:cubicBezTo>
                  <a:cubicBezTo>
                    <a:pt x="1618" y="740"/>
                    <a:pt x="1550" y="765"/>
                    <a:pt x="1462" y="799"/>
                  </a:cubicBezTo>
                  <a:cubicBezTo>
                    <a:pt x="1365" y="837"/>
                    <a:pt x="1301" y="852"/>
                    <a:pt x="1263" y="852"/>
                  </a:cubicBezTo>
                  <a:cubicBezTo>
                    <a:pt x="1228" y="852"/>
                    <a:pt x="1214" y="840"/>
                    <a:pt x="1214" y="820"/>
                  </a:cubicBezTo>
                  <a:cubicBezTo>
                    <a:pt x="1214" y="805"/>
                    <a:pt x="1222" y="787"/>
                    <a:pt x="1235" y="766"/>
                  </a:cubicBezTo>
                  <a:cubicBezTo>
                    <a:pt x="1235" y="766"/>
                    <a:pt x="1234" y="767"/>
                    <a:pt x="1234" y="767"/>
                  </a:cubicBezTo>
                  <a:cubicBezTo>
                    <a:pt x="1221" y="787"/>
                    <a:pt x="1213" y="805"/>
                    <a:pt x="1213" y="820"/>
                  </a:cubicBezTo>
                  <a:cubicBezTo>
                    <a:pt x="1213" y="840"/>
                    <a:pt x="1228" y="853"/>
                    <a:pt x="1263" y="853"/>
                  </a:cubicBezTo>
                  <a:cubicBezTo>
                    <a:pt x="1302" y="853"/>
                    <a:pt x="1365" y="838"/>
                    <a:pt x="1462" y="800"/>
                  </a:cubicBezTo>
                  <a:cubicBezTo>
                    <a:pt x="1550" y="766"/>
                    <a:pt x="1619" y="741"/>
                    <a:pt x="1671" y="721"/>
                  </a:cubicBezTo>
                  <a:cubicBezTo>
                    <a:pt x="1671" y="721"/>
                    <a:pt x="1671" y="721"/>
                    <a:pt x="1672" y="721"/>
                  </a:cubicBezTo>
                  <a:cubicBezTo>
                    <a:pt x="1689" y="715"/>
                    <a:pt x="1705" y="709"/>
                    <a:pt x="1718" y="704"/>
                  </a:cubicBezTo>
                  <a:cubicBezTo>
                    <a:pt x="1719" y="704"/>
                    <a:pt x="1719" y="703"/>
                    <a:pt x="1719" y="703"/>
                  </a:cubicBezTo>
                  <a:cubicBezTo>
                    <a:pt x="1735" y="697"/>
                    <a:pt x="1749" y="692"/>
                    <a:pt x="1761" y="687"/>
                  </a:cubicBezTo>
                  <a:moveTo>
                    <a:pt x="1297" y="690"/>
                  </a:moveTo>
                  <a:cubicBezTo>
                    <a:pt x="1293" y="695"/>
                    <a:pt x="1289" y="699"/>
                    <a:pt x="1284" y="704"/>
                  </a:cubicBezTo>
                  <a:cubicBezTo>
                    <a:pt x="1285" y="704"/>
                    <a:pt x="1285" y="704"/>
                    <a:pt x="1285" y="704"/>
                  </a:cubicBezTo>
                  <a:cubicBezTo>
                    <a:pt x="1290" y="699"/>
                    <a:pt x="1294" y="695"/>
                    <a:pt x="1299" y="690"/>
                  </a:cubicBezTo>
                  <a:cubicBezTo>
                    <a:pt x="1298" y="690"/>
                    <a:pt x="1298" y="690"/>
                    <a:pt x="1297" y="690"/>
                  </a:cubicBezTo>
                  <a:moveTo>
                    <a:pt x="1283" y="704"/>
                  </a:moveTo>
                  <a:cubicBezTo>
                    <a:pt x="1279" y="709"/>
                    <a:pt x="1274" y="715"/>
                    <a:pt x="1269" y="720"/>
                  </a:cubicBezTo>
                  <a:cubicBezTo>
                    <a:pt x="1270" y="720"/>
                    <a:pt x="1270" y="720"/>
                    <a:pt x="1270" y="720"/>
                  </a:cubicBezTo>
                  <a:cubicBezTo>
                    <a:pt x="1275" y="715"/>
                    <a:pt x="1280" y="710"/>
                    <a:pt x="1285" y="705"/>
                  </a:cubicBezTo>
                  <a:cubicBezTo>
                    <a:pt x="1284" y="705"/>
                    <a:pt x="1284" y="704"/>
                    <a:pt x="1283" y="704"/>
                  </a:cubicBezTo>
                  <a:moveTo>
                    <a:pt x="1269" y="721"/>
                  </a:moveTo>
                  <a:cubicBezTo>
                    <a:pt x="1264" y="725"/>
                    <a:pt x="1261" y="730"/>
                    <a:pt x="1257" y="735"/>
                  </a:cubicBezTo>
                  <a:cubicBezTo>
                    <a:pt x="1257" y="735"/>
                    <a:pt x="1258" y="735"/>
                    <a:pt x="1258" y="735"/>
                  </a:cubicBezTo>
                  <a:cubicBezTo>
                    <a:pt x="1262" y="730"/>
                    <a:pt x="1266" y="726"/>
                    <a:pt x="1270" y="721"/>
                  </a:cubicBezTo>
                  <a:cubicBezTo>
                    <a:pt x="1269" y="721"/>
                    <a:pt x="1269" y="721"/>
                    <a:pt x="1269" y="721"/>
                  </a:cubicBezTo>
                  <a:moveTo>
                    <a:pt x="1256" y="736"/>
                  </a:moveTo>
                  <a:cubicBezTo>
                    <a:pt x="1256" y="736"/>
                    <a:pt x="1256" y="736"/>
                    <a:pt x="1256" y="736"/>
                  </a:cubicBezTo>
                  <a:cubicBezTo>
                    <a:pt x="1256" y="736"/>
                    <a:pt x="1256" y="736"/>
                    <a:pt x="1257" y="736"/>
                  </a:cubicBezTo>
                  <a:cubicBezTo>
                    <a:pt x="1257" y="736"/>
                    <a:pt x="1256" y="736"/>
                    <a:pt x="1256" y="736"/>
                  </a:cubicBezTo>
                  <a:moveTo>
                    <a:pt x="1256" y="737"/>
                  </a:moveTo>
                  <a:cubicBezTo>
                    <a:pt x="1256" y="737"/>
                    <a:pt x="1255" y="737"/>
                    <a:pt x="1255" y="738"/>
                  </a:cubicBezTo>
                  <a:cubicBezTo>
                    <a:pt x="1252" y="741"/>
                    <a:pt x="1249" y="744"/>
                    <a:pt x="1247" y="748"/>
                  </a:cubicBezTo>
                  <a:cubicBezTo>
                    <a:pt x="1247" y="748"/>
                    <a:pt x="1247" y="748"/>
                    <a:pt x="1248" y="748"/>
                  </a:cubicBezTo>
                  <a:cubicBezTo>
                    <a:pt x="1251" y="744"/>
                    <a:pt x="1253" y="741"/>
                    <a:pt x="1256" y="737"/>
                  </a:cubicBezTo>
                  <a:moveTo>
                    <a:pt x="1246" y="749"/>
                  </a:moveTo>
                  <a:cubicBezTo>
                    <a:pt x="1245" y="749"/>
                    <a:pt x="1245" y="750"/>
                    <a:pt x="1244" y="751"/>
                  </a:cubicBezTo>
                  <a:cubicBezTo>
                    <a:pt x="1245" y="751"/>
                    <a:pt x="1245" y="751"/>
                    <a:pt x="1246" y="750"/>
                  </a:cubicBezTo>
                  <a:cubicBezTo>
                    <a:pt x="1246" y="750"/>
                    <a:pt x="1247" y="749"/>
                    <a:pt x="1247" y="749"/>
                  </a:cubicBezTo>
                  <a:cubicBezTo>
                    <a:pt x="1247" y="749"/>
                    <a:pt x="1246" y="749"/>
                    <a:pt x="1246" y="749"/>
                  </a:cubicBezTo>
                  <a:moveTo>
                    <a:pt x="1245" y="752"/>
                  </a:moveTo>
                  <a:cubicBezTo>
                    <a:pt x="1244" y="752"/>
                    <a:pt x="1244" y="752"/>
                    <a:pt x="1243" y="752"/>
                  </a:cubicBezTo>
                  <a:cubicBezTo>
                    <a:pt x="1242" y="754"/>
                    <a:pt x="1241" y="756"/>
                    <a:pt x="1240" y="757"/>
                  </a:cubicBezTo>
                  <a:cubicBezTo>
                    <a:pt x="1240" y="757"/>
                    <a:pt x="1241" y="757"/>
                    <a:pt x="1241" y="757"/>
                  </a:cubicBezTo>
                  <a:cubicBezTo>
                    <a:pt x="1242" y="755"/>
                    <a:pt x="1244" y="754"/>
                    <a:pt x="1245" y="752"/>
                  </a:cubicBezTo>
                  <a:moveTo>
                    <a:pt x="1239" y="758"/>
                  </a:moveTo>
                  <a:cubicBezTo>
                    <a:pt x="1239" y="759"/>
                    <a:pt x="1238" y="759"/>
                    <a:pt x="1238" y="760"/>
                  </a:cubicBezTo>
                  <a:cubicBezTo>
                    <a:pt x="1238" y="760"/>
                    <a:pt x="1239" y="760"/>
                    <a:pt x="1239" y="760"/>
                  </a:cubicBezTo>
                  <a:cubicBezTo>
                    <a:pt x="1240" y="759"/>
                    <a:pt x="1240" y="759"/>
                    <a:pt x="1240" y="758"/>
                  </a:cubicBezTo>
                  <a:cubicBezTo>
                    <a:pt x="1240" y="758"/>
                    <a:pt x="1240" y="758"/>
                    <a:pt x="1239" y="758"/>
                  </a:cubicBezTo>
                  <a:moveTo>
                    <a:pt x="1239" y="761"/>
                  </a:moveTo>
                  <a:cubicBezTo>
                    <a:pt x="1238" y="761"/>
                    <a:pt x="1238" y="761"/>
                    <a:pt x="1237" y="761"/>
                  </a:cubicBezTo>
                  <a:cubicBezTo>
                    <a:pt x="1237" y="762"/>
                    <a:pt x="1236" y="763"/>
                    <a:pt x="1235" y="764"/>
                  </a:cubicBezTo>
                  <a:cubicBezTo>
                    <a:pt x="1236" y="764"/>
                    <a:pt x="1236" y="764"/>
                    <a:pt x="1237" y="764"/>
                  </a:cubicBezTo>
                  <a:cubicBezTo>
                    <a:pt x="1237" y="763"/>
                    <a:pt x="1238" y="762"/>
                    <a:pt x="1239" y="761"/>
                  </a:cubicBezTo>
                  <a:moveTo>
                    <a:pt x="1236" y="765"/>
                  </a:moveTo>
                  <a:cubicBezTo>
                    <a:pt x="1235" y="765"/>
                    <a:pt x="1235" y="765"/>
                    <a:pt x="1235" y="765"/>
                  </a:cubicBezTo>
                  <a:cubicBezTo>
                    <a:pt x="1235" y="765"/>
                    <a:pt x="1234" y="765"/>
                    <a:pt x="1234" y="766"/>
                  </a:cubicBezTo>
                  <a:cubicBezTo>
                    <a:pt x="1235" y="765"/>
                    <a:pt x="1235" y="765"/>
                    <a:pt x="1236" y="765"/>
                  </a:cubicBezTo>
                  <a:cubicBezTo>
                    <a:pt x="1236" y="765"/>
                    <a:pt x="1236" y="765"/>
                    <a:pt x="1236" y="765"/>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37" name="Freeform 66"/>
            <p:cNvSpPr>
              <a:spLocks noEditPoints="1"/>
            </p:cNvSpPr>
            <p:nvPr userDrawn="1"/>
          </p:nvSpPr>
          <p:spPr bwMode="auto">
            <a:xfrm>
              <a:off x="-111" y="4151"/>
              <a:ext cx="3706" cy="1574"/>
            </a:xfrm>
            <a:custGeom>
              <a:avLst/>
              <a:gdLst>
                <a:gd name="T0" fmla="*/ 2147483646 w 1829"/>
                <a:gd name="T1" fmla="*/ 2147483646 h 776"/>
                <a:gd name="T2" fmla="*/ 2147483646 w 1829"/>
                <a:gd name="T3" fmla="*/ 2147483646 h 776"/>
                <a:gd name="T4" fmla="*/ 2147483646 w 1829"/>
                <a:gd name="T5" fmla="*/ 2147483646 h 776"/>
                <a:gd name="T6" fmla="*/ 2147483646 w 1829"/>
                <a:gd name="T7" fmla="*/ 2147483646 h 776"/>
                <a:gd name="T8" fmla="*/ 2147483646 w 1829"/>
                <a:gd name="T9" fmla="*/ 2147483646 h 776"/>
                <a:gd name="T10" fmla="*/ 2147483646 w 1829"/>
                <a:gd name="T11" fmla="*/ 2147483646 h 776"/>
                <a:gd name="T12" fmla="*/ 2147483646 w 1829"/>
                <a:gd name="T13" fmla="*/ 2147483646 h 776"/>
                <a:gd name="T14" fmla="*/ 2147483646 w 1829"/>
                <a:gd name="T15" fmla="*/ 2147483646 h 776"/>
                <a:gd name="T16" fmla="*/ 2147483646 w 1829"/>
                <a:gd name="T17" fmla="*/ 2147483646 h 776"/>
                <a:gd name="T18" fmla="*/ 2147483646 w 1829"/>
                <a:gd name="T19" fmla="*/ 2147483646 h 776"/>
                <a:gd name="T20" fmla="*/ 2147483646 w 1829"/>
                <a:gd name="T21" fmla="*/ 2147483646 h 776"/>
                <a:gd name="T22" fmla="*/ 2147483646 w 1829"/>
                <a:gd name="T23" fmla="*/ 2147483646 h 776"/>
                <a:gd name="T24" fmla="*/ 2147483646 w 1829"/>
                <a:gd name="T25" fmla="*/ 2147483646 h 776"/>
                <a:gd name="T26" fmla="*/ 2147483646 w 1829"/>
                <a:gd name="T27" fmla="*/ 2147483646 h 776"/>
                <a:gd name="T28" fmla="*/ 2147483646 w 1829"/>
                <a:gd name="T29" fmla="*/ 2147483646 h 776"/>
                <a:gd name="T30" fmla="*/ 2147483646 w 1829"/>
                <a:gd name="T31" fmla="*/ 2147483646 h 776"/>
                <a:gd name="T32" fmla="*/ 2147483646 w 1829"/>
                <a:gd name="T33" fmla="*/ 2147483646 h 776"/>
                <a:gd name="T34" fmla="*/ 2147483646 w 1829"/>
                <a:gd name="T35" fmla="*/ 2147483646 h 776"/>
                <a:gd name="T36" fmla="*/ 2147483646 w 1829"/>
                <a:gd name="T37" fmla="*/ 2147483646 h 776"/>
                <a:gd name="T38" fmla="*/ 2147483646 w 1829"/>
                <a:gd name="T39" fmla="*/ 2147483646 h 776"/>
                <a:gd name="T40" fmla="*/ 2147483646 w 1829"/>
                <a:gd name="T41" fmla="*/ 2147483646 h 776"/>
                <a:gd name="T42" fmla="*/ 2147483646 w 1829"/>
                <a:gd name="T43" fmla="*/ 2147483646 h 776"/>
                <a:gd name="T44" fmla="*/ 2147483646 w 1829"/>
                <a:gd name="T45" fmla="*/ 2147483646 h 776"/>
                <a:gd name="T46" fmla="*/ 2147483646 w 1829"/>
                <a:gd name="T47" fmla="*/ 2147483646 h 776"/>
                <a:gd name="T48" fmla="*/ 2147483646 w 1829"/>
                <a:gd name="T49" fmla="*/ 2147483646 h 776"/>
                <a:gd name="T50" fmla="*/ 2147483646 w 1829"/>
                <a:gd name="T51" fmla="*/ 2147483646 h 776"/>
                <a:gd name="T52" fmla="*/ 2147483646 w 1829"/>
                <a:gd name="T53" fmla="*/ 2147483646 h 776"/>
                <a:gd name="T54" fmla="*/ 2147483646 w 1829"/>
                <a:gd name="T55" fmla="*/ 2147483646 h 776"/>
                <a:gd name="T56" fmla="*/ 2147483646 w 1829"/>
                <a:gd name="T57" fmla="*/ 2147483646 h 776"/>
                <a:gd name="T58" fmla="*/ 2147483646 w 1829"/>
                <a:gd name="T59" fmla="*/ 2147483646 h 776"/>
                <a:gd name="T60" fmla="*/ 2147483646 w 1829"/>
                <a:gd name="T61" fmla="*/ 2147483646 h 776"/>
                <a:gd name="T62" fmla="*/ 2147483646 w 1829"/>
                <a:gd name="T63" fmla="*/ 2147483646 h 776"/>
                <a:gd name="T64" fmla="*/ 2147483646 w 1829"/>
                <a:gd name="T65" fmla="*/ 2147483646 h 776"/>
                <a:gd name="T66" fmla="*/ 2147483646 w 1829"/>
                <a:gd name="T67" fmla="*/ 2147483646 h 776"/>
                <a:gd name="T68" fmla="*/ 2147483646 w 1829"/>
                <a:gd name="T69" fmla="*/ 2147483646 h 776"/>
                <a:gd name="T70" fmla="*/ 2147483646 w 1829"/>
                <a:gd name="T71" fmla="*/ 2147483646 h 776"/>
                <a:gd name="T72" fmla="*/ 2147483646 w 1829"/>
                <a:gd name="T73" fmla="*/ 2147483646 h 776"/>
                <a:gd name="T74" fmla="*/ 2147483646 w 1829"/>
                <a:gd name="T75" fmla="*/ 2147483646 h 776"/>
                <a:gd name="T76" fmla="*/ 2147483646 w 1829"/>
                <a:gd name="T77" fmla="*/ 2147483646 h 776"/>
                <a:gd name="T78" fmla="*/ 2147483646 w 1829"/>
                <a:gd name="T79" fmla="*/ 2147483646 h 776"/>
                <a:gd name="T80" fmla="*/ 2147483646 w 1829"/>
                <a:gd name="T81" fmla="*/ 2147483646 h 776"/>
                <a:gd name="T82" fmla="*/ 2147483646 w 1829"/>
                <a:gd name="T83" fmla="*/ 2147483646 h 776"/>
                <a:gd name="T84" fmla="*/ 2147483646 w 1829"/>
                <a:gd name="T85" fmla="*/ 2147483646 h 776"/>
                <a:gd name="T86" fmla="*/ 2147483646 w 1829"/>
                <a:gd name="T87" fmla="*/ 2147483646 h 776"/>
                <a:gd name="T88" fmla="*/ 2147483646 w 1829"/>
                <a:gd name="T89" fmla="*/ 2147483646 h 776"/>
                <a:gd name="T90" fmla="*/ 2147483646 w 1829"/>
                <a:gd name="T91" fmla="*/ 2147483646 h 776"/>
                <a:gd name="T92" fmla="*/ 2147483646 w 1829"/>
                <a:gd name="T93" fmla="*/ 2147483646 h 776"/>
                <a:gd name="T94" fmla="*/ 2147483646 w 1829"/>
                <a:gd name="T95" fmla="*/ 2147483646 h 776"/>
                <a:gd name="T96" fmla="*/ 2147483646 w 1829"/>
                <a:gd name="T97" fmla="*/ 2147483646 h 776"/>
                <a:gd name="T98" fmla="*/ 2147483646 w 1829"/>
                <a:gd name="T99" fmla="*/ 2147483646 h 776"/>
                <a:gd name="T100" fmla="*/ 2147483646 w 1829"/>
                <a:gd name="T101" fmla="*/ 2147483646 h 776"/>
                <a:gd name="T102" fmla="*/ 2147483646 w 1829"/>
                <a:gd name="T103" fmla="*/ 2147483646 h 776"/>
                <a:gd name="T104" fmla="*/ 2147483646 w 1829"/>
                <a:gd name="T105" fmla="*/ 2147483646 h 776"/>
                <a:gd name="T106" fmla="*/ 2147483646 w 1829"/>
                <a:gd name="T107" fmla="*/ 2147483646 h 776"/>
                <a:gd name="T108" fmla="*/ 2147483646 w 1829"/>
                <a:gd name="T109" fmla="*/ 2147483646 h 776"/>
                <a:gd name="T110" fmla="*/ 2147483646 w 1829"/>
                <a:gd name="T111" fmla="*/ 2147483646 h 776"/>
                <a:gd name="T112" fmla="*/ 2147483646 w 1829"/>
                <a:gd name="T113" fmla="*/ 2147483646 h 776"/>
                <a:gd name="T114" fmla="*/ 2147483646 w 1829"/>
                <a:gd name="T115" fmla="*/ 2147483646 h 776"/>
                <a:gd name="T116" fmla="*/ 2147483646 w 1829"/>
                <a:gd name="T117" fmla="*/ 2147483646 h 776"/>
                <a:gd name="T118" fmla="*/ 2147483646 w 1829"/>
                <a:gd name="T119" fmla="*/ 2147483646 h 776"/>
                <a:gd name="T120" fmla="*/ 2147483646 w 1829"/>
                <a:gd name="T121" fmla="*/ 2147483646 h 776"/>
                <a:gd name="T122" fmla="*/ 2147483646 w 1829"/>
                <a:gd name="T123" fmla="*/ 2147483646 h 77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829" h="776">
                  <a:moveTo>
                    <a:pt x="1407" y="0"/>
                  </a:moveTo>
                  <a:cubicBezTo>
                    <a:pt x="1388" y="0"/>
                    <a:pt x="1373" y="2"/>
                    <a:pt x="1361" y="7"/>
                  </a:cubicBezTo>
                  <a:cubicBezTo>
                    <a:pt x="1360" y="7"/>
                    <a:pt x="1359" y="7"/>
                    <a:pt x="1358" y="8"/>
                  </a:cubicBezTo>
                  <a:cubicBezTo>
                    <a:pt x="1352" y="10"/>
                    <a:pt x="1347" y="13"/>
                    <a:pt x="1343" y="17"/>
                  </a:cubicBezTo>
                  <a:cubicBezTo>
                    <a:pt x="1343" y="17"/>
                    <a:pt x="1342" y="18"/>
                    <a:pt x="1342" y="18"/>
                  </a:cubicBezTo>
                  <a:cubicBezTo>
                    <a:pt x="1339" y="21"/>
                    <a:pt x="1337" y="25"/>
                    <a:pt x="1335" y="29"/>
                  </a:cubicBezTo>
                  <a:cubicBezTo>
                    <a:pt x="1335" y="30"/>
                    <a:pt x="1335" y="30"/>
                    <a:pt x="1335" y="30"/>
                  </a:cubicBezTo>
                  <a:cubicBezTo>
                    <a:pt x="1334" y="33"/>
                    <a:pt x="1334" y="36"/>
                    <a:pt x="1334" y="40"/>
                  </a:cubicBezTo>
                  <a:cubicBezTo>
                    <a:pt x="1334" y="48"/>
                    <a:pt x="1337" y="59"/>
                    <a:pt x="1343" y="70"/>
                  </a:cubicBezTo>
                  <a:cubicBezTo>
                    <a:pt x="1383" y="148"/>
                    <a:pt x="1412" y="206"/>
                    <a:pt x="1424" y="250"/>
                  </a:cubicBezTo>
                  <a:cubicBezTo>
                    <a:pt x="1424" y="250"/>
                    <a:pt x="1424" y="249"/>
                    <a:pt x="1424" y="249"/>
                  </a:cubicBezTo>
                  <a:cubicBezTo>
                    <a:pt x="1412" y="205"/>
                    <a:pt x="1384" y="148"/>
                    <a:pt x="1344" y="70"/>
                  </a:cubicBezTo>
                  <a:cubicBezTo>
                    <a:pt x="1338" y="58"/>
                    <a:pt x="1335" y="48"/>
                    <a:pt x="1335" y="40"/>
                  </a:cubicBezTo>
                  <a:cubicBezTo>
                    <a:pt x="1335" y="36"/>
                    <a:pt x="1335" y="33"/>
                    <a:pt x="1336" y="31"/>
                  </a:cubicBezTo>
                  <a:cubicBezTo>
                    <a:pt x="1336" y="30"/>
                    <a:pt x="1336" y="30"/>
                    <a:pt x="1336" y="30"/>
                  </a:cubicBezTo>
                  <a:cubicBezTo>
                    <a:pt x="1338" y="25"/>
                    <a:pt x="1340" y="21"/>
                    <a:pt x="1343" y="18"/>
                  </a:cubicBezTo>
                  <a:cubicBezTo>
                    <a:pt x="1344" y="18"/>
                    <a:pt x="1344" y="17"/>
                    <a:pt x="1344" y="17"/>
                  </a:cubicBezTo>
                  <a:cubicBezTo>
                    <a:pt x="1349" y="13"/>
                    <a:pt x="1354" y="10"/>
                    <a:pt x="1361" y="8"/>
                  </a:cubicBezTo>
                  <a:cubicBezTo>
                    <a:pt x="1362" y="7"/>
                    <a:pt x="1362" y="7"/>
                    <a:pt x="1363" y="7"/>
                  </a:cubicBezTo>
                  <a:cubicBezTo>
                    <a:pt x="1375" y="3"/>
                    <a:pt x="1390" y="1"/>
                    <a:pt x="1407" y="1"/>
                  </a:cubicBezTo>
                  <a:cubicBezTo>
                    <a:pt x="1413" y="1"/>
                    <a:pt x="1419" y="2"/>
                    <a:pt x="1425" y="2"/>
                  </a:cubicBezTo>
                  <a:cubicBezTo>
                    <a:pt x="1429" y="2"/>
                    <a:pt x="1433" y="3"/>
                    <a:pt x="1437" y="3"/>
                  </a:cubicBezTo>
                  <a:cubicBezTo>
                    <a:pt x="1454" y="5"/>
                    <a:pt x="1472" y="7"/>
                    <a:pt x="1490" y="11"/>
                  </a:cubicBezTo>
                  <a:cubicBezTo>
                    <a:pt x="1490" y="11"/>
                    <a:pt x="1490" y="10"/>
                    <a:pt x="1490" y="10"/>
                  </a:cubicBezTo>
                  <a:cubicBezTo>
                    <a:pt x="1467" y="5"/>
                    <a:pt x="1445" y="2"/>
                    <a:pt x="1425" y="1"/>
                  </a:cubicBezTo>
                  <a:cubicBezTo>
                    <a:pt x="1421" y="1"/>
                    <a:pt x="1418" y="1"/>
                    <a:pt x="1414" y="0"/>
                  </a:cubicBezTo>
                  <a:cubicBezTo>
                    <a:pt x="1412" y="0"/>
                    <a:pt x="1409" y="0"/>
                    <a:pt x="1407" y="0"/>
                  </a:cubicBezTo>
                  <a:moveTo>
                    <a:pt x="1491" y="10"/>
                  </a:moveTo>
                  <a:cubicBezTo>
                    <a:pt x="1491" y="10"/>
                    <a:pt x="1491" y="11"/>
                    <a:pt x="1491" y="11"/>
                  </a:cubicBezTo>
                  <a:cubicBezTo>
                    <a:pt x="1491" y="11"/>
                    <a:pt x="1491" y="11"/>
                    <a:pt x="1492" y="10"/>
                  </a:cubicBezTo>
                  <a:cubicBezTo>
                    <a:pt x="1491" y="10"/>
                    <a:pt x="1491" y="10"/>
                    <a:pt x="1491" y="10"/>
                  </a:cubicBezTo>
                  <a:moveTo>
                    <a:pt x="1493" y="11"/>
                  </a:moveTo>
                  <a:cubicBezTo>
                    <a:pt x="1493" y="11"/>
                    <a:pt x="1492" y="11"/>
                    <a:pt x="1492" y="11"/>
                  </a:cubicBezTo>
                  <a:cubicBezTo>
                    <a:pt x="1496" y="12"/>
                    <a:pt x="1499" y="13"/>
                    <a:pt x="1503" y="14"/>
                  </a:cubicBezTo>
                  <a:cubicBezTo>
                    <a:pt x="1503" y="13"/>
                    <a:pt x="1503" y="13"/>
                    <a:pt x="1502" y="13"/>
                  </a:cubicBezTo>
                  <a:cubicBezTo>
                    <a:pt x="1499" y="12"/>
                    <a:pt x="1496" y="11"/>
                    <a:pt x="1493" y="11"/>
                  </a:cubicBezTo>
                  <a:moveTo>
                    <a:pt x="1504" y="13"/>
                  </a:moveTo>
                  <a:cubicBezTo>
                    <a:pt x="1504" y="13"/>
                    <a:pt x="1504" y="14"/>
                    <a:pt x="1504" y="14"/>
                  </a:cubicBezTo>
                  <a:cubicBezTo>
                    <a:pt x="1504" y="14"/>
                    <a:pt x="1504" y="14"/>
                    <a:pt x="1504" y="14"/>
                  </a:cubicBezTo>
                  <a:cubicBezTo>
                    <a:pt x="1505" y="14"/>
                    <a:pt x="1506" y="14"/>
                    <a:pt x="1506" y="13"/>
                  </a:cubicBezTo>
                  <a:cubicBezTo>
                    <a:pt x="1505" y="13"/>
                    <a:pt x="1504" y="13"/>
                    <a:pt x="1504" y="13"/>
                  </a:cubicBezTo>
                  <a:moveTo>
                    <a:pt x="1508" y="14"/>
                  </a:moveTo>
                  <a:cubicBezTo>
                    <a:pt x="1507" y="14"/>
                    <a:pt x="1507" y="14"/>
                    <a:pt x="1506" y="14"/>
                  </a:cubicBezTo>
                  <a:cubicBezTo>
                    <a:pt x="1518" y="17"/>
                    <a:pt x="1529" y="20"/>
                    <a:pt x="1541" y="23"/>
                  </a:cubicBezTo>
                  <a:cubicBezTo>
                    <a:pt x="1542" y="23"/>
                    <a:pt x="1543" y="23"/>
                    <a:pt x="1544" y="23"/>
                  </a:cubicBezTo>
                  <a:cubicBezTo>
                    <a:pt x="1532" y="20"/>
                    <a:pt x="1520" y="16"/>
                    <a:pt x="1508" y="14"/>
                  </a:cubicBezTo>
                  <a:moveTo>
                    <a:pt x="1547" y="24"/>
                  </a:moveTo>
                  <a:cubicBezTo>
                    <a:pt x="1546" y="24"/>
                    <a:pt x="1545" y="24"/>
                    <a:pt x="1544" y="24"/>
                  </a:cubicBezTo>
                  <a:cubicBezTo>
                    <a:pt x="1545" y="24"/>
                    <a:pt x="1545" y="24"/>
                    <a:pt x="1546" y="25"/>
                  </a:cubicBezTo>
                  <a:cubicBezTo>
                    <a:pt x="1546" y="25"/>
                    <a:pt x="1547" y="25"/>
                    <a:pt x="1547" y="25"/>
                  </a:cubicBezTo>
                  <a:cubicBezTo>
                    <a:pt x="1547" y="24"/>
                    <a:pt x="1547" y="24"/>
                    <a:pt x="1547" y="24"/>
                  </a:cubicBezTo>
                  <a:moveTo>
                    <a:pt x="1548" y="24"/>
                  </a:moveTo>
                  <a:cubicBezTo>
                    <a:pt x="1548" y="24"/>
                    <a:pt x="1548" y="25"/>
                    <a:pt x="1548" y="25"/>
                  </a:cubicBezTo>
                  <a:cubicBezTo>
                    <a:pt x="1555" y="26"/>
                    <a:pt x="1561" y="28"/>
                    <a:pt x="1568" y="30"/>
                  </a:cubicBezTo>
                  <a:cubicBezTo>
                    <a:pt x="1561" y="28"/>
                    <a:pt x="1555" y="26"/>
                    <a:pt x="1548" y="24"/>
                  </a:cubicBezTo>
                  <a:moveTo>
                    <a:pt x="69" y="27"/>
                  </a:moveTo>
                  <a:cubicBezTo>
                    <a:pt x="26" y="27"/>
                    <a:pt x="0" y="35"/>
                    <a:pt x="0" y="54"/>
                  </a:cubicBezTo>
                  <a:cubicBezTo>
                    <a:pt x="0" y="84"/>
                    <a:pt x="65" y="138"/>
                    <a:pt x="225" y="228"/>
                  </a:cubicBezTo>
                  <a:cubicBezTo>
                    <a:pt x="553" y="411"/>
                    <a:pt x="826" y="491"/>
                    <a:pt x="1024" y="527"/>
                  </a:cubicBezTo>
                  <a:cubicBezTo>
                    <a:pt x="1024" y="527"/>
                    <a:pt x="1025" y="527"/>
                    <a:pt x="1025" y="527"/>
                  </a:cubicBezTo>
                  <a:cubicBezTo>
                    <a:pt x="1016" y="525"/>
                    <a:pt x="1008" y="523"/>
                    <a:pt x="999" y="522"/>
                  </a:cubicBezTo>
                  <a:cubicBezTo>
                    <a:pt x="803" y="483"/>
                    <a:pt x="539" y="402"/>
                    <a:pt x="225" y="227"/>
                  </a:cubicBezTo>
                  <a:cubicBezTo>
                    <a:pt x="66" y="138"/>
                    <a:pt x="1" y="83"/>
                    <a:pt x="1" y="54"/>
                  </a:cubicBezTo>
                  <a:cubicBezTo>
                    <a:pt x="1" y="45"/>
                    <a:pt x="7" y="39"/>
                    <a:pt x="19" y="35"/>
                  </a:cubicBezTo>
                  <a:cubicBezTo>
                    <a:pt x="30" y="30"/>
                    <a:pt x="47" y="28"/>
                    <a:pt x="68" y="28"/>
                  </a:cubicBezTo>
                  <a:cubicBezTo>
                    <a:pt x="68" y="28"/>
                    <a:pt x="68" y="28"/>
                    <a:pt x="69" y="28"/>
                  </a:cubicBezTo>
                  <a:cubicBezTo>
                    <a:pt x="69" y="28"/>
                    <a:pt x="69" y="28"/>
                    <a:pt x="69" y="28"/>
                  </a:cubicBezTo>
                  <a:cubicBezTo>
                    <a:pt x="254" y="28"/>
                    <a:pt x="769" y="180"/>
                    <a:pt x="1004" y="318"/>
                  </a:cubicBezTo>
                  <a:cubicBezTo>
                    <a:pt x="1004" y="318"/>
                    <a:pt x="1004" y="317"/>
                    <a:pt x="1004" y="317"/>
                  </a:cubicBezTo>
                  <a:cubicBezTo>
                    <a:pt x="769" y="179"/>
                    <a:pt x="254" y="27"/>
                    <a:pt x="69" y="27"/>
                  </a:cubicBezTo>
                  <a:moveTo>
                    <a:pt x="1574" y="33"/>
                  </a:moveTo>
                  <a:cubicBezTo>
                    <a:pt x="1574" y="33"/>
                    <a:pt x="1575" y="33"/>
                    <a:pt x="1575" y="33"/>
                  </a:cubicBezTo>
                  <a:cubicBezTo>
                    <a:pt x="1576" y="33"/>
                    <a:pt x="1576" y="33"/>
                    <a:pt x="1577" y="33"/>
                  </a:cubicBezTo>
                  <a:cubicBezTo>
                    <a:pt x="1576" y="33"/>
                    <a:pt x="1576" y="33"/>
                    <a:pt x="1575" y="33"/>
                  </a:cubicBezTo>
                  <a:cubicBezTo>
                    <a:pt x="1575" y="33"/>
                    <a:pt x="1574" y="33"/>
                    <a:pt x="1574" y="33"/>
                  </a:cubicBezTo>
                  <a:moveTo>
                    <a:pt x="1580" y="35"/>
                  </a:moveTo>
                  <a:cubicBezTo>
                    <a:pt x="1589" y="38"/>
                    <a:pt x="1599" y="41"/>
                    <a:pt x="1608" y="44"/>
                  </a:cubicBezTo>
                  <a:cubicBezTo>
                    <a:pt x="1608" y="44"/>
                    <a:pt x="1608" y="44"/>
                    <a:pt x="1608" y="43"/>
                  </a:cubicBezTo>
                  <a:cubicBezTo>
                    <a:pt x="1603" y="41"/>
                    <a:pt x="1598" y="39"/>
                    <a:pt x="1592" y="38"/>
                  </a:cubicBezTo>
                  <a:cubicBezTo>
                    <a:pt x="1589" y="37"/>
                    <a:pt x="1586" y="36"/>
                    <a:pt x="1583" y="35"/>
                  </a:cubicBezTo>
                  <a:cubicBezTo>
                    <a:pt x="1582" y="35"/>
                    <a:pt x="1581" y="35"/>
                    <a:pt x="1580" y="35"/>
                  </a:cubicBezTo>
                  <a:moveTo>
                    <a:pt x="1609" y="44"/>
                  </a:moveTo>
                  <a:cubicBezTo>
                    <a:pt x="1609" y="44"/>
                    <a:pt x="1609" y="44"/>
                    <a:pt x="1609" y="45"/>
                  </a:cubicBezTo>
                  <a:cubicBezTo>
                    <a:pt x="1627" y="51"/>
                    <a:pt x="1644" y="58"/>
                    <a:pt x="1660" y="65"/>
                  </a:cubicBezTo>
                  <a:cubicBezTo>
                    <a:pt x="1661" y="64"/>
                    <a:pt x="1661" y="64"/>
                    <a:pt x="1661" y="64"/>
                  </a:cubicBezTo>
                  <a:cubicBezTo>
                    <a:pt x="1644" y="56"/>
                    <a:pt x="1627" y="50"/>
                    <a:pt x="1609" y="44"/>
                  </a:cubicBezTo>
                  <a:moveTo>
                    <a:pt x="1662" y="64"/>
                  </a:moveTo>
                  <a:cubicBezTo>
                    <a:pt x="1662" y="64"/>
                    <a:pt x="1661" y="65"/>
                    <a:pt x="1661" y="65"/>
                  </a:cubicBezTo>
                  <a:cubicBezTo>
                    <a:pt x="1664" y="66"/>
                    <a:pt x="1666" y="67"/>
                    <a:pt x="1669" y="68"/>
                  </a:cubicBezTo>
                  <a:cubicBezTo>
                    <a:pt x="1675" y="71"/>
                    <a:pt x="1682" y="74"/>
                    <a:pt x="1688" y="77"/>
                  </a:cubicBezTo>
                  <a:cubicBezTo>
                    <a:pt x="1688" y="77"/>
                    <a:pt x="1689" y="77"/>
                    <a:pt x="1689" y="76"/>
                  </a:cubicBezTo>
                  <a:cubicBezTo>
                    <a:pt x="1680" y="72"/>
                    <a:pt x="1671" y="68"/>
                    <a:pt x="1662" y="64"/>
                  </a:cubicBezTo>
                  <a:moveTo>
                    <a:pt x="1690" y="77"/>
                  </a:moveTo>
                  <a:cubicBezTo>
                    <a:pt x="1690" y="77"/>
                    <a:pt x="1690" y="77"/>
                    <a:pt x="1689" y="78"/>
                  </a:cubicBezTo>
                  <a:cubicBezTo>
                    <a:pt x="1694" y="80"/>
                    <a:pt x="1699" y="82"/>
                    <a:pt x="1704" y="85"/>
                  </a:cubicBezTo>
                  <a:cubicBezTo>
                    <a:pt x="1704" y="84"/>
                    <a:pt x="1704" y="84"/>
                    <a:pt x="1704" y="84"/>
                  </a:cubicBezTo>
                  <a:cubicBezTo>
                    <a:pt x="1700" y="81"/>
                    <a:pt x="1695" y="79"/>
                    <a:pt x="1690" y="77"/>
                  </a:cubicBezTo>
                  <a:moveTo>
                    <a:pt x="1705" y="84"/>
                  </a:moveTo>
                  <a:cubicBezTo>
                    <a:pt x="1705" y="84"/>
                    <a:pt x="1705" y="85"/>
                    <a:pt x="1704" y="85"/>
                  </a:cubicBezTo>
                  <a:cubicBezTo>
                    <a:pt x="1706" y="86"/>
                    <a:pt x="1707" y="86"/>
                    <a:pt x="1708" y="87"/>
                  </a:cubicBezTo>
                  <a:cubicBezTo>
                    <a:pt x="1709" y="87"/>
                    <a:pt x="1709" y="87"/>
                    <a:pt x="1710" y="87"/>
                  </a:cubicBezTo>
                  <a:cubicBezTo>
                    <a:pt x="1708" y="86"/>
                    <a:pt x="1707" y="85"/>
                    <a:pt x="1705" y="84"/>
                  </a:cubicBezTo>
                  <a:moveTo>
                    <a:pt x="1711" y="87"/>
                  </a:moveTo>
                  <a:cubicBezTo>
                    <a:pt x="1711" y="87"/>
                    <a:pt x="1710" y="88"/>
                    <a:pt x="1710" y="88"/>
                  </a:cubicBezTo>
                  <a:cubicBezTo>
                    <a:pt x="1710" y="88"/>
                    <a:pt x="1711" y="88"/>
                    <a:pt x="1711" y="89"/>
                  </a:cubicBezTo>
                  <a:cubicBezTo>
                    <a:pt x="1712" y="88"/>
                    <a:pt x="1712" y="88"/>
                    <a:pt x="1712" y="88"/>
                  </a:cubicBezTo>
                  <a:cubicBezTo>
                    <a:pt x="1712" y="88"/>
                    <a:pt x="1712" y="88"/>
                    <a:pt x="1711" y="87"/>
                  </a:cubicBezTo>
                  <a:moveTo>
                    <a:pt x="1713" y="88"/>
                  </a:moveTo>
                  <a:cubicBezTo>
                    <a:pt x="1713" y="88"/>
                    <a:pt x="1713" y="89"/>
                    <a:pt x="1712" y="89"/>
                  </a:cubicBezTo>
                  <a:cubicBezTo>
                    <a:pt x="1722" y="94"/>
                    <a:pt x="1731" y="99"/>
                    <a:pt x="1739" y="104"/>
                  </a:cubicBezTo>
                  <a:cubicBezTo>
                    <a:pt x="1739" y="104"/>
                    <a:pt x="1740" y="103"/>
                    <a:pt x="1740" y="103"/>
                  </a:cubicBezTo>
                  <a:cubicBezTo>
                    <a:pt x="1731" y="98"/>
                    <a:pt x="1722" y="93"/>
                    <a:pt x="1713" y="88"/>
                  </a:cubicBezTo>
                  <a:moveTo>
                    <a:pt x="1741" y="103"/>
                  </a:moveTo>
                  <a:cubicBezTo>
                    <a:pt x="1740" y="104"/>
                    <a:pt x="1740" y="104"/>
                    <a:pt x="1740" y="104"/>
                  </a:cubicBezTo>
                  <a:cubicBezTo>
                    <a:pt x="1743" y="106"/>
                    <a:pt x="1746" y="108"/>
                    <a:pt x="1749" y="110"/>
                  </a:cubicBezTo>
                  <a:cubicBezTo>
                    <a:pt x="1749" y="109"/>
                    <a:pt x="1749" y="109"/>
                    <a:pt x="1749" y="109"/>
                  </a:cubicBezTo>
                  <a:cubicBezTo>
                    <a:pt x="1746" y="107"/>
                    <a:pt x="1744" y="105"/>
                    <a:pt x="1741" y="103"/>
                  </a:cubicBezTo>
                  <a:moveTo>
                    <a:pt x="1750" y="109"/>
                  </a:moveTo>
                  <a:cubicBezTo>
                    <a:pt x="1750" y="109"/>
                    <a:pt x="1750" y="110"/>
                    <a:pt x="1749" y="110"/>
                  </a:cubicBezTo>
                  <a:cubicBezTo>
                    <a:pt x="1750" y="110"/>
                    <a:pt x="1751" y="110"/>
                    <a:pt x="1751" y="110"/>
                  </a:cubicBezTo>
                  <a:cubicBezTo>
                    <a:pt x="1751" y="110"/>
                    <a:pt x="1750" y="109"/>
                    <a:pt x="1750" y="109"/>
                  </a:cubicBezTo>
                  <a:moveTo>
                    <a:pt x="1753" y="111"/>
                  </a:moveTo>
                  <a:cubicBezTo>
                    <a:pt x="1752" y="111"/>
                    <a:pt x="1751" y="111"/>
                    <a:pt x="1751" y="111"/>
                  </a:cubicBezTo>
                  <a:cubicBezTo>
                    <a:pt x="1751" y="111"/>
                    <a:pt x="1752" y="112"/>
                    <a:pt x="1753" y="112"/>
                  </a:cubicBezTo>
                  <a:cubicBezTo>
                    <a:pt x="1753" y="112"/>
                    <a:pt x="1753" y="111"/>
                    <a:pt x="1753" y="111"/>
                  </a:cubicBezTo>
                  <a:cubicBezTo>
                    <a:pt x="1753" y="111"/>
                    <a:pt x="1753" y="111"/>
                    <a:pt x="1753" y="111"/>
                  </a:cubicBezTo>
                  <a:moveTo>
                    <a:pt x="1754" y="112"/>
                  </a:moveTo>
                  <a:cubicBezTo>
                    <a:pt x="1754" y="112"/>
                    <a:pt x="1754" y="113"/>
                    <a:pt x="1754" y="113"/>
                  </a:cubicBezTo>
                  <a:cubicBezTo>
                    <a:pt x="1759" y="116"/>
                    <a:pt x="1764" y="119"/>
                    <a:pt x="1768" y="122"/>
                  </a:cubicBezTo>
                  <a:cubicBezTo>
                    <a:pt x="1768" y="122"/>
                    <a:pt x="1769" y="122"/>
                    <a:pt x="1769" y="122"/>
                  </a:cubicBezTo>
                  <a:cubicBezTo>
                    <a:pt x="1764" y="118"/>
                    <a:pt x="1759" y="115"/>
                    <a:pt x="1754" y="112"/>
                  </a:cubicBezTo>
                  <a:moveTo>
                    <a:pt x="1770" y="122"/>
                  </a:moveTo>
                  <a:cubicBezTo>
                    <a:pt x="1769" y="122"/>
                    <a:pt x="1769" y="123"/>
                    <a:pt x="1769" y="123"/>
                  </a:cubicBezTo>
                  <a:cubicBezTo>
                    <a:pt x="1772" y="125"/>
                    <a:pt x="1775" y="127"/>
                    <a:pt x="1777" y="129"/>
                  </a:cubicBezTo>
                  <a:cubicBezTo>
                    <a:pt x="1777" y="129"/>
                    <a:pt x="1778" y="128"/>
                    <a:pt x="1778" y="128"/>
                  </a:cubicBezTo>
                  <a:cubicBezTo>
                    <a:pt x="1775" y="126"/>
                    <a:pt x="1772" y="124"/>
                    <a:pt x="1770" y="122"/>
                  </a:cubicBezTo>
                  <a:moveTo>
                    <a:pt x="1779" y="129"/>
                  </a:moveTo>
                  <a:cubicBezTo>
                    <a:pt x="1778" y="129"/>
                    <a:pt x="1778" y="129"/>
                    <a:pt x="1778" y="129"/>
                  </a:cubicBezTo>
                  <a:cubicBezTo>
                    <a:pt x="1783" y="133"/>
                    <a:pt x="1787" y="136"/>
                    <a:pt x="1791" y="140"/>
                  </a:cubicBezTo>
                  <a:cubicBezTo>
                    <a:pt x="1791" y="140"/>
                    <a:pt x="1791" y="139"/>
                    <a:pt x="1792" y="139"/>
                  </a:cubicBezTo>
                  <a:cubicBezTo>
                    <a:pt x="1788" y="136"/>
                    <a:pt x="1783" y="132"/>
                    <a:pt x="1779" y="129"/>
                  </a:cubicBezTo>
                  <a:moveTo>
                    <a:pt x="1792" y="140"/>
                  </a:moveTo>
                  <a:cubicBezTo>
                    <a:pt x="1792" y="140"/>
                    <a:pt x="1792" y="140"/>
                    <a:pt x="1792" y="141"/>
                  </a:cubicBezTo>
                  <a:cubicBezTo>
                    <a:pt x="1796" y="144"/>
                    <a:pt x="1800" y="148"/>
                    <a:pt x="1803" y="152"/>
                  </a:cubicBezTo>
                  <a:cubicBezTo>
                    <a:pt x="1804" y="151"/>
                    <a:pt x="1804" y="151"/>
                    <a:pt x="1804" y="151"/>
                  </a:cubicBezTo>
                  <a:cubicBezTo>
                    <a:pt x="1801" y="147"/>
                    <a:pt x="1797" y="144"/>
                    <a:pt x="1792" y="140"/>
                  </a:cubicBezTo>
                  <a:moveTo>
                    <a:pt x="1805" y="152"/>
                  </a:moveTo>
                  <a:cubicBezTo>
                    <a:pt x="1805" y="152"/>
                    <a:pt x="1804" y="152"/>
                    <a:pt x="1804" y="152"/>
                  </a:cubicBezTo>
                  <a:cubicBezTo>
                    <a:pt x="1805" y="153"/>
                    <a:pt x="1806" y="155"/>
                    <a:pt x="1807" y="156"/>
                  </a:cubicBezTo>
                  <a:cubicBezTo>
                    <a:pt x="1807" y="155"/>
                    <a:pt x="1807" y="155"/>
                    <a:pt x="1807" y="154"/>
                  </a:cubicBezTo>
                  <a:cubicBezTo>
                    <a:pt x="1806" y="153"/>
                    <a:pt x="1806" y="153"/>
                    <a:pt x="1805" y="152"/>
                  </a:cubicBezTo>
                  <a:moveTo>
                    <a:pt x="1808" y="155"/>
                  </a:moveTo>
                  <a:cubicBezTo>
                    <a:pt x="1808" y="156"/>
                    <a:pt x="1808" y="156"/>
                    <a:pt x="1808" y="156"/>
                  </a:cubicBezTo>
                  <a:cubicBezTo>
                    <a:pt x="1808" y="156"/>
                    <a:pt x="1808" y="156"/>
                    <a:pt x="1809" y="156"/>
                  </a:cubicBezTo>
                  <a:cubicBezTo>
                    <a:pt x="1808" y="156"/>
                    <a:pt x="1808" y="156"/>
                    <a:pt x="1808" y="155"/>
                  </a:cubicBezTo>
                  <a:moveTo>
                    <a:pt x="1809" y="157"/>
                  </a:moveTo>
                  <a:cubicBezTo>
                    <a:pt x="1809" y="157"/>
                    <a:pt x="1809" y="157"/>
                    <a:pt x="1809" y="157"/>
                  </a:cubicBezTo>
                  <a:cubicBezTo>
                    <a:pt x="1810" y="159"/>
                    <a:pt x="1812" y="162"/>
                    <a:pt x="1814" y="164"/>
                  </a:cubicBezTo>
                  <a:cubicBezTo>
                    <a:pt x="1814" y="164"/>
                    <a:pt x="1815" y="164"/>
                    <a:pt x="1815" y="164"/>
                  </a:cubicBezTo>
                  <a:cubicBezTo>
                    <a:pt x="1815" y="164"/>
                    <a:pt x="1815" y="164"/>
                    <a:pt x="1815" y="164"/>
                  </a:cubicBezTo>
                  <a:cubicBezTo>
                    <a:pt x="1813" y="161"/>
                    <a:pt x="1811" y="159"/>
                    <a:pt x="1809" y="157"/>
                  </a:cubicBezTo>
                  <a:moveTo>
                    <a:pt x="1816" y="165"/>
                  </a:moveTo>
                  <a:cubicBezTo>
                    <a:pt x="1816" y="165"/>
                    <a:pt x="1815" y="165"/>
                    <a:pt x="1815" y="165"/>
                  </a:cubicBezTo>
                  <a:cubicBezTo>
                    <a:pt x="1815" y="165"/>
                    <a:pt x="1815" y="165"/>
                    <a:pt x="1815" y="165"/>
                  </a:cubicBezTo>
                  <a:cubicBezTo>
                    <a:pt x="1816" y="167"/>
                    <a:pt x="1818" y="169"/>
                    <a:pt x="1819" y="172"/>
                  </a:cubicBezTo>
                  <a:cubicBezTo>
                    <a:pt x="1819" y="171"/>
                    <a:pt x="1820" y="171"/>
                    <a:pt x="1820" y="171"/>
                  </a:cubicBezTo>
                  <a:cubicBezTo>
                    <a:pt x="1819" y="169"/>
                    <a:pt x="1817" y="167"/>
                    <a:pt x="1816" y="165"/>
                  </a:cubicBezTo>
                  <a:moveTo>
                    <a:pt x="1820" y="172"/>
                  </a:moveTo>
                  <a:cubicBezTo>
                    <a:pt x="1820" y="172"/>
                    <a:pt x="1820" y="172"/>
                    <a:pt x="1820" y="172"/>
                  </a:cubicBezTo>
                  <a:cubicBezTo>
                    <a:pt x="1820" y="173"/>
                    <a:pt x="1821" y="174"/>
                    <a:pt x="1821" y="175"/>
                  </a:cubicBezTo>
                  <a:cubicBezTo>
                    <a:pt x="1821" y="175"/>
                    <a:pt x="1821" y="174"/>
                    <a:pt x="1822" y="174"/>
                  </a:cubicBezTo>
                  <a:cubicBezTo>
                    <a:pt x="1821" y="173"/>
                    <a:pt x="1821" y="173"/>
                    <a:pt x="1820" y="172"/>
                  </a:cubicBezTo>
                  <a:moveTo>
                    <a:pt x="1822" y="175"/>
                  </a:moveTo>
                  <a:cubicBezTo>
                    <a:pt x="1822" y="175"/>
                    <a:pt x="1822" y="175"/>
                    <a:pt x="1821" y="176"/>
                  </a:cubicBezTo>
                  <a:cubicBezTo>
                    <a:pt x="1824" y="181"/>
                    <a:pt x="1826" y="186"/>
                    <a:pt x="1827" y="191"/>
                  </a:cubicBezTo>
                  <a:cubicBezTo>
                    <a:pt x="1827" y="191"/>
                    <a:pt x="1828" y="190"/>
                    <a:pt x="1828" y="190"/>
                  </a:cubicBezTo>
                  <a:cubicBezTo>
                    <a:pt x="1827" y="185"/>
                    <a:pt x="1825" y="180"/>
                    <a:pt x="1822" y="175"/>
                  </a:cubicBezTo>
                  <a:moveTo>
                    <a:pt x="1828" y="192"/>
                  </a:moveTo>
                  <a:cubicBezTo>
                    <a:pt x="1828" y="192"/>
                    <a:pt x="1828" y="193"/>
                    <a:pt x="1827" y="193"/>
                  </a:cubicBezTo>
                  <a:cubicBezTo>
                    <a:pt x="1828" y="195"/>
                    <a:pt x="1828" y="197"/>
                    <a:pt x="1828" y="199"/>
                  </a:cubicBezTo>
                  <a:cubicBezTo>
                    <a:pt x="1828" y="200"/>
                    <a:pt x="1828" y="200"/>
                    <a:pt x="1828" y="201"/>
                  </a:cubicBezTo>
                  <a:cubicBezTo>
                    <a:pt x="1828" y="201"/>
                    <a:pt x="1828" y="201"/>
                    <a:pt x="1829" y="200"/>
                  </a:cubicBezTo>
                  <a:cubicBezTo>
                    <a:pt x="1829" y="200"/>
                    <a:pt x="1829" y="199"/>
                    <a:pt x="1829" y="199"/>
                  </a:cubicBezTo>
                  <a:cubicBezTo>
                    <a:pt x="1829" y="196"/>
                    <a:pt x="1829" y="194"/>
                    <a:pt x="1828" y="192"/>
                  </a:cubicBezTo>
                  <a:moveTo>
                    <a:pt x="1829" y="202"/>
                  </a:moveTo>
                  <a:cubicBezTo>
                    <a:pt x="1828" y="202"/>
                    <a:pt x="1828" y="203"/>
                    <a:pt x="1828" y="203"/>
                  </a:cubicBezTo>
                  <a:cubicBezTo>
                    <a:pt x="1828" y="203"/>
                    <a:pt x="1827" y="204"/>
                    <a:pt x="1827" y="204"/>
                  </a:cubicBezTo>
                  <a:cubicBezTo>
                    <a:pt x="1828" y="204"/>
                    <a:pt x="1828" y="204"/>
                    <a:pt x="1828" y="203"/>
                  </a:cubicBezTo>
                  <a:cubicBezTo>
                    <a:pt x="1829" y="203"/>
                    <a:pt x="1829" y="202"/>
                    <a:pt x="1829" y="202"/>
                  </a:cubicBezTo>
                  <a:moveTo>
                    <a:pt x="1828" y="205"/>
                  </a:moveTo>
                  <a:cubicBezTo>
                    <a:pt x="1828" y="206"/>
                    <a:pt x="1827" y="206"/>
                    <a:pt x="1827" y="206"/>
                  </a:cubicBezTo>
                  <a:cubicBezTo>
                    <a:pt x="1827" y="207"/>
                    <a:pt x="1827" y="208"/>
                    <a:pt x="1827" y="208"/>
                  </a:cubicBezTo>
                  <a:cubicBezTo>
                    <a:pt x="1827" y="208"/>
                    <a:pt x="1827" y="208"/>
                    <a:pt x="1828" y="208"/>
                  </a:cubicBezTo>
                  <a:cubicBezTo>
                    <a:pt x="1828" y="207"/>
                    <a:pt x="1828" y="206"/>
                    <a:pt x="1828" y="205"/>
                  </a:cubicBezTo>
                  <a:moveTo>
                    <a:pt x="1827" y="209"/>
                  </a:moveTo>
                  <a:cubicBezTo>
                    <a:pt x="1827" y="209"/>
                    <a:pt x="1827" y="209"/>
                    <a:pt x="1826" y="209"/>
                  </a:cubicBezTo>
                  <a:cubicBezTo>
                    <a:pt x="1826" y="210"/>
                    <a:pt x="1826" y="210"/>
                    <a:pt x="1826" y="211"/>
                  </a:cubicBezTo>
                  <a:cubicBezTo>
                    <a:pt x="1826" y="210"/>
                    <a:pt x="1827" y="210"/>
                    <a:pt x="1827" y="209"/>
                  </a:cubicBezTo>
                  <a:moveTo>
                    <a:pt x="1827" y="211"/>
                  </a:moveTo>
                  <a:cubicBezTo>
                    <a:pt x="1826" y="212"/>
                    <a:pt x="1826" y="212"/>
                    <a:pt x="1825" y="213"/>
                  </a:cubicBezTo>
                  <a:cubicBezTo>
                    <a:pt x="1824" y="216"/>
                    <a:pt x="1822" y="219"/>
                    <a:pt x="1820" y="222"/>
                  </a:cubicBezTo>
                  <a:cubicBezTo>
                    <a:pt x="1821" y="221"/>
                    <a:pt x="1822" y="219"/>
                    <a:pt x="1823" y="218"/>
                  </a:cubicBezTo>
                  <a:cubicBezTo>
                    <a:pt x="1825" y="216"/>
                    <a:pt x="1826" y="214"/>
                    <a:pt x="1827" y="211"/>
                  </a:cubicBezTo>
                  <a:moveTo>
                    <a:pt x="1821" y="223"/>
                  </a:moveTo>
                  <a:cubicBezTo>
                    <a:pt x="1817" y="226"/>
                    <a:pt x="1813" y="230"/>
                    <a:pt x="1809" y="234"/>
                  </a:cubicBezTo>
                  <a:cubicBezTo>
                    <a:pt x="1809" y="234"/>
                    <a:pt x="1809" y="234"/>
                    <a:pt x="1810" y="234"/>
                  </a:cubicBezTo>
                  <a:cubicBezTo>
                    <a:pt x="1814" y="230"/>
                    <a:pt x="1818" y="226"/>
                    <a:pt x="1821" y="223"/>
                  </a:cubicBezTo>
                  <a:moveTo>
                    <a:pt x="1808" y="235"/>
                  </a:moveTo>
                  <a:cubicBezTo>
                    <a:pt x="1807" y="236"/>
                    <a:pt x="1806" y="237"/>
                    <a:pt x="1805" y="238"/>
                  </a:cubicBezTo>
                  <a:cubicBezTo>
                    <a:pt x="1805" y="237"/>
                    <a:pt x="1805" y="237"/>
                    <a:pt x="1806" y="237"/>
                  </a:cubicBezTo>
                  <a:cubicBezTo>
                    <a:pt x="1806" y="236"/>
                    <a:pt x="1807" y="236"/>
                    <a:pt x="1808" y="235"/>
                  </a:cubicBezTo>
                  <a:cubicBezTo>
                    <a:pt x="1808" y="235"/>
                    <a:pt x="1808" y="235"/>
                    <a:pt x="1808" y="235"/>
                  </a:cubicBezTo>
                  <a:moveTo>
                    <a:pt x="1804" y="237"/>
                  </a:moveTo>
                  <a:cubicBezTo>
                    <a:pt x="1803" y="237"/>
                    <a:pt x="1802" y="238"/>
                    <a:pt x="1802" y="238"/>
                  </a:cubicBezTo>
                  <a:cubicBezTo>
                    <a:pt x="1800" y="240"/>
                    <a:pt x="1798" y="241"/>
                    <a:pt x="1796" y="242"/>
                  </a:cubicBezTo>
                  <a:cubicBezTo>
                    <a:pt x="1795" y="242"/>
                    <a:pt x="1795" y="243"/>
                    <a:pt x="1794" y="243"/>
                  </a:cubicBezTo>
                  <a:cubicBezTo>
                    <a:pt x="1794" y="243"/>
                    <a:pt x="1794" y="243"/>
                    <a:pt x="1793" y="244"/>
                  </a:cubicBezTo>
                  <a:cubicBezTo>
                    <a:pt x="1790" y="245"/>
                    <a:pt x="1787" y="247"/>
                    <a:pt x="1783" y="249"/>
                  </a:cubicBezTo>
                  <a:cubicBezTo>
                    <a:pt x="1783" y="250"/>
                    <a:pt x="1782" y="250"/>
                    <a:pt x="1782" y="250"/>
                  </a:cubicBezTo>
                  <a:cubicBezTo>
                    <a:pt x="1782" y="251"/>
                    <a:pt x="1781" y="251"/>
                    <a:pt x="1781" y="252"/>
                  </a:cubicBezTo>
                  <a:cubicBezTo>
                    <a:pt x="1785" y="249"/>
                    <a:pt x="1789" y="247"/>
                    <a:pt x="1794" y="245"/>
                  </a:cubicBezTo>
                  <a:cubicBezTo>
                    <a:pt x="1794" y="244"/>
                    <a:pt x="1794" y="244"/>
                    <a:pt x="1794" y="244"/>
                  </a:cubicBezTo>
                  <a:cubicBezTo>
                    <a:pt x="1795" y="244"/>
                    <a:pt x="1796" y="243"/>
                    <a:pt x="1796" y="243"/>
                  </a:cubicBezTo>
                  <a:cubicBezTo>
                    <a:pt x="1796" y="243"/>
                    <a:pt x="1796" y="243"/>
                    <a:pt x="1796" y="243"/>
                  </a:cubicBezTo>
                  <a:cubicBezTo>
                    <a:pt x="1797" y="243"/>
                    <a:pt x="1798" y="242"/>
                    <a:pt x="1799" y="242"/>
                  </a:cubicBezTo>
                  <a:cubicBezTo>
                    <a:pt x="1800" y="240"/>
                    <a:pt x="1802" y="238"/>
                    <a:pt x="1804" y="237"/>
                  </a:cubicBezTo>
                  <a:moveTo>
                    <a:pt x="1425" y="250"/>
                  </a:moveTo>
                  <a:cubicBezTo>
                    <a:pt x="1424" y="250"/>
                    <a:pt x="1424" y="251"/>
                    <a:pt x="1424" y="251"/>
                  </a:cubicBezTo>
                  <a:cubicBezTo>
                    <a:pt x="1424" y="252"/>
                    <a:pt x="1425" y="254"/>
                    <a:pt x="1425" y="255"/>
                  </a:cubicBezTo>
                  <a:cubicBezTo>
                    <a:pt x="1425" y="255"/>
                    <a:pt x="1426" y="255"/>
                    <a:pt x="1426" y="255"/>
                  </a:cubicBezTo>
                  <a:cubicBezTo>
                    <a:pt x="1425" y="253"/>
                    <a:pt x="1425" y="252"/>
                    <a:pt x="1425" y="250"/>
                  </a:cubicBezTo>
                  <a:moveTo>
                    <a:pt x="1779" y="252"/>
                  </a:moveTo>
                  <a:cubicBezTo>
                    <a:pt x="1779" y="253"/>
                    <a:pt x="1778" y="254"/>
                    <a:pt x="1777" y="254"/>
                  </a:cubicBezTo>
                  <a:cubicBezTo>
                    <a:pt x="1777" y="254"/>
                    <a:pt x="1778" y="254"/>
                    <a:pt x="1778" y="253"/>
                  </a:cubicBezTo>
                  <a:cubicBezTo>
                    <a:pt x="1778" y="253"/>
                    <a:pt x="1779" y="253"/>
                    <a:pt x="1779" y="253"/>
                  </a:cubicBezTo>
                  <a:cubicBezTo>
                    <a:pt x="1779" y="253"/>
                    <a:pt x="1779" y="253"/>
                    <a:pt x="1779" y="252"/>
                  </a:cubicBezTo>
                  <a:moveTo>
                    <a:pt x="1776" y="254"/>
                  </a:moveTo>
                  <a:cubicBezTo>
                    <a:pt x="1772" y="256"/>
                    <a:pt x="1768" y="259"/>
                    <a:pt x="1763" y="261"/>
                  </a:cubicBezTo>
                  <a:cubicBezTo>
                    <a:pt x="1764" y="261"/>
                    <a:pt x="1764" y="261"/>
                    <a:pt x="1764" y="262"/>
                  </a:cubicBezTo>
                  <a:cubicBezTo>
                    <a:pt x="1766" y="261"/>
                    <a:pt x="1767" y="260"/>
                    <a:pt x="1769" y="259"/>
                  </a:cubicBezTo>
                  <a:cubicBezTo>
                    <a:pt x="1771" y="257"/>
                    <a:pt x="1774" y="255"/>
                    <a:pt x="1776" y="254"/>
                  </a:cubicBezTo>
                  <a:moveTo>
                    <a:pt x="1426" y="256"/>
                  </a:moveTo>
                  <a:cubicBezTo>
                    <a:pt x="1426" y="256"/>
                    <a:pt x="1426" y="256"/>
                    <a:pt x="1425" y="256"/>
                  </a:cubicBezTo>
                  <a:cubicBezTo>
                    <a:pt x="1426" y="259"/>
                    <a:pt x="1427" y="262"/>
                    <a:pt x="1427" y="265"/>
                  </a:cubicBezTo>
                  <a:cubicBezTo>
                    <a:pt x="1428" y="265"/>
                    <a:pt x="1428" y="265"/>
                    <a:pt x="1428" y="265"/>
                  </a:cubicBezTo>
                  <a:cubicBezTo>
                    <a:pt x="1428" y="262"/>
                    <a:pt x="1427" y="259"/>
                    <a:pt x="1426" y="256"/>
                  </a:cubicBezTo>
                  <a:moveTo>
                    <a:pt x="1762" y="262"/>
                  </a:moveTo>
                  <a:cubicBezTo>
                    <a:pt x="1761" y="262"/>
                    <a:pt x="1760" y="263"/>
                    <a:pt x="1759" y="264"/>
                  </a:cubicBezTo>
                  <a:cubicBezTo>
                    <a:pt x="1759" y="264"/>
                    <a:pt x="1760" y="264"/>
                    <a:pt x="1760" y="264"/>
                  </a:cubicBezTo>
                  <a:cubicBezTo>
                    <a:pt x="1760" y="264"/>
                    <a:pt x="1760" y="264"/>
                    <a:pt x="1761" y="264"/>
                  </a:cubicBezTo>
                  <a:cubicBezTo>
                    <a:pt x="1762" y="263"/>
                    <a:pt x="1762" y="263"/>
                    <a:pt x="1763" y="262"/>
                  </a:cubicBezTo>
                  <a:cubicBezTo>
                    <a:pt x="1763" y="262"/>
                    <a:pt x="1763" y="262"/>
                    <a:pt x="1762" y="262"/>
                  </a:cubicBezTo>
                  <a:moveTo>
                    <a:pt x="1758" y="264"/>
                  </a:moveTo>
                  <a:cubicBezTo>
                    <a:pt x="1757" y="265"/>
                    <a:pt x="1756" y="266"/>
                    <a:pt x="1755" y="266"/>
                  </a:cubicBezTo>
                  <a:cubicBezTo>
                    <a:pt x="1754" y="267"/>
                    <a:pt x="1753" y="268"/>
                    <a:pt x="1752" y="269"/>
                  </a:cubicBezTo>
                  <a:cubicBezTo>
                    <a:pt x="1752" y="269"/>
                    <a:pt x="1752" y="269"/>
                    <a:pt x="1752" y="269"/>
                  </a:cubicBezTo>
                  <a:cubicBezTo>
                    <a:pt x="1754" y="268"/>
                    <a:pt x="1757" y="266"/>
                    <a:pt x="1759" y="265"/>
                  </a:cubicBezTo>
                  <a:cubicBezTo>
                    <a:pt x="1759" y="265"/>
                    <a:pt x="1758" y="265"/>
                    <a:pt x="1758" y="264"/>
                  </a:cubicBezTo>
                  <a:moveTo>
                    <a:pt x="1427" y="266"/>
                  </a:moveTo>
                  <a:cubicBezTo>
                    <a:pt x="1427" y="267"/>
                    <a:pt x="1428" y="267"/>
                    <a:pt x="1428" y="268"/>
                  </a:cubicBezTo>
                  <a:cubicBezTo>
                    <a:pt x="1428" y="268"/>
                    <a:pt x="1428" y="268"/>
                    <a:pt x="1429" y="267"/>
                  </a:cubicBezTo>
                  <a:cubicBezTo>
                    <a:pt x="1429" y="267"/>
                    <a:pt x="1428" y="267"/>
                    <a:pt x="1428" y="266"/>
                  </a:cubicBezTo>
                  <a:cubicBezTo>
                    <a:pt x="1428" y="266"/>
                    <a:pt x="1428" y="266"/>
                    <a:pt x="1427" y="266"/>
                  </a:cubicBezTo>
                  <a:moveTo>
                    <a:pt x="1429" y="268"/>
                  </a:moveTo>
                  <a:cubicBezTo>
                    <a:pt x="1428" y="269"/>
                    <a:pt x="1428" y="269"/>
                    <a:pt x="1428" y="269"/>
                  </a:cubicBezTo>
                  <a:cubicBezTo>
                    <a:pt x="1428" y="270"/>
                    <a:pt x="1428" y="271"/>
                    <a:pt x="1428" y="272"/>
                  </a:cubicBezTo>
                  <a:cubicBezTo>
                    <a:pt x="1429" y="272"/>
                    <a:pt x="1429" y="272"/>
                    <a:pt x="1429" y="272"/>
                  </a:cubicBezTo>
                  <a:cubicBezTo>
                    <a:pt x="1429" y="271"/>
                    <a:pt x="1429" y="270"/>
                    <a:pt x="1429" y="268"/>
                  </a:cubicBezTo>
                  <a:moveTo>
                    <a:pt x="1751" y="269"/>
                  </a:moveTo>
                  <a:cubicBezTo>
                    <a:pt x="1745" y="272"/>
                    <a:pt x="1739" y="276"/>
                    <a:pt x="1733" y="280"/>
                  </a:cubicBezTo>
                  <a:cubicBezTo>
                    <a:pt x="1728" y="282"/>
                    <a:pt x="1724" y="285"/>
                    <a:pt x="1719" y="288"/>
                  </a:cubicBezTo>
                  <a:cubicBezTo>
                    <a:pt x="1719" y="289"/>
                    <a:pt x="1720" y="289"/>
                    <a:pt x="1720" y="289"/>
                  </a:cubicBezTo>
                  <a:cubicBezTo>
                    <a:pt x="1725" y="286"/>
                    <a:pt x="1729" y="283"/>
                    <a:pt x="1734" y="280"/>
                  </a:cubicBezTo>
                  <a:cubicBezTo>
                    <a:pt x="1738" y="277"/>
                    <a:pt x="1743" y="275"/>
                    <a:pt x="1748" y="272"/>
                  </a:cubicBezTo>
                  <a:cubicBezTo>
                    <a:pt x="1749" y="271"/>
                    <a:pt x="1750" y="270"/>
                    <a:pt x="1751" y="269"/>
                  </a:cubicBezTo>
                  <a:cubicBezTo>
                    <a:pt x="1751" y="269"/>
                    <a:pt x="1751" y="269"/>
                    <a:pt x="1751" y="269"/>
                  </a:cubicBezTo>
                  <a:moveTo>
                    <a:pt x="1428" y="273"/>
                  </a:moveTo>
                  <a:cubicBezTo>
                    <a:pt x="1429" y="274"/>
                    <a:pt x="1429" y="276"/>
                    <a:pt x="1429" y="277"/>
                  </a:cubicBezTo>
                  <a:cubicBezTo>
                    <a:pt x="1429" y="277"/>
                    <a:pt x="1430" y="277"/>
                    <a:pt x="1430" y="277"/>
                  </a:cubicBezTo>
                  <a:cubicBezTo>
                    <a:pt x="1430" y="276"/>
                    <a:pt x="1430" y="274"/>
                    <a:pt x="1429" y="273"/>
                  </a:cubicBezTo>
                  <a:cubicBezTo>
                    <a:pt x="1429" y="273"/>
                    <a:pt x="1429" y="273"/>
                    <a:pt x="1428" y="273"/>
                  </a:cubicBezTo>
                  <a:moveTo>
                    <a:pt x="1430" y="279"/>
                  </a:moveTo>
                  <a:cubicBezTo>
                    <a:pt x="1430" y="279"/>
                    <a:pt x="1430" y="279"/>
                    <a:pt x="1429" y="279"/>
                  </a:cubicBezTo>
                  <a:cubicBezTo>
                    <a:pt x="1429" y="280"/>
                    <a:pt x="1429" y="280"/>
                    <a:pt x="1429" y="281"/>
                  </a:cubicBezTo>
                  <a:cubicBezTo>
                    <a:pt x="1430" y="281"/>
                    <a:pt x="1430" y="281"/>
                    <a:pt x="1430" y="281"/>
                  </a:cubicBezTo>
                  <a:cubicBezTo>
                    <a:pt x="1430" y="280"/>
                    <a:pt x="1430" y="279"/>
                    <a:pt x="1430" y="279"/>
                  </a:cubicBezTo>
                  <a:moveTo>
                    <a:pt x="1430" y="282"/>
                  </a:moveTo>
                  <a:cubicBezTo>
                    <a:pt x="1430" y="282"/>
                    <a:pt x="1430" y="282"/>
                    <a:pt x="1429" y="282"/>
                  </a:cubicBezTo>
                  <a:cubicBezTo>
                    <a:pt x="1429" y="282"/>
                    <a:pt x="1429" y="282"/>
                    <a:pt x="1429" y="282"/>
                  </a:cubicBezTo>
                  <a:cubicBezTo>
                    <a:pt x="1430" y="282"/>
                    <a:pt x="1430" y="282"/>
                    <a:pt x="1430" y="282"/>
                  </a:cubicBezTo>
                  <a:cubicBezTo>
                    <a:pt x="1430" y="282"/>
                    <a:pt x="1430" y="282"/>
                    <a:pt x="1430" y="282"/>
                  </a:cubicBezTo>
                  <a:moveTo>
                    <a:pt x="1431" y="283"/>
                  </a:moveTo>
                  <a:cubicBezTo>
                    <a:pt x="1430" y="283"/>
                    <a:pt x="1430" y="283"/>
                    <a:pt x="1430" y="283"/>
                  </a:cubicBezTo>
                  <a:cubicBezTo>
                    <a:pt x="1430" y="284"/>
                    <a:pt x="1430" y="284"/>
                    <a:pt x="1430" y="285"/>
                  </a:cubicBezTo>
                  <a:cubicBezTo>
                    <a:pt x="1430" y="285"/>
                    <a:pt x="1430" y="285"/>
                    <a:pt x="1431" y="285"/>
                  </a:cubicBezTo>
                  <a:cubicBezTo>
                    <a:pt x="1431" y="284"/>
                    <a:pt x="1431" y="283"/>
                    <a:pt x="1431" y="283"/>
                  </a:cubicBezTo>
                  <a:moveTo>
                    <a:pt x="1431" y="286"/>
                  </a:moveTo>
                  <a:cubicBezTo>
                    <a:pt x="1430" y="286"/>
                    <a:pt x="1430" y="286"/>
                    <a:pt x="1430" y="286"/>
                  </a:cubicBezTo>
                  <a:cubicBezTo>
                    <a:pt x="1430" y="287"/>
                    <a:pt x="1430" y="288"/>
                    <a:pt x="1430" y="290"/>
                  </a:cubicBezTo>
                  <a:cubicBezTo>
                    <a:pt x="1430" y="289"/>
                    <a:pt x="1430" y="289"/>
                    <a:pt x="1431" y="289"/>
                  </a:cubicBezTo>
                  <a:cubicBezTo>
                    <a:pt x="1431" y="288"/>
                    <a:pt x="1431" y="287"/>
                    <a:pt x="1431" y="286"/>
                  </a:cubicBezTo>
                  <a:moveTo>
                    <a:pt x="1718" y="289"/>
                  </a:moveTo>
                  <a:cubicBezTo>
                    <a:pt x="1717" y="290"/>
                    <a:pt x="1716" y="290"/>
                    <a:pt x="1715" y="291"/>
                  </a:cubicBezTo>
                  <a:cubicBezTo>
                    <a:pt x="1715" y="291"/>
                    <a:pt x="1715" y="291"/>
                    <a:pt x="1716" y="292"/>
                  </a:cubicBezTo>
                  <a:cubicBezTo>
                    <a:pt x="1717" y="291"/>
                    <a:pt x="1718" y="290"/>
                    <a:pt x="1719" y="289"/>
                  </a:cubicBezTo>
                  <a:cubicBezTo>
                    <a:pt x="1719" y="289"/>
                    <a:pt x="1718" y="289"/>
                    <a:pt x="1718" y="289"/>
                  </a:cubicBezTo>
                  <a:moveTo>
                    <a:pt x="1431" y="290"/>
                  </a:moveTo>
                  <a:cubicBezTo>
                    <a:pt x="1430" y="290"/>
                    <a:pt x="1430" y="291"/>
                    <a:pt x="1430" y="291"/>
                  </a:cubicBezTo>
                  <a:cubicBezTo>
                    <a:pt x="1430" y="295"/>
                    <a:pt x="1429" y="299"/>
                    <a:pt x="1429" y="304"/>
                  </a:cubicBezTo>
                  <a:cubicBezTo>
                    <a:pt x="1429" y="304"/>
                    <a:pt x="1430" y="304"/>
                    <a:pt x="1430" y="304"/>
                  </a:cubicBezTo>
                  <a:cubicBezTo>
                    <a:pt x="1431" y="299"/>
                    <a:pt x="1431" y="295"/>
                    <a:pt x="1431" y="291"/>
                  </a:cubicBezTo>
                  <a:cubicBezTo>
                    <a:pt x="1431" y="290"/>
                    <a:pt x="1431" y="290"/>
                    <a:pt x="1431" y="290"/>
                  </a:cubicBezTo>
                  <a:moveTo>
                    <a:pt x="1714" y="291"/>
                  </a:moveTo>
                  <a:cubicBezTo>
                    <a:pt x="1713" y="292"/>
                    <a:pt x="1711" y="293"/>
                    <a:pt x="1710" y="294"/>
                  </a:cubicBezTo>
                  <a:cubicBezTo>
                    <a:pt x="1709" y="295"/>
                    <a:pt x="1708" y="296"/>
                    <a:pt x="1707" y="296"/>
                  </a:cubicBezTo>
                  <a:cubicBezTo>
                    <a:pt x="1707" y="297"/>
                    <a:pt x="1707" y="297"/>
                    <a:pt x="1707" y="298"/>
                  </a:cubicBezTo>
                  <a:cubicBezTo>
                    <a:pt x="1709" y="296"/>
                    <a:pt x="1712" y="294"/>
                    <a:pt x="1715" y="292"/>
                  </a:cubicBezTo>
                  <a:cubicBezTo>
                    <a:pt x="1715" y="292"/>
                    <a:pt x="1714" y="292"/>
                    <a:pt x="1714" y="291"/>
                  </a:cubicBezTo>
                  <a:moveTo>
                    <a:pt x="1706" y="297"/>
                  </a:moveTo>
                  <a:cubicBezTo>
                    <a:pt x="1703" y="299"/>
                    <a:pt x="1700" y="301"/>
                    <a:pt x="1697" y="303"/>
                  </a:cubicBezTo>
                  <a:cubicBezTo>
                    <a:pt x="1697" y="303"/>
                    <a:pt x="1697" y="303"/>
                    <a:pt x="1698" y="304"/>
                  </a:cubicBezTo>
                  <a:cubicBezTo>
                    <a:pt x="1700" y="302"/>
                    <a:pt x="1703" y="300"/>
                    <a:pt x="1705" y="298"/>
                  </a:cubicBezTo>
                  <a:cubicBezTo>
                    <a:pt x="1705" y="298"/>
                    <a:pt x="1706" y="297"/>
                    <a:pt x="1706" y="297"/>
                  </a:cubicBezTo>
                  <a:moveTo>
                    <a:pt x="1696" y="303"/>
                  </a:moveTo>
                  <a:cubicBezTo>
                    <a:pt x="1693" y="305"/>
                    <a:pt x="1690" y="307"/>
                    <a:pt x="1687" y="309"/>
                  </a:cubicBezTo>
                  <a:cubicBezTo>
                    <a:pt x="1690" y="308"/>
                    <a:pt x="1692" y="307"/>
                    <a:pt x="1695" y="305"/>
                  </a:cubicBezTo>
                  <a:cubicBezTo>
                    <a:pt x="1695" y="305"/>
                    <a:pt x="1696" y="305"/>
                    <a:pt x="1697" y="304"/>
                  </a:cubicBezTo>
                  <a:cubicBezTo>
                    <a:pt x="1697" y="304"/>
                    <a:pt x="1696" y="304"/>
                    <a:pt x="1696" y="303"/>
                  </a:cubicBezTo>
                  <a:moveTo>
                    <a:pt x="1430" y="304"/>
                  </a:moveTo>
                  <a:cubicBezTo>
                    <a:pt x="1429" y="304"/>
                    <a:pt x="1429" y="304"/>
                    <a:pt x="1429" y="304"/>
                  </a:cubicBezTo>
                  <a:cubicBezTo>
                    <a:pt x="1427" y="315"/>
                    <a:pt x="1424" y="324"/>
                    <a:pt x="1418" y="333"/>
                  </a:cubicBezTo>
                  <a:cubicBezTo>
                    <a:pt x="1419" y="332"/>
                    <a:pt x="1419" y="332"/>
                    <a:pt x="1420" y="332"/>
                  </a:cubicBezTo>
                  <a:cubicBezTo>
                    <a:pt x="1425" y="323"/>
                    <a:pt x="1428" y="314"/>
                    <a:pt x="1430" y="304"/>
                  </a:cubicBezTo>
                  <a:moveTo>
                    <a:pt x="1688" y="310"/>
                  </a:moveTo>
                  <a:cubicBezTo>
                    <a:pt x="1686" y="311"/>
                    <a:pt x="1683" y="312"/>
                    <a:pt x="1681" y="313"/>
                  </a:cubicBezTo>
                  <a:cubicBezTo>
                    <a:pt x="1679" y="315"/>
                    <a:pt x="1677" y="317"/>
                    <a:pt x="1674" y="318"/>
                  </a:cubicBezTo>
                  <a:cubicBezTo>
                    <a:pt x="1675" y="319"/>
                    <a:pt x="1675" y="319"/>
                    <a:pt x="1675" y="319"/>
                  </a:cubicBezTo>
                  <a:cubicBezTo>
                    <a:pt x="1679" y="316"/>
                    <a:pt x="1683" y="313"/>
                    <a:pt x="1688" y="310"/>
                  </a:cubicBezTo>
                  <a:moveTo>
                    <a:pt x="1005" y="317"/>
                  </a:moveTo>
                  <a:cubicBezTo>
                    <a:pt x="1005" y="318"/>
                    <a:pt x="1005" y="318"/>
                    <a:pt x="1004" y="318"/>
                  </a:cubicBezTo>
                  <a:cubicBezTo>
                    <a:pt x="1005" y="318"/>
                    <a:pt x="1005" y="319"/>
                    <a:pt x="1005" y="319"/>
                  </a:cubicBezTo>
                  <a:cubicBezTo>
                    <a:pt x="1006" y="319"/>
                    <a:pt x="1006" y="318"/>
                    <a:pt x="1006" y="318"/>
                  </a:cubicBezTo>
                  <a:cubicBezTo>
                    <a:pt x="1006" y="318"/>
                    <a:pt x="1005" y="318"/>
                    <a:pt x="1005" y="317"/>
                  </a:cubicBezTo>
                  <a:moveTo>
                    <a:pt x="1007" y="319"/>
                  </a:moveTo>
                  <a:cubicBezTo>
                    <a:pt x="1007" y="319"/>
                    <a:pt x="1006" y="319"/>
                    <a:pt x="1006" y="319"/>
                  </a:cubicBezTo>
                  <a:cubicBezTo>
                    <a:pt x="1007" y="320"/>
                    <a:pt x="1008" y="321"/>
                    <a:pt x="1009" y="321"/>
                  </a:cubicBezTo>
                  <a:cubicBezTo>
                    <a:pt x="1010" y="321"/>
                    <a:pt x="1010" y="321"/>
                    <a:pt x="1010" y="321"/>
                  </a:cubicBezTo>
                  <a:cubicBezTo>
                    <a:pt x="1009" y="320"/>
                    <a:pt x="1008" y="319"/>
                    <a:pt x="1007" y="319"/>
                  </a:cubicBezTo>
                  <a:moveTo>
                    <a:pt x="1673" y="319"/>
                  </a:moveTo>
                  <a:cubicBezTo>
                    <a:pt x="1667" y="324"/>
                    <a:pt x="1661" y="328"/>
                    <a:pt x="1655" y="333"/>
                  </a:cubicBezTo>
                  <a:cubicBezTo>
                    <a:pt x="1657" y="332"/>
                    <a:pt x="1658" y="331"/>
                    <a:pt x="1659" y="331"/>
                  </a:cubicBezTo>
                  <a:cubicBezTo>
                    <a:pt x="1664" y="327"/>
                    <a:pt x="1669" y="323"/>
                    <a:pt x="1674" y="320"/>
                  </a:cubicBezTo>
                  <a:cubicBezTo>
                    <a:pt x="1674" y="320"/>
                    <a:pt x="1674" y="319"/>
                    <a:pt x="1673" y="319"/>
                  </a:cubicBezTo>
                  <a:moveTo>
                    <a:pt x="1011" y="321"/>
                  </a:moveTo>
                  <a:cubicBezTo>
                    <a:pt x="1011" y="322"/>
                    <a:pt x="1011" y="322"/>
                    <a:pt x="1010" y="322"/>
                  </a:cubicBezTo>
                  <a:cubicBezTo>
                    <a:pt x="1012" y="323"/>
                    <a:pt x="1014" y="324"/>
                    <a:pt x="1015" y="325"/>
                  </a:cubicBezTo>
                  <a:cubicBezTo>
                    <a:pt x="1015" y="325"/>
                    <a:pt x="1016" y="324"/>
                    <a:pt x="1016" y="324"/>
                  </a:cubicBezTo>
                  <a:cubicBezTo>
                    <a:pt x="1015" y="323"/>
                    <a:pt x="1013" y="322"/>
                    <a:pt x="1011" y="321"/>
                  </a:cubicBezTo>
                  <a:moveTo>
                    <a:pt x="1017" y="325"/>
                  </a:moveTo>
                  <a:cubicBezTo>
                    <a:pt x="1017" y="325"/>
                    <a:pt x="1016" y="325"/>
                    <a:pt x="1016" y="325"/>
                  </a:cubicBezTo>
                  <a:cubicBezTo>
                    <a:pt x="1018" y="326"/>
                    <a:pt x="1019" y="327"/>
                    <a:pt x="1021" y="328"/>
                  </a:cubicBezTo>
                  <a:cubicBezTo>
                    <a:pt x="1021" y="328"/>
                    <a:pt x="1022" y="328"/>
                    <a:pt x="1022" y="328"/>
                  </a:cubicBezTo>
                  <a:cubicBezTo>
                    <a:pt x="1021" y="327"/>
                    <a:pt x="1019" y="326"/>
                    <a:pt x="1017" y="325"/>
                  </a:cubicBezTo>
                  <a:moveTo>
                    <a:pt x="1023" y="329"/>
                  </a:moveTo>
                  <a:cubicBezTo>
                    <a:pt x="1023" y="329"/>
                    <a:pt x="1023" y="329"/>
                    <a:pt x="1022" y="329"/>
                  </a:cubicBezTo>
                  <a:cubicBezTo>
                    <a:pt x="1024" y="330"/>
                    <a:pt x="1025" y="331"/>
                    <a:pt x="1027" y="332"/>
                  </a:cubicBezTo>
                  <a:cubicBezTo>
                    <a:pt x="1027" y="332"/>
                    <a:pt x="1027" y="332"/>
                    <a:pt x="1028" y="331"/>
                  </a:cubicBezTo>
                  <a:cubicBezTo>
                    <a:pt x="1026" y="331"/>
                    <a:pt x="1025" y="330"/>
                    <a:pt x="1023" y="329"/>
                  </a:cubicBezTo>
                  <a:moveTo>
                    <a:pt x="1029" y="332"/>
                  </a:moveTo>
                  <a:cubicBezTo>
                    <a:pt x="1029" y="332"/>
                    <a:pt x="1028" y="332"/>
                    <a:pt x="1028" y="333"/>
                  </a:cubicBezTo>
                  <a:cubicBezTo>
                    <a:pt x="1029" y="333"/>
                    <a:pt x="1029" y="334"/>
                    <a:pt x="1030" y="334"/>
                  </a:cubicBezTo>
                  <a:cubicBezTo>
                    <a:pt x="1031" y="334"/>
                    <a:pt x="1031" y="334"/>
                    <a:pt x="1031" y="334"/>
                  </a:cubicBezTo>
                  <a:cubicBezTo>
                    <a:pt x="1031" y="334"/>
                    <a:pt x="1031" y="334"/>
                    <a:pt x="1031" y="334"/>
                  </a:cubicBezTo>
                  <a:cubicBezTo>
                    <a:pt x="1031" y="334"/>
                    <a:pt x="1031" y="334"/>
                    <a:pt x="1031" y="334"/>
                  </a:cubicBezTo>
                  <a:cubicBezTo>
                    <a:pt x="1031" y="333"/>
                    <a:pt x="1030" y="333"/>
                    <a:pt x="1029" y="332"/>
                  </a:cubicBezTo>
                  <a:moveTo>
                    <a:pt x="1656" y="333"/>
                  </a:moveTo>
                  <a:cubicBezTo>
                    <a:pt x="1655" y="334"/>
                    <a:pt x="1654" y="335"/>
                    <a:pt x="1652" y="335"/>
                  </a:cubicBezTo>
                  <a:cubicBezTo>
                    <a:pt x="1651" y="336"/>
                    <a:pt x="1649" y="338"/>
                    <a:pt x="1648" y="339"/>
                  </a:cubicBezTo>
                  <a:cubicBezTo>
                    <a:pt x="1648" y="339"/>
                    <a:pt x="1648" y="340"/>
                    <a:pt x="1648" y="340"/>
                  </a:cubicBezTo>
                  <a:cubicBezTo>
                    <a:pt x="1651" y="338"/>
                    <a:pt x="1653" y="336"/>
                    <a:pt x="1656" y="333"/>
                  </a:cubicBezTo>
                  <a:moveTo>
                    <a:pt x="1419" y="334"/>
                  </a:moveTo>
                  <a:cubicBezTo>
                    <a:pt x="1418" y="334"/>
                    <a:pt x="1417" y="334"/>
                    <a:pt x="1417" y="335"/>
                  </a:cubicBezTo>
                  <a:cubicBezTo>
                    <a:pt x="1416" y="337"/>
                    <a:pt x="1414" y="338"/>
                    <a:pt x="1413" y="340"/>
                  </a:cubicBezTo>
                  <a:cubicBezTo>
                    <a:pt x="1414" y="340"/>
                    <a:pt x="1414" y="340"/>
                    <a:pt x="1415" y="340"/>
                  </a:cubicBezTo>
                  <a:cubicBezTo>
                    <a:pt x="1416" y="338"/>
                    <a:pt x="1418" y="336"/>
                    <a:pt x="1419" y="334"/>
                  </a:cubicBezTo>
                  <a:moveTo>
                    <a:pt x="1033" y="335"/>
                  </a:moveTo>
                  <a:cubicBezTo>
                    <a:pt x="1032" y="335"/>
                    <a:pt x="1032" y="335"/>
                    <a:pt x="1032" y="335"/>
                  </a:cubicBezTo>
                  <a:cubicBezTo>
                    <a:pt x="1032" y="335"/>
                    <a:pt x="1033" y="336"/>
                    <a:pt x="1033" y="336"/>
                  </a:cubicBezTo>
                  <a:cubicBezTo>
                    <a:pt x="1034" y="336"/>
                    <a:pt x="1034" y="336"/>
                    <a:pt x="1034" y="336"/>
                  </a:cubicBezTo>
                  <a:cubicBezTo>
                    <a:pt x="1034" y="335"/>
                    <a:pt x="1033" y="335"/>
                    <a:pt x="1033" y="335"/>
                  </a:cubicBezTo>
                  <a:moveTo>
                    <a:pt x="1036" y="337"/>
                  </a:moveTo>
                  <a:cubicBezTo>
                    <a:pt x="1035" y="337"/>
                    <a:pt x="1035" y="337"/>
                    <a:pt x="1034" y="337"/>
                  </a:cubicBezTo>
                  <a:cubicBezTo>
                    <a:pt x="1035" y="337"/>
                    <a:pt x="1036" y="338"/>
                    <a:pt x="1036" y="338"/>
                  </a:cubicBezTo>
                  <a:cubicBezTo>
                    <a:pt x="1038" y="339"/>
                    <a:pt x="1041" y="340"/>
                    <a:pt x="1043" y="341"/>
                  </a:cubicBezTo>
                  <a:cubicBezTo>
                    <a:pt x="1040" y="340"/>
                    <a:pt x="1038" y="338"/>
                    <a:pt x="1036" y="337"/>
                  </a:cubicBezTo>
                  <a:moveTo>
                    <a:pt x="1647" y="340"/>
                  </a:moveTo>
                  <a:cubicBezTo>
                    <a:pt x="1644" y="342"/>
                    <a:pt x="1641" y="345"/>
                    <a:pt x="1638" y="348"/>
                  </a:cubicBezTo>
                  <a:cubicBezTo>
                    <a:pt x="1639" y="347"/>
                    <a:pt x="1640" y="347"/>
                    <a:pt x="1641" y="346"/>
                  </a:cubicBezTo>
                  <a:cubicBezTo>
                    <a:pt x="1643" y="344"/>
                    <a:pt x="1645" y="342"/>
                    <a:pt x="1647" y="341"/>
                  </a:cubicBezTo>
                  <a:cubicBezTo>
                    <a:pt x="1647" y="340"/>
                    <a:pt x="1647" y="340"/>
                    <a:pt x="1647" y="340"/>
                  </a:cubicBezTo>
                  <a:moveTo>
                    <a:pt x="1414" y="341"/>
                  </a:moveTo>
                  <a:cubicBezTo>
                    <a:pt x="1413" y="341"/>
                    <a:pt x="1413" y="341"/>
                    <a:pt x="1412" y="341"/>
                  </a:cubicBezTo>
                  <a:cubicBezTo>
                    <a:pt x="1406" y="348"/>
                    <a:pt x="1399" y="355"/>
                    <a:pt x="1389" y="361"/>
                  </a:cubicBezTo>
                  <a:cubicBezTo>
                    <a:pt x="1390" y="361"/>
                    <a:pt x="1390" y="361"/>
                    <a:pt x="1391" y="361"/>
                  </a:cubicBezTo>
                  <a:cubicBezTo>
                    <a:pt x="1400" y="354"/>
                    <a:pt x="1408" y="348"/>
                    <a:pt x="1414" y="341"/>
                  </a:cubicBezTo>
                  <a:moveTo>
                    <a:pt x="1042" y="342"/>
                  </a:moveTo>
                  <a:cubicBezTo>
                    <a:pt x="1044" y="343"/>
                    <a:pt x="1046" y="345"/>
                    <a:pt x="1047" y="346"/>
                  </a:cubicBezTo>
                  <a:cubicBezTo>
                    <a:pt x="1049" y="347"/>
                    <a:pt x="1051" y="348"/>
                    <a:pt x="1053" y="348"/>
                  </a:cubicBezTo>
                  <a:cubicBezTo>
                    <a:pt x="1051" y="347"/>
                    <a:pt x="1050" y="346"/>
                    <a:pt x="1048" y="345"/>
                  </a:cubicBezTo>
                  <a:cubicBezTo>
                    <a:pt x="1046" y="344"/>
                    <a:pt x="1044" y="343"/>
                    <a:pt x="1042" y="342"/>
                  </a:cubicBezTo>
                  <a:moveTo>
                    <a:pt x="1638" y="348"/>
                  </a:moveTo>
                  <a:cubicBezTo>
                    <a:pt x="1637" y="349"/>
                    <a:pt x="1636" y="349"/>
                    <a:pt x="1635" y="350"/>
                  </a:cubicBezTo>
                  <a:cubicBezTo>
                    <a:pt x="1635" y="350"/>
                    <a:pt x="1634" y="350"/>
                    <a:pt x="1634" y="351"/>
                  </a:cubicBezTo>
                  <a:cubicBezTo>
                    <a:pt x="1634" y="351"/>
                    <a:pt x="1635" y="351"/>
                    <a:pt x="1635" y="351"/>
                  </a:cubicBezTo>
                  <a:cubicBezTo>
                    <a:pt x="1635" y="351"/>
                    <a:pt x="1635" y="351"/>
                    <a:pt x="1636" y="351"/>
                  </a:cubicBezTo>
                  <a:cubicBezTo>
                    <a:pt x="1636" y="350"/>
                    <a:pt x="1637" y="349"/>
                    <a:pt x="1638" y="348"/>
                  </a:cubicBezTo>
                  <a:moveTo>
                    <a:pt x="1053" y="349"/>
                  </a:moveTo>
                  <a:cubicBezTo>
                    <a:pt x="1053" y="350"/>
                    <a:pt x="1053" y="350"/>
                    <a:pt x="1054" y="350"/>
                  </a:cubicBezTo>
                  <a:cubicBezTo>
                    <a:pt x="1056" y="352"/>
                    <a:pt x="1057" y="353"/>
                    <a:pt x="1059" y="354"/>
                  </a:cubicBezTo>
                  <a:cubicBezTo>
                    <a:pt x="1060" y="354"/>
                    <a:pt x="1060" y="354"/>
                    <a:pt x="1060" y="354"/>
                  </a:cubicBezTo>
                  <a:cubicBezTo>
                    <a:pt x="1059" y="353"/>
                    <a:pt x="1058" y="353"/>
                    <a:pt x="1058" y="352"/>
                  </a:cubicBezTo>
                  <a:cubicBezTo>
                    <a:pt x="1056" y="351"/>
                    <a:pt x="1054" y="350"/>
                    <a:pt x="1053" y="349"/>
                  </a:cubicBezTo>
                  <a:moveTo>
                    <a:pt x="1633" y="351"/>
                  </a:moveTo>
                  <a:cubicBezTo>
                    <a:pt x="1632" y="352"/>
                    <a:pt x="1631" y="353"/>
                    <a:pt x="1630" y="354"/>
                  </a:cubicBezTo>
                  <a:cubicBezTo>
                    <a:pt x="1629" y="356"/>
                    <a:pt x="1627" y="357"/>
                    <a:pt x="1626" y="358"/>
                  </a:cubicBezTo>
                  <a:cubicBezTo>
                    <a:pt x="1626" y="359"/>
                    <a:pt x="1625" y="359"/>
                    <a:pt x="1625" y="359"/>
                  </a:cubicBezTo>
                  <a:cubicBezTo>
                    <a:pt x="1626" y="359"/>
                    <a:pt x="1627" y="358"/>
                    <a:pt x="1628" y="358"/>
                  </a:cubicBezTo>
                  <a:cubicBezTo>
                    <a:pt x="1629" y="357"/>
                    <a:pt x="1630" y="356"/>
                    <a:pt x="1631" y="355"/>
                  </a:cubicBezTo>
                  <a:cubicBezTo>
                    <a:pt x="1632" y="354"/>
                    <a:pt x="1633" y="353"/>
                    <a:pt x="1634" y="352"/>
                  </a:cubicBezTo>
                  <a:cubicBezTo>
                    <a:pt x="1634" y="352"/>
                    <a:pt x="1634" y="352"/>
                    <a:pt x="1633" y="351"/>
                  </a:cubicBezTo>
                  <a:moveTo>
                    <a:pt x="1061" y="355"/>
                  </a:moveTo>
                  <a:cubicBezTo>
                    <a:pt x="1061" y="355"/>
                    <a:pt x="1060" y="355"/>
                    <a:pt x="1060" y="355"/>
                  </a:cubicBezTo>
                  <a:cubicBezTo>
                    <a:pt x="1061" y="355"/>
                    <a:pt x="1061" y="356"/>
                    <a:pt x="1062" y="356"/>
                  </a:cubicBezTo>
                  <a:cubicBezTo>
                    <a:pt x="1062" y="356"/>
                    <a:pt x="1062" y="356"/>
                    <a:pt x="1063" y="356"/>
                  </a:cubicBezTo>
                  <a:cubicBezTo>
                    <a:pt x="1062" y="355"/>
                    <a:pt x="1062" y="355"/>
                    <a:pt x="1061" y="355"/>
                  </a:cubicBezTo>
                  <a:moveTo>
                    <a:pt x="1064" y="357"/>
                  </a:moveTo>
                  <a:cubicBezTo>
                    <a:pt x="1064" y="357"/>
                    <a:pt x="1063" y="357"/>
                    <a:pt x="1063" y="357"/>
                  </a:cubicBezTo>
                  <a:cubicBezTo>
                    <a:pt x="1063" y="357"/>
                    <a:pt x="1063" y="357"/>
                    <a:pt x="1063" y="357"/>
                  </a:cubicBezTo>
                  <a:cubicBezTo>
                    <a:pt x="1071" y="363"/>
                    <a:pt x="1079" y="370"/>
                    <a:pt x="1085" y="376"/>
                  </a:cubicBezTo>
                  <a:cubicBezTo>
                    <a:pt x="1088" y="379"/>
                    <a:pt x="1091" y="382"/>
                    <a:pt x="1094" y="385"/>
                  </a:cubicBezTo>
                  <a:cubicBezTo>
                    <a:pt x="1095" y="386"/>
                    <a:pt x="1096" y="387"/>
                    <a:pt x="1097" y="388"/>
                  </a:cubicBezTo>
                  <a:cubicBezTo>
                    <a:pt x="1097" y="387"/>
                    <a:pt x="1098" y="387"/>
                    <a:pt x="1098" y="387"/>
                  </a:cubicBezTo>
                  <a:cubicBezTo>
                    <a:pt x="1095" y="383"/>
                    <a:pt x="1091" y="379"/>
                    <a:pt x="1086" y="375"/>
                  </a:cubicBezTo>
                  <a:cubicBezTo>
                    <a:pt x="1083" y="373"/>
                    <a:pt x="1080" y="370"/>
                    <a:pt x="1077" y="367"/>
                  </a:cubicBezTo>
                  <a:cubicBezTo>
                    <a:pt x="1073" y="364"/>
                    <a:pt x="1068" y="360"/>
                    <a:pt x="1064" y="357"/>
                  </a:cubicBezTo>
                  <a:moveTo>
                    <a:pt x="1626" y="360"/>
                  </a:moveTo>
                  <a:cubicBezTo>
                    <a:pt x="1625" y="360"/>
                    <a:pt x="1624" y="361"/>
                    <a:pt x="1623" y="361"/>
                  </a:cubicBezTo>
                  <a:cubicBezTo>
                    <a:pt x="1621" y="364"/>
                    <a:pt x="1618" y="366"/>
                    <a:pt x="1616" y="369"/>
                  </a:cubicBezTo>
                  <a:cubicBezTo>
                    <a:pt x="1617" y="369"/>
                    <a:pt x="1617" y="368"/>
                    <a:pt x="1618" y="368"/>
                  </a:cubicBezTo>
                  <a:cubicBezTo>
                    <a:pt x="1621" y="365"/>
                    <a:pt x="1623" y="363"/>
                    <a:pt x="1626" y="360"/>
                  </a:cubicBezTo>
                  <a:moveTo>
                    <a:pt x="1389" y="362"/>
                  </a:moveTo>
                  <a:cubicBezTo>
                    <a:pt x="1389" y="362"/>
                    <a:pt x="1388" y="362"/>
                    <a:pt x="1387" y="362"/>
                  </a:cubicBezTo>
                  <a:cubicBezTo>
                    <a:pt x="1382" y="365"/>
                    <a:pt x="1377" y="368"/>
                    <a:pt x="1371" y="371"/>
                  </a:cubicBezTo>
                  <a:cubicBezTo>
                    <a:pt x="1370" y="372"/>
                    <a:pt x="1369" y="372"/>
                    <a:pt x="1368" y="373"/>
                  </a:cubicBezTo>
                  <a:cubicBezTo>
                    <a:pt x="1365" y="375"/>
                    <a:pt x="1361" y="376"/>
                    <a:pt x="1358" y="378"/>
                  </a:cubicBezTo>
                  <a:cubicBezTo>
                    <a:pt x="1357" y="378"/>
                    <a:pt x="1357" y="378"/>
                    <a:pt x="1356" y="378"/>
                  </a:cubicBezTo>
                  <a:cubicBezTo>
                    <a:pt x="1353" y="380"/>
                    <a:pt x="1349" y="382"/>
                    <a:pt x="1346" y="383"/>
                  </a:cubicBezTo>
                  <a:cubicBezTo>
                    <a:pt x="1347" y="383"/>
                    <a:pt x="1348" y="383"/>
                    <a:pt x="1349" y="383"/>
                  </a:cubicBezTo>
                  <a:cubicBezTo>
                    <a:pt x="1352" y="381"/>
                    <a:pt x="1355" y="380"/>
                    <a:pt x="1358" y="378"/>
                  </a:cubicBezTo>
                  <a:cubicBezTo>
                    <a:pt x="1360" y="378"/>
                    <a:pt x="1362" y="377"/>
                    <a:pt x="1364" y="376"/>
                  </a:cubicBezTo>
                  <a:cubicBezTo>
                    <a:pt x="1366" y="375"/>
                    <a:pt x="1367" y="374"/>
                    <a:pt x="1368" y="374"/>
                  </a:cubicBezTo>
                  <a:cubicBezTo>
                    <a:pt x="1369" y="374"/>
                    <a:pt x="1369" y="373"/>
                    <a:pt x="1369" y="373"/>
                  </a:cubicBezTo>
                  <a:cubicBezTo>
                    <a:pt x="1377" y="370"/>
                    <a:pt x="1383" y="366"/>
                    <a:pt x="1389" y="362"/>
                  </a:cubicBezTo>
                  <a:moveTo>
                    <a:pt x="1616" y="370"/>
                  </a:moveTo>
                  <a:cubicBezTo>
                    <a:pt x="1616" y="370"/>
                    <a:pt x="1615" y="370"/>
                    <a:pt x="1614" y="371"/>
                  </a:cubicBezTo>
                  <a:cubicBezTo>
                    <a:pt x="1613" y="372"/>
                    <a:pt x="1613" y="373"/>
                    <a:pt x="1612" y="374"/>
                  </a:cubicBezTo>
                  <a:cubicBezTo>
                    <a:pt x="1613" y="373"/>
                    <a:pt x="1613" y="373"/>
                    <a:pt x="1614" y="372"/>
                  </a:cubicBezTo>
                  <a:cubicBezTo>
                    <a:pt x="1615" y="372"/>
                    <a:pt x="1616" y="371"/>
                    <a:pt x="1616" y="370"/>
                  </a:cubicBezTo>
                  <a:moveTo>
                    <a:pt x="1612" y="374"/>
                  </a:moveTo>
                  <a:cubicBezTo>
                    <a:pt x="1612" y="375"/>
                    <a:pt x="1611" y="375"/>
                    <a:pt x="1610" y="376"/>
                  </a:cubicBezTo>
                  <a:cubicBezTo>
                    <a:pt x="1610" y="376"/>
                    <a:pt x="1609" y="377"/>
                    <a:pt x="1609" y="377"/>
                  </a:cubicBezTo>
                  <a:cubicBezTo>
                    <a:pt x="1609" y="377"/>
                    <a:pt x="1610" y="377"/>
                    <a:pt x="1611" y="377"/>
                  </a:cubicBezTo>
                  <a:cubicBezTo>
                    <a:pt x="1611" y="376"/>
                    <a:pt x="1611" y="376"/>
                    <a:pt x="1611" y="376"/>
                  </a:cubicBezTo>
                  <a:cubicBezTo>
                    <a:pt x="1611" y="376"/>
                    <a:pt x="1612" y="375"/>
                    <a:pt x="1612" y="374"/>
                  </a:cubicBezTo>
                  <a:moveTo>
                    <a:pt x="1609" y="378"/>
                  </a:moveTo>
                  <a:cubicBezTo>
                    <a:pt x="1609" y="378"/>
                    <a:pt x="1608" y="379"/>
                    <a:pt x="1607" y="379"/>
                  </a:cubicBezTo>
                  <a:cubicBezTo>
                    <a:pt x="1607" y="379"/>
                    <a:pt x="1607" y="380"/>
                    <a:pt x="1606" y="380"/>
                  </a:cubicBezTo>
                  <a:cubicBezTo>
                    <a:pt x="1606" y="381"/>
                    <a:pt x="1606" y="381"/>
                    <a:pt x="1606" y="381"/>
                  </a:cubicBezTo>
                  <a:cubicBezTo>
                    <a:pt x="1606" y="382"/>
                    <a:pt x="1606" y="382"/>
                    <a:pt x="1606" y="382"/>
                  </a:cubicBezTo>
                  <a:cubicBezTo>
                    <a:pt x="1607" y="381"/>
                    <a:pt x="1608" y="380"/>
                    <a:pt x="1609" y="379"/>
                  </a:cubicBezTo>
                  <a:cubicBezTo>
                    <a:pt x="1609" y="379"/>
                    <a:pt x="1609" y="378"/>
                    <a:pt x="1609" y="378"/>
                  </a:cubicBezTo>
                  <a:moveTo>
                    <a:pt x="1605" y="382"/>
                  </a:moveTo>
                  <a:cubicBezTo>
                    <a:pt x="1605" y="382"/>
                    <a:pt x="1605" y="382"/>
                    <a:pt x="1605" y="382"/>
                  </a:cubicBezTo>
                  <a:cubicBezTo>
                    <a:pt x="1605" y="382"/>
                    <a:pt x="1605" y="382"/>
                    <a:pt x="1605" y="382"/>
                  </a:cubicBezTo>
                  <a:cubicBezTo>
                    <a:pt x="1605" y="382"/>
                    <a:pt x="1605" y="382"/>
                    <a:pt x="1605" y="382"/>
                  </a:cubicBezTo>
                  <a:moveTo>
                    <a:pt x="1606" y="383"/>
                  </a:moveTo>
                  <a:cubicBezTo>
                    <a:pt x="1605" y="383"/>
                    <a:pt x="1605" y="383"/>
                    <a:pt x="1604" y="384"/>
                  </a:cubicBezTo>
                  <a:cubicBezTo>
                    <a:pt x="1604" y="384"/>
                    <a:pt x="1604" y="384"/>
                    <a:pt x="1604" y="385"/>
                  </a:cubicBezTo>
                  <a:cubicBezTo>
                    <a:pt x="1604" y="385"/>
                    <a:pt x="1605" y="384"/>
                    <a:pt x="1605" y="384"/>
                  </a:cubicBezTo>
                  <a:cubicBezTo>
                    <a:pt x="1605" y="384"/>
                    <a:pt x="1605" y="384"/>
                    <a:pt x="1606" y="383"/>
                  </a:cubicBezTo>
                  <a:moveTo>
                    <a:pt x="1346" y="384"/>
                  </a:moveTo>
                  <a:cubicBezTo>
                    <a:pt x="1345" y="385"/>
                    <a:pt x="1344" y="385"/>
                    <a:pt x="1343" y="385"/>
                  </a:cubicBezTo>
                  <a:cubicBezTo>
                    <a:pt x="1340" y="387"/>
                    <a:pt x="1336" y="389"/>
                    <a:pt x="1333" y="391"/>
                  </a:cubicBezTo>
                  <a:cubicBezTo>
                    <a:pt x="1334" y="391"/>
                    <a:pt x="1335" y="391"/>
                    <a:pt x="1336" y="390"/>
                  </a:cubicBezTo>
                  <a:cubicBezTo>
                    <a:pt x="1339" y="388"/>
                    <a:pt x="1343" y="386"/>
                    <a:pt x="1346" y="384"/>
                  </a:cubicBezTo>
                  <a:moveTo>
                    <a:pt x="1603" y="385"/>
                  </a:moveTo>
                  <a:cubicBezTo>
                    <a:pt x="1603" y="385"/>
                    <a:pt x="1603" y="385"/>
                    <a:pt x="1603" y="385"/>
                  </a:cubicBezTo>
                  <a:cubicBezTo>
                    <a:pt x="1603" y="385"/>
                    <a:pt x="1603" y="385"/>
                    <a:pt x="1603" y="385"/>
                  </a:cubicBezTo>
                  <a:cubicBezTo>
                    <a:pt x="1603" y="385"/>
                    <a:pt x="1603" y="385"/>
                    <a:pt x="1603" y="385"/>
                  </a:cubicBezTo>
                  <a:moveTo>
                    <a:pt x="1604" y="386"/>
                  </a:moveTo>
                  <a:cubicBezTo>
                    <a:pt x="1603" y="386"/>
                    <a:pt x="1602" y="386"/>
                    <a:pt x="1602" y="387"/>
                  </a:cubicBezTo>
                  <a:cubicBezTo>
                    <a:pt x="1600" y="389"/>
                    <a:pt x="1599" y="391"/>
                    <a:pt x="1598" y="393"/>
                  </a:cubicBezTo>
                  <a:cubicBezTo>
                    <a:pt x="1598" y="393"/>
                    <a:pt x="1599" y="393"/>
                    <a:pt x="1599" y="392"/>
                  </a:cubicBezTo>
                  <a:cubicBezTo>
                    <a:pt x="1601" y="390"/>
                    <a:pt x="1602" y="388"/>
                    <a:pt x="1604" y="386"/>
                  </a:cubicBezTo>
                  <a:moveTo>
                    <a:pt x="1099" y="388"/>
                  </a:moveTo>
                  <a:cubicBezTo>
                    <a:pt x="1099" y="388"/>
                    <a:pt x="1098" y="388"/>
                    <a:pt x="1098" y="388"/>
                  </a:cubicBezTo>
                  <a:cubicBezTo>
                    <a:pt x="1098" y="389"/>
                    <a:pt x="1099" y="389"/>
                    <a:pt x="1099" y="390"/>
                  </a:cubicBezTo>
                  <a:cubicBezTo>
                    <a:pt x="1100" y="390"/>
                    <a:pt x="1100" y="390"/>
                    <a:pt x="1100" y="390"/>
                  </a:cubicBezTo>
                  <a:cubicBezTo>
                    <a:pt x="1100" y="389"/>
                    <a:pt x="1099" y="389"/>
                    <a:pt x="1099" y="388"/>
                  </a:cubicBezTo>
                  <a:moveTo>
                    <a:pt x="1101" y="391"/>
                  </a:moveTo>
                  <a:cubicBezTo>
                    <a:pt x="1101" y="391"/>
                    <a:pt x="1100" y="391"/>
                    <a:pt x="1100" y="391"/>
                  </a:cubicBezTo>
                  <a:cubicBezTo>
                    <a:pt x="1104" y="395"/>
                    <a:pt x="1107" y="399"/>
                    <a:pt x="1109" y="403"/>
                  </a:cubicBezTo>
                  <a:cubicBezTo>
                    <a:pt x="1111" y="405"/>
                    <a:pt x="1112" y="407"/>
                    <a:pt x="1114" y="409"/>
                  </a:cubicBezTo>
                  <a:cubicBezTo>
                    <a:pt x="1114" y="410"/>
                    <a:pt x="1114" y="410"/>
                    <a:pt x="1114" y="411"/>
                  </a:cubicBezTo>
                  <a:cubicBezTo>
                    <a:pt x="1115" y="410"/>
                    <a:pt x="1115" y="410"/>
                    <a:pt x="1115" y="410"/>
                  </a:cubicBezTo>
                  <a:cubicBezTo>
                    <a:pt x="1115" y="410"/>
                    <a:pt x="1115" y="409"/>
                    <a:pt x="1114" y="409"/>
                  </a:cubicBezTo>
                  <a:cubicBezTo>
                    <a:pt x="1111" y="403"/>
                    <a:pt x="1106" y="397"/>
                    <a:pt x="1101" y="391"/>
                  </a:cubicBezTo>
                  <a:moveTo>
                    <a:pt x="1333" y="392"/>
                  </a:moveTo>
                  <a:cubicBezTo>
                    <a:pt x="1332" y="392"/>
                    <a:pt x="1331" y="393"/>
                    <a:pt x="1330" y="393"/>
                  </a:cubicBezTo>
                  <a:cubicBezTo>
                    <a:pt x="1328" y="394"/>
                    <a:pt x="1326" y="396"/>
                    <a:pt x="1324" y="397"/>
                  </a:cubicBezTo>
                  <a:cubicBezTo>
                    <a:pt x="1324" y="397"/>
                    <a:pt x="1325" y="397"/>
                    <a:pt x="1325" y="398"/>
                  </a:cubicBezTo>
                  <a:cubicBezTo>
                    <a:pt x="1327" y="396"/>
                    <a:pt x="1329" y="395"/>
                    <a:pt x="1331" y="393"/>
                  </a:cubicBezTo>
                  <a:cubicBezTo>
                    <a:pt x="1332" y="393"/>
                    <a:pt x="1332" y="393"/>
                    <a:pt x="1333" y="392"/>
                  </a:cubicBezTo>
                  <a:moveTo>
                    <a:pt x="1599" y="394"/>
                  </a:moveTo>
                  <a:cubicBezTo>
                    <a:pt x="1598" y="394"/>
                    <a:pt x="1598" y="394"/>
                    <a:pt x="1597" y="394"/>
                  </a:cubicBezTo>
                  <a:cubicBezTo>
                    <a:pt x="1597" y="394"/>
                    <a:pt x="1597" y="395"/>
                    <a:pt x="1597" y="395"/>
                  </a:cubicBezTo>
                  <a:cubicBezTo>
                    <a:pt x="1596" y="396"/>
                    <a:pt x="1596" y="396"/>
                    <a:pt x="1596" y="397"/>
                  </a:cubicBezTo>
                  <a:cubicBezTo>
                    <a:pt x="1595" y="399"/>
                    <a:pt x="1594" y="401"/>
                    <a:pt x="1593" y="403"/>
                  </a:cubicBezTo>
                  <a:cubicBezTo>
                    <a:pt x="1593" y="403"/>
                    <a:pt x="1593" y="403"/>
                    <a:pt x="1594" y="403"/>
                  </a:cubicBezTo>
                  <a:cubicBezTo>
                    <a:pt x="1595" y="400"/>
                    <a:pt x="1596" y="398"/>
                    <a:pt x="1597" y="396"/>
                  </a:cubicBezTo>
                  <a:cubicBezTo>
                    <a:pt x="1598" y="395"/>
                    <a:pt x="1598" y="394"/>
                    <a:pt x="1598" y="394"/>
                  </a:cubicBezTo>
                  <a:cubicBezTo>
                    <a:pt x="1599" y="394"/>
                    <a:pt x="1599" y="394"/>
                    <a:pt x="1599" y="394"/>
                  </a:cubicBezTo>
                  <a:moveTo>
                    <a:pt x="1323" y="398"/>
                  </a:moveTo>
                  <a:cubicBezTo>
                    <a:pt x="1320" y="400"/>
                    <a:pt x="1317" y="402"/>
                    <a:pt x="1315" y="404"/>
                  </a:cubicBezTo>
                  <a:cubicBezTo>
                    <a:pt x="1315" y="404"/>
                    <a:pt x="1316" y="404"/>
                    <a:pt x="1317" y="404"/>
                  </a:cubicBezTo>
                  <a:cubicBezTo>
                    <a:pt x="1318" y="403"/>
                    <a:pt x="1319" y="402"/>
                    <a:pt x="1321" y="401"/>
                  </a:cubicBezTo>
                  <a:cubicBezTo>
                    <a:pt x="1322" y="400"/>
                    <a:pt x="1323" y="399"/>
                    <a:pt x="1324" y="398"/>
                  </a:cubicBezTo>
                  <a:cubicBezTo>
                    <a:pt x="1324" y="398"/>
                    <a:pt x="1324" y="398"/>
                    <a:pt x="1323" y="398"/>
                  </a:cubicBezTo>
                  <a:moveTo>
                    <a:pt x="1593" y="404"/>
                  </a:moveTo>
                  <a:cubicBezTo>
                    <a:pt x="1593" y="404"/>
                    <a:pt x="1592" y="405"/>
                    <a:pt x="1592" y="405"/>
                  </a:cubicBezTo>
                  <a:cubicBezTo>
                    <a:pt x="1591" y="406"/>
                    <a:pt x="1591" y="407"/>
                    <a:pt x="1590" y="408"/>
                  </a:cubicBezTo>
                  <a:cubicBezTo>
                    <a:pt x="1591" y="408"/>
                    <a:pt x="1591" y="408"/>
                    <a:pt x="1592" y="408"/>
                  </a:cubicBezTo>
                  <a:cubicBezTo>
                    <a:pt x="1592" y="407"/>
                    <a:pt x="1593" y="406"/>
                    <a:pt x="1593" y="404"/>
                  </a:cubicBezTo>
                  <a:moveTo>
                    <a:pt x="1315" y="405"/>
                  </a:moveTo>
                  <a:cubicBezTo>
                    <a:pt x="1314" y="406"/>
                    <a:pt x="1314" y="406"/>
                    <a:pt x="1313" y="406"/>
                  </a:cubicBezTo>
                  <a:cubicBezTo>
                    <a:pt x="1312" y="406"/>
                    <a:pt x="1312" y="407"/>
                    <a:pt x="1311" y="408"/>
                  </a:cubicBezTo>
                  <a:cubicBezTo>
                    <a:pt x="1311" y="408"/>
                    <a:pt x="1311" y="408"/>
                    <a:pt x="1312" y="408"/>
                  </a:cubicBezTo>
                  <a:cubicBezTo>
                    <a:pt x="1313" y="407"/>
                    <a:pt x="1314" y="406"/>
                    <a:pt x="1315" y="405"/>
                  </a:cubicBezTo>
                  <a:moveTo>
                    <a:pt x="1310" y="408"/>
                  </a:moveTo>
                  <a:cubicBezTo>
                    <a:pt x="1310" y="409"/>
                    <a:pt x="1309" y="409"/>
                    <a:pt x="1309" y="409"/>
                  </a:cubicBezTo>
                  <a:cubicBezTo>
                    <a:pt x="1309" y="410"/>
                    <a:pt x="1310" y="410"/>
                    <a:pt x="1310" y="410"/>
                  </a:cubicBezTo>
                  <a:cubicBezTo>
                    <a:pt x="1310" y="409"/>
                    <a:pt x="1311" y="409"/>
                    <a:pt x="1311" y="409"/>
                  </a:cubicBezTo>
                  <a:cubicBezTo>
                    <a:pt x="1311" y="409"/>
                    <a:pt x="1310" y="409"/>
                    <a:pt x="1310" y="408"/>
                  </a:cubicBezTo>
                  <a:moveTo>
                    <a:pt x="1591" y="409"/>
                  </a:moveTo>
                  <a:cubicBezTo>
                    <a:pt x="1591" y="409"/>
                    <a:pt x="1590" y="409"/>
                    <a:pt x="1590" y="409"/>
                  </a:cubicBezTo>
                  <a:cubicBezTo>
                    <a:pt x="1589" y="411"/>
                    <a:pt x="1589" y="413"/>
                    <a:pt x="1588" y="415"/>
                  </a:cubicBezTo>
                  <a:cubicBezTo>
                    <a:pt x="1588" y="415"/>
                    <a:pt x="1589" y="415"/>
                    <a:pt x="1589" y="415"/>
                  </a:cubicBezTo>
                  <a:cubicBezTo>
                    <a:pt x="1590" y="413"/>
                    <a:pt x="1590" y="411"/>
                    <a:pt x="1591" y="409"/>
                  </a:cubicBezTo>
                  <a:moveTo>
                    <a:pt x="1308" y="410"/>
                  </a:moveTo>
                  <a:cubicBezTo>
                    <a:pt x="1306" y="412"/>
                    <a:pt x="1305" y="413"/>
                    <a:pt x="1303" y="414"/>
                  </a:cubicBezTo>
                  <a:cubicBezTo>
                    <a:pt x="1304" y="414"/>
                    <a:pt x="1305" y="414"/>
                    <a:pt x="1306" y="414"/>
                  </a:cubicBezTo>
                  <a:cubicBezTo>
                    <a:pt x="1307" y="413"/>
                    <a:pt x="1308" y="412"/>
                    <a:pt x="1309" y="411"/>
                  </a:cubicBezTo>
                  <a:cubicBezTo>
                    <a:pt x="1309" y="410"/>
                    <a:pt x="1308" y="410"/>
                    <a:pt x="1308" y="410"/>
                  </a:cubicBezTo>
                  <a:moveTo>
                    <a:pt x="1116" y="411"/>
                  </a:moveTo>
                  <a:cubicBezTo>
                    <a:pt x="1116" y="411"/>
                    <a:pt x="1115" y="411"/>
                    <a:pt x="1115" y="411"/>
                  </a:cubicBezTo>
                  <a:cubicBezTo>
                    <a:pt x="1115" y="412"/>
                    <a:pt x="1115" y="412"/>
                    <a:pt x="1115" y="412"/>
                  </a:cubicBezTo>
                  <a:cubicBezTo>
                    <a:pt x="1115" y="412"/>
                    <a:pt x="1116" y="412"/>
                    <a:pt x="1117" y="412"/>
                  </a:cubicBezTo>
                  <a:cubicBezTo>
                    <a:pt x="1116" y="412"/>
                    <a:pt x="1116" y="412"/>
                    <a:pt x="1116" y="411"/>
                  </a:cubicBezTo>
                  <a:moveTo>
                    <a:pt x="1116" y="414"/>
                  </a:moveTo>
                  <a:cubicBezTo>
                    <a:pt x="1116" y="414"/>
                    <a:pt x="1116" y="414"/>
                    <a:pt x="1116" y="414"/>
                  </a:cubicBezTo>
                  <a:cubicBezTo>
                    <a:pt x="1117" y="415"/>
                    <a:pt x="1117" y="416"/>
                    <a:pt x="1118" y="416"/>
                  </a:cubicBezTo>
                  <a:cubicBezTo>
                    <a:pt x="1119" y="420"/>
                    <a:pt x="1121" y="423"/>
                    <a:pt x="1123" y="426"/>
                  </a:cubicBezTo>
                  <a:cubicBezTo>
                    <a:pt x="1123" y="426"/>
                    <a:pt x="1124" y="425"/>
                    <a:pt x="1124" y="425"/>
                  </a:cubicBezTo>
                  <a:cubicBezTo>
                    <a:pt x="1123" y="423"/>
                    <a:pt x="1121" y="421"/>
                    <a:pt x="1120" y="419"/>
                  </a:cubicBezTo>
                  <a:cubicBezTo>
                    <a:pt x="1120" y="418"/>
                    <a:pt x="1120" y="418"/>
                    <a:pt x="1119" y="417"/>
                  </a:cubicBezTo>
                  <a:cubicBezTo>
                    <a:pt x="1119" y="416"/>
                    <a:pt x="1118" y="415"/>
                    <a:pt x="1118" y="414"/>
                  </a:cubicBezTo>
                  <a:cubicBezTo>
                    <a:pt x="1117" y="414"/>
                    <a:pt x="1117" y="414"/>
                    <a:pt x="1116" y="414"/>
                  </a:cubicBezTo>
                  <a:moveTo>
                    <a:pt x="1304" y="415"/>
                  </a:moveTo>
                  <a:cubicBezTo>
                    <a:pt x="1304" y="415"/>
                    <a:pt x="1303" y="416"/>
                    <a:pt x="1303" y="416"/>
                  </a:cubicBezTo>
                  <a:cubicBezTo>
                    <a:pt x="1303" y="416"/>
                    <a:pt x="1303" y="416"/>
                    <a:pt x="1304" y="416"/>
                  </a:cubicBezTo>
                  <a:cubicBezTo>
                    <a:pt x="1304" y="415"/>
                    <a:pt x="1304" y="415"/>
                    <a:pt x="1304" y="415"/>
                  </a:cubicBezTo>
                  <a:moveTo>
                    <a:pt x="1589" y="416"/>
                  </a:moveTo>
                  <a:cubicBezTo>
                    <a:pt x="1588" y="416"/>
                    <a:pt x="1588" y="416"/>
                    <a:pt x="1588" y="416"/>
                  </a:cubicBezTo>
                  <a:cubicBezTo>
                    <a:pt x="1586" y="421"/>
                    <a:pt x="1585" y="427"/>
                    <a:pt x="1585" y="432"/>
                  </a:cubicBezTo>
                  <a:cubicBezTo>
                    <a:pt x="1585" y="432"/>
                    <a:pt x="1586" y="432"/>
                    <a:pt x="1586" y="432"/>
                  </a:cubicBezTo>
                  <a:cubicBezTo>
                    <a:pt x="1586" y="427"/>
                    <a:pt x="1587" y="421"/>
                    <a:pt x="1589" y="416"/>
                  </a:cubicBezTo>
                  <a:moveTo>
                    <a:pt x="1301" y="417"/>
                  </a:moveTo>
                  <a:cubicBezTo>
                    <a:pt x="1301" y="417"/>
                    <a:pt x="1301" y="417"/>
                    <a:pt x="1301" y="417"/>
                  </a:cubicBezTo>
                  <a:cubicBezTo>
                    <a:pt x="1300" y="418"/>
                    <a:pt x="1299" y="419"/>
                    <a:pt x="1298" y="420"/>
                  </a:cubicBezTo>
                  <a:cubicBezTo>
                    <a:pt x="1296" y="421"/>
                    <a:pt x="1295" y="423"/>
                    <a:pt x="1294" y="424"/>
                  </a:cubicBezTo>
                  <a:cubicBezTo>
                    <a:pt x="1295" y="424"/>
                    <a:pt x="1295" y="423"/>
                    <a:pt x="1296" y="423"/>
                  </a:cubicBezTo>
                  <a:cubicBezTo>
                    <a:pt x="1298" y="421"/>
                    <a:pt x="1300" y="419"/>
                    <a:pt x="1302" y="417"/>
                  </a:cubicBezTo>
                  <a:cubicBezTo>
                    <a:pt x="1302" y="417"/>
                    <a:pt x="1302" y="417"/>
                    <a:pt x="1301" y="417"/>
                  </a:cubicBezTo>
                  <a:moveTo>
                    <a:pt x="1295" y="425"/>
                  </a:moveTo>
                  <a:cubicBezTo>
                    <a:pt x="1294" y="425"/>
                    <a:pt x="1293" y="425"/>
                    <a:pt x="1293" y="425"/>
                  </a:cubicBezTo>
                  <a:cubicBezTo>
                    <a:pt x="1293" y="425"/>
                    <a:pt x="1292" y="425"/>
                    <a:pt x="1292" y="426"/>
                  </a:cubicBezTo>
                  <a:cubicBezTo>
                    <a:pt x="1292" y="426"/>
                    <a:pt x="1292" y="426"/>
                    <a:pt x="1292" y="426"/>
                  </a:cubicBezTo>
                  <a:cubicBezTo>
                    <a:pt x="1292" y="426"/>
                    <a:pt x="1293" y="426"/>
                    <a:pt x="1294" y="426"/>
                  </a:cubicBezTo>
                  <a:cubicBezTo>
                    <a:pt x="1294" y="425"/>
                    <a:pt x="1294" y="425"/>
                    <a:pt x="1295" y="425"/>
                  </a:cubicBezTo>
                  <a:moveTo>
                    <a:pt x="1124" y="426"/>
                  </a:moveTo>
                  <a:cubicBezTo>
                    <a:pt x="1124" y="426"/>
                    <a:pt x="1124" y="426"/>
                    <a:pt x="1123" y="427"/>
                  </a:cubicBezTo>
                  <a:cubicBezTo>
                    <a:pt x="1124" y="428"/>
                    <a:pt x="1125" y="430"/>
                    <a:pt x="1126" y="431"/>
                  </a:cubicBezTo>
                  <a:cubicBezTo>
                    <a:pt x="1127" y="431"/>
                    <a:pt x="1127" y="431"/>
                    <a:pt x="1127" y="431"/>
                  </a:cubicBezTo>
                  <a:cubicBezTo>
                    <a:pt x="1126" y="429"/>
                    <a:pt x="1125" y="428"/>
                    <a:pt x="1124" y="426"/>
                  </a:cubicBezTo>
                  <a:moveTo>
                    <a:pt x="1291" y="428"/>
                  </a:moveTo>
                  <a:cubicBezTo>
                    <a:pt x="1291" y="428"/>
                    <a:pt x="1290" y="429"/>
                    <a:pt x="1289" y="429"/>
                  </a:cubicBezTo>
                  <a:cubicBezTo>
                    <a:pt x="1286" y="432"/>
                    <a:pt x="1284" y="435"/>
                    <a:pt x="1281" y="439"/>
                  </a:cubicBezTo>
                  <a:cubicBezTo>
                    <a:pt x="1281" y="439"/>
                    <a:pt x="1282" y="439"/>
                    <a:pt x="1282" y="439"/>
                  </a:cubicBezTo>
                  <a:cubicBezTo>
                    <a:pt x="1284" y="436"/>
                    <a:pt x="1286" y="434"/>
                    <a:pt x="1288" y="432"/>
                  </a:cubicBezTo>
                  <a:cubicBezTo>
                    <a:pt x="1289" y="431"/>
                    <a:pt x="1290" y="429"/>
                    <a:pt x="1291" y="428"/>
                  </a:cubicBezTo>
                  <a:moveTo>
                    <a:pt x="1128" y="432"/>
                  </a:moveTo>
                  <a:cubicBezTo>
                    <a:pt x="1127" y="432"/>
                    <a:pt x="1127" y="432"/>
                    <a:pt x="1127" y="432"/>
                  </a:cubicBezTo>
                  <a:cubicBezTo>
                    <a:pt x="1128" y="435"/>
                    <a:pt x="1130" y="437"/>
                    <a:pt x="1131" y="439"/>
                  </a:cubicBezTo>
                  <a:cubicBezTo>
                    <a:pt x="1131" y="439"/>
                    <a:pt x="1132" y="440"/>
                    <a:pt x="1133" y="440"/>
                  </a:cubicBezTo>
                  <a:cubicBezTo>
                    <a:pt x="1131" y="437"/>
                    <a:pt x="1129" y="435"/>
                    <a:pt x="1128" y="432"/>
                  </a:cubicBezTo>
                  <a:moveTo>
                    <a:pt x="1586" y="433"/>
                  </a:moveTo>
                  <a:cubicBezTo>
                    <a:pt x="1586" y="433"/>
                    <a:pt x="1585" y="433"/>
                    <a:pt x="1585" y="433"/>
                  </a:cubicBezTo>
                  <a:cubicBezTo>
                    <a:pt x="1585" y="434"/>
                    <a:pt x="1585" y="435"/>
                    <a:pt x="1585" y="436"/>
                  </a:cubicBezTo>
                  <a:cubicBezTo>
                    <a:pt x="1585" y="437"/>
                    <a:pt x="1585" y="439"/>
                    <a:pt x="1585" y="440"/>
                  </a:cubicBezTo>
                  <a:cubicBezTo>
                    <a:pt x="1585" y="440"/>
                    <a:pt x="1586" y="440"/>
                    <a:pt x="1586" y="440"/>
                  </a:cubicBezTo>
                  <a:cubicBezTo>
                    <a:pt x="1586" y="439"/>
                    <a:pt x="1586" y="437"/>
                    <a:pt x="1586" y="436"/>
                  </a:cubicBezTo>
                  <a:cubicBezTo>
                    <a:pt x="1586" y="435"/>
                    <a:pt x="1586" y="434"/>
                    <a:pt x="1586" y="433"/>
                  </a:cubicBezTo>
                  <a:moveTo>
                    <a:pt x="1280" y="440"/>
                  </a:moveTo>
                  <a:cubicBezTo>
                    <a:pt x="1279" y="441"/>
                    <a:pt x="1279" y="441"/>
                    <a:pt x="1278" y="442"/>
                  </a:cubicBezTo>
                  <a:cubicBezTo>
                    <a:pt x="1279" y="442"/>
                    <a:pt x="1279" y="442"/>
                    <a:pt x="1280" y="442"/>
                  </a:cubicBezTo>
                  <a:cubicBezTo>
                    <a:pt x="1280" y="441"/>
                    <a:pt x="1280" y="441"/>
                    <a:pt x="1281" y="440"/>
                  </a:cubicBezTo>
                  <a:cubicBezTo>
                    <a:pt x="1281" y="440"/>
                    <a:pt x="1280" y="440"/>
                    <a:pt x="1280" y="440"/>
                  </a:cubicBezTo>
                  <a:moveTo>
                    <a:pt x="1132" y="441"/>
                  </a:moveTo>
                  <a:cubicBezTo>
                    <a:pt x="1133" y="443"/>
                    <a:pt x="1135" y="446"/>
                    <a:pt x="1136" y="448"/>
                  </a:cubicBezTo>
                  <a:cubicBezTo>
                    <a:pt x="1137" y="448"/>
                    <a:pt x="1137" y="449"/>
                    <a:pt x="1138" y="449"/>
                  </a:cubicBezTo>
                  <a:cubicBezTo>
                    <a:pt x="1137" y="447"/>
                    <a:pt x="1135" y="444"/>
                    <a:pt x="1134" y="442"/>
                  </a:cubicBezTo>
                  <a:cubicBezTo>
                    <a:pt x="1133" y="442"/>
                    <a:pt x="1133" y="441"/>
                    <a:pt x="1132" y="441"/>
                  </a:cubicBezTo>
                  <a:moveTo>
                    <a:pt x="1586" y="441"/>
                  </a:moveTo>
                  <a:cubicBezTo>
                    <a:pt x="1586" y="441"/>
                    <a:pt x="1586" y="441"/>
                    <a:pt x="1585" y="441"/>
                  </a:cubicBezTo>
                  <a:cubicBezTo>
                    <a:pt x="1586" y="451"/>
                    <a:pt x="1589" y="462"/>
                    <a:pt x="1594" y="472"/>
                  </a:cubicBezTo>
                  <a:cubicBezTo>
                    <a:pt x="1594" y="472"/>
                    <a:pt x="1595" y="472"/>
                    <a:pt x="1595" y="472"/>
                  </a:cubicBezTo>
                  <a:cubicBezTo>
                    <a:pt x="1590" y="461"/>
                    <a:pt x="1587" y="451"/>
                    <a:pt x="1586" y="441"/>
                  </a:cubicBezTo>
                  <a:moveTo>
                    <a:pt x="1279" y="443"/>
                  </a:moveTo>
                  <a:cubicBezTo>
                    <a:pt x="1278" y="443"/>
                    <a:pt x="1277" y="443"/>
                    <a:pt x="1277" y="444"/>
                  </a:cubicBezTo>
                  <a:cubicBezTo>
                    <a:pt x="1276" y="445"/>
                    <a:pt x="1275" y="446"/>
                    <a:pt x="1274" y="447"/>
                  </a:cubicBezTo>
                  <a:cubicBezTo>
                    <a:pt x="1275" y="447"/>
                    <a:pt x="1275" y="447"/>
                    <a:pt x="1276" y="446"/>
                  </a:cubicBezTo>
                  <a:cubicBezTo>
                    <a:pt x="1277" y="445"/>
                    <a:pt x="1278" y="444"/>
                    <a:pt x="1279" y="443"/>
                  </a:cubicBezTo>
                  <a:moveTo>
                    <a:pt x="1275" y="448"/>
                  </a:moveTo>
                  <a:cubicBezTo>
                    <a:pt x="1274" y="448"/>
                    <a:pt x="1273" y="449"/>
                    <a:pt x="1273" y="449"/>
                  </a:cubicBezTo>
                  <a:cubicBezTo>
                    <a:pt x="1272" y="449"/>
                    <a:pt x="1272" y="450"/>
                    <a:pt x="1271" y="451"/>
                  </a:cubicBezTo>
                  <a:cubicBezTo>
                    <a:pt x="1272" y="450"/>
                    <a:pt x="1273" y="450"/>
                    <a:pt x="1273" y="450"/>
                  </a:cubicBezTo>
                  <a:cubicBezTo>
                    <a:pt x="1274" y="449"/>
                    <a:pt x="1274" y="449"/>
                    <a:pt x="1275" y="448"/>
                  </a:cubicBezTo>
                  <a:moveTo>
                    <a:pt x="1138" y="450"/>
                  </a:moveTo>
                  <a:cubicBezTo>
                    <a:pt x="1138" y="450"/>
                    <a:pt x="1138" y="450"/>
                    <a:pt x="1138" y="450"/>
                  </a:cubicBezTo>
                  <a:cubicBezTo>
                    <a:pt x="1138" y="451"/>
                    <a:pt x="1138" y="451"/>
                    <a:pt x="1138" y="451"/>
                  </a:cubicBezTo>
                  <a:cubicBezTo>
                    <a:pt x="1139" y="451"/>
                    <a:pt x="1139" y="451"/>
                    <a:pt x="1139" y="451"/>
                  </a:cubicBezTo>
                  <a:cubicBezTo>
                    <a:pt x="1139" y="451"/>
                    <a:pt x="1139" y="451"/>
                    <a:pt x="1139" y="451"/>
                  </a:cubicBezTo>
                  <a:cubicBezTo>
                    <a:pt x="1139" y="450"/>
                    <a:pt x="1139" y="450"/>
                    <a:pt x="1138" y="450"/>
                  </a:cubicBezTo>
                  <a:moveTo>
                    <a:pt x="1272" y="452"/>
                  </a:moveTo>
                  <a:cubicBezTo>
                    <a:pt x="1271" y="452"/>
                    <a:pt x="1271" y="452"/>
                    <a:pt x="1270" y="452"/>
                  </a:cubicBezTo>
                  <a:cubicBezTo>
                    <a:pt x="1269" y="453"/>
                    <a:pt x="1269" y="454"/>
                    <a:pt x="1268" y="455"/>
                  </a:cubicBezTo>
                  <a:cubicBezTo>
                    <a:pt x="1269" y="454"/>
                    <a:pt x="1270" y="453"/>
                    <a:pt x="1272" y="452"/>
                  </a:cubicBezTo>
                  <a:moveTo>
                    <a:pt x="1139" y="452"/>
                  </a:moveTo>
                  <a:cubicBezTo>
                    <a:pt x="1140" y="453"/>
                    <a:pt x="1140" y="454"/>
                    <a:pt x="1141" y="455"/>
                  </a:cubicBezTo>
                  <a:cubicBezTo>
                    <a:pt x="1141" y="455"/>
                    <a:pt x="1141" y="455"/>
                    <a:pt x="1142" y="455"/>
                  </a:cubicBezTo>
                  <a:cubicBezTo>
                    <a:pt x="1141" y="454"/>
                    <a:pt x="1141" y="453"/>
                    <a:pt x="1140" y="452"/>
                  </a:cubicBezTo>
                  <a:cubicBezTo>
                    <a:pt x="1140" y="452"/>
                    <a:pt x="1139" y="452"/>
                    <a:pt x="1139" y="452"/>
                  </a:cubicBezTo>
                  <a:moveTo>
                    <a:pt x="1142" y="456"/>
                  </a:moveTo>
                  <a:cubicBezTo>
                    <a:pt x="1142" y="456"/>
                    <a:pt x="1142" y="456"/>
                    <a:pt x="1141" y="456"/>
                  </a:cubicBezTo>
                  <a:cubicBezTo>
                    <a:pt x="1142" y="457"/>
                    <a:pt x="1143" y="459"/>
                    <a:pt x="1144" y="460"/>
                  </a:cubicBezTo>
                  <a:cubicBezTo>
                    <a:pt x="1145" y="461"/>
                    <a:pt x="1145" y="461"/>
                    <a:pt x="1146" y="461"/>
                  </a:cubicBezTo>
                  <a:cubicBezTo>
                    <a:pt x="1145" y="459"/>
                    <a:pt x="1143" y="458"/>
                    <a:pt x="1142" y="456"/>
                  </a:cubicBezTo>
                  <a:moveTo>
                    <a:pt x="1269" y="456"/>
                  </a:moveTo>
                  <a:cubicBezTo>
                    <a:pt x="1268" y="456"/>
                    <a:pt x="1267" y="457"/>
                    <a:pt x="1267" y="458"/>
                  </a:cubicBezTo>
                  <a:cubicBezTo>
                    <a:pt x="1267" y="457"/>
                    <a:pt x="1268" y="457"/>
                    <a:pt x="1268" y="457"/>
                  </a:cubicBezTo>
                  <a:cubicBezTo>
                    <a:pt x="1268" y="456"/>
                    <a:pt x="1268" y="456"/>
                    <a:pt x="1269" y="456"/>
                  </a:cubicBezTo>
                  <a:moveTo>
                    <a:pt x="1265" y="461"/>
                  </a:moveTo>
                  <a:cubicBezTo>
                    <a:pt x="1264" y="462"/>
                    <a:pt x="1264" y="462"/>
                    <a:pt x="1263" y="462"/>
                  </a:cubicBezTo>
                  <a:cubicBezTo>
                    <a:pt x="1264" y="462"/>
                    <a:pt x="1264" y="462"/>
                    <a:pt x="1264" y="462"/>
                  </a:cubicBezTo>
                  <a:cubicBezTo>
                    <a:pt x="1264" y="462"/>
                    <a:pt x="1264" y="461"/>
                    <a:pt x="1265" y="461"/>
                  </a:cubicBezTo>
                  <a:moveTo>
                    <a:pt x="1145" y="462"/>
                  </a:moveTo>
                  <a:cubicBezTo>
                    <a:pt x="1146" y="463"/>
                    <a:pt x="1147" y="464"/>
                    <a:pt x="1148" y="466"/>
                  </a:cubicBezTo>
                  <a:cubicBezTo>
                    <a:pt x="1148" y="466"/>
                    <a:pt x="1148" y="466"/>
                    <a:pt x="1148" y="466"/>
                  </a:cubicBezTo>
                  <a:cubicBezTo>
                    <a:pt x="1148" y="466"/>
                    <a:pt x="1148" y="466"/>
                    <a:pt x="1149" y="465"/>
                  </a:cubicBezTo>
                  <a:cubicBezTo>
                    <a:pt x="1148" y="465"/>
                    <a:pt x="1148" y="464"/>
                    <a:pt x="1147" y="463"/>
                  </a:cubicBezTo>
                  <a:cubicBezTo>
                    <a:pt x="1146" y="463"/>
                    <a:pt x="1146" y="462"/>
                    <a:pt x="1145" y="462"/>
                  </a:cubicBezTo>
                  <a:moveTo>
                    <a:pt x="1263" y="463"/>
                  </a:moveTo>
                  <a:cubicBezTo>
                    <a:pt x="1263" y="463"/>
                    <a:pt x="1262" y="464"/>
                    <a:pt x="1261" y="464"/>
                  </a:cubicBezTo>
                  <a:cubicBezTo>
                    <a:pt x="1260" y="465"/>
                    <a:pt x="1259" y="467"/>
                    <a:pt x="1258" y="468"/>
                  </a:cubicBezTo>
                  <a:cubicBezTo>
                    <a:pt x="1258" y="468"/>
                    <a:pt x="1259" y="468"/>
                    <a:pt x="1259" y="468"/>
                  </a:cubicBezTo>
                  <a:cubicBezTo>
                    <a:pt x="1261" y="467"/>
                    <a:pt x="1262" y="465"/>
                    <a:pt x="1263" y="463"/>
                  </a:cubicBezTo>
                  <a:moveTo>
                    <a:pt x="1150" y="467"/>
                  </a:moveTo>
                  <a:cubicBezTo>
                    <a:pt x="1150" y="467"/>
                    <a:pt x="1150" y="467"/>
                    <a:pt x="1150" y="467"/>
                  </a:cubicBezTo>
                  <a:cubicBezTo>
                    <a:pt x="1150" y="467"/>
                    <a:pt x="1150" y="467"/>
                    <a:pt x="1150" y="467"/>
                  </a:cubicBezTo>
                  <a:cubicBezTo>
                    <a:pt x="1150" y="467"/>
                    <a:pt x="1150" y="467"/>
                    <a:pt x="1150" y="467"/>
                  </a:cubicBezTo>
                  <a:moveTo>
                    <a:pt x="1149" y="468"/>
                  </a:moveTo>
                  <a:cubicBezTo>
                    <a:pt x="1150" y="469"/>
                    <a:pt x="1151" y="470"/>
                    <a:pt x="1151" y="471"/>
                  </a:cubicBezTo>
                  <a:cubicBezTo>
                    <a:pt x="1152" y="471"/>
                    <a:pt x="1152" y="471"/>
                    <a:pt x="1153" y="472"/>
                  </a:cubicBezTo>
                  <a:cubicBezTo>
                    <a:pt x="1152" y="471"/>
                    <a:pt x="1152" y="470"/>
                    <a:pt x="1152" y="470"/>
                  </a:cubicBezTo>
                  <a:cubicBezTo>
                    <a:pt x="1151" y="469"/>
                    <a:pt x="1150" y="468"/>
                    <a:pt x="1149" y="468"/>
                  </a:cubicBezTo>
                  <a:moveTo>
                    <a:pt x="1257" y="469"/>
                  </a:moveTo>
                  <a:cubicBezTo>
                    <a:pt x="1256" y="470"/>
                    <a:pt x="1256" y="472"/>
                    <a:pt x="1255" y="473"/>
                  </a:cubicBezTo>
                  <a:cubicBezTo>
                    <a:pt x="1255" y="473"/>
                    <a:pt x="1256" y="472"/>
                    <a:pt x="1257" y="472"/>
                  </a:cubicBezTo>
                  <a:cubicBezTo>
                    <a:pt x="1257" y="471"/>
                    <a:pt x="1258" y="471"/>
                    <a:pt x="1258" y="470"/>
                  </a:cubicBezTo>
                  <a:cubicBezTo>
                    <a:pt x="1258" y="470"/>
                    <a:pt x="1258" y="470"/>
                    <a:pt x="1257" y="469"/>
                  </a:cubicBezTo>
                  <a:moveTo>
                    <a:pt x="1152" y="472"/>
                  </a:moveTo>
                  <a:cubicBezTo>
                    <a:pt x="1153" y="473"/>
                    <a:pt x="1154" y="474"/>
                    <a:pt x="1154" y="475"/>
                  </a:cubicBezTo>
                  <a:cubicBezTo>
                    <a:pt x="1155" y="475"/>
                    <a:pt x="1155" y="475"/>
                    <a:pt x="1155" y="475"/>
                  </a:cubicBezTo>
                  <a:cubicBezTo>
                    <a:pt x="1155" y="474"/>
                    <a:pt x="1154" y="474"/>
                    <a:pt x="1154" y="473"/>
                  </a:cubicBezTo>
                  <a:cubicBezTo>
                    <a:pt x="1153" y="473"/>
                    <a:pt x="1153" y="473"/>
                    <a:pt x="1152" y="472"/>
                  </a:cubicBezTo>
                  <a:moveTo>
                    <a:pt x="1595" y="473"/>
                  </a:moveTo>
                  <a:cubicBezTo>
                    <a:pt x="1595" y="473"/>
                    <a:pt x="1595" y="473"/>
                    <a:pt x="1594" y="473"/>
                  </a:cubicBezTo>
                  <a:cubicBezTo>
                    <a:pt x="1598" y="481"/>
                    <a:pt x="1603" y="488"/>
                    <a:pt x="1609" y="496"/>
                  </a:cubicBezTo>
                  <a:cubicBezTo>
                    <a:pt x="1609" y="496"/>
                    <a:pt x="1610" y="496"/>
                    <a:pt x="1610" y="495"/>
                  </a:cubicBezTo>
                  <a:cubicBezTo>
                    <a:pt x="1604" y="488"/>
                    <a:pt x="1599" y="480"/>
                    <a:pt x="1595" y="473"/>
                  </a:cubicBezTo>
                  <a:moveTo>
                    <a:pt x="1255" y="474"/>
                  </a:moveTo>
                  <a:cubicBezTo>
                    <a:pt x="1255" y="474"/>
                    <a:pt x="1254" y="474"/>
                    <a:pt x="1254" y="474"/>
                  </a:cubicBezTo>
                  <a:cubicBezTo>
                    <a:pt x="1253" y="476"/>
                    <a:pt x="1251" y="477"/>
                    <a:pt x="1250" y="479"/>
                  </a:cubicBezTo>
                  <a:cubicBezTo>
                    <a:pt x="1251" y="479"/>
                    <a:pt x="1251" y="479"/>
                    <a:pt x="1252" y="478"/>
                  </a:cubicBezTo>
                  <a:cubicBezTo>
                    <a:pt x="1253" y="477"/>
                    <a:pt x="1254" y="475"/>
                    <a:pt x="1255" y="474"/>
                  </a:cubicBezTo>
                  <a:moveTo>
                    <a:pt x="1156" y="475"/>
                  </a:moveTo>
                  <a:cubicBezTo>
                    <a:pt x="1155" y="476"/>
                    <a:pt x="1155" y="476"/>
                    <a:pt x="1155" y="476"/>
                  </a:cubicBezTo>
                  <a:cubicBezTo>
                    <a:pt x="1156" y="477"/>
                    <a:pt x="1156" y="478"/>
                    <a:pt x="1157" y="479"/>
                  </a:cubicBezTo>
                  <a:cubicBezTo>
                    <a:pt x="1158" y="479"/>
                    <a:pt x="1158" y="479"/>
                    <a:pt x="1159" y="479"/>
                  </a:cubicBezTo>
                  <a:cubicBezTo>
                    <a:pt x="1158" y="478"/>
                    <a:pt x="1157" y="477"/>
                    <a:pt x="1156" y="475"/>
                  </a:cubicBezTo>
                  <a:moveTo>
                    <a:pt x="1251" y="480"/>
                  </a:moveTo>
                  <a:cubicBezTo>
                    <a:pt x="1250" y="480"/>
                    <a:pt x="1250" y="480"/>
                    <a:pt x="1249" y="480"/>
                  </a:cubicBezTo>
                  <a:cubicBezTo>
                    <a:pt x="1248" y="482"/>
                    <a:pt x="1247" y="483"/>
                    <a:pt x="1247" y="484"/>
                  </a:cubicBezTo>
                  <a:cubicBezTo>
                    <a:pt x="1247" y="484"/>
                    <a:pt x="1248" y="483"/>
                    <a:pt x="1248" y="483"/>
                  </a:cubicBezTo>
                  <a:cubicBezTo>
                    <a:pt x="1249" y="482"/>
                    <a:pt x="1250" y="481"/>
                    <a:pt x="1251" y="480"/>
                  </a:cubicBezTo>
                  <a:moveTo>
                    <a:pt x="1158" y="480"/>
                  </a:moveTo>
                  <a:cubicBezTo>
                    <a:pt x="1158" y="480"/>
                    <a:pt x="1158" y="480"/>
                    <a:pt x="1158" y="480"/>
                  </a:cubicBezTo>
                  <a:cubicBezTo>
                    <a:pt x="1158" y="480"/>
                    <a:pt x="1158" y="480"/>
                    <a:pt x="1158" y="480"/>
                  </a:cubicBezTo>
                  <a:cubicBezTo>
                    <a:pt x="1158" y="480"/>
                    <a:pt x="1158" y="480"/>
                    <a:pt x="1158" y="480"/>
                  </a:cubicBezTo>
                  <a:moveTo>
                    <a:pt x="1160" y="481"/>
                  </a:moveTo>
                  <a:cubicBezTo>
                    <a:pt x="1160" y="481"/>
                    <a:pt x="1159" y="481"/>
                    <a:pt x="1159" y="481"/>
                  </a:cubicBezTo>
                  <a:cubicBezTo>
                    <a:pt x="1159" y="482"/>
                    <a:pt x="1159" y="482"/>
                    <a:pt x="1160" y="482"/>
                  </a:cubicBezTo>
                  <a:cubicBezTo>
                    <a:pt x="1160" y="482"/>
                    <a:pt x="1160" y="482"/>
                    <a:pt x="1160" y="482"/>
                  </a:cubicBezTo>
                  <a:cubicBezTo>
                    <a:pt x="1160" y="482"/>
                    <a:pt x="1160" y="482"/>
                    <a:pt x="1161" y="482"/>
                  </a:cubicBezTo>
                  <a:cubicBezTo>
                    <a:pt x="1160" y="482"/>
                    <a:pt x="1160" y="481"/>
                    <a:pt x="1160" y="481"/>
                  </a:cubicBezTo>
                  <a:cubicBezTo>
                    <a:pt x="1160" y="481"/>
                    <a:pt x="1160" y="481"/>
                    <a:pt x="1160" y="481"/>
                  </a:cubicBezTo>
                  <a:moveTo>
                    <a:pt x="1161" y="483"/>
                  </a:moveTo>
                  <a:cubicBezTo>
                    <a:pt x="1161" y="483"/>
                    <a:pt x="1161" y="484"/>
                    <a:pt x="1161" y="484"/>
                  </a:cubicBezTo>
                  <a:cubicBezTo>
                    <a:pt x="1161" y="484"/>
                    <a:pt x="1161" y="484"/>
                    <a:pt x="1161" y="484"/>
                  </a:cubicBezTo>
                  <a:cubicBezTo>
                    <a:pt x="1161" y="483"/>
                    <a:pt x="1161" y="483"/>
                    <a:pt x="1161" y="483"/>
                  </a:cubicBezTo>
                  <a:moveTo>
                    <a:pt x="1162" y="484"/>
                  </a:moveTo>
                  <a:cubicBezTo>
                    <a:pt x="1162" y="484"/>
                    <a:pt x="1162" y="484"/>
                    <a:pt x="1162" y="484"/>
                  </a:cubicBezTo>
                  <a:cubicBezTo>
                    <a:pt x="1162" y="484"/>
                    <a:pt x="1162" y="485"/>
                    <a:pt x="1163" y="485"/>
                  </a:cubicBezTo>
                  <a:cubicBezTo>
                    <a:pt x="1163" y="485"/>
                    <a:pt x="1162" y="484"/>
                    <a:pt x="1162" y="484"/>
                  </a:cubicBezTo>
                  <a:moveTo>
                    <a:pt x="1247" y="485"/>
                  </a:moveTo>
                  <a:cubicBezTo>
                    <a:pt x="1247" y="485"/>
                    <a:pt x="1246" y="485"/>
                    <a:pt x="1245" y="485"/>
                  </a:cubicBezTo>
                  <a:cubicBezTo>
                    <a:pt x="1244" y="488"/>
                    <a:pt x="1242" y="490"/>
                    <a:pt x="1240" y="492"/>
                  </a:cubicBezTo>
                  <a:cubicBezTo>
                    <a:pt x="1241" y="492"/>
                    <a:pt x="1241" y="492"/>
                    <a:pt x="1242" y="492"/>
                  </a:cubicBezTo>
                  <a:cubicBezTo>
                    <a:pt x="1244" y="489"/>
                    <a:pt x="1245" y="487"/>
                    <a:pt x="1247" y="485"/>
                  </a:cubicBezTo>
                  <a:moveTo>
                    <a:pt x="1165" y="489"/>
                  </a:moveTo>
                  <a:cubicBezTo>
                    <a:pt x="1165" y="489"/>
                    <a:pt x="1165" y="489"/>
                    <a:pt x="1165" y="489"/>
                  </a:cubicBezTo>
                  <a:cubicBezTo>
                    <a:pt x="1166" y="490"/>
                    <a:pt x="1166" y="490"/>
                    <a:pt x="1167" y="490"/>
                  </a:cubicBezTo>
                  <a:cubicBezTo>
                    <a:pt x="1167" y="489"/>
                    <a:pt x="1167" y="489"/>
                    <a:pt x="1166" y="489"/>
                  </a:cubicBezTo>
                  <a:cubicBezTo>
                    <a:pt x="1166" y="489"/>
                    <a:pt x="1165" y="489"/>
                    <a:pt x="1165" y="489"/>
                  </a:cubicBezTo>
                  <a:moveTo>
                    <a:pt x="1166" y="491"/>
                  </a:moveTo>
                  <a:cubicBezTo>
                    <a:pt x="1167" y="491"/>
                    <a:pt x="1167" y="492"/>
                    <a:pt x="1168" y="492"/>
                  </a:cubicBezTo>
                  <a:cubicBezTo>
                    <a:pt x="1168" y="492"/>
                    <a:pt x="1168" y="492"/>
                    <a:pt x="1169" y="492"/>
                  </a:cubicBezTo>
                  <a:cubicBezTo>
                    <a:pt x="1168" y="491"/>
                    <a:pt x="1168" y="491"/>
                    <a:pt x="1168" y="491"/>
                  </a:cubicBezTo>
                  <a:cubicBezTo>
                    <a:pt x="1167" y="491"/>
                    <a:pt x="1167" y="491"/>
                    <a:pt x="1166" y="491"/>
                  </a:cubicBezTo>
                  <a:moveTo>
                    <a:pt x="1169" y="492"/>
                  </a:moveTo>
                  <a:cubicBezTo>
                    <a:pt x="1169" y="493"/>
                    <a:pt x="1169" y="493"/>
                    <a:pt x="1168" y="493"/>
                  </a:cubicBezTo>
                  <a:cubicBezTo>
                    <a:pt x="1169" y="493"/>
                    <a:pt x="1169" y="493"/>
                    <a:pt x="1169" y="494"/>
                  </a:cubicBezTo>
                  <a:cubicBezTo>
                    <a:pt x="1169" y="494"/>
                    <a:pt x="1170" y="493"/>
                    <a:pt x="1170" y="493"/>
                  </a:cubicBezTo>
                  <a:cubicBezTo>
                    <a:pt x="1170" y="493"/>
                    <a:pt x="1170" y="493"/>
                    <a:pt x="1169" y="492"/>
                  </a:cubicBezTo>
                  <a:moveTo>
                    <a:pt x="1241" y="493"/>
                  </a:moveTo>
                  <a:cubicBezTo>
                    <a:pt x="1240" y="493"/>
                    <a:pt x="1239" y="494"/>
                    <a:pt x="1239" y="494"/>
                  </a:cubicBezTo>
                  <a:cubicBezTo>
                    <a:pt x="1239" y="494"/>
                    <a:pt x="1238" y="494"/>
                    <a:pt x="1238" y="494"/>
                  </a:cubicBezTo>
                  <a:cubicBezTo>
                    <a:pt x="1239" y="494"/>
                    <a:pt x="1239" y="494"/>
                    <a:pt x="1240" y="494"/>
                  </a:cubicBezTo>
                  <a:cubicBezTo>
                    <a:pt x="1240" y="494"/>
                    <a:pt x="1240" y="494"/>
                    <a:pt x="1241" y="493"/>
                  </a:cubicBezTo>
                  <a:moveTo>
                    <a:pt x="1171" y="494"/>
                  </a:moveTo>
                  <a:cubicBezTo>
                    <a:pt x="1171" y="494"/>
                    <a:pt x="1170" y="494"/>
                    <a:pt x="1170" y="495"/>
                  </a:cubicBezTo>
                  <a:cubicBezTo>
                    <a:pt x="1171" y="496"/>
                    <a:pt x="1172" y="497"/>
                    <a:pt x="1173" y="498"/>
                  </a:cubicBezTo>
                  <a:cubicBezTo>
                    <a:pt x="1173" y="497"/>
                    <a:pt x="1173" y="497"/>
                    <a:pt x="1174" y="497"/>
                  </a:cubicBezTo>
                  <a:cubicBezTo>
                    <a:pt x="1173" y="496"/>
                    <a:pt x="1172" y="495"/>
                    <a:pt x="1171" y="494"/>
                  </a:cubicBezTo>
                  <a:moveTo>
                    <a:pt x="1238" y="495"/>
                  </a:moveTo>
                  <a:cubicBezTo>
                    <a:pt x="1237" y="496"/>
                    <a:pt x="1237" y="496"/>
                    <a:pt x="1237" y="496"/>
                  </a:cubicBezTo>
                  <a:cubicBezTo>
                    <a:pt x="1237" y="496"/>
                    <a:pt x="1237" y="496"/>
                    <a:pt x="1238" y="497"/>
                  </a:cubicBezTo>
                  <a:cubicBezTo>
                    <a:pt x="1238" y="496"/>
                    <a:pt x="1238" y="496"/>
                    <a:pt x="1239" y="495"/>
                  </a:cubicBezTo>
                  <a:cubicBezTo>
                    <a:pt x="1238" y="495"/>
                    <a:pt x="1238" y="495"/>
                    <a:pt x="1238" y="495"/>
                  </a:cubicBezTo>
                  <a:moveTo>
                    <a:pt x="1611" y="496"/>
                  </a:moveTo>
                  <a:cubicBezTo>
                    <a:pt x="1610" y="496"/>
                    <a:pt x="1610" y="497"/>
                    <a:pt x="1610" y="497"/>
                  </a:cubicBezTo>
                  <a:cubicBezTo>
                    <a:pt x="1615" y="503"/>
                    <a:pt x="1621" y="510"/>
                    <a:pt x="1628" y="518"/>
                  </a:cubicBezTo>
                  <a:cubicBezTo>
                    <a:pt x="1629" y="517"/>
                    <a:pt x="1629" y="517"/>
                    <a:pt x="1629" y="517"/>
                  </a:cubicBezTo>
                  <a:cubicBezTo>
                    <a:pt x="1622" y="510"/>
                    <a:pt x="1616" y="503"/>
                    <a:pt x="1611" y="496"/>
                  </a:cubicBezTo>
                  <a:moveTo>
                    <a:pt x="1236" y="497"/>
                  </a:moveTo>
                  <a:cubicBezTo>
                    <a:pt x="1236" y="497"/>
                    <a:pt x="1236" y="497"/>
                    <a:pt x="1236" y="497"/>
                  </a:cubicBezTo>
                  <a:cubicBezTo>
                    <a:pt x="1236" y="497"/>
                    <a:pt x="1236" y="498"/>
                    <a:pt x="1237" y="498"/>
                  </a:cubicBezTo>
                  <a:cubicBezTo>
                    <a:pt x="1237" y="498"/>
                    <a:pt x="1237" y="497"/>
                    <a:pt x="1237" y="497"/>
                  </a:cubicBezTo>
                  <a:cubicBezTo>
                    <a:pt x="1237" y="497"/>
                    <a:pt x="1236" y="497"/>
                    <a:pt x="1236" y="497"/>
                  </a:cubicBezTo>
                  <a:moveTo>
                    <a:pt x="1174" y="498"/>
                  </a:moveTo>
                  <a:cubicBezTo>
                    <a:pt x="1174" y="498"/>
                    <a:pt x="1174" y="498"/>
                    <a:pt x="1173" y="498"/>
                  </a:cubicBezTo>
                  <a:cubicBezTo>
                    <a:pt x="1174" y="498"/>
                    <a:pt x="1174" y="499"/>
                    <a:pt x="1174" y="499"/>
                  </a:cubicBezTo>
                  <a:cubicBezTo>
                    <a:pt x="1174" y="499"/>
                    <a:pt x="1174" y="498"/>
                    <a:pt x="1174" y="498"/>
                  </a:cubicBezTo>
                  <a:cubicBezTo>
                    <a:pt x="1174" y="498"/>
                    <a:pt x="1174" y="498"/>
                    <a:pt x="1174" y="498"/>
                  </a:cubicBezTo>
                  <a:moveTo>
                    <a:pt x="1235" y="498"/>
                  </a:moveTo>
                  <a:cubicBezTo>
                    <a:pt x="1234" y="499"/>
                    <a:pt x="1234" y="499"/>
                    <a:pt x="1234" y="499"/>
                  </a:cubicBezTo>
                  <a:cubicBezTo>
                    <a:pt x="1235" y="499"/>
                    <a:pt x="1235" y="499"/>
                    <a:pt x="1236" y="499"/>
                  </a:cubicBezTo>
                  <a:cubicBezTo>
                    <a:pt x="1236" y="498"/>
                    <a:pt x="1235" y="498"/>
                    <a:pt x="1235" y="498"/>
                  </a:cubicBezTo>
                  <a:moveTo>
                    <a:pt x="1175" y="499"/>
                  </a:moveTo>
                  <a:cubicBezTo>
                    <a:pt x="1175" y="499"/>
                    <a:pt x="1175" y="499"/>
                    <a:pt x="1175" y="499"/>
                  </a:cubicBezTo>
                  <a:cubicBezTo>
                    <a:pt x="1175" y="499"/>
                    <a:pt x="1175" y="499"/>
                    <a:pt x="1174" y="499"/>
                  </a:cubicBezTo>
                  <a:cubicBezTo>
                    <a:pt x="1175" y="500"/>
                    <a:pt x="1176" y="501"/>
                    <a:pt x="1176" y="501"/>
                  </a:cubicBezTo>
                  <a:cubicBezTo>
                    <a:pt x="1177" y="501"/>
                    <a:pt x="1177" y="501"/>
                    <a:pt x="1177" y="501"/>
                  </a:cubicBezTo>
                  <a:cubicBezTo>
                    <a:pt x="1177" y="500"/>
                    <a:pt x="1176" y="499"/>
                    <a:pt x="1175" y="499"/>
                  </a:cubicBezTo>
                  <a:moveTo>
                    <a:pt x="1234" y="500"/>
                  </a:moveTo>
                  <a:cubicBezTo>
                    <a:pt x="1234" y="500"/>
                    <a:pt x="1234" y="501"/>
                    <a:pt x="1233" y="501"/>
                  </a:cubicBezTo>
                  <a:cubicBezTo>
                    <a:pt x="1234" y="501"/>
                    <a:pt x="1234" y="501"/>
                    <a:pt x="1234" y="501"/>
                  </a:cubicBezTo>
                  <a:cubicBezTo>
                    <a:pt x="1234" y="501"/>
                    <a:pt x="1234" y="500"/>
                    <a:pt x="1234" y="500"/>
                  </a:cubicBezTo>
                  <a:moveTo>
                    <a:pt x="1232" y="501"/>
                  </a:moveTo>
                  <a:cubicBezTo>
                    <a:pt x="1231" y="502"/>
                    <a:pt x="1231" y="503"/>
                    <a:pt x="1230" y="503"/>
                  </a:cubicBezTo>
                  <a:cubicBezTo>
                    <a:pt x="1230" y="504"/>
                    <a:pt x="1231" y="504"/>
                    <a:pt x="1231" y="504"/>
                  </a:cubicBezTo>
                  <a:cubicBezTo>
                    <a:pt x="1232" y="503"/>
                    <a:pt x="1232" y="502"/>
                    <a:pt x="1233" y="502"/>
                  </a:cubicBezTo>
                  <a:cubicBezTo>
                    <a:pt x="1233" y="501"/>
                    <a:pt x="1232" y="501"/>
                    <a:pt x="1232" y="501"/>
                  </a:cubicBezTo>
                  <a:moveTo>
                    <a:pt x="1178" y="501"/>
                  </a:moveTo>
                  <a:cubicBezTo>
                    <a:pt x="1178" y="502"/>
                    <a:pt x="1177" y="502"/>
                    <a:pt x="1177" y="502"/>
                  </a:cubicBezTo>
                  <a:cubicBezTo>
                    <a:pt x="1178" y="503"/>
                    <a:pt x="1178" y="503"/>
                    <a:pt x="1179" y="504"/>
                  </a:cubicBezTo>
                  <a:cubicBezTo>
                    <a:pt x="1179" y="504"/>
                    <a:pt x="1180" y="503"/>
                    <a:pt x="1180" y="503"/>
                  </a:cubicBezTo>
                  <a:cubicBezTo>
                    <a:pt x="1179" y="503"/>
                    <a:pt x="1179" y="502"/>
                    <a:pt x="1178" y="501"/>
                  </a:cubicBezTo>
                  <a:moveTo>
                    <a:pt x="1181" y="504"/>
                  </a:moveTo>
                  <a:cubicBezTo>
                    <a:pt x="1181" y="504"/>
                    <a:pt x="1180" y="504"/>
                    <a:pt x="1180" y="504"/>
                  </a:cubicBezTo>
                  <a:cubicBezTo>
                    <a:pt x="1180" y="505"/>
                    <a:pt x="1181" y="505"/>
                    <a:pt x="1181" y="506"/>
                  </a:cubicBezTo>
                  <a:cubicBezTo>
                    <a:pt x="1181" y="505"/>
                    <a:pt x="1182" y="505"/>
                    <a:pt x="1182" y="505"/>
                  </a:cubicBezTo>
                  <a:cubicBezTo>
                    <a:pt x="1182" y="505"/>
                    <a:pt x="1181" y="504"/>
                    <a:pt x="1181" y="504"/>
                  </a:cubicBezTo>
                  <a:moveTo>
                    <a:pt x="1229" y="504"/>
                  </a:moveTo>
                  <a:cubicBezTo>
                    <a:pt x="1229" y="505"/>
                    <a:pt x="1229" y="505"/>
                    <a:pt x="1228" y="505"/>
                  </a:cubicBezTo>
                  <a:cubicBezTo>
                    <a:pt x="1229" y="505"/>
                    <a:pt x="1229" y="505"/>
                    <a:pt x="1229" y="505"/>
                  </a:cubicBezTo>
                  <a:cubicBezTo>
                    <a:pt x="1229" y="505"/>
                    <a:pt x="1229" y="504"/>
                    <a:pt x="1229" y="504"/>
                  </a:cubicBezTo>
                  <a:moveTo>
                    <a:pt x="1229" y="506"/>
                  </a:moveTo>
                  <a:cubicBezTo>
                    <a:pt x="1228" y="506"/>
                    <a:pt x="1228" y="506"/>
                    <a:pt x="1228" y="506"/>
                  </a:cubicBezTo>
                  <a:cubicBezTo>
                    <a:pt x="1228" y="506"/>
                    <a:pt x="1228" y="506"/>
                    <a:pt x="1228" y="506"/>
                  </a:cubicBezTo>
                  <a:cubicBezTo>
                    <a:pt x="1228" y="506"/>
                    <a:pt x="1229" y="506"/>
                    <a:pt x="1229" y="506"/>
                  </a:cubicBezTo>
                  <a:moveTo>
                    <a:pt x="1183" y="506"/>
                  </a:moveTo>
                  <a:cubicBezTo>
                    <a:pt x="1183" y="506"/>
                    <a:pt x="1182" y="506"/>
                    <a:pt x="1182" y="506"/>
                  </a:cubicBezTo>
                  <a:cubicBezTo>
                    <a:pt x="1183" y="507"/>
                    <a:pt x="1184" y="508"/>
                    <a:pt x="1185" y="509"/>
                  </a:cubicBezTo>
                  <a:cubicBezTo>
                    <a:pt x="1186" y="509"/>
                    <a:pt x="1186" y="508"/>
                    <a:pt x="1186" y="508"/>
                  </a:cubicBezTo>
                  <a:cubicBezTo>
                    <a:pt x="1185" y="508"/>
                    <a:pt x="1184" y="507"/>
                    <a:pt x="1183" y="506"/>
                  </a:cubicBezTo>
                  <a:moveTo>
                    <a:pt x="1225" y="508"/>
                  </a:moveTo>
                  <a:cubicBezTo>
                    <a:pt x="1223" y="509"/>
                    <a:pt x="1222" y="510"/>
                    <a:pt x="1220" y="511"/>
                  </a:cubicBezTo>
                  <a:cubicBezTo>
                    <a:pt x="1221" y="511"/>
                    <a:pt x="1221" y="511"/>
                    <a:pt x="1221" y="512"/>
                  </a:cubicBezTo>
                  <a:cubicBezTo>
                    <a:pt x="1223" y="511"/>
                    <a:pt x="1224" y="509"/>
                    <a:pt x="1226" y="508"/>
                  </a:cubicBezTo>
                  <a:cubicBezTo>
                    <a:pt x="1226" y="508"/>
                    <a:pt x="1225" y="508"/>
                    <a:pt x="1225" y="508"/>
                  </a:cubicBezTo>
                  <a:moveTo>
                    <a:pt x="1187" y="509"/>
                  </a:moveTo>
                  <a:cubicBezTo>
                    <a:pt x="1187" y="509"/>
                    <a:pt x="1187" y="509"/>
                    <a:pt x="1186" y="509"/>
                  </a:cubicBezTo>
                  <a:cubicBezTo>
                    <a:pt x="1187" y="510"/>
                    <a:pt x="1187" y="510"/>
                    <a:pt x="1188" y="510"/>
                  </a:cubicBezTo>
                  <a:cubicBezTo>
                    <a:pt x="1188" y="510"/>
                    <a:pt x="1188" y="510"/>
                    <a:pt x="1189" y="510"/>
                  </a:cubicBezTo>
                  <a:cubicBezTo>
                    <a:pt x="1188" y="510"/>
                    <a:pt x="1188" y="509"/>
                    <a:pt x="1187" y="509"/>
                  </a:cubicBezTo>
                  <a:moveTo>
                    <a:pt x="1190" y="510"/>
                  </a:moveTo>
                  <a:cubicBezTo>
                    <a:pt x="1189" y="511"/>
                    <a:pt x="1189" y="511"/>
                    <a:pt x="1189" y="511"/>
                  </a:cubicBezTo>
                  <a:cubicBezTo>
                    <a:pt x="1190" y="512"/>
                    <a:pt x="1190" y="512"/>
                    <a:pt x="1191" y="512"/>
                  </a:cubicBezTo>
                  <a:cubicBezTo>
                    <a:pt x="1191" y="512"/>
                    <a:pt x="1192" y="512"/>
                    <a:pt x="1192" y="512"/>
                  </a:cubicBezTo>
                  <a:cubicBezTo>
                    <a:pt x="1191" y="511"/>
                    <a:pt x="1191" y="511"/>
                    <a:pt x="1190" y="510"/>
                  </a:cubicBezTo>
                  <a:moveTo>
                    <a:pt x="1219" y="512"/>
                  </a:moveTo>
                  <a:cubicBezTo>
                    <a:pt x="1219" y="512"/>
                    <a:pt x="1219" y="512"/>
                    <a:pt x="1219" y="512"/>
                  </a:cubicBezTo>
                  <a:cubicBezTo>
                    <a:pt x="1218" y="512"/>
                    <a:pt x="1218" y="512"/>
                    <a:pt x="1218" y="512"/>
                  </a:cubicBezTo>
                  <a:cubicBezTo>
                    <a:pt x="1217" y="513"/>
                    <a:pt x="1217" y="513"/>
                    <a:pt x="1216" y="513"/>
                  </a:cubicBezTo>
                  <a:cubicBezTo>
                    <a:pt x="1216" y="513"/>
                    <a:pt x="1216" y="513"/>
                    <a:pt x="1215" y="514"/>
                  </a:cubicBezTo>
                  <a:cubicBezTo>
                    <a:pt x="1215" y="514"/>
                    <a:pt x="1215" y="514"/>
                    <a:pt x="1215" y="514"/>
                  </a:cubicBezTo>
                  <a:cubicBezTo>
                    <a:pt x="1215" y="514"/>
                    <a:pt x="1214" y="514"/>
                    <a:pt x="1214" y="514"/>
                  </a:cubicBezTo>
                  <a:cubicBezTo>
                    <a:pt x="1213" y="514"/>
                    <a:pt x="1213" y="514"/>
                    <a:pt x="1213" y="514"/>
                  </a:cubicBezTo>
                  <a:cubicBezTo>
                    <a:pt x="1211" y="515"/>
                    <a:pt x="1208" y="515"/>
                    <a:pt x="1206" y="515"/>
                  </a:cubicBezTo>
                  <a:cubicBezTo>
                    <a:pt x="1205" y="516"/>
                    <a:pt x="1205" y="516"/>
                    <a:pt x="1204" y="516"/>
                  </a:cubicBezTo>
                  <a:cubicBezTo>
                    <a:pt x="1205" y="516"/>
                    <a:pt x="1205" y="516"/>
                    <a:pt x="1206" y="516"/>
                  </a:cubicBezTo>
                  <a:cubicBezTo>
                    <a:pt x="1208" y="516"/>
                    <a:pt x="1211" y="516"/>
                    <a:pt x="1214" y="515"/>
                  </a:cubicBezTo>
                  <a:cubicBezTo>
                    <a:pt x="1214" y="515"/>
                    <a:pt x="1214" y="515"/>
                    <a:pt x="1215" y="515"/>
                  </a:cubicBezTo>
                  <a:cubicBezTo>
                    <a:pt x="1215" y="515"/>
                    <a:pt x="1215" y="515"/>
                    <a:pt x="1215" y="515"/>
                  </a:cubicBezTo>
                  <a:cubicBezTo>
                    <a:pt x="1215" y="514"/>
                    <a:pt x="1216" y="514"/>
                    <a:pt x="1216" y="514"/>
                  </a:cubicBezTo>
                  <a:cubicBezTo>
                    <a:pt x="1217" y="514"/>
                    <a:pt x="1217" y="514"/>
                    <a:pt x="1217" y="514"/>
                  </a:cubicBezTo>
                  <a:cubicBezTo>
                    <a:pt x="1218" y="514"/>
                    <a:pt x="1218" y="513"/>
                    <a:pt x="1219" y="513"/>
                  </a:cubicBezTo>
                  <a:cubicBezTo>
                    <a:pt x="1219" y="513"/>
                    <a:pt x="1219" y="513"/>
                    <a:pt x="1220" y="513"/>
                  </a:cubicBezTo>
                  <a:cubicBezTo>
                    <a:pt x="1220" y="512"/>
                    <a:pt x="1220" y="512"/>
                    <a:pt x="1220" y="512"/>
                  </a:cubicBezTo>
                  <a:cubicBezTo>
                    <a:pt x="1220" y="512"/>
                    <a:pt x="1219" y="512"/>
                    <a:pt x="1219" y="512"/>
                  </a:cubicBezTo>
                  <a:moveTo>
                    <a:pt x="1193" y="512"/>
                  </a:moveTo>
                  <a:cubicBezTo>
                    <a:pt x="1193" y="513"/>
                    <a:pt x="1193" y="513"/>
                    <a:pt x="1192" y="513"/>
                  </a:cubicBezTo>
                  <a:cubicBezTo>
                    <a:pt x="1193" y="513"/>
                    <a:pt x="1194" y="514"/>
                    <a:pt x="1195" y="514"/>
                  </a:cubicBezTo>
                  <a:cubicBezTo>
                    <a:pt x="1195" y="514"/>
                    <a:pt x="1196" y="514"/>
                    <a:pt x="1196" y="514"/>
                  </a:cubicBezTo>
                  <a:cubicBezTo>
                    <a:pt x="1195" y="513"/>
                    <a:pt x="1194" y="513"/>
                    <a:pt x="1193" y="512"/>
                  </a:cubicBezTo>
                  <a:moveTo>
                    <a:pt x="1197" y="514"/>
                  </a:moveTo>
                  <a:cubicBezTo>
                    <a:pt x="1197" y="514"/>
                    <a:pt x="1197" y="514"/>
                    <a:pt x="1196" y="515"/>
                  </a:cubicBezTo>
                  <a:cubicBezTo>
                    <a:pt x="1196" y="515"/>
                    <a:pt x="1196" y="515"/>
                    <a:pt x="1196" y="515"/>
                  </a:cubicBezTo>
                  <a:cubicBezTo>
                    <a:pt x="1197" y="514"/>
                    <a:pt x="1197" y="514"/>
                    <a:pt x="1198" y="514"/>
                  </a:cubicBezTo>
                  <a:cubicBezTo>
                    <a:pt x="1198" y="514"/>
                    <a:pt x="1197" y="514"/>
                    <a:pt x="1197" y="514"/>
                  </a:cubicBezTo>
                  <a:moveTo>
                    <a:pt x="1200" y="515"/>
                  </a:moveTo>
                  <a:cubicBezTo>
                    <a:pt x="1199" y="515"/>
                    <a:pt x="1199" y="515"/>
                    <a:pt x="1198" y="515"/>
                  </a:cubicBezTo>
                  <a:cubicBezTo>
                    <a:pt x="1199" y="516"/>
                    <a:pt x="1200" y="516"/>
                    <a:pt x="1202" y="516"/>
                  </a:cubicBezTo>
                  <a:cubicBezTo>
                    <a:pt x="1202" y="516"/>
                    <a:pt x="1203" y="516"/>
                    <a:pt x="1203" y="515"/>
                  </a:cubicBezTo>
                  <a:cubicBezTo>
                    <a:pt x="1202" y="515"/>
                    <a:pt x="1201" y="515"/>
                    <a:pt x="1200" y="515"/>
                  </a:cubicBezTo>
                  <a:moveTo>
                    <a:pt x="1630" y="518"/>
                  </a:moveTo>
                  <a:cubicBezTo>
                    <a:pt x="1630" y="518"/>
                    <a:pt x="1629" y="518"/>
                    <a:pt x="1629" y="518"/>
                  </a:cubicBezTo>
                  <a:cubicBezTo>
                    <a:pt x="1633" y="522"/>
                    <a:pt x="1636" y="525"/>
                    <a:pt x="1641" y="529"/>
                  </a:cubicBezTo>
                  <a:cubicBezTo>
                    <a:pt x="1641" y="529"/>
                    <a:pt x="1641" y="529"/>
                    <a:pt x="1641" y="529"/>
                  </a:cubicBezTo>
                  <a:cubicBezTo>
                    <a:pt x="1637" y="525"/>
                    <a:pt x="1634" y="521"/>
                    <a:pt x="1630" y="518"/>
                  </a:cubicBezTo>
                  <a:moveTo>
                    <a:pt x="1026" y="527"/>
                  </a:moveTo>
                  <a:cubicBezTo>
                    <a:pt x="1026" y="527"/>
                    <a:pt x="1026" y="527"/>
                    <a:pt x="1026" y="527"/>
                  </a:cubicBezTo>
                  <a:cubicBezTo>
                    <a:pt x="1031" y="528"/>
                    <a:pt x="1037" y="529"/>
                    <a:pt x="1042" y="530"/>
                  </a:cubicBezTo>
                  <a:cubicBezTo>
                    <a:pt x="1042" y="530"/>
                    <a:pt x="1042" y="530"/>
                    <a:pt x="1043" y="530"/>
                  </a:cubicBezTo>
                  <a:cubicBezTo>
                    <a:pt x="1037" y="529"/>
                    <a:pt x="1032" y="528"/>
                    <a:pt x="1026" y="527"/>
                  </a:cubicBezTo>
                  <a:moveTo>
                    <a:pt x="1642" y="529"/>
                  </a:moveTo>
                  <a:cubicBezTo>
                    <a:pt x="1642" y="529"/>
                    <a:pt x="1642" y="530"/>
                    <a:pt x="1641" y="530"/>
                  </a:cubicBezTo>
                  <a:cubicBezTo>
                    <a:pt x="1645" y="533"/>
                    <a:pt x="1649" y="537"/>
                    <a:pt x="1653" y="540"/>
                  </a:cubicBezTo>
                  <a:cubicBezTo>
                    <a:pt x="1654" y="540"/>
                    <a:pt x="1654" y="540"/>
                    <a:pt x="1654" y="539"/>
                  </a:cubicBezTo>
                  <a:cubicBezTo>
                    <a:pt x="1650" y="536"/>
                    <a:pt x="1646" y="533"/>
                    <a:pt x="1642" y="529"/>
                  </a:cubicBezTo>
                  <a:moveTo>
                    <a:pt x="1044" y="530"/>
                  </a:moveTo>
                  <a:cubicBezTo>
                    <a:pt x="1044" y="530"/>
                    <a:pt x="1044" y="530"/>
                    <a:pt x="1043" y="531"/>
                  </a:cubicBezTo>
                  <a:cubicBezTo>
                    <a:pt x="1046" y="531"/>
                    <a:pt x="1049" y="532"/>
                    <a:pt x="1051" y="532"/>
                  </a:cubicBezTo>
                  <a:cubicBezTo>
                    <a:pt x="1051" y="532"/>
                    <a:pt x="1051" y="532"/>
                    <a:pt x="1051" y="532"/>
                  </a:cubicBezTo>
                  <a:cubicBezTo>
                    <a:pt x="1049" y="531"/>
                    <a:pt x="1047" y="531"/>
                    <a:pt x="1044" y="530"/>
                  </a:cubicBezTo>
                  <a:moveTo>
                    <a:pt x="1052" y="532"/>
                  </a:moveTo>
                  <a:cubicBezTo>
                    <a:pt x="1052" y="532"/>
                    <a:pt x="1052" y="532"/>
                    <a:pt x="1053" y="532"/>
                  </a:cubicBezTo>
                  <a:cubicBezTo>
                    <a:pt x="1054" y="532"/>
                    <a:pt x="1055" y="533"/>
                    <a:pt x="1057" y="533"/>
                  </a:cubicBezTo>
                  <a:cubicBezTo>
                    <a:pt x="1057" y="533"/>
                    <a:pt x="1057" y="533"/>
                    <a:pt x="1057" y="532"/>
                  </a:cubicBezTo>
                  <a:cubicBezTo>
                    <a:pt x="1055" y="532"/>
                    <a:pt x="1054" y="532"/>
                    <a:pt x="1052" y="532"/>
                  </a:cubicBezTo>
                  <a:moveTo>
                    <a:pt x="1058" y="533"/>
                  </a:moveTo>
                  <a:cubicBezTo>
                    <a:pt x="1058" y="533"/>
                    <a:pt x="1058" y="533"/>
                    <a:pt x="1058" y="533"/>
                  </a:cubicBezTo>
                  <a:cubicBezTo>
                    <a:pt x="1058" y="533"/>
                    <a:pt x="1058" y="533"/>
                    <a:pt x="1059" y="533"/>
                  </a:cubicBezTo>
                  <a:cubicBezTo>
                    <a:pt x="1059" y="533"/>
                    <a:pt x="1059" y="533"/>
                    <a:pt x="1059" y="533"/>
                  </a:cubicBezTo>
                  <a:cubicBezTo>
                    <a:pt x="1059" y="533"/>
                    <a:pt x="1058" y="533"/>
                    <a:pt x="1058" y="533"/>
                  </a:cubicBezTo>
                  <a:moveTo>
                    <a:pt x="1061" y="533"/>
                  </a:moveTo>
                  <a:cubicBezTo>
                    <a:pt x="1061" y="533"/>
                    <a:pt x="1061" y="533"/>
                    <a:pt x="1060" y="533"/>
                  </a:cubicBezTo>
                  <a:cubicBezTo>
                    <a:pt x="1061" y="534"/>
                    <a:pt x="1062" y="534"/>
                    <a:pt x="1063" y="534"/>
                  </a:cubicBezTo>
                  <a:cubicBezTo>
                    <a:pt x="1062" y="534"/>
                    <a:pt x="1062" y="534"/>
                    <a:pt x="1062" y="533"/>
                  </a:cubicBezTo>
                  <a:cubicBezTo>
                    <a:pt x="1062" y="533"/>
                    <a:pt x="1061" y="533"/>
                    <a:pt x="1061" y="533"/>
                  </a:cubicBezTo>
                  <a:moveTo>
                    <a:pt x="1064" y="534"/>
                  </a:moveTo>
                  <a:cubicBezTo>
                    <a:pt x="1064" y="534"/>
                    <a:pt x="1064" y="534"/>
                    <a:pt x="1065" y="534"/>
                  </a:cubicBezTo>
                  <a:cubicBezTo>
                    <a:pt x="1065" y="534"/>
                    <a:pt x="1065" y="534"/>
                    <a:pt x="1066" y="534"/>
                  </a:cubicBezTo>
                  <a:cubicBezTo>
                    <a:pt x="1068" y="535"/>
                    <a:pt x="1069" y="535"/>
                    <a:pt x="1071" y="535"/>
                  </a:cubicBezTo>
                  <a:cubicBezTo>
                    <a:pt x="1071" y="535"/>
                    <a:pt x="1071" y="535"/>
                    <a:pt x="1072" y="535"/>
                  </a:cubicBezTo>
                  <a:cubicBezTo>
                    <a:pt x="1069" y="535"/>
                    <a:pt x="1067" y="534"/>
                    <a:pt x="1064" y="534"/>
                  </a:cubicBezTo>
                  <a:moveTo>
                    <a:pt x="1072" y="535"/>
                  </a:moveTo>
                  <a:cubicBezTo>
                    <a:pt x="1072" y="535"/>
                    <a:pt x="1072" y="535"/>
                    <a:pt x="1072" y="535"/>
                  </a:cubicBezTo>
                  <a:cubicBezTo>
                    <a:pt x="1074" y="536"/>
                    <a:pt x="1075" y="536"/>
                    <a:pt x="1076" y="536"/>
                  </a:cubicBezTo>
                  <a:cubicBezTo>
                    <a:pt x="1077" y="536"/>
                    <a:pt x="1077" y="536"/>
                    <a:pt x="1077" y="536"/>
                  </a:cubicBezTo>
                  <a:cubicBezTo>
                    <a:pt x="1075" y="536"/>
                    <a:pt x="1074" y="535"/>
                    <a:pt x="1072" y="535"/>
                  </a:cubicBezTo>
                  <a:moveTo>
                    <a:pt x="1078" y="536"/>
                  </a:moveTo>
                  <a:cubicBezTo>
                    <a:pt x="1078" y="536"/>
                    <a:pt x="1078" y="536"/>
                    <a:pt x="1078" y="536"/>
                  </a:cubicBezTo>
                  <a:cubicBezTo>
                    <a:pt x="1082" y="537"/>
                    <a:pt x="1085" y="537"/>
                    <a:pt x="1089" y="538"/>
                  </a:cubicBezTo>
                  <a:cubicBezTo>
                    <a:pt x="1085" y="537"/>
                    <a:pt x="1082" y="537"/>
                    <a:pt x="1078" y="536"/>
                  </a:cubicBezTo>
                  <a:moveTo>
                    <a:pt x="1090" y="537"/>
                  </a:moveTo>
                  <a:cubicBezTo>
                    <a:pt x="1090" y="537"/>
                    <a:pt x="1091" y="537"/>
                    <a:pt x="1092" y="537"/>
                  </a:cubicBezTo>
                  <a:cubicBezTo>
                    <a:pt x="1092" y="537"/>
                    <a:pt x="1092" y="537"/>
                    <a:pt x="1092" y="537"/>
                  </a:cubicBezTo>
                  <a:cubicBezTo>
                    <a:pt x="1091" y="537"/>
                    <a:pt x="1090" y="537"/>
                    <a:pt x="1090" y="537"/>
                  </a:cubicBezTo>
                  <a:moveTo>
                    <a:pt x="1094" y="537"/>
                  </a:moveTo>
                  <a:cubicBezTo>
                    <a:pt x="1094" y="538"/>
                    <a:pt x="1094" y="538"/>
                    <a:pt x="1094" y="538"/>
                  </a:cubicBezTo>
                  <a:cubicBezTo>
                    <a:pt x="1095" y="538"/>
                    <a:pt x="1096" y="538"/>
                    <a:pt x="1097" y="538"/>
                  </a:cubicBezTo>
                  <a:cubicBezTo>
                    <a:pt x="1097" y="538"/>
                    <a:pt x="1097" y="538"/>
                    <a:pt x="1097" y="538"/>
                  </a:cubicBezTo>
                  <a:cubicBezTo>
                    <a:pt x="1096" y="538"/>
                    <a:pt x="1096" y="538"/>
                    <a:pt x="1096" y="538"/>
                  </a:cubicBezTo>
                  <a:cubicBezTo>
                    <a:pt x="1095" y="538"/>
                    <a:pt x="1094" y="538"/>
                    <a:pt x="1094" y="537"/>
                  </a:cubicBezTo>
                  <a:moveTo>
                    <a:pt x="1655" y="540"/>
                  </a:moveTo>
                  <a:cubicBezTo>
                    <a:pt x="1655" y="540"/>
                    <a:pt x="1655" y="541"/>
                    <a:pt x="1654" y="541"/>
                  </a:cubicBezTo>
                  <a:cubicBezTo>
                    <a:pt x="1660" y="545"/>
                    <a:pt x="1666" y="549"/>
                    <a:pt x="1671" y="553"/>
                  </a:cubicBezTo>
                  <a:cubicBezTo>
                    <a:pt x="1672" y="553"/>
                    <a:pt x="1672" y="553"/>
                    <a:pt x="1673" y="552"/>
                  </a:cubicBezTo>
                  <a:cubicBezTo>
                    <a:pt x="1667" y="549"/>
                    <a:pt x="1661" y="545"/>
                    <a:pt x="1655" y="540"/>
                  </a:cubicBezTo>
                  <a:moveTo>
                    <a:pt x="1121" y="541"/>
                  </a:moveTo>
                  <a:cubicBezTo>
                    <a:pt x="1122" y="541"/>
                    <a:pt x="1124" y="542"/>
                    <a:pt x="1126" y="542"/>
                  </a:cubicBezTo>
                  <a:cubicBezTo>
                    <a:pt x="1126" y="542"/>
                    <a:pt x="1127" y="542"/>
                    <a:pt x="1127" y="542"/>
                  </a:cubicBezTo>
                  <a:cubicBezTo>
                    <a:pt x="1125" y="542"/>
                    <a:pt x="1123" y="541"/>
                    <a:pt x="1121" y="541"/>
                  </a:cubicBezTo>
                  <a:moveTo>
                    <a:pt x="1129" y="542"/>
                  </a:moveTo>
                  <a:cubicBezTo>
                    <a:pt x="1128" y="542"/>
                    <a:pt x="1128" y="542"/>
                    <a:pt x="1128" y="542"/>
                  </a:cubicBezTo>
                  <a:cubicBezTo>
                    <a:pt x="1129" y="543"/>
                    <a:pt x="1130" y="543"/>
                    <a:pt x="1130" y="543"/>
                  </a:cubicBezTo>
                  <a:cubicBezTo>
                    <a:pt x="1132" y="543"/>
                    <a:pt x="1133" y="543"/>
                    <a:pt x="1135" y="543"/>
                  </a:cubicBezTo>
                  <a:cubicBezTo>
                    <a:pt x="1135" y="543"/>
                    <a:pt x="1135" y="543"/>
                    <a:pt x="1136" y="543"/>
                  </a:cubicBezTo>
                  <a:cubicBezTo>
                    <a:pt x="1133" y="543"/>
                    <a:pt x="1131" y="542"/>
                    <a:pt x="1129" y="542"/>
                  </a:cubicBezTo>
                  <a:moveTo>
                    <a:pt x="1137" y="543"/>
                  </a:moveTo>
                  <a:cubicBezTo>
                    <a:pt x="1137" y="543"/>
                    <a:pt x="1137" y="544"/>
                    <a:pt x="1137" y="544"/>
                  </a:cubicBezTo>
                  <a:cubicBezTo>
                    <a:pt x="1138" y="544"/>
                    <a:pt x="1139" y="544"/>
                    <a:pt x="1140" y="544"/>
                  </a:cubicBezTo>
                  <a:cubicBezTo>
                    <a:pt x="1140" y="544"/>
                    <a:pt x="1141" y="544"/>
                    <a:pt x="1141" y="544"/>
                  </a:cubicBezTo>
                  <a:cubicBezTo>
                    <a:pt x="1140" y="544"/>
                    <a:pt x="1139" y="544"/>
                    <a:pt x="1138" y="543"/>
                  </a:cubicBezTo>
                  <a:cubicBezTo>
                    <a:pt x="1138" y="543"/>
                    <a:pt x="1138" y="543"/>
                    <a:pt x="1137" y="543"/>
                  </a:cubicBezTo>
                  <a:moveTo>
                    <a:pt x="1142" y="544"/>
                  </a:moveTo>
                  <a:cubicBezTo>
                    <a:pt x="1142" y="544"/>
                    <a:pt x="1142" y="544"/>
                    <a:pt x="1142" y="544"/>
                  </a:cubicBezTo>
                  <a:cubicBezTo>
                    <a:pt x="1142" y="544"/>
                    <a:pt x="1143" y="544"/>
                    <a:pt x="1143" y="544"/>
                  </a:cubicBezTo>
                  <a:cubicBezTo>
                    <a:pt x="1143" y="544"/>
                    <a:pt x="1143" y="544"/>
                    <a:pt x="1143" y="544"/>
                  </a:cubicBezTo>
                  <a:cubicBezTo>
                    <a:pt x="1143" y="544"/>
                    <a:pt x="1143" y="544"/>
                    <a:pt x="1142" y="544"/>
                  </a:cubicBezTo>
                  <a:moveTo>
                    <a:pt x="1145" y="545"/>
                  </a:moveTo>
                  <a:cubicBezTo>
                    <a:pt x="1145" y="545"/>
                    <a:pt x="1145" y="545"/>
                    <a:pt x="1145" y="545"/>
                  </a:cubicBezTo>
                  <a:cubicBezTo>
                    <a:pt x="1145" y="545"/>
                    <a:pt x="1146" y="545"/>
                    <a:pt x="1146" y="545"/>
                  </a:cubicBezTo>
                  <a:cubicBezTo>
                    <a:pt x="1146" y="545"/>
                    <a:pt x="1145" y="545"/>
                    <a:pt x="1145" y="545"/>
                  </a:cubicBezTo>
                  <a:moveTo>
                    <a:pt x="1173" y="548"/>
                  </a:moveTo>
                  <a:cubicBezTo>
                    <a:pt x="1173" y="548"/>
                    <a:pt x="1174" y="548"/>
                    <a:pt x="1174" y="548"/>
                  </a:cubicBezTo>
                  <a:cubicBezTo>
                    <a:pt x="1177" y="548"/>
                    <a:pt x="1179" y="548"/>
                    <a:pt x="1181" y="549"/>
                  </a:cubicBezTo>
                  <a:cubicBezTo>
                    <a:pt x="1178" y="548"/>
                    <a:pt x="1176" y="548"/>
                    <a:pt x="1173" y="548"/>
                  </a:cubicBezTo>
                  <a:moveTo>
                    <a:pt x="1197" y="549"/>
                  </a:moveTo>
                  <a:cubicBezTo>
                    <a:pt x="1226" y="552"/>
                    <a:pt x="1253" y="554"/>
                    <a:pt x="1278" y="555"/>
                  </a:cubicBezTo>
                  <a:cubicBezTo>
                    <a:pt x="1277" y="555"/>
                    <a:pt x="1277" y="554"/>
                    <a:pt x="1276" y="554"/>
                  </a:cubicBezTo>
                  <a:cubicBezTo>
                    <a:pt x="1275" y="554"/>
                    <a:pt x="1274" y="554"/>
                    <a:pt x="1273" y="554"/>
                  </a:cubicBezTo>
                  <a:cubicBezTo>
                    <a:pt x="1272" y="554"/>
                    <a:pt x="1271" y="554"/>
                    <a:pt x="1270" y="554"/>
                  </a:cubicBezTo>
                  <a:cubicBezTo>
                    <a:pt x="1249" y="553"/>
                    <a:pt x="1224" y="552"/>
                    <a:pt x="1197" y="549"/>
                  </a:cubicBezTo>
                  <a:moveTo>
                    <a:pt x="1674" y="553"/>
                  </a:moveTo>
                  <a:cubicBezTo>
                    <a:pt x="1673" y="553"/>
                    <a:pt x="1673" y="553"/>
                    <a:pt x="1672" y="554"/>
                  </a:cubicBezTo>
                  <a:cubicBezTo>
                    <a:pt x="1684" y="561"/>
                    <a:pt x="1696" y="567"/>
                    <a:pt x="1705" y="572"/>
                  </a:cubicBezTo>
                  <a:cubicBezTo>
                    <a:pt x="1706" y="572"/>
                    <a:pt x="1706" y="572"/>
                    <a:pt x="1707" y="571"/>
                  </a:cubicBezTo>
                  <a:cubicBezTo>
                    <a:pt x="1697" y="567"/>
                    <a:pt x="1686" y="561"/>
                    <a:pt x="1674" y="553"/>
                  </a:cubicBezTo>
                  <a:moveTo>
                    <a:pt x="1279" y="554"/>
                  </a:moveTo>
                  <a:cubicBezTo>
                    <a:pt x="1280" y="554"/>
                    <a:pt x="1281" y="555"/>
                    <a:pt x="1281" y="555"/>
                  </a:cubicBezTo>
                  <a:cubicBezTo>
                    <a:pt x="1290" y="555"/>
                    <a:pt x="1298" y="556"/>
                    <a:pt x="1306" y="556"/>
                  </a:cubicBezTo>
                  <a:cubicBezTo>
                    <a:pt x="1315" y="556"/>
                    <a:pt x="1324" y="556"/>
                    <a:pt x="1331" y="556"/>
                  </a:cubicBezTo>
                  <a:cubicBezTo>
                    <a:pt x="1331" y="556"/>
                    <a:pt x="1331" y="556"/>
                    <a:pt x="1332" y="556"/>
                  </a:cubicBezTo>
                  <a:cubicBezTo>
                    <a:pt x="1331" y="556"/>
                    <a:pt x="1330" y="556"/>
                    <a:pt x="1329" y="555"/>
                  </a:cubicBezTo>
                  <a:cubicBezTo>
                    <a:pt x="1318" y="555"/>
                    <a:pt x="1305" y="555"/>
                    <a:pt x="1291" y="555"/>
                  </a:cubicBezTo>
                  <a:cubicBezTo>
                    <a:pt x="1290" y="555"/>
                    <a:pt x="1290" y="554"/>
                    <a:pt x="1289" y="554"/>
                  </a:cubicBezTo>
                  <a:cubicBezTo>
                    <a:pt x="1286" y="554"/>
                    <a:pt x="1282" y="554"/>
                    <a:pt x="1279" y="554"/>
                  </a:cubicBezTo>
                  <a:moveTo>
                    <a:pt x="1332" y="555"/>
                  </a:moveTo>
                  <a:cubicBezTo>
                    <a:pt x="1333" y="556"/>
                    <a:pt x="1333" y="556"/>
                    <a:pt x="1334" y="556"/>
                  </a:cubicBezTo>
                  <a:cubicBezTo>
                    <a:pt x="1337" y="556"/>
                    <a:pt x="1339" y="556"/>
                    <a:pt x="1341" y="556"/>
                  </a:cubicBezTo>
                  <a:cubicBezTo>
                    <a:pt x="1350" y="556"/>
                    <a:pt x="1359" y="556"/>
                    <a:pt x="1367" y="556"/>
                  </a:cubicBezTo>
                  <a:cubicBezTo>
                    <a:pt x="1367" y="556"/>
                    <a:pt x="1367" y="556"/>
                    <a:pt x="1366" y="556"/>
                  </a:cubicBezTo>
                  <a:cubicBezTo>
                    <a:pt x="1364" y="556"/>
                    <a:pt x="1361" y="556"/>
                    <a:pt x="1359" y="556"/>
                  </a:cubicBezTo>
                  <a:cubicBezTo>
                    <a:pt x="1351" y="555"/>
                    <a:pt x="1342" y="555"/>
                    <a:pt x="1332" y="555"/>
                  </a:cubicBezTo>
                  <a:moveTo>
                    <a:pt x="1378" y="557"/>
                  </a:moveTo>
                  <a:cubicBezTo>
                    <a:pt x="1378" y="557"/>
                    <a:pt x="1377" y="557"/>
                    <a:pt x="1377" y="557"/>
                  </a:cubicBezTo>
                  <a:cubicBezTo>
                    <a:pt x="1378" y="558"/>
                    <a:pt x="1378" y="558"/>
                    <a:pt x="1379" y="558"/>
                  </a:cubicBezTo>
                  <a:cubicBezTo>
                    <a:pt x="1379" y="558"/>
                    <a:pt x="1379" y="558"/>
                    <a:pt x="1378" y="557"/>
                  </a:cubicBezTo>
                  <a:moveTo>
                    <a:pt x="1378" y="560"/>
                  </a:moveTo>
                  <a:cubicBezTo>
                    <a:pt x="1378" y="560"/>
                    <a:pt x="1378" y="561"/>
                    <a:pt x="1377" y="561"/>
                  </a:cubicBezTo>
                  <a:cubicBezTo>
                    <a:pt x="1378" y="561"/>
                    <a:pt x="1378" y="561"/>
                    <a:pt x="1379" y="561"/>
                  </a:cubicBezTo>
                  <a:cubicBezTo>
                    <a:pt x="1379" y="561"/>
                    <a:pt x="1379" y="561"/>
                    <a:pt x="1379" y="560"/>
                  </a:cubicBezTo>
                  <a:cubicBezTo>
                    <a:pt x="1379" y="560"/>
                    <a:pt x="1379" y="560"/>
                    <a:pt x="1378" y="560"/>
                  </a:cubicBezTo>
                  <a:moveTo>
                    <a:pt x="1377" y="563"/>
                  </a:moveTo>
                  <a:cubicBezTo>
                    <a:pt x="1376" y="563"/>
                    <a:pt x="1376" y="563"/>
                    <a:pt x="1375" y="563"/>
                  </a:cubicBezTo>
                  <a:cubicBezTo>
                    <a:pt x="1372" y="564"/>
                    <a:pt x="1369" y="566"/>
                    <a:pt x="1365" y="568"/>
                  </a:cubicBezTo>
                  <a:cubicBezTo>
                    <a:pt x="1365" y="568"/>
                    <a:pt x="1366" y="568"/>
                    <a:pt x="1366" y="568"/>
                  </a:cubicBezTo>
                  <a:cubicBezTo>
                    <a:pt x="1371" y="566"/>
                    <a:pt x="1375" y="564"/>
                    <a:pt x="1377" y="563"/>
                  </a:cubicBezTo>
                  <a:moveTo>
                    <a:pt x="1364" y="568"/>
                  </a:moveTo>
                  <a:cubicBezTo>
                    <a:pt x="1361" y="569"/>
                    <a:pt x="1359" y="570"/>
                    <a:pt x="1356" y="571"/>
                  </a:cubicBezTo>
                  <a:cubicBezTo>
                    <a:pt x="1352" y="573"/>
                    <a:pt x="1348" y="575"/>
                    <a:pt x="1344" y="577"/>
                  </a:cubicBezTo>
                  <a:cubicBezTo>
                    <a:pt x="1345" y="577"/>
                    <a:pt x="1345" y="577"/>
                    <a:pt x="1346" y="578"/>
                  </a:cubicBezTo>
                  <a:cubicBezTo>
                    <a:pt x="1349" y="576"/>
                    <a:pt x="1353" y="574"/>
                    <a:pt x="1356" y="572"/>
                  </a:cubicBezTo>
                  <a:cubicBezTo>
                    <a:pt x="1359" y="571"/>
                    <a:pt x="1362" y="570"/>
                    <a:pt x="1365" y="569"/>
                  </a:cubicBezTo>
                  <a:cubicBezTo>
                    <a:pt x="1364" y="568"/>
                    <a:pt x="1364" y="568"/>
                    <a:pt x="1364" y="568"/>
                  </a:cubicBezTo>
                  <a:moveTo>
                    <a:pt x="1708" y="572"/>
                  </a:moveTo>
                  <a:cubicBezTo>
                    <a:pt x="1707" y="572"/>
                    <a:pt x="1707" y="572"/>
                    <a:pt x="1707" y="572"/>
                  </a:cubicBezTo>
                  <a:cubicBezTo>
                    <a:pt x="1708" y="573"/>
                    <a:pt x="1709" y="574"/>
                    <a:pt x="1711" y="574"/>
                  </a:cubicBezTo>
                  <a:cubicBezTo>
                    <a:pt x="1729" y="583"/>
                    <a:pt x="1741" y="587"/>
                    <a:pt x="1741" y="590"/>
                  </a:cubicBezTo>
                  <a:cubicBezTo>
                    <a:pt x="1741" y="593"/>
                    <a:pt x="1733" y="597"/>
                    <a:pt x="1712" y="605"/>
                  </a:cubicBezTo>
                  <a:cubicBezTo>
                    <a:pt x="1712" y="605"/>
                    <a:pt x="1713" y="605"/>
                    <a:pt x="1713" y="605"/>
                  </a:cubicBezTo>
                  <a:cubicBezTo>
                    <a:pt x="1733" y="598"/>
                    <a:pt x="1742" y="594"/>
                    <a:pt x="1742" y="590"/>
                  </a:cubicBezTo>
                  <a:cubicBezTo>
                    <a:pt x="1742" y="585"/>
                    <a:pt x="1729" y="582"/>
                    <a:pt x="1711" y="573"/>
                  </a:cubicBezTo>
                  <a:cubicBezTo>
                    <a:pt x="1710" y="573"/>
                    <a:pt x="1709" y="572"/>
                    <a:pt x="1708" y="572"/>
                  </a:cubicBezTo>
                  <a:moveTo>
                    <a:pt x="1343" y="578"/>
                  </a:moveTo>
                  <a:cubicBezTo>
                    <a:pt x="1333" y="583"/>
                    <a:pt x="1322" y="591"/>
                    <a:pt x="1311" y="600"/>
                  </a:cubicBezTo>
                  <a:cubicBezTo>
                    <a:pt x="1311" y="600"/>
                    <a:pt x="1311" y="600"/>
                    <a:pt x="1312" y="601"/>
                  </a:cubicBezTo>
                  <a:cubicBezTo>
                    <a:pt x="1324" y="591"/>
                    <a:pt x="1335" y="584"/>
                    <a:pt x="1344" y="578"/>
                  </a:cubicBezTo>
                  <a:cubicBezTo>
                    <a:pt x="1344" y="578"/>
                    <a:pt x="1344" y="578"/>
                    <a:pt x="1343" y="578"/>
                  </a:cubicBezTo>
                  <a:moveTo>
                    <a:pt x="1310" y="601"/>
                  </a:moveTo>
                  <a:cubicBezTo>
                    <a:pt x="1305" y="605"/>
                    <a:pt x="1300" y="609"/>
                    <a:pt x="1295" y="613"/>
                  </a:cubicBezTo>
                  <a:cubicBezTo>
                    <a:pt x="1295" y="613"/>
                    <a:pt x="1295" y="614"/>
                    <a:pt x="1296" y="614"/>
                  </a:cubicBezTo>
                  <a:cubicBezTo>
                    <a:pt x="1301" y="609"/>
                    <a:pt x="1306" y="605"/>
                    <a:pt x="1311" y="601"/>
                  </a:cubicBezTo>
                  <a:cubicBezTo>
                    <a:pt x="1310" y="601"/>
                    <a:pt x="1310" y="601"/>
                    <a:pt x="1310" y="601"/>
                  </a:cubicBezTo>
                  <a:moveTo>
                    <a:pt x="1710" y="606"/>
                  </a:moveTo>
                  <a:cubicBezTo>
                    <a:pt x="1710" y="606"/>
                    <a:pt x="1710" y="606"/>
                    <a:pt x="1710" y="606"/>
                  </a:cubicBezTo>
                  <a:cubicBezTo>
                    <a:pt x="1711" y="606"/>
                    <a:pt x="1711" y="606"/>
                    <a:pt x="1711" y="606"/>
                  </a:cubicBezTo>
                  <a:cubicBezTo>
                    <a:pt x="1712" y="606"/>
                    <a:pt x="1712" y="606"/>
                    <a:pt x="1712" y="606"/>
                  </a:cubicBezTo>
                  <a:cubicBezTo>
                    <a:pt x="1711" y="606"/>
                    <a:pt x="1711" y="606"/>
                    <a:pt x="1710" y="606"/>
                  </a:cubicBezTo>
                  <a:moveTo>
                    <a:pt x="1709" y="606"/>
                  </a:moveTo>
                  <a:cubicBezTo>
                    <a:pt x="1708" y="606"/>
                    <a:pt x="1707" y="607"/>
                    <a:pt x="1706" y="607"/>
                  </a:cubicBezTo>
                  <a:cubicBezTo>
                    <a:pt x="1706" y="607"/>
                    <a:pt x="1707" y="607"/>
                    <a:pt x="1708" y="608"/>
                  </a:cubicBezTo>
                  <a:cubicBezTo>
                    <a:pt x="1709" y="607"/>
                    <a:pt x="1709" y="607"/>
                    <a:pt x="1710" y="607"/>
                  </a:cubicBezTo>
                  <a:cubicBezTo>
                    <a:pt x="1710" y="606"/>
                    <a:pt x="1709" y="606"/>
                    <a:pt x="1709" y="606"/>
                  </a:cubicBezTo>
                  <a:moveTo>
                    <a:pt x="1704" y="608"/>
                  </a:moveTo>
                  <a:cubicBezTo>
                    <a:pt x="1700" y="609"/>
                    <a:pt x="1697" y="610"/>
                    <a:pt x="1693" y="612"/>
                  </a:cubicBezTo>
                  <a:cubicBezTo>
                    <a:pt x="1694" y="612"/>
                    <a:pt x="1695" y="612"/>
                    <a:pt x="1696" y="612"/>
                  </a:cubicBezTo>
                  <a:cubicBezTo>
                    <a:pt x="1699" y="611"/>
                    <a:pt x="1702" y="609"/>
                    <a:pt x="1705" y="608"/>
                  </a:cubicBezTo>
                  <a:cubicBezTo>
                    <a:pt x="1705" y="608"/>
                    <a:pt x="1705" y="608"/>
                    <a:pt x="1705" y="608"/>
                  </a:cubicBezTo>
                  <a:cubicBezTo>
                    <a:pt x="1704" y="608"/>
                    <a:pt x="1704" y="608"/>
                    <a:pt x="1704" y="608"/>
                  </a:cubicBezTo>
                  <a:moveTo>
                    <a:pt x="1693" y="613"/>
                  </a:moveTo>
                  <a:cubicBezTo>
                    <a:pt x="1692" y="613"/>
                    <a:pt x="1691" y="613"/>
                    <a:pt x="1690" y="613"/>
                  </a:cubicBezTo>
                  <a:cubicBezTo>
                    <a:pt x="1690" y="613"/>
                    <a:pt x="1690" y="613"/>
                    <a:pt x="1689" y="613"/>
                  </a:cubicBezTo>
                  <a:cubicBezTo>
                    <a:pt x="1689" y="613"/>
                    <a:pt x="1688" y="614"/>
                    <a:pt x="1688" y="614"/>
                  </a:cubicBezTo>
                  <a:cubicBezTo>
                    <a:pt x="1684" y="615"/>
                    <a:pt x="1679" y="617"/>
                    <a:pt x="1674" y="619"/>
                  </a:cubicBezTo>
                  <a:cubicBezTo>
                    <a:pt x="1671" y="620"/>
                    <a:pt x="1669" y="621"/>
                    <a:pt x="1666" y="622"/>
                  </a:cubicBezTo>
                  <a:cubicBezTo>
                    <a:pt x="1667" y="622"/>
                    <a:pt x="1669" y="621"/>
                    <a:pt x="1671" y="621"/>
                  </a:cubicBezTo>
                  <a:cubicBezTo>
                    <a:pt x="1672" y="621"/>
                    <a:pt x="1673" y="620"/>
                    <a:pt x="1674" y="620"/>
                  </a:cubicBezTo>
                  <a:cubicBezTo>
                    <a:pt x="1680" y="618"/>
                    <a:pt x="1684" y="616"/>
                    <a:pt x="1689" y="614"/>
                  </a:cubicBezTo>
                  <a:cubicBezTo>
                    <a:pt x="1689" y="614"/>
                    <a:pt x="1690" y="614"/>
                    <a:pt x="1690" y="614"/>
                  </a:cubicBezTo>
                  <a:cubicBezTo>
                    <a:pt x="1691" y="614"/>
                    <a:pt x="1692" y="613"/>
                    <a:pt x="1693" y="613"/>
                  </a:cubicBezTo>
                  <a:moveTo>
                    <a:pt x="1294" y="614"/>
                  </a:moveTo>
                  <a:cubicBezTo>
                    <a:pt x="1290" y="618"/>
                    <a:pt x="1285" y="621"/>
                    <a:pt x="1281" y="625"/>
                  </a:cubicBezTo>
                  <a:cubicBezTo>
                    <a:pt x="1282" y="625"/>
                    <a:pt x="1282" y="625"/>
                    <a:pt x="1282" y="625"/>
                  </a:cubicBezTo>
                  <a:cubicBezTo>
                    <a:pt x="1287" y="622"/>
                    <a:pt x="1291" y="618"/>
                    <a:pt x="1295" y="614"/>
                  </a:cubicBezTo>
                  <a:cubicBezTo>
                    <a:pt x="1294" y="614"/>
                    <a:pt x="1294" y="614"/>
                    <a:pt x="1294" y="614"/>
                  </a:cubicBezTo>
                  <a:moveTo>
                    <a:pt x="1666" y="623"/>
                  </a:moveTo>
                  <a:cubicBezTo>
                    <a:pt x="1664" y="623"/>
                    <a:pt x="1662" y="623"/>
                    <a:pt x="1661" y="624"/>
                  </a:cubicBezTo>
                  <a:cubicBezTo>
                    <a:pt x="1653" y="627"/>
                    <a:pt x="1644" y="630"/>
                    <a:pt x="1634" y="634"/>
                  </a:cubicBezTo>
                  <a:cubicBezTo>
                    <a:pt x="1634" y="634"/>
                    <a:pt x="1635" y="634"/>
                    <a:pt x="1636" y="634"/>
                  </a:cubicBezTo>
                  <a:cubicBezTo>
                    <a:pt x="1647" y="630"/>
                    <a:pt x="1657" y="626"/>
                    <a:pt x="1666" y="623"/>
                  </a:cubicBezTo>
                  <a:moveTo>
                    <a:pt x="1281" y="626"/>
                  </a:moveTo>
                  <a:cubicBezTo>
                    <a:pt x="1277" y="629"/>
                    <a:pt x="1274" y="632"/>
                    <a:pt x="1270" y="636"/>
                  </a:cubicBezTo>
                  <a:cubicBezTo>
                    <a:pt x="1270" y="636"/>
                    <a:pt x="1271" y="636"/>
                    <a:pt x="1271" y="636"/>
                  </a:cubicBezTo>
                  <a:cubicBezTo>
                    <a:pt x="1275" y="633"/>
                    <a:pt x="1278" y="629"/>
                    <a:pt x="1282" y="626"/>
                  </a:cubicBezTo>
                  <a:cubicBezTo>
                    <a:pt x="1281" y="626"/>
                    <a:pt x="1281" y="626"/>
                    <a:pt x="1281" y="626"/>
                  </a:cubicBezTo>
                  <a:moveTo>
                    <a:pt x="1632" y="634"/>
                  </a:moveTo>
                  <a:cubicBezTo>
                    <a:pt x="1632" y="634"/>
                    <a:pt x="1631" y="634"/>
                    <a:pt x="1631" y="635"/>
                  </a:cubicBezTo>
                  <a:cubicBezTo>
                    <a:pt x="1631" y="635"/>
                    <a:pt x="1630" y="635"/>
                    <a:pt x="1630" y="635"/>
                  </a:cubicBezTo>
                  <a:cubicBezTo>
                    <a:pt x="1626" y="636"/>
                    <a:pt x="1623" y="638"/>
                    <a:pt x="1619" y="639"/>
                  </a:cubicBezTo>
                  <a:cubicBezTo>
                    <a:pt x="1619" y="639"/>
                    <a:pt x="1620" y="639"/>
                    <a:pt x="1621" y="640"/>
                  </a:cubicBezTo>
                  <a:cubicBezTo>
                    <a:pt x="1624" y="638"/>
                    <a:pt x="1627" y="637"/>
                    <a:pt x="1631" y="636"/>
                  </a:cubicBezTo>
                  <a:cubicBezTo>
                    <a:pt x="1631" y="636"/>
                    <a:pt x="1631" y="636"/>
                    <a:pt x="1632" y="635"/>
                  </a:cubicBezTo>
                  <a:cubicBezTo>
                    <a:pt x="1632" y="635"/>
                    <a:pt x="1633" y="635"/>
                    <a:pt x="1634" y="635"/>
                  </a:cubicBezTo>
                  <a:cubicBezTo>
                    <a:pt x="1633" y="634"/>
                    <a:pt x="1633" y="634"/>
                    <a:pt x="1632" y="634"/>
                  </a:cubicBezTo>
                  <a:moveTo>
                    <a:pt x="1269" y="637"/>
                  </a:moveTo>
                  <a:cubicBezTo>
                    <a:pt x="1266" y="640"/>
                    <a:pt x="1263" y="643"/>
                    <a:pt x="1260" y="646"/>
                  </a:cubicBezTo>
                  <a:cubicBezTo>
                    <a:pt x="1261" y="646"/>
                    <a:pt x="1261" y="646"/>
                    <a:pt x="1261" y="646"/>
                  </a:cubicBezTo>
                  <a:cubicBezTo>
                    <a:pt x="1264" y="643"/>
                    <a:pt x="1267" y="640"/>
                    <a:pt x="1270" y="637"/>
                  </a:cubicBezTo>
                  <a:cubicBezTo>
                    <a:pt x="1270" y="637"/>
                    <a:pt x="1270" y="637"/>
                    <a:pt x="1269" y="637"/>
                  </a:cubicBezTo>
                  <a:moveTo>
                    <a:pt x="1617" y="640"/>
                  </a:moveTo>
                  <a:cubicBezTo>
                    <a:pt x="1616" y="640"/>
                    <a:pt x="1615" y="640"/>
                    <a:pt x="1615" y="641"/>
                  </a:cubicBezTo>
                  <a:cubicBezTo>
                    <a:pt x="1615" y="641"/>
                    <a:pt x="1616" y="641"/>
                    <a:pt x="1616" y="641"/>
                  </a:cubicBezTo>
                  <a:cubicBezTo>
                    <a:pt x="1617" y="641"/>
                    <a:pt x="1618" y="641"/>
                    <a:pt x="1619" y="640"/>
                  </a:cubicBezTo>
                  <a:cubicBezTo>
                    <a:pt x="1618" y="640"/>
                    <a:pt x="1618" y="640"/>
                    <a:pt x="1617" y="640"/>
                  </a:cubicBezTo>
                  <a:moveTo>
                    <a:pt x="1612" y="642"/>
                  </a:moveTo>
                  <a:cubicBezTo>
                    <a:pt x="1603" y="645"/>
                    <a:pt x="1595" y="648"/>
                    <a:pt x="1586" y="652"/>
                  </a:cubicBezTo>
                  <a:cubicBezTo>
                    <a:pt x="1586" y="652"/>
                    <a:pt x="1586" y="652"/>
                    <a:pt x="1587" y="652"/>
                  </a:cubicBezTo>
                  <a:cubicBezTo>
                    <a:pt x="1589" y="651"/>
                    <a:pt x="1590" y="651"/>
                    <a:pt x="1592" y="651"/>
                  </a:cubicBezTo>
                  <a:cubicBezTo>
                    <a:pt x="1599" y="648"/>
                    <a:pt x="1606" y="645"/>
                    <a:pt x="1613" y="642"/>
                  </a:cubicBezTo>
                  <a:cubicBezTo>
                    <a:pt x="1613" y="642"/>
                    <a:pt x="1612" y="642"/>
                    <a:pt x="1612" y="642"/>
                  </a:cubicBezTo>
                  <a:moveTo>
                    <a:pt x="1259" y="646"/>
                  </a:moveTo>
                  <a:cubicBezTo>
                    <a:pt x="1257" y="649"/>
                    <a:pt x="1254" y="652"/>
                    <a:pt x="1251" y="655"/>
                  </a:cubicBezTo>
                  <a:cubicBezTo>
                    <a:pt x="1252" y="655"/>
                    <a:pt x="1252" y="655"/>
                    <a:pt x="1252" y="655"/>
                  </a:cubicBezTo>
                  <a:cubicBezTo>
                    <a:pt x="1255" y="652"/>
                    <a:pt x="1258" y="650"/>
                    <a:pt x="1260" y="647"/>
                  </a:cubicBezTo>
                  <a:cubicBezTo>
                    <a:pt x="1260" y="647"/>
                    <a:pt x="1260" y="647"/>
                    <a:pt x="1259" y="646"/>
                  </a:cubicBezTo>
                  <a:moveTo>
                    <a:pt x="1584" y="653"/>
                  </a:moveTo>
                  <a:cubicBezTo>
                    <a:pt x="1583" y="653"/>
                    <a:pt x="1583" y="653"/>
                    <a:pt x="1582" y="653"/>
                  </a:cubicBezTo>
                  <a:cubicBezTo>
                    <a:pt x="1583" y="653"/>
                    <a:pt x="1583" y="653"/>
                    <a:pt x="1584" y="653"/>
                  </a:cubicBezTo>
                  <a:cubicBezTo>
                    <a:pt x="1584" y="653"/>
                    <a:pt x="1584" y="653"/>
                    <a:pt x="1584" y="653"/>
                  </a:cubicBezTo>
                  <a:moveTo>
                    <a:pt x="1583" y="654"/>
                  </a:moveTo>
                  <a:cubicBezTo>
                    <a:pt x="1579" y="655"/>
                    <a:pt x="1576" y="656"/>
                    <a:pt x="1573" y="657"/>
                  </a:cubicBezTo>
                  <a:cubicBezTo>
                    <a:pt x="1572" y="657"/>
                    <a:pt x="1572" y="657"/>
                    <a:pt x="1571" y="657"/>
                  </a:cubicBezTo>
                  <a:cubicBezTo>
                    <a:pt x="1572" y="657"/>
                    <a:pt x="1573" y="657"/>
                    <a:pt x="1574" y="657"/>
                  </a:cubicBezTo>
                  <a:cubicBezTo>
                    <a:pt x="1577" y="657"/>
                    <a:pt x="1579" y="656"/>
                    <a:pt x="1581" y="655"/>
                  </a:cubicBezTo>
                  <a:cubicBezTo>
                    <a:pt x="1582" y="654"/>
                    <a:pt x="1582" y="654"/>
                    <a:pt x="1582" y="654"/>
                  </a:cubicBezTo>
                  <a:cubicBezTo>
                    <a:pt x="1582" y="654"/>
                    <a:pt x="1583" y="654"/>
                    <a:pt x="1583" y="654"/>
                  </a:cubicBezTo>
                  <a:moveTo>
                    <a:pt x="1250" y="656"/>
                  </a:moveTo>
                  <a:cubicBezTo>
                    <a:pt x="1248" y="659"/>
                    <a:pt x="1245" y="661"/>
                    <a:pt x="1243" y="664"/>
                  </a:cubicBezTo>
                  <a:cubicBezTo>
                    <a:pt x="1243" y="664"/>
                    <a:pt x="1244" y="664"/>
                    <a:pt x="1244" y="664"/>
                  </a:cubicBezTo>
                  <a:cubicBezTo>
                    <a:pt x="1246" y="662"/>
                    <a:pt x="1249" y="659"/>
                    <a:pt x="1252" y="656"/>
                  </a:cubicBezTo>
                  <a:cubicBezTo>
                    <a:pt x="1251" y="656"/>
                    <a:pt x="1251" y="656"/>
                    <a:pt x="1250" y="656"/>
                  </a:cubicBezTo>
                  <a:moveTo>
                    <a:pt x="1569" y="658"/>
                  </a:moveTo>
                  <a:cubicBezTo>
                    <a:pt x="1565" y="660"/>
                    <a:pt x="1561" y="662"/>
                    <a:pt x="1557" y="663"/>
                  </a:cubicBezTo>
                  <a:cubicBezTo>
                    <a:pt x="1558" y="663"/>
                    <a:pt x="1559" y="663"/>
                    <a:pt x="1560" y="663"/>
                  </a:cubicBezTo>
                  <a:cubicBezTo>
                    <a:pt x="1564" y="662"/>
                    <a:pt x="1568" y="660"/>
                    <a:pt x="1572" y="658"/>
                  </a:cubicBezTo>
                  <a:cubicBezTo>
                    <a:pt x="1571" y="658"/>
                    <a:pt x="1570" y="658"/>
                    <a:pt x="1569" y="658"/>
                  </a:cubicBezTo>
                  <a:moveTo>
                    <a:pt x="1557" y="664"/>
                  </a:moveTo>
                  <a:cubicBezTo>
                    <a:pt x="1556" y="664"/>
                    <a:pt x="1555" y="664"/>
                    <a:pt x="1554" y="664"/>
                  </a:cubicBezTo>
                  <a:cubicBezTo>
                    <a:pt x="1550" y="666"/>
                    <a:pt x="1546" y="668"/>
                    <a:pt x="1541" y="669"/>
                  </a:cubicBezTo>
                  <a:cubicBezTo>
                    <a:pt x="1543" y="669"/>
                    <a:pt x="1544" y="669"/>
                    <a:pt x="1545" y="669"/>
                  </a:cubicBezTo>
                  <a:cubicBezTo>
                    <a:pt x="1549" y="667"/>
                    <a:pt x="1553" y="666"/>
                    <a:pt x="1557" y="664"/>
                  </a:cubicBezTo>
                  <a:moveTo>
                    <a:pt x="1242" y="665"/>
                  </a:moveTo>
                  <a:cubicBezTo>
                    <a:pt x="1240" y="668"/>
                    <a:pt x="1237" y="670"/>
                    <a:pt x="1235" y="673"/>
                  </a:cubicBezTo>
                  <a:cubicBezTo>
                    <a:pt x="1236" y="673"/>
                    <a:pt x="1236" y="673"/>
                    <a:pt x="1236" y="673"/>
                  </a:cubicBezTo>
                  <a:cubicBezTo>
                    <a:pt x="1239" y="671"/>
                    <a:pt x="1241" y="668"/>
                    <a:pt x="1243" y="665"/>
                  </a:cubicBezTo>
                  <a:cubicBezTo>
                    <a:pt x="1243" y="665"/>
                    <a:pt x="1243" y="665"/>
                    <a:pt x="1242" y="665"/>
                  </a:cubicBezTo>
                  <a:moveTo>
                    <a:pt x="1542" y="670"/>
                  </a:moveTo>
                  <a:cubicBezTo>
                    <a:pt x="1541" y="670"/>
                    <a:pt x="1540" y="670"/>
                    <a:pt x="1539" y="670"/>
                  </a:cubicBezTo>
                  <a:cubicBezTo>
                    <a:pt x="1538" y="671"/>
                    <a:pt x="1537" y="671"/>
                    <a:pt x="1537" y="671"/>
                  </a:cubicBezTo>
                  <a:cubicBezTo>
                    <a:pt x="1536" y="671"/>
                    <a:pt x="1536" y="671"/>
                    <a:pt x="1536" y="672"/>
                  </a:cubicBezTo>
                  <a:cubicBezTo>
                    <a:pt x="1532" y="673"/>
                    <a:pt x="1529" y="674"/>
                    <a:pt x="1526" y="676"/>
                  </a:cubicBezTo>
                  <a:cubicBezTo>
                    <a:pt x="1527" y="675"/>
                    <a:pt x="1528" y="675"/>
                    <a:pt x="1529" y="675"/>
                  </a:cubicBezTo>
                  <a:cubicBezTo>
                    <a:pt x="1532" y="674"/>
                    <a:pt x="1534" y="673"/>
                    <a:pt x="1536" y="672"/>
                  </a:cubicBezTo>
                  <a:cubicBezTo>
                    <a:pt x="1537" y="672"/>
                    <a:pt x="1537" y="672"/>
                    <a:pt x="1537" y="672"/>
                  </a:cubicBezTo>
                  <a:cubicBezTo>
                    <a:pt x="1539" y="671"/>
                    <a:pt x="1540" y="671"/>
                    <a:pt x="1542" y="670"/>
                  </a:cubicBezTo>
                  <a:moveTo>
                    <a:pt x="1235" y="674"/>
                  </a:moveTo>
                  <a:cubicBezTo>
                    <a:pt x="1232" y="677"/>
                    <a:pt x="1230" y="679"/>
                    <a:pt x="1228" y="682"/>
                  </a:cubicBezTo>
                  <a:cubicBezTo>
                    <a:pt x="1228" y="682"/>
                    <a:pt x="1229" y="682"/>
                    <a:pt x="1229" y="682"/>
                  </a:cubicBezTo>
                  <a:cubicBezTo>
                    <a:pt x="1231" y="679"/>
                    <a:pt x="1233" y="677"/>
                    <a:pt x="1236" y="674"/>
                  </a:cubicBezTo>
                  <a:cubicBezTo>
                    <a:pt x="1235" y="674"/>
                    <a:pt x="1235" y="674"/>
                    <a:pt x="1235" y="674"/>
                  </a:cubicBezTo>
                  <a:moveTo>
                    <a:pt x="1526" y="677"/>
                  </a:moveTo>
                  <a:cubicBezTo>
                    <a:pt x="1525" y="677"/>
                    <a:pt x="1524" y="677"/>
                    <a:pt x="1523" y="677"/>
                  </a:cubicBezTo>
                  <a:cubicBezTo>
                    <a:pt x="1519" y="679"/>
                    <a:pt x="1514" y="680"/>
                    <a:pt x="1510" y="682"/>
                  </a:cubicBezTo>
                  <a:cubicBezTo>
                    <a:pt x="1511" y="682"/>
                    <a:pt x="1512" y="682"/>
                    <a:pt x="1513" y="682"/>
                  </a:cubicBezTo>
                  <a:cubicBezTo>
                    <a:pt x="1518" y="680"/>
                    <a:pt x="1522" y="678"/>
                    <a:pt x="1526" y="677"/>
                  </a:cubicBezTo>
                  <a:moveTo>
                    <a:pt x="1227" y="683"/>
                  </a:moveTo>
                  <a:cubicBezTo>
                    <a:pt x="1225" y="686"/>
                    <a:pt x="1222" y="690"/>
                    <a:pt x="1219" y="694"/>
                  </a:cubicBezTo>
                  <a:cubicBezTo>
                    <a:pt x="1220" y="694"/>
                    <a:pt x="1220" y="693"/>
                    <a:pt x="1221" y="693"/>
                  </a:cubicBezTo>
                  <a:cubicBezTo>
                    <a:pt x="1223" y="690"/>
                    <a:pt x="1226" y="686"/>
                    <a:pt x="1228" y="683"/>
                  </a:cubicBezTo>
                  <a:cubicBezTo>
                    <a:pt x="1228" y="683"/>
                    <a:pt x="1228" y="683"/>
                    <a:pt x="1227" y="683"/>
                  </a:cubicBezTo>
                  <a:moveTo>
                    <a:pt x="1509" y="683"/>
                  </a:moveTo>
                  <a:cubicBezTo>
                    <a:pt x="1508" y="683"/>
                    <a:pt x="1507" y="683"/>
                    <a:pt x="1507" y="683"/>
                  </a:cubicBezTo>
                  <a:cubicBezTo>
                    <a:pt x="1506" y="684"/>
                    <a:pt x="1505" y="684"/>
                    <a:pt x="1504" y="684"/>
                  </a:cubicBezTo>
                  <a:cubicBezTo>
                    <a:pt x="1506" y="684"/>
                    <a:pt x="1507" y="684"/>
                    <a:pt x="1509" y="683"/>
                  </a:cubicBezTo>
                  <a:moveTo>
                    <a:pt x="1504" y="685"/>
                  </a:moveTo>
                  <a:cubicBezTo>
                    <a:pt x="1502" y="686"/>
                    <a:pt x="1499" y="687"/>
                    <a:pt x="1497" y="687"/>
                  </a:cubicBezTo>
                  <a:cubicBezTo>
                    <a:pt x="1496" y="688"/>
                    <a:pt x="1494" y="688"/>
                    <a:pt x="1493" y="689"/>
                  </a:cubicBezTo>
                  <a:cubicBezTo>
                    <a:pt x="1494" y="689"/>
                    <a:pt x="1495" y="689"/>
                    <a:pt x="1497" y="689"/>
                  </a:cubicBezTo>
                  <a:cubicBezTo>
                    <a:pt x="1499" y="688"/>
                    <a:pt x="1502" y="686"/>
                    <a:pt x="1504" y="685"/>
                  </a:cubicBezTo>
                  <a:moveTo>
                    <a:pt x="1493" y="690"/>
                  </a:moveTo>
                  <a:cubicBezTo>
                    <a:pt x="1492" y="690"/>
                    <a:pt x="1491" y="690"/>
                    <a:pt x="1490" y="690"/>
                  </a:cubicBezTo>
                  <a:cubicBezTo>
                    <a:pt x="1485" y="692"/>
                    <a:pt x="1481" y="694"/>
                    <a:pt x="1476" y="696"/>
                  </a:cubicBezTo>
                  <a:cubicBezTo>
                    <a:pt x="1477" y="696"/>
                    <a:pt x="1478" y="696"/>
                    <a:pt x="1480" y="696"/>
                  </a:cubicBezTo>
                  <a:cubicBezTo>
                    <a:pt x="1484" y="694"/>
                    <a:pt x="1489" y="692"/>
                    <a:pt x="1493" y="690"/>
                  </a:cubicBezTo>
                  <a:moveTo>
                    <a:pt x="1220" y="695"/>
                  </a:moveTo>
                  <a:cubicBezTo>
                    <a:pt x="1219" y="695"/>
                    <a:pt x="1219" y="695"/>
                    <a:pt x="1218" y="695"/>
                  </a:cubicBezTo>
                  <a:cubicBezTo>
                    <a:pt x="1218" y="695"/>
                    <a:pt x="1218" y="696"/>
                    <a:pt x="1218" y="696"/>
                  </a:cubicBezTo>
                  <a:cubicBezTo>
                    <a:pt x="1218" y="696"/>
                    <a:pt x="1218" y="696"/>
                    <a:pt x="1219" y="696"/>
                  </a:cubicBezTo>
                  <a:cubicBezTo>
                    <a:pt x="1219" y="695"/>
                    <a:pt x="1219" y="695"/>
                    <a:pt x="1220" y="695"/>
                  </a:cubicBezTo>
                  <a:moveTo>
                    <a:pt x="1217" y="697"/>
                  </a:moveTo>
                  <a:cubicBezTo>
                    <a:pt x="1214" y="701"/>
                    <a:pt x="1211" y="706"/>
                    <a:pt x="1208" y="711"/>
                  </a:cubicBezTo>
                  <a:cubicBezTo>
                    <a:pt x="1208" y="711"/>
                    <a:pt x="1208" y="711"/>
                    <a:pt x="1208" y="711"/>
                  </a:cubicBezTo>
                  <a:cubicBezTo>
                    <a:pt x="1208" y="711"/>
                    <a:pt x="1209" y="711"/>
                    <a:pt x="1209" y="710"/>
                  </a:cubicBezTo>
                  <a:cubicBezTo>
                    <a:pt x="1212" y="706"/>
                    <a:pt x="1215" y="701"/>
                    <a:pt x="1218" y="697"/>
                  </a:cubicBezTo>
                  <a:cubicBezTo>
                    <a:pt x="1218" y="697"/>
                    <a:pt x="1218" y="697"/>
                    <a:pt x="1217" y="697"/>
                  </a:cubicBezTo>
                  <a:moveTo>
                    <a:pt x="1476" y="697"/>
                  </a:moveTo>
                  <a:cubicBezTo>
                    <a:pt x="1475" y="697"/>
                    <a:pt x="1474" y="697"/>
                    <a:pt x="1473" y="697"/>
                  </a:cubicBezTo>
                  <a:cubicBezTo>
                    <a:pt x="1471" y="698"/>
                    <a:pt x="1468" y="699"/>
                    <a:pt x="1466" y="700"/>
                  </a:cubicBezTo>
                  <a:cubicBezTo>
                    <a:pt x="1468" y="700"/>
                    <a:pt x="1469" y="700"/>
                    <a:pt x="1471" y="699"/>
                  </a:cubicBezTo>
                  <a:cubicBezTo>
                    <a:pt x="1473" y="698"/>
                    <a:pt x="1475" y="698"/>
                    <a:pt x="1476" y="697"/>
                  </a:cubicBezTo>
                  <a:moveTo>
                    <a:pt x="1466" y="701"/>
                  </a:moveTo>
                  <a:cubicBezTo>
                    <a:pt x="1464" y="702"/>
                    <a:pt x="1463" y="702"/>
                    <a:pt x="1461" y="702"/>
                  </a:cubicBezTo>
                  <a:cubicBezTo>
                    <a:pt x="1460" y="703"/>
                    <a:pt x="1460" y="703"/>
                    <a:pt x="1459" y="703"/>
                  </a:cubicBezTo>
                  <a:cubicBezTo>
                    <a:pt x="1460" y="703"/>
                    <a:pt x="1461" y="703"/>
                    <a:pt x="1463" y="703"/>
                  </a:cubicBezTo>
                  <a:cubicBezTo>
                    <a:pt x="1464" y="702"/>
                    <a:pt x="1465" y="702"/>
                    <a:pt x="1466" y="701"/>
                  </a:cubicBezTo>
                  <a:moveTo>
                    <a:pt x="1459" y="704"/>
                  </a:moveTo>
                  <a:cubicBezTo>
                    <a:pt x="1458" y="704"/>
                    <a:pt x="1457" y="704"/>
                    <a:pt x="1456" y="704"/>
                  </a:cubicBezTo>
                  <a:cubicBezTo>
                    <a:pt x="1455" y="705"/>
                    <a:pt x="1454" y="705"/>
                    <a:pt x="1453" y="706"/>
                  </a:cubicBezTo>
                  <a:cubicBezTo>
                    <a:pt x="1454" y="705"/>
                    <a:pt x="1456" y="705"/>
                    <a:pt x="1457" y="705"/>
                  </a:cubicBezTo>
                  <a:cubicBezTo>
                    <a:pt x="1458" y="705"/>
                    <a:pt x="1459" y="704"/>
                    <a:pt x="1459" y="704"/>
                  </a:cubicBezTo>
                  <a:moveTo>
                    <a:pt x="1453" y="707"/>
                  </a:moveTo>
                  <a:cubicBezTo>
                    <a:pt x="1452" y="707"/>
                    <a:pt x="1451" y="707"/>
                    <a:pt x="1449" y="707"/>
                  </a:cubicBezTo>
                  <a:cubicBezTo>
                    <a:pt x="1443" y="710"/>
                    <a:pt x="1436" y="713"/>
                    <a:pt x="1429" y="716"/>
                  </a:cubicBezTo>
                  <a:cubicBezTo>
                    <a:pt x="1329" y="759"/>
                    <a:pt x="1267" y="775"/>
                    <a:pt x="1232" y="775"/>
                  </a:cubicBezTo>
                  <a:cubicBezTo>
                    <a:pt x="1205" y="775"/>
                    <a:pt x="1195" y="765"/>
                    <a:pt x="1195" y="750"/>
                  </a:cubicBezTo>
                  <a:cubicBezTo>
                    <a:pt x="1195" y="746"/>
                    <a:pt x="1195" y="742"/>
                    <a:pt x="1197" y="738"/>
                  </a:cubicBezTo>
                  <a:cubicBezTo>
                    <a:pt x="1196" y="738"/>
                    <a:pt x="1196" y="738"/>
                    <a:pt x="1196" y="738"/>
                  </a:cubicBezTo>
                  <a:cubicBezTo>
                    <a:pt x="1195" y="743"/>
                    <a:pt x="1194" y="747"/>
                    <a:pt x="1194" y="750"/>
                  </a:cubicBezTo>
                  <a:cubicBezTo>
                    <a:pt x="1194" y="766"/>
                    <a:pt x="1205" y="776"/>
                    <a:pt x="1232" y="776"/>
                  </a:cubicBezTo>
                  <a:cubicBezTo>
                    <a:pt x="1267" y="776"/>
                    <a:pt x="1329" y="760"/>
                    <a:pt x="1430" y="717"/>
                  </a:cubicBezTo>
                  <a:cubicBezTo>
                    <a:pt x="1438" y="713"/>
                    <a:pt x="1446" y="710"/>
                    <a:pt x="1453" y="707"/>
                  </a:cubicBezTo>
                  <a:moveTo>
                    <a:pt x="1208" y="712"/>
                  </a:moveTo>
                  <a:cubicBezTo>
                    <a:pt x="1208" y="712"/>
                    <a:pt x="1208" y="712"/>
                    <a:pt x="1207" y="712"/>
                  </a:cubicBezTo>
                  <a:cubicBezTo>
                    <a:pt x="1205" y="716"/>
                    <a:pt x="1203" y="720"/>
                    <a:pt x="1201" y="723"/>
                  </a:cubicBezTo>
                  <a:cubicBezTo>
                    <a:pt x="1202" y="723"/>
                    <a:pt x="1202" y="723"/>
                    <a:pt x="1202" y="723"/>
                  </a:cubicBezTo>
                  <a:cubicBezTo>
                    <a:pt x="1204" y="719"/>
                    <a:pt x="1206" y="716"/>
                    <a:pt x="1208" y="712"/>
                  </a:cubicBezTo>
                  <a:cubicBezTo>
                    <a:pt x="1208" y="712"/>
                    <a:pt x="1208" y="712"/>
                    <a:pt x="1208" y="712"/>
                  </a:cubicBezTo>
                  <a:moveTo>
                    <a:pt x="1201" y="725"/>
                  </a:moveTo>
                  <a:cubicBezTo>
                    <a:pt x="1199" y="728"/>
                    <a:pt x="1198" y="731"/>
                    <a:pt x="1197" y="733"/>
                  </a:cubicBezTo>
                  <a:cubicBezTo>
                    <a:pt x="1198" y="733"/>
                    <a:pt x="1198" y="733"/>
                    <a:pt x="1198" y="733"/>
                  </a:cubicBezTo>
                  <a:cubicBezTo>
                    <a:pt x="1199" y="730"/>
                    <a:pt x="1200" y="728"/>
                    <a:pt x="1202" y="725"/>
                  </a:cubicBezTo>
                  <a:cubicBezTo>
                    <a:pt x="1201" y="725"/>
                    <a:pt x="1201" y="725"/>
                    <a:pt x="1201" y="725"/>
                  </a:cubicBezTo>
                  <a:moveTo>
                    <a:pt x="1197" y="735"/>
                  </a:moveTo>
                  <a:cubicBezTo>
                    <a:pt x="1197" y="735"/>
                    <a:pt x="1196" y="736"/>
                    <a:pt x="1196" y="737"/>
                  </a:cubicBezTo>
                  <a:cubicBezTo>
                    <a:pt x="1196" y="737"/>
                    <a:pt x="1197" y="737"/>
                    <a:pt x="1197" y="737"/>
                  </a:cubicBezTo>
                  <a:cubicBezTo>
                    <a:pt x="1197" y="736"/>
                    <a:pt x="1198" y="735"/>
                    <a:pt x="1198" y="735"/>
                  </a:cubicBezTo>
                  <a:cubicBezTo>
                    <a:pt x="1197" y="735"/>
                    <a:pt x="1197" y="735"/>
                    <a:pt x="1197" y="735"/>
                  </a:cubicBezTo>
                  <a:cubicBezTo>
                    <a:pt x="1197" y="735"/>
                    <a:pt x="1197" y="735"/>
                    <a:pt x="1197" y="735"/>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38" name="Freeform 67"/>
            <p:cNvSpPr>
              <a:spLocks noEditPoints="1"/>
            </p:cNvSpPr>
            <p:nvPr userDrawn="1"/>
          </p:nvSpPr>
          <p:spPr bwMode="auto">
            <a:xfrm>
              <a:off x="114" y="4171"/>
              <a:ext cx="3504" cy="1450"/>
            </a:xfrm>
            <a:custGeom>
              <a:avLst/>
              <a:gdLst>
                <a:gd name="T0" fmla="*/ 2147483646 w 1729"/>
                <a:gd name="T1" fmla="*/ 2147483646 h 715"/>
                <a:gd name="T2" fmla="*/ 2147483646 w 1729"/>
                <a:gd name="T3" fmla="*/ 2147483646 h 715"/>
                <a:gd name="T4" fmla="*/ 2147483646 w 1729"/>
                <a:gd name="T5" fmla="*/ 2147483646 h 715"/>
                <a:gd name="T6" fmla="*/ 2147483646 w 1729"/>
                <a:gd name="T7" fmla="*/ 2147483646 h 715"/>
                <a:gd name="T8" fmla="*/ 2147483646 w 1729"/>
                <a:gd name="T9" fmla="*/ 2147483646 h 715"/>
                <a:gd name="T10" fmla="*/ 2147483646 w 1729"/>
                <a:gd name="T11" fmla="*/ 2147483646 h 715"/>
                <a:gd name="T12" fmla="*/ 2147483646 w 1729"/>
                <a:gd name="T13" fmla="*/ 2147483646 h 715"/>
                <a:gd name="T14" fmla="*/ 2147483646 w 1729"/>
                <a:gd name="T15" fmla="*/ 2147483646 h 715"/>
                <a:gd name="T16" fmla="*/ 2147483646 w 1729"/>
                <a:gd name="T17" fmla="*/ 2147483646 h 715"/>
                <a:gd name="T18" fmla="*/ 2147483646 w 1729"/>
                <a:gd name="T19" fmla="*/ 2147483646 h 715"/>
                <a:gd name="T20" fmla="*/ 2147483646 w 1729"/>
                <a:gd name="T21" fmla="*/ 2147483646 h 715"/>
                <a:gd name="T22" fmla="*/ 2147483646 w 1729"/>
                <a:gd name="T23" fmla="*/ 2147483646 h 715"/>
                <a:gd name="T24" fmla="*/ 2147483646 w 1729"/>
                <a:gd name="T25" fmla="*/ 2147483646 h 715"/>
                <a:gd name="T26" fmla="*/ 2147483646 w 1729"/>
                <a:gd name="T27" fmla="*/ 2147483646 h 715"/>
                <a:gd name="T28" fmla="*/ 2147483646 w 1729"/>
                <a:gd name="T29" fmla="*/ 2147483646 h 715"/>
                <a:gd name="T30" fmla="*/ 2147483646 w 1729"/>
                <a:gd name="T31" fmla="*/ 2147483646 h 715"/>
                <a:gd name="T32" fmla="*/ 2147483646 w 1729"/>
                <a:gd name="T33" fmla="*/ 2147483646 h 715"/>
                <a:gd name="T34" fmla="*/ 2147483646 w 1729"/>
                <a:gd name="T35" fmla="*/ 2147483646 h 715"/>
                <a:gd name="T36" fmla="*/ 2147483646 w 1729"/>
                <a:gd name="T37" fmla="*/ 2147483646 h 715"/>
                <a:gd name="T38" fmla="*/ 2147483646 w 1729"/>
                <a:gd name="T39" fmla="*/ 2147483646 h 715"/>
                <a:gd name="T40" fmla="*/ 2147483646 w 1729"/>
                <a:gd name="T41" fmla="*/ 2147483646 h 715"/>
                <a:gd name="T42" fmla="*/ 2147483646 w 1729"/>
                <a:gd name="T43" fmla="*/ 2147483646 h 715"/>
                <a:gd name="T44" fmla="*/ 2147483646 w 1729"/>
                <a:gd name="T45" fmla="*/ 2147483646 h 715"/>
                <a:gd name="T46" fmla="*/ 2147483646 w 1729"/>
                <a:gd name="T47" fmla="*/ 2147483646 h 715"/>
                <a:gd name="T48" fmla="*/ 2147483646 w 1729"/>
                <a:gd name="T49" fmla="*/ 2147483646 h 715"/>
                <a:gd name="T50" fmla="*/ 2147483646 w 1729"/>
                <a:gd name="T51" fmla="*/ 2147483646 h 715"/>
                <a:gd name="T52" fmla="*/ 2147483646 w 1729"/>
                <a:gd name="T53" fmla="*/ 2147483646 h 715"/>
                <a:gd name="T54" fmla="*/ 2147483646 w 1729"/>
                <a:gd name="T55" fmla="*/ 2147483646 h 715"/>
                <a:gd name="T56" fmla="*/ 2147483646 w 1729"/>
                <a:gd name="T57" fmla="*/ 2147483646 h 715"/>
                <a:gd name="T58" fmla="*/ 2147483646 w 1729"/>
                <a:gd name="T59" fmla="*/ 2147483646 h 715"/>
                <a:gd name="T60" fmla="*/ 2147483646 w 1729"/>
                <a:gd name="T61" fmla="*/ 2147483646 h 715"/>
                <a:gd name="T62" fmla="*/ 2147483646 w 1729"/>
                <a:gd name="T63" fmla="*/ 2147483646 h 715"/>
                <a:gd name="T64" fmla="*/ 2147483646 w 1729"/>
                <a:gd name="T65" fmla="*/ 2147483646 h 715"/>
                <a:gd name="T66" fmla="*/ 2147483646 w 1729"/>
                <a:gd name="T67" fmla="*/ 2147483646 h 715"/>
                <a:gd name="T68" fmla="*/ 2147483646 w 1729"/>
                <a:gd name="T69" fmla="*/ 2147483646 h 715"/>
                <a:gd name="T70" fmla="*/ 2147483646 w 1729"/>
                <a:gd name="T71" fmla="*/ 2147483646 h 715"/>
                <a:gd name="T72" fmla="*/ 2147483646 w 1729"/>
                <a:gd name="T73" fmla="*/ 2147483646 h 715"/>
                <a:gd name="T74" fmla="*/ 2147483646 w 1729"/>
                <a:gd name="T75" fmla="*/ 2147483646 h 715"/>
                <a:gd name="T76" fmla="*/ 2147483646 w 1729"/>
                <a:gd name="T77" fmla="*/ 2147483646 h 715"/>
                <a:gd name="T78" fmla="*/ 2147483646 w 1729"/>
                <a:gd name="T79" fmla="*/ 2147483646 h 715"/>
                <a:gd name="T80" fmla="*/ 2147483646 w 1729"/>
                <a:gd name="T81" fmla="*/ 2147483646 h 715"/>
                <a:gd name="T82" fmla="*/ 2147483646 w 1729"/>
                <a:gd name="T83" fmla="*/ 2147483646 h 715"/>
                <a:gd name="T84" fmla="*/ 2147483646 w 1729"/>
                <a:gd name="T85" fmla="*/ 2147483646 h 715"/>
                <a:gd name="T86" fmla="*/ 2147483646 w 1729"/>
                <a:gd name="T87" fmla="*/ 2147483646 h 715"/>
                <a:gd name="T88" fmla="*/ 2147483646 w 1729"/>
                <a:gd name="T89" fmla="*/ 2147483646 h 715"/>
                <a:gd name="T90" fmla="*/ 2147483646 w 1729"/>
                <a:gd name="T91" fmla="*/ 2147483646 h 715"/>
                <a:gd name="T92" fmla="*/ 2147483646 w 1729"/>
                <a:gd name="T93" fmla="*/ 2147483646 h 715"/>
                <a:gd name="T94" fmla="*/ 2147483646 w 1729"/>
                <a:gd name="T95" fmla="*/ 2147483646 h 715"/>
                <a:gd name="T96" fmla="*/ 2147483646 w 1729"/>
                <a:gd name="T97" fmla="*/ 2147483646 h 715"/>
                <a:gd name="T98" fmla="*/ 2147483646 w 1729"/>
                <a:gd name="T99" fmla="*/ 2147483646 h 715"/>
                <a:gd name="T100" fmla="*/ 2147483646 w 1729"/>
                <a:gd name="T101" fmla="*/ 2147483646 h 715"/>
                <a:gd name="T102" fmla="*/ 2147483646 w 1729"/>
                <a:gd name="T103" fmla="*/ 2147483646 h 715"/>
                <a:gd name="T104" fmla="*/ 2147483646 w 1729"/>
                <a:gd name="T105" fmla="*/ 2147483646 h 715"/>
                <a:gd name="T106" fmla="*/ 2147483646 w 1729"/>
                <a:gd name="T107" fmla="*/ 2147483646 h 715"/>
                <a:gd name="T108" fmla="*/ 2147483646 w 1729"/>
                <a:gd name="T109" fmla="*/ 2147483646 h 715"/>
                <a:gd name="T110" fmla="*/ 2147483646 w 1729"/>
                <a:gd name="T111" fmla="*/ 2147483646 h 715"/>
                <a:gd name="T112" fmla="*/ 2147483646 w 1729"/>
                <a:gd name="T113" fmla="*/ 2147483646 h 715"/>
                <a:gd name="T114" fmla="*/ 2147483646 w 1729"/>
                <a:gd name="T115" fmla="*/ 2147483646 h 715"/>
                <a:gd name="T116" fmla="*/ 2147483646 w 1729"/>
                <a:gd name="T117" fmla="*/ 2147483646 h 715"/>
                <a:gd name="T118" fmla="*/ 2147483646 w 1729"/>
                <a:gd name="T119" fmla="*/ 2147483646 h 715"/>
                <a:gd name="T120" fmla="*/ 2147483646 w 1729"/>
                <a:gd name="T121" fmla="*/ 2147483646 h 715"/>
                <a:gd name="T122" fmla="*/ 2147483646 w 1729"/>
                <a:gd name="T123" fmla="*/ 2147483646 h 715"/>
                <a:gd name="T124" fmla="*/ 2147483646 w 1729"/>
                <a:gd name="T125" fmla="*/ 2147483646 h 71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729" h="715">
                  <a:moveTo>
                    <a:pt x="1330" y="0"/>
                  </a:moveTo>
                  <a:cubicBezTo>
                    <a:pt x="1318" y="0"/>
                    <a:pt x="1307" y="1"/>
                    <a:pt x="1297" y="3"/>
                  </a:cubicBezTo>
                  <a:cubicBezTo>
                    <a:pt x="1296" y="3"/>
                    <a:pt x="1295" y="3"/>
                    <a:pt x="1294" y="4"/>
                  </a:cubicBezTo>
                  <a:cubicBezTo>
                    <a:pt x="1284" y="6"/>
                    <a:pt x="1276" y="9"/>
                    <a:pt x="1269" y="13"/>
                  </a:cubicBezTo>
                  <a:cubicBezTo>
                    <a:pt x="1269" y="13"/>
                    <a:pt x="1268" y="13"/>
                    <a:pt x="1268" y="14"/>
                  </a:cubicBezTo>
                  <a:cubicBezTo>
                    <a:pt x="1263" y="17"/>
                    <a:pt x="1259" y="21"/>
                    <a:pt x="1257" y="26"/>
                  </a:cubicBezTo>
                  <a:cubicBezTo>
                    <a:pt x="1256" y="26"/>
                    <a:pt x="1256" y="27"/>
                    <a:pt x="1256" y="27"/>
                  </a:cubicBezTo>
                  <a:cubicBezTo>
                    <a:pt x="1254" y="31"/>
                    <a:pt x="1253" y="36"/>
                    <a:pt x="1253" y="42"/>
                  </a:cubicBezTo>
                  <a:cubicBezTo>
                    <a:pt x="1253" y="50"/>
                    <a:pt x="1256" y="60"/>
                    <a:pt x="1261" y="72"/>
                  </a:cubicBezTo>
                  <a:cubicBezTo>
                    <a:pt x="1294" y="137"/>
                    <a:pt x="1317" y="189"/>
                    <a:pt x="1328" y="230"/>
                  </a:cubicBezTo>
                  <a:cubicBezTo>
                    <a:pt x="1328" y="230"/>
                    <a:pt x="1328" y="230"/>
                    <a:pt x="1328" y="230"/>
                  </a:cubicBezTo>
                  <a:cubicBezTo>
                    <a:pt x="1318" y="188"/>
                    <a:pt x="1295" y="137"/>
                    <a:pt x="1262" y="71"/>
                  </a:cubicBezTo>
                  <a:cubicBezTo>
                    <a:pt x="1257" y="60"/>
                    <a:pt x="1254" y="50"/>
                    <a:pt x="1254" y="42"/>
                  </a:cubicBezTo>
                  <a:cubicBezTo>
                    <a:pt x="1254" y="36"/>
                    <a:pt x="1255" y="31"/>
                    <a:pt x="1257" y="27"/>
                  </a:cubicBezTo>
                  <a:cubicBezTo>
                    <a:pt x="1257" y="27"/>
                    <a:pt x="1257" y="27"/>
                    <a:pt x="1258" y="26"/>
                  </a:cubicBezTo>
                  <a:cubicBezTo>
                    <a:pt x="1260" y="21"/>
                    <a:pt x="1264" y="17"/>
                    <a:pt x="1269" y="14"/>
                  </a:cubicBezTo>
                  <a:cubicBezTo>
                    <a:pt x="1270" y="14"/>
                    <a:pt x="1270" y="13"/>
                    <a:pt x="1271" y="13"/>
                  </a:cubicBezTo>
                  <a:cubicBezTo>
                    <a:pt x="1277" y="9"/>
                    <a:pt x="1286" y="6"/>
                    <a:pt x="1297" y="4"/>
                  </a:cubicBezTo>
                  <a:cubicBezTo>
                    <a:pt x="1298" y="4"/>
                    <a:pt x="1299" y="4"/>
                    <a:pt x="1300" y="4"/>
                  </a:cubicBezTo>
                  <a:cubicBezTo>
                    <a:pt x="1309" y="2"/>
                    <a:pt x="1319" y="1"/>
                    <a:pt x="1330" y="1"/>
                  </a:cubicBezTo>
                  <a:cubicBezTo>
                    <a:pt x="1344" y="1"/>
                    <a:pt x="1360" y="3"/>
                    <a:pt x="1377" y="5"/>
                  </a:cubicBezTo>
                  <a:cubicBezTo>
                    <a:pt x="1377" y="5"/>
                    <a:pt x="1378" y="4"/>
                    <a:pt x="1378" y="4"/>
                  </a:cubicBezTo>
                  <a:cubicBezTo>
                    <a:pt x="1375" y="4"/>
                    <a:pt x="1372" y="3"/>
                    <a:pt x="1370" y="3"/>
                  </a:cubicBezTo>
                  <a:cubicBezTo>
                    <a:pt x="1356" y="1"/>
                    <a:pt x="1342" y="0"/>
                    <a:pt x="1330" y="0"/>
                  </a:cubicBezTo>
                  <a:moveTo>
                    <a:pt x="1379" y="4"/>
                  </a:moveTo>
                  <a:cubicBezTo>
                    <a:pt x="1379" y="4"/>
                    <a:pt x="1378" y="5"/>
                    <a:pt x="1378" y="5"/>
                  </a:cubicBezTo>
                  <a:cubicBezTo>
                    <a:pt x="1378" y="5"/>
                    <a:pt x="1379" y="5"/>
                    <a:pt x="1379" y="5"/>
                  </a:cubicBezTo>
                  <a:cubicBezTo>
                    <a:pt x="1379" y="5"/>
                    <a:pt x="1379" y="4"/>
                    <a:pt x="1379" y="4"/>
                  </a:cubicBezTo>
                  <a:cubicBezTo>
                    <a:pt x="1379" y="4"/>
                    <a:pt x="1379" y="4"/>
                    <a:pt x="1379" y="4"/>
                  </a:cubicBezTo>
                  <a:moveTo>
                    <a:pt x="1380" y="4"/>
                  </a:moveTo>
                  <a:cubicBezTo>
                    <a:pt x="1380" y="5"/>
                    <a:pt x="1380" y="5"/>
                    <a:pt x="1380" y="5"/>
                  </a:cubicBezTo>
                  <a:cubicBezTo>
                    <a:pt x="1382" y="6"/>
                    <a:pt x="1385" y="6"/>
                    <a:pt x="1387" y="6"/>
                  </a:cubicBezTo>
                  <a:cubicBezTo>
                    <a:pt x="1387" y="6"/>
                    <a:pt x="1388" y="6"/>
                    <a:pt x="1388" y="6"/>
                  </a:cubicBezTo>
                  <a:cubicBezTo>
                    <a:pt x="1389" y="6"/>
                    <a:pt x="1389" y="6"/>
                    <a:pt x="1390" y="6"/>
                  </a:cubicBezTo>
                  <a:cubicBezTo>
                    <a:pt x="1386" y="5"/>
                    <a:pt x="1383" y="5"/>
                    <a:pt x="1380" y="4"/>
                  </a:cubicBezTo>
                  <a:moveTo>
                    <a:pt x="1391" y="6"/>
                  </a:moveTo>
                  <a:cubicBezTo>
                    <a:pt x="1391" y="6"/>
                    <a:pt x="1390" y="6"/>
                    <a:pt x="1390" y="7"/>
                  </a:cubicBezTo>
                  <a:cubicBezTo>
                    <a:pt x="1391" y="7"/>
                    <a:pt x="1392" y="7"/>
                    <a:pt x="1393" y="7"/>
                  </a:cubicBezTo>
                  <a:cubicBezTo>
                    <a:pt x="1393" y="7"/>
                    <a:pt x="1392" y="6"/>
                    <a:pt x="1392" y="6"/>
                  </a:cubicBezTo>
                  <a:cubicBezTo>
                    <a:pt x="1392" y="6"/>
                    <a:pt x="1392" y="6"/>
                    <a:pt x="1391" y="6"/>
                  </a:cubicBezTo>
                  <a:moveTo>
                    <a:pt x="1393" y="6"/>
                  </a:moveTo>
                  <a:cubicBezTo>
                    <a:pt x="1394" y="7"/>
                    <a:pt x="1394" y="7"/>
                    <a:pt x="1394" y="7"/>
                  </a:cubicBezTo>
                  <a:cubicBezTo>
                    <a:pt x="1404" y="9"/>
                    <a:pt x="1414" y="11"/>
                    <a:pt x="1425" y="13"/>
                  </a:cubicBezTo>
                  <a:cubicBezTo>
                    <a:pt x="1426" y="13"/>
                    <a:pt x="1427" y="13"/>
                    <a:pt x="1429" y="13"/>
                  </a:cubicBezTo>
                  <a:cubicBezTo>
                    <a:pt x="1417" y="10"/>
                    <a:pt x="1405" y="8"/>
                    <a:pt x="1393" y="6"/>
                  </a:cubicBezTo>
                  <a:moveTo>
                    <a:pt x="1432" y="14"/>
                  </a:moveTo>
                  <a:cubicBezTo>
                    <a:pt x="1431" y="14"/>
                    <a:pt x="1430" y="14"/>
                    <a:pt x="1429" y="14"/>
                  </a:cubicBezTo>
                  <a:cubicBezTo>
                    <a:pt x="1431" y="15"/>
                    <a:pt x="1434" y="15"/>
                    <a:pt x="1436" y="16"/>
                  </a:cubicBezTo>
                  <a:cubicBezTo>
                    <a:pt x="1436" y="15"/>
                    <a:pt x="1436" y="15"/>
                    <a:pt x="1436" y="15"/>
                  </a:cubicBezTo>
                  <a:cubicBezTo>
                    <a:pt x="1436" y="15"/>
                    <a:pt x="1435" y="15"/>
                    <a:pt x="1435" y="15"/>
                  </a:cubicBezTo>
                  <a:cubicBezTo>
                    <a:pt x="1434" y="14"/>
                    <a:pt x="1433" y="14"/>
                    <a:pt x="1432" y="14"/>
                  </a:cubicBezTo>
                  <a:moveTo>
                    <a:pt x="1437" y="15"/>
                  </a:moveTo>
                  <a:cubicBezTo>
                    <a:pt x="1437" y="15"/>
                    <a:pt x="1437" y="16"/>
                    <a:pt x="1437" y="16"/>
                  </a:cubicBezTo>
                  <a:cubicBezTo>
                    <a:pt x="1441" y="17"/>
                    <a:pt x="1444" y="18"/>
                    <a:pt x="1447" y="18"/>
                  </a:cubicBezTo>
                  <a:cubicBezTo>
                    <a:pt x="1453" y="20"/>
                    <a:pt x="1459" y="21"/>
                    <a:pt x="1464" y="22"/>
                  </a:cubicBezTo>
                  <a:cubicBezTo>
                    <a:pt x="1465" y="22"/>
                    <a:pt x="1465" y="22"/>
                    <a:pt x="1465" y="22"/>
                  </a:cubicBezTo>
                  <a:cubicBezTo>
                    <a:pt x="1463" y="21"/>
                    <a:pt x="1460" y="21"/>
                    <a:pt x="1457" y="20"/>
                  </a:cubicBezTo>
                  <a:cubicBezTo>
                    <a:pt x="1451" y="18"/>
                    <a:pt x="1444" y="16"/>
                    <a:pt x="1437" y="15"/>
                  </a:cubicBezTo>
                  <a:moveTo>
                    <a:pt x="1472" y="25"/>
                  </a:moveTo>
                  <a:cubicBezTo>
                    <a:pt x="1475" y="26"/>
                    <a:pt x="1478" y="27"/>
                    <a:pt x="1481" y="28"/>
                  </a:cubicBezTo>
                  <a:cubicBezTo>
                    <a:pt x="1487" y="29"/>
                    <a:pt x="1492" y="31"/>
                    <a:pt x="1497" y="33"/>
                  </a:cubicBezTo>
                  <a:cubicBezTo>
                    <a:pt x="1497" y="32"/>
                    <a:pt x="1497" y="32"/>
                    <a:pt x="1497" y="32"/>
                  </a:cubicBezTo>
                  <a:cubicBezTo>
                    <a:pt x="1494" y="31"/>
                    <a:pt x="1491" y="30"/>
                    <a:pt x="1488" y="29"/>
                  </a:cubicBezTo>
                  <a:cubicBezTo>
                    <a:pt x="1484" y="27"/>
                    <a:pt x="1479" y="26"/>
                    <a:pt x="1475" y="25"/>
                  </a:cubicBezTo>
                  <a:cubicBezTo>
                    <a:pt x="1474" y="25"/>
                    <a:pt x="1473" y="25"/>
                    <a:pt x="1472" y="25"/>
                  </a:cubicBezTo>
                  <a:moveTo>
                    <a:pt x="1498" y="32"/>
                  </a:moveTo>
                  <a:cubicBezTo>
                    <a:pt x="1498" y="32"/>
                    <a:pt x="1498" y="33"/>
                    <a:pt x="1498" y="33"/>
                  </a:cubicBezTo>
                  <a:cubicBezTo>
                    <a:pt x="1516" y="38"/>
                    <a:pt x="1533" y="45"/>
                    <a:pt x="1550" y="51"/>
                  </a:cubicBezTo>
                  <a:cubicBezTo>
                    <a:pt x="1550" y="51"/>
                    <a:pt x="1550" y="50"/>
                    <a:pt x="1550" y="50"/>
                  </a:cubicBezTo>
                  <a:cubicBezTo>
                    <a:pt x="1533" y="43"/>
                    <a:pt x="1516" y="37"/>
                    <a:pt x="1498" y="32"/>
                  </a:cubicBezTo>
                  <a:moveTo>
                    <a:pt x="1551" y="50"/>
                  </a:moveTo>
                  <a:cubicBezTo>
                    <a:pt x="1551" y="51"/>
                    <a:pt x="1551" y="51"/>
                    <a:pt x="1551" y="51"/>
                  </a:cubicBezTo>
                  <a:cubicBezTo>
                    <a:pt x="1561" y="55"/>
                    <a:pt x="1570" y="59"/>
                    <a:pt x="1579" y="63"/>
                  </a:cubicBezTo>
                  <a:cubicBezTo>
                    <a:pt x="1581" y="64"/>
                    <a:pt x="1582" y="64"/>
                    <a:pt x="1583" y="65"/>
                  </a:cubicBezTo>
                  <a:cubicBezTo>
                    <a:pt x="1583" y="64"/>
                    <a:pt x="1584" y="64"/>
                    <a:pt x="1584" y="64"/>
                  </a:cubicBezTo>
                  <a:cubicBezTo>
                    <a:pt x="1574" y="59"/>
                    <a:pt x="1563" y="55"/>
                    <a:pt x="1551" y="50"/>
                  </a:cubicBezTo>
                  <a:moveTo>
                    <a:pt x="1586" y="65"/>
                  </a:moveTo>
                  <a:cubicBezTo>
                    <a:pt x="1585" y="65"/>
                    <a:pt x="1585" y="65"/>
                    <a:pt x="1584" y="65"/>
                  </a:cubicBezTo>
                  <a:cubicBezTo>
                    <a:pt x="1588" y="67"/>
                    <a:pt x="1591" y="68"/>
                    <a:pt x="1595" y="70"/>
                  </a:cubicBezTo>
                  <a:cubicBezTo>
                    <a:pt x="1595" y="70"/>
                    <a:pt x="1595" y="69"/>
                    <a:pt x="1595" y="69"/>
                  </a:cubicBezTo>
                  <a:cubicBezTo>
                    <a:pt x="1592" y="67"/>
                    <a:pt x="1589" y="66"/>
                    <a:pt x="1586" y="65"/>
                  </a:cubicBezTo>
                  <a:moveTo>
                    <a:pt x="57" y="69"/>
                  </a:moveTo>
                  <a:cubicBezTo>
                    <a:pt x="21" y="69"/>
                    <a:pt x="0" y="76"/>
                    <a:pt x="0" y="92"/>
                  </a:cubicBezTo>
                  <a:cubicBezTo>
                    <a:pt x="0" y="118"/>
                    <a:pt x="60" y="168"/>
                    <a:pt x="208" y="250"/>
                  </a:cubicBezTo>
                  <a:cubicBezTo>
                    <a:pt x="208" y="250"/>
                    <a:pt x="208" y="250"/>
                    <a:pt x="208" y="250"/>
                  </a:cubicBezTo>
                  <a:cubicBezTo>
                    <a:pt x="208" y="249"/>
                    <a:pt x="208" y="249"/>
                    <a:pt x="208" y="249"/>
                  </a:cubicBezTo>
                  <a:cubicBezTo>
                    <a:pt x="60" y="167"/>
                    <a:pt x="1" y="117"/>
                    <a:pt x="1" y="92"/>
                  </a:cubicBezTo>
                  <a:cubicBezTo>
                    <a:pt x="1" y="84"/>
                    <a:pt x="6" y="79"/>
                    <a:pt x="15" y="75"/>
                  </a:cubicBezTo>
                  <a:cubicBezTo>
                    <a:pt x="25" y="72"/>
                    <a:pt x="39" y="70"/>
                    <a:pt x="57" y="70"/>
                  </a:cubicBezTo>
                  <a:cubicBezTo>
                    <a:pt x="58" y="70"/>
                    <a:pt x="58" y="70"/>
                    <a:pt x="58" y="70"/>
                  </a:cubicBezTo>
                  <a:cubicBezTo>
                    <a:pt x="215" y="70"/>
                    <a:pt x="660" y="201"/>
                    <a:pt x="884" y="321"/>
                  </a:cubicBezTo>
                  <a:cubicBezTo>
                    <a:pt x="884" y="321"/>
                    <a:pt x="885" y="321"/>
                    <a:pt x="885" y="320"/>
                  </a:cubicBezTo>
                  <a:cubicBezTo>
                    <a:pt x="660" y="200"/>
                    <a:pt x="215" y="69"/>
                    <a:pt x="57" y="69"/>
                  </a:cubicBezTo>
                  <a:moveTo>
                    <a:pt x="1596" y="69"/>
                  </a:moveTo>
                  <a:cubicBezTo>
                    <a:pt x="1596" y="70"/>
                    <a:pt x="1596" y="70"/>
                    <a:pt x="1595" y="70"/>
                  </a:cubicBezTo>
                  <a:cubicBezTo>
                    <a:pt x="1599" y="72"/>
                    <a:pt x="1602" y="73"/>
                    <a:pt x="1605" y="75"/>
                  </a:cubicBezTo>
                  <a:cubicBezTo>
                    <a:pt x="1605" y="74"/>
                    <a:pt x="1605" y="74"/>
                    <a:pt x="1605" y="74"/>
                  </a:cubicBezTo>
                  <a:cubicBezTo>
                    <a:pt x="1602" y="72"/>
                    <a:pt x="1599" y="71"/>
                    <a:pt x="1596" y="69"/>
                  </a:cubicBezTo>
                  <a:moveTo>
                    <a:pt x="1606" y="74"/>
                  </a:moveTo>
                  <a:cubicBezTo>
                    <a:pt x="1606" y="75"/>
                    <a:pt x="1606" y="75"/>
                    <a:pt x="1605" y="75"/>
                  </a:cubicBezTo>
                  <a:cubicBezTo>
                    <a:pt x="1606" y="75"/>
                    <a:pt x="1606" y="75"/>
                    <a:pt x="1607" y="76"/>
                  </a:cubicBezTo>
                  <a:cubicBezTo>
                    <a:pt x="1608" y="76"/>
                    <a:pt x="1608" y="76"/>
                    <a:pt x="1609" y="75"/>
                  </a:cubicBezTo>
                  <a:cubicBezTo>
                    <a:pt x="1608" y="75"/>
                    <a:pt x="1607" y="75"/>
                    <a:pt x="1606" y="74"/>
                  </a:cubicBezTo>
                  <a:moveTo>
                    <a:pt x="1611" y="76"/>
                  </a:moveTo>
                  <a:cubicBezTo>
                    <a:pt x="1610" y="76"/>
                    <a:pt x="1609" y="76"/>
                    <a:pt x="1609" y="77"/>
                  </a:cubicBezTo>
                  <a:cubicBezTo>
                    <a:pt x="1617" y="80"/>
                    <a:pt x="1624" y="84"/>
                    <a:pt x="1632" y="88"/>
                  </a:cubicBezTo>
                  <a:cubicBezTo>
                    <a:pt x="1632" y="88"/>
                    <a:pt x="1632" y="88"/>
                    <a:pt x="1632" y="87"/>
                  </a:cubicBezTo>
                  <a:cubicBezTo>
                    <a:pt x="1625" y="84"/>
                    <a:pt x="1618" y="80"/>
                    <a:pt x="1611" y="76"/>
                  </a:cubicBezTo>
                  <a:moveTo>
                    <a:pt x="1633" y="88"/>
                  </a:moveTo>
                  <a:cubicBezTo>
                    <a:pt x="1633" y="88"/>
                    <a:pt x="1633" y="89"/>
                    <a:pt x="1632" y="89"/>
                  </a:cubicBezTo>
                  <a:cubicBezTo>
                    <a:pt x="1636" y="91"/>
                    <a:pt x="1639" y="92"/>
                    <a:pt x="1642" y="94"/>
                  </a:cubicBezTo>
                  <a:cubicBezTo>
                    <a:pt x="1642" y="94"/>
                    <a:pt x="1642" y="94"/>
                    <a:pt x="1643" y="93"/>
                  </a:cubicBezTo>
                  <a:cubicBezTo>
                    <a:pt x="1639" y="92"/>
                    <a:pt x="1636" y="90"/>
                    <a:pt x="1633" y="88"/>
                  </a:cubicBezTo>
                  <a:moveTo>
                    <a:pt x="1643" y="94"/>
                  </a:moveTo>
                  <a:cubicBezTo>
                    <a:pt x="1643" y="94"/>
                    <a:pt x="1643" y="94"/>
                    <a:pt x="1643" y="95"/>
                  </a:cubicBezTo>
                  <a:cubicBezTo>
                    <a:pt x="1643" y="95"/>
                    <a:pt x="1644" y="95"/>
                    <a:pt x="1644" y="96"/>
                  </a:cubicBezTo>
                  <a:cubicBezTo>
                    <a:pt x="1644" y="95"/>
                    <a:pt x="1645" y="95"/>
                    <a:pt x="1645" y="95"/>
                  </a:cubicBezTo>
                  <a:cubicBezTo>
                    <a:pt x="1644" y="94"/>
                    <a:pt x="1644" y="94"/>
                    <a:pt x="1643" y="94"/>
                  </a:cubicBezTo>
                  <a:moveTo>
                    <a:pt x="1646" y="95"/>
                  </a:moveTo>
                  <a:cubicBezTo>
                    <a:pt x="1646" y="96"/>
                    <a:pt x="1646" y="96"/>
                    <a:pt x="1646" y="96"/>
                  </a:cubicBezTo>
                  <a:cubicBezTo>
                    <a:pt x="1648" y="97"/>
                    <a:pt x="1649" y="99"/>
                    <a:pt x="1651" y="100"/>
                  </a:cubicBezTo>
                  <a:cubicBezTo>
                    <a:pt x="1652" y="100"/>
                    <a:pt x="1652" y="100"/>
                    <a:pt x="1653" y="100"/>
                  </a:cubicBezTo>
                  <a:cubicBezTo>
                    <a:pt x="1651" y="98"/>
                    <a:pt x="1648" y="97"/>
                    <a:pt x="1646" y="95"/>
                  </a:cubicBezTo>
                  <a:moveTo>
                    <a:pt x="1654" y="100"/>
                  </a:moveTo>
                  <a:cubicBezTo>
                    <a:pt x="1654" y="100"/>
                    <a:pt x="1653" y="101"/>
                    <a:pt x="1653" y="101"/>
                  </a:cubicBezTo>
                  <a:cubicBezTo>
                    <a:pt x="1656" y="102"/>
                    <a:pt x="1659" y="104"/>
                    <a:pt x="1662" y="106"/>
                  </a:cubicBezTo>
                  <a:cubicBezTo>
                    <a:pt x="1662" y="106"/>
                    <a:pt x="1662" y="106"/>
                    <a:pt x="1663" y="106"/>
                  </a:cubicBezTo>
                  <a:cubicBezTo>
                    <a:pt x="1660" y="104"/>
                    <a:pt x="1657" y="102"/>
                    <a:pt x="1654" y="100"/>
                  </a:cubicBezTo>
                  <a:moveTo>
                    <a:pt x="1663" y="106"/>
                  </a:moveTo>
                  <a:cubicBezTo>
                    <a:pt x="1663" y="106"/>
                    <a:pt x="1663" y="107"/>
                    <a:pt x="1663" y="107"/>
                  </a:cubicBezTo>
                  <a:cubicBezTo>
                    <a:pt x="1666" y="109"/>
                    <a:pt x="1669" y="111"/>
                    <a:pt x="1672" y="113"/>
                  </a:cubicBezTo>
                  <a:cubicBezTo>
                    <a:pt x="1672" y="113"/>
                    <a:pt x="1672" y="113"/>
                    <a:pt x="1673" y="112"/>
                  </a:cubicBezTo>
                  <a:cubicBezTo>
                    <a:pt x="1670" y="110"/>
                    <a:pt x="1667" y="108"/>
                    <a:pt x="1663" y="106"/>
                  </a:cubicBezTo>
                  <a:moveTo>
                    <a:pt x="1673" y="113"/>
                  </a:moveTo>
                  <a:cubicBezTo>
                    <a:pt x="1673" y="113"/>
                    <a:pt x="1673" y="113"/>
                    <a:pt x="1673" y="114"/>
                  </a:cubicBezTo>
                  <a:cubicBezTo>
                    <a:pt x="1677" y="117"/>
                    <a:pt x="1682" y="120"/>
                    <a:pt x="1686" y="124"/>
                  </a:cubicBezTo>
                  <a:cubicBezTo>
                    <a:pt x="1686" y="124"/>
                    <a:pt x="1687" y="123"/>
                    <a:pt x="1687" y="123"/>
                  </a:cubicBezTo>
                  <a:cubicBezTo>
                    <a:pt x="1683" y="120"/>
                    <a:pt x="1678" y="116"/>
                    <a:pt x="1673" y="113"/>
                  </a:cubicBezTo>
                  <a:moveTo>
                    <a:pt x="1688" y="124"/>
                  </a:moveTo>
                  <a:cubicBezTo>
                    <a:pt x="1687" y="124"/>
                    <a:pt x="1687" y="124"/>
                    <a:pt x="1687" y="124"/>
                  </a:cubicBezTo>
                  <a:cubicBezTo>
                    <a:pt x="1691" y="127"/>
                    <a:pt x="1694" y="130"/>
                    <a:pt x="1697" y="133"/>
                  </a:cubicBezTo>
                  <a:cubicBezTo>
                    <a:pt x="1697" y="133"/>
                    <a:pt x="1698" y="133"/>
                    <a:pt x="1698" y="132"/>
                  </a:cubicBezTo>
                  <a:cubicBezTo>
                    <a:pt x="1694" y="129"/>
                    <a:pt x="1691" y="127"/>
                    <a:pt x="1688" y="124"/>
                  </a:cubicBezTo>
                  <a:moveTo>
                    <a:pt x="1699" y="133"/>
                  </a:moveTo>
                  <a:cubicBezTo>
                    <a:pt x="1698" y="134"/>
                    <a:pt x="1698" y="134"/>
                    <a:pt x="1698" y="134"/>
                  </a:cubicBezTo>
                  <a:cubicBezTo>
                    <a:pt x="1699" y="135"/>
                    <a:pt x="1699" y="135"/>
                    <a:pt x="1699" y="135"/>
                  </a:cubicBezTo>
                  <a:cubicBezTo>
                    <a:pt x="1700" y="135"/>
                    <a:pt x="1700" y="135"/>
                    <a:pt x="1700" y="135"/>
                  </a:cubicBezTo>
                  <a:cubicBezTo>
                    <a:pt x="1700" y="134"/>
                    <a:pt x="1699" y="134"/>
                    <a:pt x="1699" y="133"/>
                  </a:cubicBezTo>
                  <a:moveTo>
                    <a:pt x="1701" y="135"/>
                  </a:moveTo>
                  <a:cubicBezTo>
                    <a:pt x="1701" y="136"/>
                    <a:pt x="1700" y="136"/>
                    <a:pt x="1700" y="136"/>
                  </a:cubicBezTo>
                  <a:cubicBezTo>
                    <a:pt x="1702" y="137"/>
                    <a:pt x="1703" y="139"/>
                    <a:pt x="1704" y="140"/>
                  </a:cubicBezTo>
                  <a:cubicBezTo>
                    <a:pt x="1705" y="140"/>
                    <a:pt x="1705" y="140"/>
                    <a:pt x="1705" y="140"/>
                  </a:cubicBezTo>
                  <a:cubicBezTo>
                    <a:pt x="1704" y="138"/>
                    <a:pt x="1702" y="137"/>
                    <a:pt x="1701" y="135"/>
                  </a:cubicBezTo>
                  <a:moveTo>
                    <a:pt x="1706" y="140"/>
                  </a:moveTo>
                  <a:cubicBezTo>
                    <a:pt x="1706" y="141"/>
                    <a:pt x="1705" y="141"/>
                    <a:pt x="1705" y="141"/>
                  </a:cubicBezTo>
                  <a:cubicBezTo>
                    <a:pt x="1707" y="143"/>
                    <a:pt x="1709" y="145"/>
                    <a:pt x="1711" y="148"/>
                  </a:cubicBezTo>
                  <a:cubicBezTo>
                    <a:pt x="1711" y="147"/>
                    <a:pt x="1712" y="147"/>
                    <a:pt x="1712" y="147"/>
                  </a:cubicBezTo>
                  <a:cubicBezTo>
                    <a:pt x="1710" y="145"/>
                    <a:pt x="1708" y="143"/>
                    <a:pt x="1706" y="140"/>
                  </a:cubicBezTo>
                  <a:moveTo>
                    <a:pt x="1712" y="148"/>
                  </a:moveTo>
                  <a:cubicBezTo>
                    <a:pt x="1712" y="148"/>
                    <a:pt x="1712" y="148"/>
                    <a:pt x="1712" y="148"/>
                  </a:cubicBezTo>
                  <a:cubicBezTo>
                    <a:pt x="1713" y="150"/>
                    <a:pt x="1714" y="152"/>
                    <a:pt x="1716" y="153"/>
                  </a:cubicBezTo>
                  <a:cubicBezTo>
                    <a:pt x="1716" y="153"/>
                    <a:pt x="1716" y="153"/>
                    <a:pt x="1716" y="153"/>
                  </a:cubicBezTo>
                  <a:cubicBezTo>
                    <a:pt x="1716" y="153"/>
                    <a:pt x="1716" y="153"/>
                    <a:pt x="1716" y="153"/>
                  </a:cubicBezTo>
                  <a:cubicBezTo>
                    <a:pt x="1715" y="151"/>
                    <a:pt x="1714" y="150"/>
                    <a:pt x="1712" y="148"/>
                  </a:cubicBezTo>
                  <a:moveTo>
                    <a:pt x="1717" y="154"/>
                  </a:moveTo>
                  <a:cubicBezTo>
                    <a:pt x="1716" y="154"/>
                    <a:pt x="1716" y="154"/>
                    <a:pt x="1716" y="154"/>
                  </a:cubicBezTo>
                  <a:cubicBezTo>
                    <a:pt x="1716" y="154"/>
                    <a:pt x="1716" y="154"/>
                    <a:pt x="1716" y="154"/>
                  </a:cubicBezTo>
                  <a:cubicBezTo>
                    <a:pt x="1716" y="154"/>
                    <a:pt x="1716" y="154"/>
                    <a:pt x="1717" y="154"/>
                  </a:cubicBezTo>
                  <a:moveTo>
                    <a:pt x="1718" y="154"/>
                  </a:moveTo>
                  <a:cubicBezTo>
                    <a:pt x="1717" y="155"/>
                    <a:pt x="1717" y="155"/>
                    <a:pt x="1717" y="155"/>
                  </a:cubicBezTo>
                  <a:cubicBezTo>
                    <a:pt x="1717" y="156"/>
                    <a:pt x="1718" y="157"/>
                    <a:pt x="1718" y="157"/>
                  </a:cubicBezTo>
                  <a:cubicBezTo>
                    <a:pt x="1719" y="157"/>
                    <a:pt x="1719" y="157"/>
                    <a:pt x="1719" y="157"/>
                  </a:cubicBezTo>
                  <a:cubicBezTo>
                    <a:pt x="1719" y="156"/>
                    <a:pt x="1718" y="155"/>
                    <a:pt x="1718" y="154"/>
                  </a:cubicBezTo>
                  <a:moveTo>
                    <a:pt x="1720" y="158"/>
                  </a:moveTo>
                  <a:cubicBezTo>
                    <a:pt x="1719" y="158"/>
                    <a:pt x="1719" y="158"/>
                    <a:pt x="1719" y="158"/>
                  </a:cubicBezTo>
                  <a:cubicBezTo>
                    <a:pt x="1722" y="163"/>
                    <a:pt x="1724" y="168"/>
                    <a:pt x="1726" y="172"/>
                  </a:cubicBezTo>
                  <a:cubicBezTo>
                    <a:pt x="1726" y="172"/>
                    <a:pt x="1726" y="172"/>
                    <a:pt x="1726" y="172"/>
                  </a:cubicBezTo>
                  <a:cubicBezTo>
                    <a:pt x="1725" y="167"/>
                    <a:pt x="1723" y="162"/>
                    <a:pt x="1720" y="158"/>
                  </a:cubicBezTo>
                  <a:moveTo>
                    <a:pt x="1727" y="174"/>
                  </a:moveTo>
                  <a:cubicBezTo>
                    <a:pt x="1727" y="174"/>
                    <a:pt x="1727" y="174"/>
                    <a:pt x="1726" y="174"/>
                  </a:cubicBezTo>
                  <a:cubicBezTo>
                    <a:pt x="1727" y="176"/>
                    <a:pt x="1727" y="178"/>
                    <a:pt x="1728" y="180"/>
                  </a:cubicBezTo>
                  <a:cubicBezTo>
                    <a:pt x="1728" y="180"/>
                    <a:pt x="1728" y="180"/>
                    <a:pt x="1728" y="179"/>
                  </a:cubicBezTo>
                  <a:cubicBezTo>
                    <a:pt x="1728" y="177"/>
                    <a:pt x="1728" y="175"/>
                    <a:pt x="1727" y="174"/>
                  </a:cubicBezTo>
                  <a:moveTo>
                    <a:pt x="1729" y="181"/>
                  </a:moveTo>
                  <a:cubicBezTo>
                    <a:pt x="1728" y="181"/>
                    <a:pt x="1728" y="181"/>
                    <a:pt x="1728" y="182"/>
                  </a:cubicBezTo>
                  <a:cubicBezTo>
                    <a:pt x="1728" y="183"/>
                    <a:pt x="1728" y="183"/>
                    <a:pt x="1728" y="184"/>
                  </a:cubicBezTo>
                  <a:cubicBezTo>
                    <a:pt x="1728" y="184"/>
                    <a:pt x="1729" y="184"/>
                    <a:pt x="1729" y="183"/>
                  </a:cubicBezTo>
                  <a:cubicBezTo>
                    <a:pt x="1729" y="183"/>
                    <a:pt x="1729" y="182"/>
                    <a:pt x="1729" y="181"/>
                  </a:cubicBezTo>
                  <a:moveTo>
                    <a:pt x="1729" y="185"/>
                  </a:moveTo>
                  <a:cubicBezTo>
                    <a:pt x="1729" y="185"/>
                    <a:pt x="1728" y="185"/>
                    <a:pt x="1728" y="186"/>
                  </a:cubicBezTo>
                  <a:cubicBezTo>
                    <a:pt x="1728" y="186"/>
                    <a:pt x="1728" y="186"/>
                    <a:pt x="1728" y="186"/>
                  </a:cubicBezTo>
                  <a:cubicBezTo>
                    <a:pt x="1728" y="186"/>
                    <a:pt x="1728" y="186"/>
                    <a:pt x="1728" y="187"/>
                  </a:cubicBezTo>
                  <a:cubicBezTo>
                    <a:pt x="1728" y="186"/>
                    <a:pt x="1729" y="186"/>
                    <a:pt x="1729" y="186"/>
                  </a:cubicBezTo>
                  <a:cubicBezTo>
                    <a:pt x="1729" y="185"/>
                    <a:pt x="1729" y="185"/>
                    <a:pt x="1729" y="185"/>
                  </a:cubicBezTo>
                  <a:moveTo>
                    <a:pt x="1729" y="187"/>
                  </a:moveTo>
                  <a:cubicBezTo>
                    <a:pt x="1729" y="187"/>
                    <a:pt x="1728" y="188"/>
                    <a:pt x="1728" y="188"/>
                  </a:cubicBezTo>
                  <a:cubicBezTo>
                    <a:pt x="1728" y="188"/>
                    <a:pt x="1728" y="188"/>
                    <a:pt x="1728" y="188"/>
                  </a:cubicBezTo>
                  <a:cubicBezTo>
                    <a:pt x="1728" y="188"/>
                    <a:pt x="1728" y="188"/>
                    <a:pt x="1729" y="188"/>
                  </a:cubicBezTo>
                  <a:cubicBezTo>
                    <a:pt x="1729" y="188"/>
                    <a:pt x="1729" y="187"/>
                    <a:pt x="1729" y="187"/>
                  </a:cubicBezTo>
                  <a:cubicBezTo>
                    <a:pt x="1729" y="187"/>
                    <a:pt x="1729" y="187"/>
                    <a:pt x="1729" y="187"/>
                  </a:cubicBezTo>
                  <a:moveTo>
                    <a:pt x="1729" y="189"/>
                  </a:moveTo>
                  <a:cubicBezTo>
                    <a:pt x="1728" y="190"/>
                    <a:pt x="1728" y="191"/>
                    <a:pt x="1728" y="191"/>
                  </a:cubicBezTo>
                  <a:cubicBezTo>
                    <a:pt x="1728" y="191"/>
                    <a:pt x="1728" y="191"/>
                    <a:pt x="1728" y="192"/>
                  </a:cubicBezTo>
                  <a:cubicBezTo>
                    <a:pt x="1728" y="191"/>
                    <a:pt x="1728" y="191"/>
                    <a:pt x="1729" y="190"/>
                  </a:cubicBezTo>
                  <a:cubicBezTo>
                    <a:pt x="1729" y="190"/>
                    <a:pt x="1729" y="190"/>
                    <a:pt x="1729" y="189"/>
                  </a:cubicBezTo>
                  <a:moveTo>
                    <a:pt x="1729" y="192"/>
                  </a:moveTo>
                  <a:cubicBezTo>
                    <a:pt x="1728" y="192"/>
                    <a:pt x="1728" y="193"/>
                    <a:pt x="1727" y="193"/>
                  </a:cubicBezTo>
                  <a:cubicBezTo>
                    <a:pt x="1727" y="194"/>
                    <a:pt x="1727" y="194"/>
                    <a:pt x="1727" y="195"/>
                  </a:cubicBezTo>
                  <a:cubicBezTo>
                    <a:pt x="1728" y="194"/>
                    <a:pt x="1728" y="193"/>
                    <a:pt x="1729" y="192"/>
                  </a:cubicBezTo>
                  <a:cubicBezTo>
                    <a:pt x="1729" y="192"/>
                    <a:pt x="1729" y="192"/>
                    <a:pt x="1729" y="192"/>
                  </a:cubicBezTo>
                  <a:moveTo>
                    <a:pt x="1727" y="198"/>
                  </a:moveTo>
                  <a:cubicBezTo>
                    <a:pt x="1727" y="198"/>
                    <a:pt x="1727" y="198"/>
                    <a:pt x="1727" y="198"/>
                  </a:cubicBezTo>
                  <a:cubicBezTo>
                    <a:pt x="1726" y="198"/>
                    <a:pt x="1726" y="199"/>
                    <a:pt x="1725" y="200"/>
                  </a:cubicBezTo>
                  <a:cubicBezTo>
                    <a:pt x="1723" y="206"/>
                    <a:pt x="1719" y="211"/>
                    <a:pt x="1714" y="217"/>
                  </a:cubicBezTo>
                  <a:cubicBezTo>
                    <a:pt x="1713" y="218"/>
                    <a:pt x="1712" y="219"/>
                    <a:pt x="1711" y="221"/>
                  </a:cubicBezTo>
                  <a:cubicBezTo>
                    <a:pt x="1719" y="213"/>
                    <a:pt x="1725" y="206"/>
                    <a:pt x="1727" y="198"/>
                  </a:cubicBezTo>
                  <a:moveTo>
                    <a:pt x="1708" y="222"/>
                  </a:moveTo>
                  <a:cubicBezTo>
                    <a:pt x="1707" y="223"/>
                    <a:pt x="1706" y="223"/>
                    <a:pt x="1705" y="224"/>
                  </a:cubicBezTo>
                  <a:cubicBezTo>
                    <a:pt x="1705" y="224"/>
                    <a:pt x="1704" y="225"/>
                    <a:pt x="1704" y="226"/>
                  </a:cubicBezTo>
                  <a:cubicBezTo>
                    <a:pt x="1704" y="226"/>
                    <a:pt x="1704" y="226"/>
                    <a:pt x="1704" y="226"/>
                  </a:cubicBezTo>
                  <a:cubicBezTo>
                    <a:pt x="1704" y="226"/>
                    <a:pt x="1704" y="226"/>
                    <a:pt x="1705" y="226"/>
                  </a:cubicBezTo>
                  <a:cubicBezTo>
                    <a:pt x="1706" y="224"/>
                    <a:pt x="1707" y="223"/>
                    <a:pt x="1708" y="222"/>
                  </a:cubicBezTo>
                  <a:moveTo>
                    <a:pt x="1703" y="226"/>
                  </a:moveTo>
                  <a:cubicBezTo>
                    <a:pt x="1702" y="227"/>
                    <a:pt x="1702" y="227"/>
                    <a:pt x="1702" y="228"/>
                  </a:cubicBezTo>
                  <a:cubicBezTo>
                    <a:pt x="1702" y="227"/>
                    <a:pt x="1702" y="227"/>
                    <a:pt x="1703" y="227"/>
                  </a:cubicBezTo>
                  <a:cubicBezTo>
                    <a:pt x="1703" y="227"/>
                    <a:pt x="1703" y="227"/>
                    <a:pt x="1703" y="227"/>
                  </a:cubicBezTo>
                  <a:cubicBezTo>
                    <a:pt x="1703" y="227"/>
                    <a:pt x="1703" y="226"/>
                    <a:pt x="1703" y="226"/>
                  </a:cubicBezTo>
                  <a:moveTo>
                    <a:pt x="1701" y="227"/>
                  </a:moveTo>
                  <a:cubicBezTo>
                    <a:pt x="1700" y="228"/>
                    <a:pt x="1699" y="228"/>
                    <a:pt x="1698" y="229"/>
                  </a:cubicBezTo>
                  <a:cubicBezTo>
                    <a:pt x="1698" y="229"/>
                    <a:pt x="1698" y="229"/>
                    <a:pt x="1698" y="230"/>
                  </a:cubicBezTo>
                  <a:cubicBezTo>
                    <a:pt x="1699" y="229"/>
                    <a:pt x="1700" y="228"/>
                    <a:pt x="1701" y="227"/>
                  </a:cubicBezTo>
                  <a:moveTo>
                    <a:pt x="1697" y="229"/>
                  </a:moveTo>
                  <a:cubicBezTo>
                    <a:pt x="1697" y="229"/>
                    <a:pt x="1697" y="229"/>
                    <a:pt x="1697" y="229"/>
                  </a:cubicBezTo>
                  <a:cubicBezTo>
                    <a:pt x="1696" y="230"/>
                    <a:pt x="1696" y="230"/>
                    <a:pt x="1695" y="231"/>
                  </a:cubicBezTo>
                  <a:cubicBezTo>
                    <a:pt x="1694" y="232"/>
                    <a:pt x="1693" y="233"/>
                    <a:pt x="1692" y="234"/>
                  </a:cubicBezTo>
                  <a:cubicBezTo>
                    <a:pt x="1692" y="234"/>
                    <a:pt x="1692" y="233"/>
                    <a:pt x="1693" y="233"/>
                  </a:cubicBezTo>
                  <a:cubicBezTo>
                    <a:pt x="1694" y="232"/>
                    <a:pt x="1696" y="231"/>
                    <a:pt x="1697" y="230"/>
                  </a:cubicBezTo>
                  <a:cubicBezTo>
                    <a:pt x="1697" y="230"/>
                    <a:pt x="1697" y="230"/>
                    <a:pt x="1697" y="229"/>
                  </a:cubicBezTo>
                  <a:moveTo>
                    <a:pt x="1329" y="231"/>
                  </a:moveTo>
                  <a:cubicBezTo>
                    <a:pt x="1328" y="231"/>
                    <a:pt x="1328" y="231"/>
                    <a:pt x="1328" y="231"/>
                  </a:cubicBezTo>
                  <a:cubicBezTo>
                    <a:pt x="1328" y="232"/>
                    <a:pt x="1328" y="232"/>
                    <a:pt x="1328" y="233"/>
                  </a:cubicBezTo>
                  <a:cubicBezTo>
                    <a:pt x="1329" y="233"/>
                    <a:pt x="1329" y="233"/>
                    <a:pt x="1329" y="232"/>
                  </a:cubicBezTo>
                  <a:cubicBezTo>
                    <a:pt x="1329" y="232"/>
                    <a:pt x="1329" y="231"/>
                    <a:pt x="1329" y="231"/>
                  </a:cubicBezTo>
                  <a:moveTo>
                    <a:pt x="1691" y="233"/>
                  </a:moveTo>
                  <a:cubicBezTo>
                    <a:pt x="1689" y="235"/>
                    <a:pt x="1686" y="236"/>
                    <a:pt x="1684" y="238"/>
                  </a:cubicBezTo>
                  <a:cubicBezTo>
                    <a:pt x="1684" y="238"/>
                    <a:pt x="1683" y="238"/>
                    <a:pt x="1683" y="238"/>
                  </a:cubicBezTo>
                  <a:cubicBezTo>
                    <a:pt x="1681" y="239"/>
                    <a:pt x="1679" y="241"/>
                    <a:pt x="1677" y="242"/>
                  </a:cubicBezTo>
                  <a:cubicBezTo>
                    <a:pt x="1675" y="243"/>
                    <a:pt x="1673" y="245"/>
                    <a:pt x="1671" y="247"/>
                  </a:cubicBezTo>
                  <a:cubicBezTo>
                    <a:pt x="1675" y="244"/>
                    <a:pt x="1679" y="242"/>
                    <a:pt x="1683" y="239"/>
                  </a:cubicBezTo>
                  <a:cubicBezTo>
                    <a:pt x="1683" y="239"/>
                    <a:pt x="1684" y="239"/>
                    <a:pt x="1684" y="239"/>
                  </a:cubicBezTo>
                  <a:cubicBezTo>
                    <a:pt x="1685" y="238"/>
                    <a:pt x="1686" y="237"/>
                    <a:pt x="1687" y="237"/>
                  </a:cubicBezTo>
                  <a:cubicBezTo>
                    <a:pt x="1688" y="236"/>
                    <a:pt x="1690" y="234"/>
                    <a:pt x="1691" y="233"/>
                  </a:cubicBezTo>
                  <a:moveTo>
                    <a:pt x="1329" y="233"/>
                  </a:moveTo>
                  <a:cubicBezTo>
                    <a:pt x="1329" y="234"/>
                    <a:pt x="1329" y="234"/>
                    <a:pt x="1329" y="234"/>
                  </a:cubicBezTo>
                  <a:cubicBezTo>
                    <a:pt x="1330" y="240"/>
                    <a:pt x="1331" y="246"/>
                    <a:pt x="1332" y="251"/>
                  </a:cubicBezTo>
                  <a:cubicBezTo>
                    <a:pt x="1332" y="251"/>
                    <a:pt x="1333" y="251"/>
                    <a:pt x="1333" y="251"/>
                  </a:cubicBezTo>
                  <a:cubicBezTo>
                    <a:pt x="1332" y="245"/>
                    <a:pt x="1331" y="239"/>
                    <a:pt x="1329" y="233"/>
                  </a:cubicBezTo>
                  <a:moveTo>
                    <a:pt x="1670" y="246"/>
                  </a:moveTo>
                  <a:cubicBezTo>
                    <a:pt x="1670" y="246"/>
                    <a:pt x="1670" y="246"/>
                    <a:pt x="1670" y="246"/>
                  </a:cubicBezTo>
                  <a:cubicBezTo>
                    <a:pt x="1669" y="247"/>
                    <a:pt x="1669" y="247"/>
                    <a:pt x="1669" y="247"/>
                  </a:cubicBezTo>
                  <a:cubicBezTo>
                    <a:pt x="1667" y="248"/>
                    <a:pt x="1665" y="249"/>
                    <a:pt x="1663" y="250"/>
                  </a:cubicBezTo>
                  <a:cubicBezTo>
                    <a:pt x="1663" y="251"/>
                    <a:pt x="1662" y="252"/>
                    <a:pt x="1661" y="253"/>
                  </a:cubicBezTo>
                  <a:cubicBezTo>
                    <a:pt x="1661" y="253"/>
                    <a:pt x="1662" y="253"/>
                    <a:pt x="1662" y="252"/>
                  </a:cubicBezTo>
                  <a:cubicBezTo>
                    <a:pt x="1665" y="250"/>
                    <a:pt x="1667" y="248"/>
                    <a:pt x="1670" y="246"/>
                  </a:cubicBezTo>
                  <a:moveTo>
                    <a:pt x="208" y="249"/>
                  </a:moveTo>
                  <a:cubicBezTo>
                    <a:pt x="208" y="250"/>
                    <a:pt x="208" y="250"/>
                    <a:pt x="208" y="250"/>
                  </a:cubicBezTo>
                  <a:cubicBezTo>
                    <a:pt x="208" y="250"/>
                    <a:pt x="208" y="250"/>
                    <a:pt x="208" y="250"/>
                  </a:cubicBezTo>
                  <a:cubicBezTo>
                    <a:pt x="477" y="399"/>
                    <a:pt x="708" y="474"/>
                    <a:pt x="888" y="512"/>
                  </a:cubicBezTo>
                  <a:cubicBezTo>
                    <a:pt x="897" y="513"/>
                    <a:pt x="905" y="515"/>
                    <a:pt x="914" y="517"/>
                  </a:cubicBezTo>
                  <a:cubicBezTo>
                    <a:pt x="914" y="516"/>
                    <a:pt x="915" y="516"/>
                    <a:pt x="915" y="516"/>
                  </a:cubicBezTo>
                  <a:cubicBezTo>
                    <a:pt x="732" y="481"/>
                    <a:pt x="491" y="406"/>
                    <a:pt x="208" y="249"/>
                  </a:cubicBezTo>
                  <a:moveTo>
                    <a:pt x="1333" y="252"/>
                  </a:moveTo>
                  <a:cubicBezTo>
                    <a:pt x="1333" y="252"/>
                    <a:pt x="1333" y="252"/>
                    <a:pt x="1332" y="252"/>
                  </a:cubicBezTo>
                  <a:cubicBezTo>
                    <a:pt x="1332" y="253"/>
                    <a:pt x="1333" y="254"/>
                    <a:pt x="1333" y="256"/>
                  </a:cubicBezTo>
                  <a:cubicBezTo>
                    <a:pt x="1333" y="256"/>
                    <a:pt x="1333" y="256"/>
                    <a:pt x="1334" y="256"/>
                  </a:cubicBezTo>
                  <a:cubicBezTo>
                    <a:pt x="1334" y="254"/>
                    <a:pt x="1333" y="253"/>
                    <a:pt x="1333" y="252"/>
                  </a:cubicBezTo>
                  <a:moveTo>
                    <a:pt x="1660" y="252"/>
                  </a:moveTo>
                  <a:cubicBezTo>
                    <a:pt x="1660" y="253"/>
                    <a:pt x="1659" y="253"/>
                    <a:pt x="1658" y="254"/>
                  </a:cubicBezTo>
                  <a:cubicBezTo>
                    <a:pt x="1658" y="254"/>
                    <a:pt x="1658" y="254"/>
                    <a:pt x="1659" y="254"/>
                  </a:cubicBezTo>
                  <a:cubicBezTo>
                    <a:pt x="1659" y="254"/>
                    <a:pt x="1660" y="253"/>
                    <a:pt x="1660" y="252"/>
                  </a:cubicBezTo>
                  <a:moveTo>
                    <a:pt x="1657" y="255"/>
                  </a:moveTo>
                  <a:cubicBezTo>
                    <a:pt x="1656" y="255"/>
                    <a:pt x="1656" y="255"/>
                    <a:pt x="1655" y="256"/>
                  </a:cubicBezTo>
                  <a:cubicBezTo>
                    <a:pt x="1655" y="256"/>
                    <a:pt x="1656" y="256"/>
                    <a:pt x="1656" y="256"/>
                  </a:cubicBezTo>
                  <a:cubicBezTo>
                    <a:pt x="1657" y="256"/>
                    <a:pt x="1657" y="255"/>
                    <a:pt x="1658" y="255"/>
                  </a:cubicBezTo>
                  <a:cubicBezTo>
                    <a:pt x="1657" y="255"/>
                    <a:pt x="1657" y="255"/>
                    <a:pt x="1657" y="255"/>
                  </a:cubicBezTo>
                  <a:moveTo>
                    <a:pt x="1654" y="257"/>
                  </a:moveTo>
                  <a:cubicBezTo>
                    <a:pt x="1650" y="259"/>
                    <a:pt x="1646" y="262"/>
                    <a:pt x="1642" y="264"/>
                  </a:cubicBezTo>
                  <a:cubicBezTo>
                    <a:pt x="1642" y="265"/>
                    <a:pt x="1642" y="265"/>
                    <a:pt x="1642" y="265"/>
                  </a:cubicBezTo>
                  <a:cubicBezTo>
                    <a:pt x="1646" y="263"/>
                    <a:pt x="1651" y="260"/>
                    <a:pt x="1655" y="257"/>
                  </a:cubicBezTo>
                  <a:cubicBezTo>
                    <a:pt x="1655" y="257"/>
                    <a:pt x="1654" y="257"/>
                    <a:pt x="1654" y="257"/>
                  </a:cubicBezTo>
                  <a:moveTo>
                    <a:pt x="1333" y="257"/>
                  </a:moveTo>
                  <a:cubicBezTo>
                    <a:pt x="1333" y="258"/>
                    <a:pt x="1333" y="260"/>
                    <a:pt x="1334" y="262"/>
                  </a:cubicBezTo>
                  <a:cubicBezTo>
                    <a:pt x="1334" y="262"/>
                    <a:pt x="1334" y="262"/>
                    <a:pt x="1335" y="262"/>
                  </a:cubicBezTo>
                  <a:cubicBezTo>
                    <a:pt x="1334" y="260"/>
                    <a:pt x="1334" y="258"/>
                    <a:pt x="1334" y="257"/>
                  </a:cubicBezTo>
                  <a:cubicBezTo>
                    <a:pt x="1334" y="257"/>
                    <a:pt x="1333" y="257"/>
                    <a:pt x="1333" y="257"/>
                  </a:cubicBezTo>
                  <a:moveTo>
                    <a:pt x="1334" y="263"/>
                  </a:moveTo>
                  <a:cubicBezTo>
                    <a:pt x="1334" y="263"/>
                    <a:pt x="1334" y="263"/>
                    <a:pt x="1334" y="264"/>
                  </a:cubicBezTo>
                  <a:cubicBezTo>
                    <a:pt x="1334" y="264"/>
                    <a:pt x="1334" y="264"/>
                    <a:pt x="1335" y="263"/>
                  </a:cubicBezTo>
                  <a:cubicBezTo>
                    <a:pt x="1335" y="263"/>
                    <a:pt x="1335" y="263"/>
                    <a:pt x="1335" y="263"/>
                  </a:cubicBezTo>
                  <a:cubicBezTo>
                    <a:pt x="1334" y="263"/>
                    <a:pt x="1334" y="263"/>
                    <a:pt x="1334" y="263"/>
                  </a:cubicBezTo>
                  <a:moveTo>
                    <a:pt x="1335" y="264"/>
                  </a:moveTo>
                  <a:cubicBezTo>
                    <a:pt x="1335" y="265"/>
                    <a:pt x="1334" y="265"/>
                    <a:pt x="1334" y="265"/>
                  </a:cubicBezTo>
                  <a:cubicBezTo>
                    <a:pt x="1334" y="265"/>
                    <a:pt x="1334" y="266"/>
                    <a:pt x="1334" y="266"/>
                  </a:cubicBezTo>
                  <a:cubicBezTo>
                    <a:pt x="1334" y="266"/>
                    <a:pt x="1335" y="266"/>
                    <a:pt x="1335" y="265"/>
                  </a:cubicBezTo>
                  <a:cubicBezTo>
                    <a:pt x="1335" y="265"/>
                    <a:pt x="1335" y="265"/>
                    <a:pt x="1335" y="264"/>
                  </a:cubicBezTo>
                  <a:moveTo>
                    <a:pt x="1641" y="265"/>
                  </a:moveTo>
                  <a:cubicBezTo>
                    <a:pt x="1635" y="269"/>
                    <a:pt x="1629" y="273"/>
                    <a:pt x="1623" y="276"/>
                  </a:cubicBezTo>
                  <a:cubicBezTo>
                    <a:pt x="1622" y="278"/>
                    <a:pt x="1621" y="279"/>
                    <a:pt x="1620" y="280"/>
                  </a:cubicBezTo>
                  <a:cubicBezTo>
                    <a:pt x="1627" y="275"/>
                    <a:pt x="1634" y="271"/>
                    <a:pt x="1641" y="266"/>
                  </a:cubicBezTo>
                  <a:cubicBezTo>
                    <a:pt x="1641" y="266"/>
                    <a:pt x="1641" y="265"/>
                    <a:pt x="1641" y="265"/>
                  </a:cubicBezTo>
                  <a:moveTo>
                    <a:pt x="1335" y="267"/>
                  </a:moveTo>
                  <a:cubicBezTo>
                    <a:pt x="1335" y="267"/>
                    <a:pt x="1335" y="267"/>
                    <a:pt x="1335" y="267"/>
                  </a:cubicBezTo>
                  <a:cubicBezTo>
                    <a:pt x="1335" y="267"/>
                    <a:pt x="1335" y="267"/>
                    <a:pt x="1335" y="267"/>
                  </a:cubicBezTo>
                  <a:cubicBezTo>
                    <a:pt x="1335" y="267"/>
                    <a:pt x="1335" y="267"/>
                    <a:pt x="1335" y="267"/>
                  </a:cubicBezTo>
                  <a:moveTo>
                    <a:pt x="1335" y="268"/>
                  </a:moveTo>
                  <a:cubicBezTo>
                    <a:pt x="1335" y="268"/>
                    <a:pt x="1335" y="268"/>
                    <a:pt x="1334" y="268"/>
                  </a:cubicBezTo>
                  <a:cubicBezTo>
                    <a:pt x="1334" y="268"/>
                    <a:pt x="1334" y="269"/>
                    <a:pt x="1334" y="270"/>
                  </a:cubicBezTo>
                  <a:cubicBezTo>
                    <a:pt x="1335" y="269"/>
                    <a:pt x="1335" y="269"/>
                    <a:pt x="1335" y="269"/>
                  </a:cubicBezTo>
                  <a:cubicBezTo>
                    <a:pt x="1335" y="269"/>
                    <a:pt x="1335" y="268"/>
                    <a:pt x="1335" y="268"/>
                  </a:cubicBezTo>
                  <a:moveTo>
                    <a:pt x="1335" y="271"/>
                  </a:moveTo>
                  <a:cubicBezTo>
                    <a:pt x="1335" y="271"/>
                    <a:pt x="1335" y="271"/>
                    <a:pt x="1334" y="271"/>
                  </a:cubicBezTo>
                  <a:cubicBezTo>
                    <a:pt x="1334" y="272"/>
                    <a:pt x="1335" y="273"/>
                    <a:pt x="1335" y="275"/>
                  </a:cubicBezTo>
                  <a:cubicBezTo>
                    <a:pt x="1335" y="275"/>
                    <a:pt x="1335" y="275"/>
                    <a:pt x="1336" y="275"/>
                  </a:cubicBezTo>
                  <a:cubicBezTo>
                    <a:pt x="1336" y="273"/>
                    <a:pt x="1335" y="272"/>
                    <a:pt x="1335" y="271"/>
                  </a:cubicBezTo>
                  <a:moveTo>
                    <a:pt x="1336" y="276"/>
                  </a:moveTo>
                  <a:cubicBezTo>
                    <a:pt x="1335" y="276"/>
                    <a:pt x="1335" y="276"/>
                    <a:pt x="1335" y="276"/>
                  </a:cubicBezTo>
                  <a:cubicBezTo>
                    <a:pt x="1335" y="277"/>
                    <a:pt x="1335" y="278"/>
                    <a:pt x="1335" y="279"/>
                  </a:cubicBezTo>
                  <a:cubicBezTo>
                    <a:pt x="1335" y="284"/>
                    <a:pt x="1334" y="288"/>
                    <a:pt x="1334" y="293"/>
                  </a:cubicBezTo>
                  <a:cubicBezTo>
                    <a:pt x="1334" y="293"/>
                    <a:pt x="1334" y="293"/>
                    <a:pt x="1335" y="293"/>
                  </a:cubicBezTo>
                  <a:cubicBezTo>
                    <a:pt x="1335" y="288"/>
                    <a:pt x="1336" y="284"/>
                    <a:pt x="1336" y="279"/>
                  </a:cubicBezTo>
                  <a:cubicBezTo>
                    <a:pt x="1336" y="278"/>
                    <a:pt x="1336" y="277"/>
                    <a:pt x="1336" y="276"/>
                  </a:cubicBezTo>
                  <a:moveTo>
                    <a:pt x="1620" y="279"/>
                  </a:moveTo>
                  <a:cubicBezTo>
                    <a:pt x="1618" y="280"/>
                    <a:pt x="1616" y="281"/>
                    <a:pt x="1614" y="283"/>
                  </a:cubicBezTo>
                  <a:cubicBezTo>
                    <a:pt x="1614" y="283"/>
                    <a:pt x="1615" y="283"/>
                    <a:pt x="1615" y="283"/>
                  </a:cubicBezTo>
                  <a:cubicBezTo>
                    <a:pt x="1615" y="283"/>
                    <a:pt x="1616" y="283"/>
                    <a:pt x="1617" y="282"/>
                  </a:cubicBezTo>
                  <a:cubicBezTo>
                    <a:pt x="1618" y="281"/>
                    <a:pt x="1619" y="280"/>
                    <a:pt x="1620" y="279"/>
                  </a:cubicBezTo>
                  <a:moveTo>
                    <a:pt x="1613" y="283"/>
                  </a:moveTo>
                  <a:cubicBezTo>
                    <a:pt x="1612" y="284"/>
                    <a:pt x="1610" y="286"/>
                    <a:pt x="1608" y="287"/>
                  </a:cubicBezTo>
                  <a:cubicBezTo>
                    <a:pt x="1609" y="287"/>
                    <a:pt x="1609" y="287"/>
                    <a:pt x="1609" y="287"/>
                  </a:cubicBezTo>
                  <a:cubicBezTo>
                    <a:pt x="1611" y="286"/>
                    <a:pt x="1612" y="285"/>
                    <a:pt x="1614" y="284"/>
                  </a:cubicBezTo>
                  <a:cubicBezTo>
                    <a:pt x="1614" y="284"/>
                    <a:pt x="1614" y="284"/>
                    <a:pt x="1613" y="283"/>
                  </a:cubicBezTo>
                  <a:moveTo>
                    <a:pt x="1608" y="287"/>
                  </a:moveTo>
                  <a:cubicBezTo>
                    <a:pt x="1603" y="291"/>
                    <a:pt x="1598" y="294"/>
                    <a:pt x="1593" y="298"/>
                  </a:cubicBezTo>
                  <a:cubicBezTo>
                    <a:pt x="1593" y="298"/>
                    <a:pt x="1593" y="298"/>
                    <a:pt x="1593" y="298"/>
                  </a:cubicBezTo>
                  <a:cubicBezTo>
                    <a:pt x="1595" y="297"/>
                    <a:pt x="1598" y="295"/>
                    <a:pt x="1600" y="294"/>
                  </a:cubicBezTo>
                  <a:cubicBezTo>
                    <a:pt x="1603" y="292"/>
                    <a:pt x="1606" y="290"/>
                    <a:pt x="1608" y="288"/>
                  </a:cubicBezTo>
                  <a:cubicBezTo>
                    <a:pt x="1608" y="288"/>
                    <a:pt x="1608" y="287"/>
                    <a:pt x="1608" y="287"/>
                  </a:cubicBezTo>
                  <a:moveTo>
                    <a:pt x="1335" y="294"/>
                  </a:moveTo>
                  <a:cubicBezTo>
                    <a:pt x="1334" y="294"/>
                    <a:pt x="1334" y="294"/>
                    <a:pt x="1334" y="294"/>
                  </a:cubicBezTo>
                  <a:cubicBezTo>
                    <a:pt x="1333" y="297"/>
                    <a:pt x="1333" y="301"/>
                    <a:pt x="1332" y="304"/>
                  </a:cubicBezTo>
                  <a:cubicBezTo>
                    <a:pt x="1332" y="304"/>
                    <a:pt x="1333" y="303"/>
                    <a:pt x="1333" y="303"/>
                  </a:cubicBezTo>
                  <a:cubicBezTo>
                    <a:pt x="1334" y="300"/>
                    <a:pt x="1334" y="297"/>
                    <a:pt x="1335" y="294"/>
                  </a:cubicBezTo>
                  <a:moveTo>
                    <a:pt x="1592" y="300"/>
                  </a:moveTo>
                  <a:cubicBezTo>
                    <a:pt x="1591" y="300"/>
                    <a:pt x="1590" y="301"/>
                    <a:pt x="1589" y="301"/>
                  </a:cubicBezTo>
                  <a:cubicBezTo>
                    <a:pt x="1589" y="301"/>
                    <a:pt x="1589" y="302"/>
                    <a:pt x="1589" y="302"/>
                  </a:cubicBezTo>
                  <a:cubicBezTo>
                    <a:pt x="1589" y="302"/>
                    <a:pt x="1589" y="302"/>
                    <a:pt x="1590" y="302"/>
                  </a:cubicBezTo>
                  <a:cubicBezTo>
                    <a:pt x="1590" y="301"/>
                    <a:pt x="1591" y="301"/>
                    <a:pt x="1592" y="300"/>
                  </a:cubicBezTo>
                  <a:cubicBezTo>
                    <a:pt x="1592" y="300"/>
                    <a:pt x="1592" y="300"/>
                    <a:pt x="1592" y="300"/>
                  </a:cubicBezTo>
                  <a:moveTo>
                    <a:pt x="1588" y="302"/>
                  </a:moveTo>
                  <a:cubicBezTo>
                    <a:pt x="1587" y="302"/>
                    <a:pt x="1587" y="303"/>
                    <a:pt x="1586" y="303"/>
                  </a:cubicBezTo>
                  <a:cubicBezTo>
                    <a:pt x="1585" y="304"/>
                    <a:pt x="1584" y="305"/>
                    <a:pt x="1583" y="305"/>
                  </a:cubicBezTo>
                  <a:cubicBezTo>
                    <a:pt x="1581" y="307"/>
                    <a:pt x="1579" y="308"/>
                    <a:pt x="1577" y="310"/>
                  </a:cubicBezTo>
                  <a:cubicBezTo>
                    <a:pt x="1575" y="312"/>
                    <a:pt x="1572" y="313"/>
                    <a:pt x="1570" y="315"/>
                  </a:cubicBezTo>
                  <a:cubicBezTo>
                    <a:pt x="1570" y="315"/>
                    <a:pt x="1571" y="316"/>
                    <a:pt x="1571" y="316"/>
                  </a:cubicBezTo>
                  <a:cubicBezTo>
                    <a:pt x="1575" y="313"/>
                    <a:pt x="1579" y="309"/>
                    <a:pt x="1583" y="306"/>
                  </a:cubicBezTo>
                  <a:cubicBezTo>
                    <a:pt x="1585" y="305"/>
                    <a:pt x="1587" y="304"/>
                    <a:pt x="1588" y="302"/>
                  </a:cubicBezTo>
                  <a:cubicBezTo>
                    <a:pt x="1588" y="302"/>
                    <a:pt x="1588" y="302"/>
                    <a:pt x="1588" y="302"/>
                  </a:cubicBezTo>
                  <a:moveTo>
                    <a:pt x="1333" y="304"/>
                  </a:moveTo>
                  <a:cubicBezTo>
                    <a:pt x="1332" y="305"/>
                    <a:pt x="1332" y="305"/>
                    <a:pt x="1331" y="306"/>
                  </a:cubicBezTo>
                  <a:cubicBezTo>
                    <a:pt x="1329" y="314"/>
                    <a:pt x="1326" y="321"/>
                    <a:pt x="1321" y="328"/>
                  </a:cubicBezTo>
                  <a:cubicBezTo>
                    <a:pt x="1322" y="328"/>
                    <a:pt x="1322" y="328"/>
                    <a:pt x="1323" y="328"/>
                  </a:cubicBezTo>
                  <a:cubicBezTo>
                    <a:pt x="1327" y="321"/>
                    <a:pt x="1331" y="313"/>
                    <a:pt x="1333" y="304"/>
                  </a:cubicBezTo>
                  <a:moveTo>
                    <a:pt x="1569" y="316"/>
                  </a:moveTo>
                  <a:cubicBezTo>
                    <a:pt x="1568" y="317"/>
                    <a:pt x="1566" y="318"/>
                    <a:pt x="1565" y="319"/>
                  </a:cubicBezTo>
                  <a:cubicBezTo>
                    <a:pt x="1567" y="318"/>
                    <a:pt x="1568" y="318"/>
                    <a:pt x="1570" y="317"/>
                  </a:cubicBezTo>
                  <a:cubicBezTo>
                    <a:pt x="1570" y="317"/>
                    <a:pt x="1570" y="317"/>
                    <a:pt x="1570" y="317"/>
                  </a:cubicBezTo>
                  <a:cubicBezTo>
                    <a:pt x="1570" y="316"/>
                    <a:pt x="1569" y="316"/>
                    <a:pt x="1569" y="316"/>
                  </a:cubicBezTo>
                  <a:moveTo>
                    <a:pt x="1566" y="320"/>
                  </a:moveTo>
                  <a:cubicBezTo>
                    <a:pt x="1564" y="321"/>
                    <a:pt x="1563" y="321"/>
                    <a:pt x="1562" y="322"/>
                  </a:cubicBezTo>
                  <a:cubicBezTo>
                    <a:pt x="1557" y="326"/>
                    <a:pt x="1553" y="329"/>
                    <a:pt x="1549" y="333"/>
                  </a:cubicBezTo>
                  <a:cubicBezTo>
                    <a:pt x="1551" y="332"/>
                    <a:pt x="1552" y="332"/>
                    <a:pt x="1553" y="331"/>
                  </a:cubicBezTo>
                  <a:cubicBezTo>
                    <a:pt x="1557" y="328"/>
                    <a:pt x="1561" y="324"/>
                    <a:pt x="1566" y="320"/>
                  </a:cubicBezTo>
                  <a:moveTo>
                    <a:pt x="886" y="321"/>
                  </a:moveTo>
                  <a:cubicBezTo>
                    <a:pt x="886" y="321"/>
                    <a:pt x="886" y="322"/>
                    <a:pt x="885" y="322"/>
                  </a:cubicBezTo>
                  <a:cubicBezTo>
                    <a:pt x="886" y="322"/>
                    <a:pt x="887" y="323"/>
                    <a:pt x="888" y="323"/>
                  </a:cubicBezTo>
                  <a:cubicBezTo>
                    <a:pt x="888" y="323"/>
                    <a:pt x="888" y="323"/>
                    <a:pt x="888" y="323"/>
                  </a:cubicBezTo>
                  <a:cubicBezTo>
                    <a:pt x="888" y="322"/>
                    <a:pt x="888" y="322"/>
                    <a:pt x="888" y="322"/>
                  </a:cubicBezTo>
                  <a:cubicBezTo>
                    <a:pt x="887" y="322"/>
                    <a:pt x="887" y="321"/>
                    <a:pt x="886" y="321"/>
                  </a:cubicBezTo>
                  <a:moveTo>
                    <a:pt x="890" y="323"/>
                  </a:moveTo>
                  <a:cubicBezTo>
                    <a:pt x="889" y="323"/>
                    <a:pt x="889" y="323"/>
                    <a:pt x="889" y="323"/>
                  </a:cubicBezTo>
                  <a:cubicBezTo>
                    <a:pt x="889" y="323"/>
                    <a:pt x="889" y="324"/>
                    <a:pt x="889" y="324"/>
                  </a:cubicBezTo>
                  <a:cubicBezTo>
                    <a:pt x="890" y="324"/>
                    <a:pt x="891" y="325"/>
                    <a:pt x="892" y="325"/>
                  </a:cubicBezTo>
                  <a:cubicBezTo>
                    <a:pt x="892" y="325"/>
                    <a:pt x="893" y="325"/>
                    <a:pt x="893" y="325"/>
                  </a:cubicBezTo>
                  <a:cubicBezTo>
                    <a:pt x="892" y="324"/>
                    <a:pt x="891" y="324"/>
                    <a:pt x="890" y="323"/>
                  </a:cubicBezTo>
                  <a:moveTo>
                    <a:pt x="894" y="325"/>
                  </a:moveTo>
                  <a:cubicBezTo>
                    <a:pt x="894" y="326"/>
                    <a:pt x="894" y="326"/>
                    <a:pt x="893" y="326"/>
                  </a:cubicBezTo>
                  <a:cubicBezTo>
                    <a:pt x="894" y="327"/>
                    <a:pt x="896" y="327"/>
                    <a:pt x="897" y="328"/>
                  </a:cubicBezTo>
                  <a:cubicBezTo>
                    <a:pt x="897" y="328"/>
                    <a:pt x="898" y="328"/>
                    <a:pt x="898" y="328"/>
                  </a:cubicBezTo>
                  <a:cubicBezTo>
                    <a:pt x="897" y="327"/>
                    <a:pt x="896" y="326"/>
                    <a:pt x="894" y="325"/>
                  </a:cubicBezTo>
                  <a:moveTo>
                    <a:pt x="899" y="328"/>
                  </a:moveTo>
                  <a:cubicBezTo>
                    <a:pt x="899" y="328"/>
                    <a:pt x="898" y="328"/>
                    <a:pt x="898" y="329"/>
                  </a:cubicBezTo>
                  <a:cubicBezTo>
                    <a:pt x="899" y="329"/>
                    <a:pt x="899" y="329"/>
                    <a:pt x="900" y="330"/>
                  </a:cubicBezTo>
                  <a:cubicBezTo>
                    <a:pt x="901" y="330"/>
                    <a:pt x="901" y="330"/>
                    <a:pt x="901" y="329"/>
                  </a:cubicBezTo>
                  <a:cubicBezTo>
                    <a:pt x="901" y="329"/>
                    <a:pt x="900" y="329"/>
                    <a:pt x="899" y="328"/>
                  </a:cubicBezTo>
                  <a:moveTo>
                    <a:pt x="1322" y="329"/>
                  </a:moveTo>
                  <a:cubicBezTo>
                    <a:pt x="1322" y="329"/>
                    <a:pt x="1321" y="329"/>
                    <a:pt x="1321" y="329"/>
                  </a:cubicBezTo>
                  <a:cubicBezTo>
                    <a:pt x="1316" y="336"/>
                    <a:pt x="1311" y="342"/>
                    <a:pt x="1304" y="348"/>
                  </a:cubicBezTo>
                  <a:cubicBezTo>
                    <a:pt x="1305" y="348"/>
                    <a:pt x="1305" y="348"/>
                    <a:pt x="1306" y="348"/>
                  </a:cubicBezTo>
                  <a:cubicBezTo>
                    <a:pt x="1312" y="342"/>
                    <a:pt x="1318" y="336"/>
                    <a:pt x="1322" y="329"/>
                  </a:cubicBezTo>
                  <a:moveTo>
                    <a:pt x="903" y="330"/>
                  </a:moveTo>
                  <a:cubicBezTo>
                    <a:pt x="902" y="330"/>
                    <a:pt x="902" y="330"/>
                    <a:pt x="901" y="331"/>
                  </a:cubicBezTo>
                  <a:cubicBezTo>
                    <a:pt x="902" y="331"/>
                    <a:pt x="902" y="331"/>
                    <a:pt x="903" y="331"/>
                  </a:cubicBezTo>
                  <a:cubicBezTo>
                    <a:pt x="903" y="331"/>
                    <a:pt x="903" y="331"/>
                    <a:pt x="904" y="331"/>
                  </a:cubicBezTo>
                  <a:cubicBezTo>
                    <a:pt x="904" y="331"/>
                    <a:pt x="903" y="330"/>
                    <a:pt x="903" y="330"/>
                  </a:cubicBezTo>
                  <a:moveTo>
                    <a:pt x="905" y="332"/>
                  </a:moveTo>
                  <a:cubicBezTo>
                    <a:pt x="905" y="332"/>
                    <a:pt x="904" y="332"/>
                    <a:pt x="904" y="332"/>
                  </a:cubicBezTo>
                  <a:cubicBezTo>
                    <a:pt x="905" y="333"/>
                    <a:pt x="906" y="333"/>
                    <a:pt x="907" y="334"/>
                  </a:cubicBezTo>
                  <a:cubicBezTo>
                    <a:pt x="907" y="334"/>
                    <a:pt x="908" y="333"/>
                    <a:pt x="908" y="333"/>
                  </a:cubicBezTo>
                  <a:cubicBezTo>
                    <a:pt x="907" y="333"/>
                    <a:pt x="906" y="332"/>
                    <a:pt x="905" y="332"/>
                  </a:cubicBezTo>
                  <a:moveTo>
                    <a:pt x="909" y="334"/>
                  </a:moveTo>
                  <a:cubicBezTo>
                    <a:pt x="908" y="334"/>
                    <a:pt x="908" y="334"/>
                    <a:pt x="908" y="334"/>
                  </a:cubicBezTo>
                  <a:cubicBezTo>
                    <a:pt x="917" y="340"/>
                    <a:pt x="926" y="345"/>
                    <a:pt x="935" y="350"/>
                  </a:cubicBezTo>
                  <a:cubicBezTo>
                    <a:pt x="935" y="350"/>
                    <a:pt x="935" y="350"/>
                    <a:pt x="936" y="350"/>
                  </a:cubicBezTo>
                  <a:cubicBezTo>
                    <a:pt x="927" y="345"/>
                    <a:pt x="918" y="339"/>
                    <a:pt x="909" y="334"/>
                  </a:cubicBezTo>
                  <a:moveTo>
                    <a:pt x="1550" y="334"/>
                  </a:moveTo>
                  <a:cubicBezTo>
                    <a:pt x="1549" y="334"/>
                    <a:pt x="1548" y="335"/>
                    <a:pt x="1547" y="335"/>
                  </a:cubicBezTo>
                  <a:cubicBezTo>
                    <a:pt x="1545" y="337"/>
                    <a:pt x="1543" y="339"/>
                    <a:pt x="1541" y="341"/>
                  </a:cubicBezTo>
                  <a:cubicBezTo>
                    <a:pt x="1541" y="341"/>
                    <a:pt x="1542" y="341"/>
                    <a:pt x="1542" y="342"/>
                  </a:cubicBezTo>
                  <a:cubicBezTo>
                    <a:pt x="1542" y="341"/>
                    <a:pt x="1543" y="340"/>
                    <a:pt x="1544" y="340"/>
                  </a:cubicBezTo>
                  <a:cubicBezTo>
                    <a:pt x="1546" y="338"/>
                    <a:pt x="1548" y="336"/>
                    <a:pt x="1550" y="334"/>
                  </a:cubicBezTo>
                  <a:moveTo>
                    <a:pt x="1540" y="341"/>
                  </a:moveTo>
                  <a:cubicBezTo>
                    <a:pt x="1540" y="342"/>
                    <a:pt x="1540" y="342"/>
                    <a:pt x="1540" y="342"/>
                  </a:cubicBezTo>
                  <a:cubicBezTo>
                    <a:pt x="1539" y="343"/>
                    <a:pt x="1539" y="343"/>
                    <a:pt x="1538" y="344"/>
                  </a:cubicBezTo>
                  <a:cubicBezTo>
                    <a:pt x="1539" y="344"/>
                    <a:pt x="1539" y="343"/>
                    <a:pt x="1540" y="343"/>
                  </a:cubicBezTo>
                  <a:cubicBezTo>
                    <a:pt x="1540" y="343"/>
                    <a:pt x="1540" y="343"/>
                    <a:pt x="1541" y="342"/>
                  </a:cubicBezTo>
                  <a:cubicBezTo>
                    <a:pt x="1541" y="342"/>
                    <a:pt x="1541" y="342"/>
                    <a:pt x="1540" y="341"/>
                  </a:cubicBezTo>
                  <a:moveTo>
                    <a:pt x="1539" y="345"/>
                  </a:moveTo>
                  <a:cubicBezTo>
                    <a:pt x="1538" y="345"/>
                    <a:pt x="1537" y="346"/>
                    <a:pt x="1536" y="347"/>
                  </a:cubicBezTo>
                  <a:cubicBezTo>
                    <a:pt x="1535" y="347"/>
                    <a:pt x="1535" y="347"/>
                    <a:pt x="1534" y="348"/>
                  </a:cubicBezTo>
                  <a:cubicBezTo>
                    <a:pt x="1535" y="348"/>
                    <a:pt x="1535" y="348"/>
                    <a:pt x="1535" y="348"/>
                  </a:cubicBezTo>
                  <a:cubicBezTo>
                    <a:pt x="1536" y="347"/>
                    <a:pt x="1537" y="346"/>
                    <a:pt x="1539" y="345"/>
                  </a:cubicBezTo>
                  <a:moveTo>
                    <a:pt x="1534" y="348"/>
                  </a:moveTo>
                  <a:cubicBezTo>
                    <a:pt x="1532" y="350"/>
                    <a:pt x="1531" y="352"/>
                    <a:pt x="1530" y="353"/>
                  </a:cubicBezTo>
                  <a:cubicBezTo>
                    <a:pt x="1530" y="353"/>
                    <a:pt x="1531" y="352"/>
                    <a:pt x="1532" y="352"/>
                  </a:cubicBezTo>
                  <a:cubicBezTo>
                    <a:pt x="1533" y="351"/>
                    <a:pt x="1534" y="350"/>
                    <a:pt x="1535" y="349"/>
                  </a:cubicBezTo>
                  <a:cubicBezTo>
                    <a:pt x="1534" y="349"/>
                    <a:pt x="1534" y="349"/>
                    <a:pt x="1534" y="348"/>
                  </a:cubicBezTo>
                  <a:moveTo>
                    <a:pt x="1305" y="349"/>
                  </a:moveTo>
                  <a:cubicBezTo>
                    <a:pt x="1304" y="349"/>
                    <a:pt x="1304" y="349"/>
                    <a:pt x="1303" y="349"/>
                  </a:cubicBezTo>
                  <a:cubicBezTo>
                    <a:pt x="1301" y="351"/>
                    <a:pt x="1300" y="352"/>
                    <a:pt x="1298" y="353"/>
                  </a:cubicBezTo>
                  <a:cubicBezTo>
                    <a:pt x="1300" y="352"/>
                    <a:pt x="1302" y="351"/>
                    <a:pt x="1304" y="350"/>
                  </a:cubicBezTo>
                  <a:cubicBezTo>
                    <a:pt x="1304" y="350"/>
                    <a:pt x="1304" y="349"/>
                    <a:pt x="1305" y="349"/>
                  </a:cubicBezTo>
                  <a:moveTo>
                    <a:pt x="937" y="351"/>
                  </a:moveTo>
                  <a:cubicBezTo>
                    <a:pt x="937" y="351"/>
                    <a:pt x="936" y="351"/>
                    <a:pt x="936" y="351"/>
                  </a:cubicBezTo>
                  <a:cubicBezTo>
                    <a:pt x="936" y="351"/>
                    <a:pt x="936" y="351"/>
                    <a:pt x="936" y="351"/>
                  </a:cubicBezTo>
                  <a:cubicBezTo>
                    <a:pt x="952" y="361"/>
                    <a:pt x="965" y="371"/>
                    <a:pt x="977" y="381"/>
                  </a:cubicBezTo>
                  <a:cubicBezTo>
                    <a:pt x="977" y="381"/>
                    <a:pt x="977" y="381"/>
                    <a:pt x="978" y="380"/>
                  </a:cubicBezTo>
                  <a:cubicBezTo>
                    <a:pt x="966" y="371"/>
                    <a:pt x="953" y="361"/>
                    <a:pt x="937" y="351"/>
                  </a:cubicBezTo>
                  <a:moveTo>
                    <a:pt x="1530" y="354"/>
                  </a:moveTo>
                  <a:cubicBezTo>
                    <a:pt x="1530" y="354"/>
                    <a:pt x="1529" y="355"/>
                    <a:pt x="1528" y="355"/>
                  </a:cubicBezTo>
                  <a:cubicBezTo>
                    <a:pt x="1526" y="357"/>
                    <a:pt x="1524" y="359"/>
                    <a:pt x="1523" y="361"/>
                  </a:cubicBezTo>
                  <a:cubicBezTo>
                    <a:pt x="1524" y="361"/>
                    <a:pt x="1524" y="361"/>
                    <a:pt x="1525" y="360"/>
                  </a:cubicBezTo>
                  <a:cubicBezTo>
                    <a:pt x="1527" y="358"/>
                    <a:pt x="1528" y="356"/>
                    <a:pt x="1530" y="354"/>
                  </a:cubicBezTo>
                  <a:moveTo>
                    <a:pt x="1298" y="354"/>
                  </a:moveTo>
                  <a:cubicBezTo>
                    <a:pt x="1296" y="355"/>
                    <a:pt x="1294" y="357"/>
                    <a:pt x="1292" y="358"/>
                  </a:cubicBezTo>
                  <a:cubicBezTo>
                    <a:pt x="1287" y="361"/>
                    <a:pt x="1281" y="364"/>
                    <a:pt x="1275" y="368"/>
                  </a:cubicBezTo>
                  <a:cubicBezTo>
                    <a:pt x="1276" y="367"/>
                    <a:pt x="1277" y="367"/>
                    <a:pt x="1278" y="367"/>
                  </a:cubicBezTo>
                  <a:cubicBezTo>
                    <a:pt x="1286" y="363"/>
                    <a:pt x="1292" y="359"/>
                    <a:pt x="1298" y="354"/>
                  </a:cubicBezTo>
                  <a:moveTo>
                    <a:pt x="1524" y="362"/>
                  </a:moveTo>
                  <a:cubicBezTo>
                    <a:pt x="1523" y="362"/>
                    <a:pt x="1522" y="363"/>
                    <a:pt x="1521" y="363"/>
                  </a:cubicBezTo>
                  <a:cubicBezTo>
                    <a:pt x="1521" y="364"/>
                    <a:pt x="1521" y="364"/>
                    <a:pt x="1520" y="365"/>
                  </a:cubicBezTo>
                  <a:cubicBezTo>
                    <a:pt x="1521" y="365"/>
                    <a:pt x="1521" y="365"/>
                    <a:pt x="1522" y="364"/>
                  </a:cubicBezTo>
                  <a:cubicBezTo>
                    <a:pt x="1522" y="364"/>
                    <a:pt x="1522" y="364"/>
                    <a:pt x="1522" y="364"/>
                  </a:cubicBezTo>
                  <a:cubicBezTo>
                    <a:pt x="1523" y="363"/>
                    <a:pt x="1523" y="363"/>
                    <a:pt x="1524" y="362"/>
                  </a:cubicBezTo>
                  <a:moveTo>
                    <a:pt x="1521" y="366"/>
                  </a:moveTo>
                  <a:cubicBezTo>
                    <a:pt x="1520" y="366"/>
                    <a:pt x="1520" y="366"/>
                    <a:pt x="1519" y="366"/>
                  </a:cubicBezTo>
                  <a:cubicBezTo>
                    <a:pt x="1519" y="366"/>
                    <a:pt x="1519" y="367"/>
                    <a:pt x="1519" y="367"/>
                  </a:cubicBezTo>
                  <a:cubicBezTo>
                    <a:pt x="1516" y="370"/>
                    <a:pt x="1514" y="373"/>
                    <a:pt x="1512" y="376"/>
                  </a:cubicBezTo>
                  <a:cubicBezTo>
                    <a:pt x="1513" y="376"/>
                    <a:pt x="1513" y="376"/>
                    <a:pt x="1514" y="376"/>
                  </a:cubicBezTo>
                  <a:cubicBezTo>
                    <a:pt x="1516" y="373"/>
                    <a:pt x="1518" y="369"/>
                    <a:pt x="1521" y="366"/>
                  </a:cubicBezTo>
                  <a:cubicBezTo>
                    <a:pt x="1521" y="366"/>
                    <a:pt x="1521" y="366"/>
                    <a:pt x="1521" y="366"/>
                  </a:cubicBezTo>
                  <a:moveTo>
                    <a:pt x="1276" y="369"/>
                  </a:moveTo>
                  <a:cubicBezTo>
                    <a:pt x="1275" y="369"/>
                    <a:pt x="1274" y="369"/>
                    <a:pt x="1273" y="369"/>
                  </a:cubicBezTo>
                  <a:cubicBezTo>
                    <a:pt x="1266" y="372"/>
                    <a:pt x="1260" y="375"/>
                    <a:pt x="1252" y="378"/>
                  </a:cubicBezTo>
                  <a:cubicBezTo>
                    <a:pt x="1244" y="382"/>
                    <a:pt x="1235" y="386"/>
                    <a:pt x="1228" y="390"/>
                  </a:cubicBezTo>
                  <a:cubicBezTo>
                    <a:pt x="1229" y="390"/>
                    <a:pt x="1230" y="390"/>
                    <a:pt x="1231" y="390"/>
                  </a:cubicBezTo>
                  <a:cubicBezTo>
                    <a:pt x="1238" y="386"/>
                    <a:pt x="1245" y="382"/>
                    <a:pt x="1252" y="379"/>
                  </a:cubicBezTo>
                  <a:cubicBezTo>
                    <a:pt x="1261" y="376"/>
                    <a:pt x="1269" y="372"/>
                    <a:pt x="1276" y="369"/>
                  </a:cubicBezTo>
                  <a:moveTo>
                    <a:pt x="1513" y="377"/>
                  </a:moveTo>
                  <a:cubicBezTo>
                    <a:pt x="1513" y="377"/>
                    <a:pt x="1512" y="378"/>
                    <a:pt x="1512" y="378"/>
                  </a:cubicBezTo>
                  <a:cubicBezTo>
                    <a:pt x="1512" y="378"/>
                    <a:pt x="1513" y="378"/>
                    <a:pt x="1513" y="378"/>
                  </a:cubicBezTo>
                  <a:cubicBezTo>
                    <a:pt x="1513" y="378"/>
                    <a:pt x="1513" y="378"/>
                    <a:pt x="1513" y="377"/>
                  </a:cubicBezTo>
                  <a:moveTo>
                    <a:pt x="1511" y="378"/>
                  </a:moveTo>
                  <a:cubicBezTo>
                    <a:pt x="1510" y="381"/>
                    <a:pt x="1509" y="383"/>
                    <a:pt x="1508" y="386"/>
                  </a:cubicBezTo>
                  <a:cubicBezTo>
                    <a:pt x="1508" y="386"/>
                    <a:pt x="1509" y="385"/>
                    <a:pt x="1509" y="385"/>
                  </a:cubicBezTo>
                  <a:cubicBezTo>
                    <a:pt x="1510" y="383"/>
                    <a:pt x="1511" y="381"/>
                    <a:pt x="1512" y="379"/>
                  </a:cubicBezTo>
                  <a:cubicBezTo>
                    <a:pt x="1512" y="379"/>
                    <a:pt x="1512" y="379"/>
                    <a:pt x="1511" y="378"/>
                  </a:cubicBezTo>
                  <a:moveTo>
                    <a:pt x="979" y="381"/>
                  </a:moveTo>
                  <a:cubicBezTo>
                    <a:pt x="978" y="381"/>
                    <a:pt x="978" y="381"/>
                    <a:pt x="978" y="381"/>
                  </a:cubicBezTo>
                  <a:cubicBezTo>
                    <a:pt x="978" y="382"/>
                    <a:pt x="979" y="382"/>
                    <a:pt x="979" y="383"/>
                  </a:cubicBezTo>
                  <a:cubicBezTo>
                    <a:pt x="979" y="383"/>
                    <a:pt x="980" y="383"/>
                    <a:pt x="980" y="382"/>
                  </a:cubicBezTo>
                  <a:cubicBezTo>
                    <a:pt x="980" y="382"/>
                    <a:pt x="979" y="382"/>
                    <a:pt x="979" y="381"/>
                  </a:cubicBezTo>
                  <a:moveTo>
                    <a:pt x="981" y="383"/>
                  </a:moveTo>
                  <a:cubicBezTo>
                    <a:pt x="981" y="383"/>
                    <a:pt x="980" y="383"/>
                    <a:pt x="980" y="383"/>
                  </a:cubicBezTo>
                  <a:cubicBezTo>
                    <a:pt x="985" y="388"/>
                    <a:pt x="989" y="392"/>
                    <a:pt x="993" y="396"/>
                  </a:cubicBezTo>
                  <a:cubicBezTo>
                    <a:pt x="994" y="396"/>
                    <a:pt x="995" y="397"/>
                    <a:pt x="996" y="397"/>
                  </a:cubicBezTo>
                  <a:cubicBezTo>
                    <a:pt x="991" y="393"/>
                    <a:pt x="986" y="388"/>
                    <a:pt x="981" y="383"/>
                  </a:cubicBezTo>
                  <a:moveTo>
                    <a:pt x="1508" y="387"/>
                  </a:moveTo>
                  <a:cubicBezTo>
                    <a:pt x="1508" y="387"/>
                    <a:pt x="1508" y="387"/>
                    <a:pt x="1507" y="387"/>
                  </a:cubicBezTo>
                  <a:cubicBezTo>
                    <a:pt x="1507" y="387"/>
                    <a:pt x="1507" y="387"/>
                    <a:pt x="1507" y="387"/>
                  </a:cubicBezTo>
                  <a:cubicBezTo>
                    <a:pt x="1507" y="387"/>
                    <a:pt x="1508" y="387"/>
                    <a:pt x="1508" y="387"/>
                  </a:cubicBezTo>
                  <a:cubicBezTo>
                    <a:pt x="1508" y="387"/>
                    <a:pt x="1508" y="387"/>
                    <a:pt x="1508" y="387"/>
                  </a:cubicBezTo>
                  <a:moveTo>
                    <a:pt x="1508" y="388"/>
                  </a:moveTo>
                  <a:cubicBezTo>
                    <a:pt x="1507" y="388"/>
                    <a:pt x="1507" y="388"/>
                    <a:pt x="1506" y="389"/>
                  </a:cubicBezTo>
                  <a:cubicBezTo>
                    <a:pt x="1505" y="392"/>
                    <a:pt x="1504" y="396"/>
                    <a:pt x="1503" y="400"/>
                  </a:cubicBezTo>
                  <a:cubicBezTo>
                    <a:pt x="1503" y="400"/>
                    <a:pt x="1504" y="400"/>
                    <a:pt x="1504" y="400"/>
                  </a:cubicBezTo>
                  <a:cubicBezTo>
                    <a:pt x="1505" y="396"/>
                    <a:pt x="1506" y="392"/>
                    <a:pt x="1508" y="388"/>
                  </a:cubicBezTo>
                  <a:moveTo>
                    <a:pt x="1228" y="391"/>
                  </a:moveTo>
                  <a:cubicBezTo>
                    <a:pt x="1227" y="391"/>
                    <a:pt x="1226" y="391"/>
                    <a:pt x="1225" y="392"/>
                  </a:cubicBezTo>
                  <a:cubicBezTo>
                    <a:pt x="1226" y="392"/>
                    <a:pt x="1226" y="392"/>
                    <a:pt x="1226" y="392"/>
                  </a:cubicBezTo>
                  <a:cubicBezTo>
                    <a:pt x="1227" y="392"/>
                    <a:pt x="1227" y="391"/>
                    <a:pt x="1228" y="391"/>
                  </a:cubicBezTo>
                  <a:moveTo>
                    <a:pt x="1224" y="392"/>
                  </a:moveTo>
                  <a:cubicBezTo>
                    <a:pt x="1222" y="393"/>
                    <a:pt x="1220" y="394"/>
                    <a:pt x="1218" y="396"/>
                  </a:cubicBezTo>
                  <a:cubicBezTo>
                    <a:pt x="1220" y="395"/>
                    <a:pt x="1221" y="395"/>
                    <a:pt x="1222" y="394"/>
                  </a:cubicBezTo>
                  <a:cubicBezTo>
                    <a:pt x="1223" y="394"/>
                    <a:pt x="1224" y="393"/>
                    <a:pt x="1225" y="393"/>
                  </a:cubicBezTo>
                  <a:cubicBezTo>
                    <a:pt x="1225" y="392"/>
                    <a:pt x="1224" y="392"/>
                    <a:pt x="1224" y="392"/>
                  </a:cubicBezTo>
                  <a:moveTo>
                    <a:pt x="1219" y="396"/>
                  </a:moveTo>
                  <a:cubicBezTo>
                    <a:pt x="1217" y="397"/>
                    <a:pt x="1216" y="397"/>
                    <a:pt x="1215" y="398"/>
                  </a:cubicBezTo>
                  <a:cubicBezTo>
                    <a:pt x="1213" y="399"/>
                    <a:pt x="1212" y="400"/>
                    <a:pt x="1211" y="400"/>
                  </a:cubicBezTo>
                  <a:cubicBezTo>
                    <a:pt x="1210" y="401"/>
                    <a:pt x="1210" y="401"/>
                    <a:pt x="1209" y="401"/>
                  </a:cubicBezTo>
                  <a:cubicBezTo>
                    <a:pt x="1210" y="401"/>
                    <a:pt x="1210" y="401"/>
                    <a:pt x="1211" y="401"/>
                  </a:cubicBezTo>
                  <a:cubicBezTo>
                    <a:pt x="1211" y="401"/>
                    <a:pt x="1211" y="401"/>
                    <a:pt x="1211" y="401"/>
                  </a:cubicBezTo>
                  <a:cubicBezTo>
                    <a:pt x="1214" y="400"/>
                    <a:pt x="1216" y="398"/>
                    <a:pt x="1219" y="396"/>
                  </a:cubicBezTo>
                  <a:moveTo>
                    <a:pt x="995" y="398"/>
                  </a:moveTo>
                  <a:cubicBezTo>
                    <a:pt x="996" y="399"/>
                    <a:pt x="997" y="400"/>
                    <a:pt x="998" y="401"/>
                  </a:cubicBezTo>
                  <a:cubicBezTo>
                    <a:pt x="998" y="401"/>
                    <a:pt x="999" y="401"/>
                    <a:pt x="999" y="401"/>
                  </a:cubicBezTo>
                  <a:cubicBezTo>
                    <a:pt x="999" y="401"/>
                    <a:pt x="998" y="400"/>
                    <a:pt x="998" y="399"/>
                  </a:cubicBezTo>
                  <a:cubicBezTo>
                    <a:pt x="997" y="399"/>
                    <a:pt x="996" y="399"/>
                    <a:pt x="995" y="398"/>
                  </a:cubicBezTo>
                  <a:moveTo>
                    <a:pt x="1504" y="401"/>
                  </a:moveTo>
                  <a:cubicBezTo>
                    <a:pt x="1503" y="401"/>
                    <a:pt x="1503" y="401"/>
                    <a:pt x="1503" y="401"/>
                  </a:cubicBezTo>
                  <a:cubicBezTo>
                    <a:pt x="1501" y="406"/>
                    <a:pt x="1501" y="411"/>
                    <a:pt x="1501" y="415"/>
                  </a:cubicBezTo>
                  <a:cubicBezTo>
                    <a:pt x="1501" y="416"/>
                    <a:pt x="1501" y="417"/>
                    <a:pt x="1501" y="418"/>
                  </a:cubicBezTo>
                  <a:cubicBezTo>
                    <a:pt x="1501" y="418"/>
                    <a:pt x="1502" y="418"/>
                    <a:pt x="1502" y="418"/>
                  </a:cubicBezTo>
                  <a:cubicBezTo>
                    <a:pt x="1502" y="417"/>
                    <a:pt x="1502" y="416"/>
                    <a:pt x="1502" y="415"/>
                  </a:cubicBezTo>
                  <a:cubicBezTo>
                    <a:pt x="1502" y="411"/>
                    <a:pt x="1502" y="406"/>
                    <a:pt x="1504" y="401"/>
                  </a:cubicBezTo>
                  <a:moveTo>
                    <a:pt x="1208" y="402"/>
                  </a:moveTo>
                  <a:cubicBezTo>
                    <a:pt x="1208" y="402"/>
                    <a:pt x="1208" y="402"/>
                    <a:pt x="1208" y="402"/>
                  </a:cubicBezTo>
                  <a:cubicBezTo>
                    <a:pt x="1208" y="402"/>
                    <a:pt x="1209" y="402"/>
                    <a:pt x="1209" y="402"/>
                  </a:cubicBezTo>
                  <a:cubicBezTo>
                    <a:pt x="1209" y="402"/>
                    <a:pt x="1208" y="402"/>
                    <a:pt x="1208" y="402"/>
                  </a:cubicBezTo>
                  <a:moveTo>
                    <a:pt x="1000" y="403"/>
                  </a:moveTo>
                  <a:cubicBezTo>
                    <a:pt x="1000" y="403"/>
                    <a:pt x="1000" y="403"/>
                    <a:pt x="1000" y="403"/>
                  </a:cubicBezTo>
                  <a:cubicBezTo>
                    <a:pt x="1003" y="408"/>
                    <a:pt x="1007" y="412"/>
                    <a:pt x="1009" y="417"/>
                  </a:cubicBezTo>
                  <a:cubicBezTo>
                    <a:pt x="1010" y="416"/>
                    <a:pt x="1010" y="416"/>
                    <a:pt x="1010" y="416"/>
                  </a:cubicBezTo>
                  <a:cubicBezTo>
                    <a:pt x="1008" y="412"/>
                    <a:pt x="1004" y="407"/>
                    <a:pt x="1001" y="403"/>
                  </a:cubicBezTo>
                  <a:cubicBezTo>
                    <a:pt x="1001" y="403"/>
                    <a:pt x="1000" y="403"/>
                    <a:pt x="1000" y="403"/>
                  </a:cubicBezTo>
                  <a:moveTo>
                    <a:pt x="1208" y="403"/>
                  </a:moveTo>
                  <a:cubicBezTo>
                    <a:pt x="1208" y="403"/>
                    <a:pt x="1208" y="403"/>
                    <a:pt x="1208" y="403"/>
                  </a:cubicBezTo>
                  <a:cubicBezTo>
                    <a:pt x="1208" y="403"/>
                    <a:pt x="1208" y="404"/>
                    <a:pt x="1208" y="404"/>
                  </a:cubicBezTo>
                  <a:cubicBezTo>
                    <a:pt x="1208" y="403"/>
                    <a:pt x="1208" y="403"/>
                    <a:pt x="1208" y="403"/>
                  </a:cubicBezTo>
                  <a:moveTo>
                    <a:pt x="1206" y="404"/>
                  </a:moveTo>
                  <a:cubicBezTo>
                    <a:pt x="1206" y="404"/>
                    <a:pt x="1206" y="404"/>
                    <a:pt x="1206" y="404"/>
                  </a:cubicBezTo>
                  <a:cubicBezTo>
                    <a:pt x="1205" y="405"/>
                    <a:pt x="1203" y="405"/>
                    <a:pt x="1202" y="406"/>
                  </a:cubicBezTo>
                  <a:cubicBezTo>
                    <a:pt x="1202" y="406"/>
                    <a:pt x="1202" y="407"/>
                    <a:pt x="1202" y="407"/>
                  </a:cubicBezTo>
                  <a:cubicBezTo>
                    <a:pt x="1202" y="407"/>
                    <a:pt x="1203" y="407"/>
                    <a:pt x="1203" y="407"/>
                  </a:cubicBezTo>
                  <a:cubicBezTo>
                    <a:pt x="1204" y="406"/>
                    <a:pt x="1206" y="405"/>
                    <a:pt x="1207" y="404"/>
                  </a:cubicBezTo>
                  <a:cubicBezTo>
                    <a:pt x="1207" y="404"/>
                    <a:pt x="1207" y="404"/>
                    <a:pt x="1206" y="404"/>
                  </a:cubicBezTo>
                  <a:moveTo>
                    <a:pt x="1200" y="408"/>
                  </a:moveTo>
                  <a:cubicBezTo>
                    <a:pt x="1200" y="408"/>
                    <a:pt x="1200" y="408"/>
                    <a:pt x="1200" y="408"/>
                  </a:cubicBezTo>
                  <a:cubicBezTo>
                    <a:pt x="1199" y="409"/>
                    <a:pt x="1198" y="409"/>
                    <a:pt x="1197" y="410"/>
                  </a:cubicBezTo>
                  <a:cubicBezTo>
                    <a:pt x="1199" y="409"/>
                    <a:pt x="1200" y="409"/>
                    <a:pt x="1201" y="408"/>
                  </a:cubicBezTo>
                  <a:cubicBezTo>
                    <a:pt x="1201" y="408"/>
                    <a:pt x="1202" y="408"/>
                    <a:pt x="1202" y="408"/>
                  </a:cubicBezTo>
                  <a:cubicBezTo>
                    <a:pt x="1201" y="408"/>
                    <a:pt x="1201" y="408"/>
                    <a:pt x="1200" y="408"/>
                  </a:cubicBezTo>
                  <a:moveTo>
                    <a:pt x="1196" y="412"/>
                  </a:moveTo>
                  <a:cubicBezTo>
                    <a:pt x="1196" y="412"/>
                    <a:pt x="1196" y="412"/>
                    <a:pt x="1196" y="412"/>
                  </a:cubicBezTo>
                  <a:cubicBezTo>
                    <a:pt x="1195" y="412"/>
                    <a:pt x="1194" y="413"/>
                    <a:pt x="1193" y="413"/>
                  </a:cubicBezTo>
                  <a:cubicBezTo>
                    <a:pt x="1193" y="413"/>
                    <a:pt x="1192" y="414"/>
                    <a:pt x="1191" y="415"/>
                  </a:cubicBezTo>
                  <a:cubicBezTo>
                    <a:pt x="1190" y="415"/>
                    <a:pt x="1190" y="416"/>
                    <a:pt x="1189" y="417"/>
                  </a:cubicBezTo>
                  <a:cubicBezTo>
                    <a:pt x="1184" y="421"/>
                    <a:pt x="1179" y="425"/>
                    <a:pt x="1174" y="429"/>
                  </a:cubicBezTo>
                  <a:cubicBezTo>
                    <a:pt x="1175" y="429"/>
                    <a:pt x="1175" y="429"/>
                    <a:pt x="1176" y="429"/>
                  </a:cubicBezTo>
                  <a:cubicBezTo>
                    <a:pt x="1179" y="426"/>
                    <a:pt x="1183" y="422"/>
                    <a:pt x="1187" y="419"/>
                  </a:cubicBezTo>
                  <a:cubicBezTo>
                    <a:pt x="1188" y="418"/>
                    <a:pt x="1189" y="418"/>
                    <a:pt x="1189" y="417"/>
                  </a:cubicBezTo>
                  <a:cubicBezTo>
                    <a:pt x="1192" y="415"/>
                    <a:pt x="1194" y="414"/>
                    <a:pt x="1196" y="412"/>
                  </a:cubicBezTo>
                  <a:moveTo>
                    <a:pt x="1011" y="417"/>
                  </a:moveTo>
                  <a:cubicBezTo>
                    <a:pt x="1010" y="417"/>
                    <a:pt x="1010" y="417"/>
                    <a:pt x="1010" y="417"/>
                  </a:cubicBezTo>
                  <a:cubicBezTo>
                    <a:pt x="1011" y="419"/>
                    <a:pt x="1012" y="421"/>
                    <a:pt x="1012" y="422"/>
                  </a:cubicBezTo>
                  <a:cubicBezTo>
                    <a:pt x="1013" y="422"/>
                    <a:pt x="1013" y="422"/>
                    <a:pt x="1013" y="422"/>
                  </a:cubicBezTo>
                  <a:cubicBezTo>
                    <a:pt x="1013" y="420"/>
                    <a:pt x="1012" y="419"/>
                    <a:pt x="1011" y="417"/>
                  </a:cubicBezTo>
                  <a:moveTo>
                    <a:pt x="1502" y="419"/>
                  </a:moveTo>
                  <a:cubicBezTo>
                    <a:pt x="1502" y="419"/>
                    <a:pt x="1501" y="419"/>
                    <a:pt x="1501" y="419"/>
                  </a:cubicBezTo>
                  <a:cubicBezTo>
                    <a:pt x="1501" y="420"/>
                    <a:pt x="1501" y="422"/>
                    <a:pt x="1501" y="423"/>
                  </a:cubicBezTo>
                  <a:cubicBezTo>
                    <a:pt x="1502" y="423"/>
                    <a:pt x="1502" y="423"/>
                    <a:pt x="1502" y="423"/>
                  </a:cubicBezTo>
                  <a:cubicBezTo>
                    <a:pt x="1502" y="421"/>
                    <a:pt x="1502" y="420"/>
                    <a:pt x="1502" y="419"/>
                  </a:cubicBezTo>
                  <a:moveTo>
                    <a:pt x="1014" y="423"/>
                  </a:moveTo>
                  <a:cubicBezTo>
                    <a:pt x="1013" y="423"/>
                    <a:pt x="1013" y="423"/>
                    <a:pt x="1013" y="423"/>
                  </a:cubicBezTo>
                  <a:cubicBezTo>
                    <a:pt x="1013" y="424"/>
                    <a:pt x="1013" y="425"/>
                    <a:pt x="1014" y="425"/>
                  </a:cubicBezTo>
                  <a:cubicBezTo>
                    <a:pt x="1014" y="425"/>
                    <a:pt x="1014" y="426"/>
                    <a:pt x="1014" y="426"/>
                  </a:cubicBezTo>
                  <a:cubicBezTo>
                    <a:pt x="1015" y="426"/>
                    <a:pt x="1015" y="426"/>
                    <a:pt x="1015" y="426"/>
                  </a:cubicBezTo>
                  <a:cubicBezTo>
                    <a:pt x="1015" y="425"/>
                    <a:pt x="1014" y="424"/>
                    <a:pt x="1014" y="423"/>
                  </a:cubicBezTo>
                  <a:moveTo>
                    <a:pt x="1502" y="424"/>
                  </a:moveTo>
                  <a:cubicBezTo>
                    <a:pt x="1502" y="424"/>
                    <a:pt x="1502" y="424"/>
                    <a:pt x="1501" y="424"/>
                  </a:cubicBezTo>
                  <a:cubicBezTo>
                    <a:pt x="1503" y="434"/>
                    <a:pt x="1507" y="444"/>
                    <a:pt x="1513" y="455"/>
                  </a:cubicBezTo>
                  <a:cubicBezTo>
                    <a:pt x="1513" y="455"/>
                    <a:pt x="1514" y="454"/>
                    <a:pt x="1514" y="454"/>
                  </a:cubicBezTo>
                  <a:cubicBezTo>
                    <a:pt x="1508" y="444"/>
                    <a:pt x="1504" y="434"/>
                    <a:pt x="1502" y="424"/>
                  </a:cubicBezTo>
                  <a:moveTo>
                    <a:pt x="1014" y="428"/>
                  </a:moveTo>
                  <a:cubicBezTo>
                    <a:pt x="1015" y="429"/>
                    <a:pt x="1016" y="431"/>
                    <a:pt x="1016" y="433"/>
                  </a:cubicBezTo>
                  <a:cubicBezTo>
                    <a:pt x="1017" y="433"/>
                    <a:pt x="1017" y="433"/>
                    <a:pt x="1017" y="434"/>
                  </a:cubicBezTo>
                  <a:cubicBezTo>
                    <a:pt x="1017" y="434"/>
                    <a:pt x="1018" y="434"/>
                    <a:pt x="1018" y="434"/>
                  </a:cubicBezTo>
                  <a:cubicBezTo>
                    <a:pt x="1017" y="433"/>
                    <a:pt x="1017" y="432"/>
                    <a:pt x="1017" y="431"/>
                  </a:cubicBezTo>
                  <a:cubicBezTo>
                    <a:pt x="1016" y="430"/>
                    <a:pt x="1015" y="429"/>
                    <a:pt x="1014" y="428"/>
                  </a:cubicBezTo>
                  <a:moveTo>
                    <a:pt x="1173" y="430"/>
                  </a:moveTo>
                  <a:cubicBezTo>
                    <a:pt x="1173" y="430"/>
                    <a:pt x="1172" y="430"/>
                    <a:pt x="1172" y="431"/>
                  </a:cubicBezTo>
                  <a:cubicBezTo>
                    <a:pt x="1172" y="431"/>
                    <a:pt x="1172" y="431"/>
                    <a:pt x="1172" y="431"/>
                  </a:cubicBezTo>
                  <a:cubicBezTo>
                    <a:pt x="1173" y="431"/>
                    <a:pt x="1173" y="430"/>
                    <a:pt x="1174" y="430"/>
                  </a:cubicBezTo>
                  <a:cubicBezTo>
                    <a:pt x="1174" y="430"/>
                    <a:pt x="1174" y="430"/>
                    <a:pt x="1175" y="430"/>
                  </a:cubicBezTo>
                  <a:cubicBezTo>
                    <a:pt x="1174" y="430"/>
                    <a:pt x="1174" y="430"/>
                    <a:pt x="1173" y="430"/>
                  </a:cubicBezTo>
                  <a:moveTo>
                    <a:pt x="1172" y="432"/>
                  </a:moveTo>
                  <a:cubicBezTo>
                    <a:pt x="1171" y="432"/>
                    <a:pt x="1171" y="432"/>
                    <a:pt x="1170" y="432"/>
                  </a:cubicBezTo>
                  <a:cubicBezTo>
                    <a:pt x="1169" y="433"/>
                    <a:pt x="1168" y="435"/>
                    <a:pt x="1167" y="436"/>
                  </a:cubicBezTo>
                  <a:cubicBezTo>
                    <a:pt x="1168" y="435"/>
                    <a:pt x="1169" y="435"/>
                    <a:pt x="1170" y="434"/>
                  </a:cubicBezTo>
                  <a:cubicBezTo>
                    <a:pt x="1170" y="434"/>
                    <a:pt x="1171" y="433"/>
                    <a:pt x="1171" y="433"/>
                  </a:cubicBezTo>
                  <a:cubicBezTo>
                    <a:pt x="1172" y="432"/>
                    <a:pt x="1172" y="432"/>
                    <a:pt x="1172" y="432"/>
                  </a:cubicBezTo>
                  <a:cubicBezTo>
                    <a:pt x="1172" y="432"/>
                    <a:pt x="1172" y="432"/>
                    <a:pt x="1172" y="432"/>
                  </a:cubicBezTo>
                  <a:moveTo>
                    <a:pt x="1017" y="435"/>
                  </a:moveTo>
                  <a:cubicBezTo>
                    <a:pt x="1018" y="436"/>
                    <a:pt x="1018" y="438"/>
                    <a:pt x="1019" y="439"/>
                  </a:cubicBezTo>
                  <a:cubicBezTo>
                    <a:pt x="1019" y="439"/>
                    <a:pt x="1019" y="439"/>
                    <a:pt x="1020" y="439"/>
                  </a:cubicBezTo>
                  <a:cubicBezTo>
                    <a:pt x="1019" y="438"/>
                    <a:pt x="1019" y="437"/>
                    <a:pt x="1019" y="436"/>
                  </a:cubicBezTo>
                  <a:cubicBezTo>
                    <a:pt x="1018" y="436"/>
                    <a:pt x="1018" y="435"/>
                    <a:pt x="1017" y="435"/>
                  </a:cubicBezTo>
                  <a:moveTo>
                    <a:pt x="1167" y="437"/>
                  </a:moveTo>
                  <a:cubicBezTo>
                    <a:pt x="1166" y="437"/>
                    <a:pt x="1166" y="437"/>
                    <a:pt x="1165" y="438"/>
                  </a:cubicBezTo>
                  <a:cubicBezTo>
                    <a:pt x="1164" y="438"/>
                    <a:pt x="1163" y="439"/>
                    <a:pt x="1163" y="439"/>
                  </a:cubicBezTo>
                  <a:cubicBezTo>
                    <a:pt x="1164" y="439"/>
                    <a:pt x="1165" y="438"/>
                    <a:pt x="1166" y="438"/>
                  </a:cubicBezTo>
                  <a:cubicBezTo>
                    <a:pt x="1166" y="437"/>
                    <a:pt x="1167" y="437"/>
                    <a:pt x="1167" y="437"/>
                  </a:cubicBezTo>
                  <a:moveTo>
                    <a:pt x="1164" y="440"/>
                  </a:moveTo>
                  <a:cubicBezTo>
                    <a:pt x="1163" y="441"/>
                    <a:pt x="1162" y="441"/>
                    <a:pt x="1161" y="442"/>
                  </a:cubicBezTo>
                  <a:cubicBezTo>
                    <a:pt x="1159" y="443"/>
                    <a:pt x="1158" y="444"/>
                    <a:pt x="1157" y="445"/>
                  </a:cubicBezTo>
                  <a:cubicBezTo>
                    <a:pt x="1155" y="447"/>
                    <a:pt x="1153" y="449"/>
                    <a:pt x="1151" y="451"/>
                  </a:cubicBezTo>
                  <a:cubicBezTo>
                    <a:pt x="1151" y="451"/>
                    <a:pt x="1152" y="451"/>
                    <a:pt x="1152" y="451"/>
                  </a:cubicBezTo>
                  <a:cubicBezTo>
                    <a:pt x="1153" y="450"/>
                    <a:pt x="1154" y="449"/>
                    <a:pt x="1156" y="448"/>
                  </a:cubicBezTo>
                  <a:cubicBezTo>
                    <a:pt x="1156" y="447"/>
                    <a:pt x="1157" y="446"/>
                    <a:pt x="1158" y="446"/>
                  </a:cubicBezTo>
                  <a:cubicBezTo>
                    <a:pt x="1160" y="444"/>
                    <a:pt x="1162" y="442"/>
                    <a:pt x="1164" y="440"/>
                  </a:cubicBezTo>
                  <a:moveTo>
                    <a:pt x="1019" y="440"/>
                  </a:moveTo>
                  <a:cubicBezTo>
                    <a:pt x="1019" y="441"/>
                    <a:pt x="1019" y="441"/>
                    <a:pt x="1020" y="442"/>
                  </a:cubicBezTo>
                  <a:cubicBezTo>
                    <a:pt x="1020" y="442"/>
                    <a:pt x="1020" y="442"/>
                    <a:pt x="1021" y="442"/>
                  </a:cubicBezTo>
                  <a:cubicBezTo>
                    <a:pt x="1020" y="441"/>
                    <a:pt x="1020" y="441"/>
                    <a:pt x="1020" y="441"/>
                  </a:cubicBezTo>
                  <a:cubicBezTo>
                    <a:pt x="1020" y="440"/>
                    <a:pt x="1019" y="440"/>
                    <a:pt x="1019" y="440"/>
                  </a:cubicBezTo>
                  <a:moveTo>
                    <a:pt x="1021" y="443"/>
                  </a:moveTo>
                  <a:cubicBezTo>
                    <a:pt x="1021" y="443"/>
                    <a:pt x="1020" y="443"/>
                    <a:pt x="1020" y="443"/>
                  </a:cubicBezTo>
                  <a:cubicBezTo>
                    <a:pt x="1020" y="443"/>
                    <a:pt x="1020" y="444"/>
                    <a:pt x="1021" y="444"/>
                  </a:cubicBezTo>
                  <a:cubicBezTo>
                    <a:pt x="1021" y="444"/>
                    <a:pt x="1021" y="445"/>
                    <a:pt x="1022" y="445"/>
                  </a:cubicBezTo>
                  <a:cubicBezTo>
                    <a:pt x="1022" y="444"/>
                    <a:pt x="1021" y="443"/>
                    <a:pt x="1021" y="443"/>
                  </a:cubicBezTo>
                  <a:moveTo>
                    <a:pt x="1021" y="446"/>
                  </a:moveTo>
                  <a:cubicBezTo>
                    <a:pt x="1021" y="446"/>
                    <a:pt x="1021" y="446"/>
                    <a:pt x="1021" y="446"/>
                  </a:cubicBezTo>
                  <a:cubicBezTo>
                    <a:pt x="1022" y="446"/>
                    <a:pt x="1022" y="446"/>
                    <a:pt x="1022" y="446"/>
                  </a:cubicBezTo>
                  <a:cubicBezTo>
                    <a:pt x="1022" y="446"/>
                    <a:pt x="1022" y="446"/>
                    <a:pt x="1022" y="446"/>
                  </a:cubicBezTo>
                  <a:cubicBezTo>
                    <a:pt x="1022" y="446"/>
                    <a:pt x="1022" y="446"/>
                    <a:pt x="1021" y="446"/>
                  </a:cubicBezTo>
                  <a:moveTo>
                    <a:pt x="1022" y="447"/>
                  </a:moveTo>
                  <a:cubicBezTo>
                    <a:pt x="1022" y="448"/>
                    <a:pt x="1022" y="448"/>
                    <a:pt x="1022" y="448"/>
                  </a:cubicBezTo>
                  <a:cubicBezTo>
                    <a:pt x="1022" y="448"/>
                    <a:pt x="1023" y="448"/>
                    <a:pt x="1023" y="448"/>
                  </a:cubicBezTo>
                  <a:cubicBezTo>
                    <a:pt x="1023" y="448"/>
                    <a:pt x="1022" y="447"/>
                    <a:pt x="1022" y="447"/>
                  </a:cubicBezTo>
                  <a:moveTo>
                    <a:pt x="1023" y="449"/>
                  </a:moveTo>
                  <a:cubicBezTo>
                    <a:pt x="1023" y="449"/>
                    <a:pt x="1023" y="449"/>
                    <a:pt x="1023" y="449"/>
                  </a:cubicBezTo>
                  <a:cubicBezTo>
                    <a:pt x="1023" y="451"/>
                    <a:pt x="1024" y="452"/>
                    <a:pt x="1024" y="453"/>
                  </a:cubicBezTo>
                  <a:cubicBezTo>
                    <a:pt x="1025" y="454"/>
                    <a:pt x="1025" y="454"/>
                    <a:pt x="1025" y="454"/>
                  </a:cubicBezTo>
                  <a:cubicBezTo>
                    <a:pt x="1025" y="453"/>
                    <a:pt x="1025" y="453"/>
                    <a:pt x="1025" y="452"/>
                  </a:cubicBezTo>
                  <a:cubicBezTo>
                    <a:pt x="1024" y="451"/>
                    <a:pt x="1024" y="450"/>
                    <a:pt x="1023" y="449"/>
                  </a:cubicBezTo>
                  <a:moveTo>
                    <a:pt x="1150" y="453"/>
                  </a:moveTo>
                  <a:cubicBezTo>
                    <a:pt x="1150" y="453"/>
                    <a:pt x="1150" y="453"/>
                    <a:pt x="1149" y="453"/>
                  </a:cubicBezTo>
                  <a:cubicBezTo>
                    <a:pt x="1149" y="453"/>
                    <a:pt x="1149" y="453"/>
                    <a:pt x="1149" y="453"/>
                  </a:cubicBezTo>
                  <a:cubicBezTo>
                    <a:pt x="1149" y="453"/>
                    <a:pt x="1149" y="453"/>
                    <a:pt x="1150" y="453"/>
                  </a:cubicBezTo>
                  <a:moveTo>
                    <a:pt x="1149" y="454"/>
                  </a:moveTo>
                  <a:cubicBezTo>
                    <a:pt x="1149" y="455"/>
                    <a:pt x="1149" y="455"/>
                    <a:pt x="1148" y="455"/>
                  </a:cubicBezTo>
                  <a:cubicBezTo>
                    <a:pt x="1147" y="455"/>
                    <a:pt x="1146" y="456"/>
                    <a:pt x="1145" y="457"/>
                  </a:cubicBezTo>
                  <a:cubicBezTo>
                    <a:pt x="1146" y="457"/>
                    <a:pt x="1146" y="457"/>
                    <a:pt x="1146" y="458"/>
                  </a:cubicBezTo>
                  <a:cubicBezTo>
                    <a:pt x="1147" y="457"/>
                    <a:pt x="1148" y="455"/>
                    <a:pt x="1149" y="454"/>
                  </a:cubicBezTo>
                  <a:moveTo>
                    <a:pt x="1025" y="455"/>
                  </a:moveTo>
                  <a:cubicBezTo>
                    <a:pt x="1025" y="455"/>
                    <a:pt x="1025" y="455"/>
                    <a:pt x="1025" y="455"/>
                  </a:cubicBezTo>
                  <a:cubicBezTo>
                    <a:pt x="1025" y="455"/>
                    <a:pt x="1025" y="455"/>
                    <a:pt x="1025" y="455"/>
                  </a:cubicBezTo>
                  <a:cubicBezTo>
                    <a:pt x="1025" y="455"/>
                    <a:pt x="1025" y="455"/>
                    <a:pt x="1025" y="455"/>
                  </a:cubicBezTo>
                  <a:cubicBezTo>
                    <a:pt x="1025" y="455"/>
                    <a:pt x="1025" y="455"/>
                    <a:pt x="1025" y="455"/>
                  </a:cubicBezTo>
                  <a:moveTo>
                    <a:pt x="1514" y="455"/>
                  </a:moveTo>
                  <a:cubicBezTo>
                    <a:pt x="1514" y="455"/>
                    <a:pt x="1514" y="455"/>
                    <a:pt x="1513" y="456"/>
                  </a:cubicBezTo>
                  <a:cubicBezTo>
                    <a:pt x="1518" y="462"/>
                    <a:pt x="1523" y="469"/>
                    <a:pt x="1530" y="477"/>
                  </a:cubicBezTo>
                  <a:cubicBezTo>
                    <a:pt x="1530" y="477"/>
                    <a:pt x="1531" y="476"/>
                    <a:pt x="1531" y="476"/>
                  </a:cubicBezTo>
                  <a:cubicBezTo>
                    <a:pt x="1524" y="469"/>
                    <a:pt x="1519" y="462"/>
                    <a:pt x="1514" y="455"/>
                  </a:cubicBezTo>
                  <a:moveTo>
                    <a:pt x="1026" y="455"/>
                  </a:moveTo>
                  <a:cubicBezTo>
                    <a:pt x="1026" y="456"/>
                    <a:pt x="1026" y="456"/>
                    <a:pt x="1026" y="456"/>
                  </a:cubicBezTo>
                  <a:cubicBezTo>
                    <a:pt x="1026" y="456"/>
                    <a:pt x="1026" y="457"/>
                    <a:pt x="1027" y="457"/>
                  </a:cubicBezTo>
                  <a:cubicBezTo>
                    <a:pt x="1026" y="456"/>
                    <a:pt x="1026" y="456"/>
                    <a:pt x="1026" y="455"/>
                  </a:cubicBezTo>
                  <a:cubicBezTo>
                    <a:pt x="1026" y="455"/>
                    <a:pt x="1026" y="455"/>
                    <a:pt x="1026" y="455"/>
                  </a:cubicBezTo>
                  <a:moveTo>
                    <a:pt x="1145" y="458"/>
                  </a:moveTo>
                  <a:cubicBezTo>
                    <a:pt x="1144" y="458"/>
                    <a:pt x="1144" y="458"/>
                    <a:pt x="1144" y="458"/>
                  </a:cubicBezTo>
                  <a:cubicBezTo>
                    <a:pt x="1145" y="458"/>
                    <a:pt x="1145" y="458"/>
                    <a:pt x="1145" y="458"/>
                  </a:cubicBezTo>
                  <a:cubicBezTo>
                    <a:pt x="1145" y="458"/>
                    <a:pt x="1145" y="458"/>
                    <a:pt x="1145" y="458"/>
                  </a:cubicBezTo>
                  <a:moveTo>
                    <a:pt x="1026" y="458"/>
                  </a:moveTo>
                  <a:cubicBezTo>
                    <a:pt x="1026" y="458"/>
                    <a:pt x="1026" y="458"/>
                    <a:pt x="1026" y="458"/>
                  </a:cubicBezTo>
                  <a:cubicBezTo>
                    <a:pt x="1026" y="459"/>
                    <a:pt x="1027" y="459"/>
                    <a:pt x="1027" y="460"/>
                  </a:cubicBezTo>
                  <a:cubicBezTo>
                    <a:pt x="1027" y="460"/>
                    <a:pt x="1027" y="459"/>
                    <a:pt x="1028" y="459"/>
                  </a:cubicBezTo>
                  <a:cubicBezTo>
                    <a:pt x="1027" y="459"/>
                    <a:pt x="1027" y="458"/>
                    <a:pt x="1026" y="458"/>
                  </a:cubicBezTo>
                  <a:moveTo>
                    <a:pt x="1143" y="459"/>
                  </a:moveTo>
                  <a:cubicBezTo>
                    <a:pt x="1141" y="461"/>
                    <a:pt x="1139" y="463"/>
                    <a:pt x="1137" y="466"/>
                  </a:cubicBezTo>
                  <a:cubicBezTo>
                    <a:pt x="1138" y="465"/>
                    <a:pt x="1138" y="465"/>
                    <a:pt x="1139" y="465"/>
                  </a:cubicBezTo>
                  <a:cubicBezTo>
                    <a:pt x="1141" y="463"/>
                    <a:pt x="1143" y="461"/>
                    <a:pt x="1144" y="459"/>
                  </a:cubicBezTo>
                  <a:cubicBezTo>
                    <a:pt x="1144" y="459"/>
                    <a:pt x="1144" y="459"/>
                    <a:pt x="1143" y="459"/>
                  </a:cubicBezTo>
                  <a:moveTo>
                    <a:pt x="1029" y="461"/>
                  </a:moveTo>
                  <a:cubicBezTo>
                    <a:pt x="1028" y="461"/>
                    <a:pt x="1028" y="461"/>
                    <a:pt x="1028" y="461"/>
                  </a:cubicBezTo>
                  <a:cubicBezTo>
                    <a:pt x="1028" y="461"/>
                    <a:pt x="1029" y="462"/>
                    <a:pt x="1029" y="462"/>
                  </a:cubicBezTo>
                  <a:cubicBezTo>
                    <a:pt x="1029" y="461"/>
                    <a:pt x="1029" y="461"/>
                    <a:pt x="1029" y="461"/>
                  </a:cubicBezTo>
                  <a:moveTo>
                    <a:pt x="1028" y="462"/>
                  </a:moveTo>
                  <a:cubicBezTo>
                    <a:pt x="1028" y="463"/>
                    <a:pt x="1028" y="463"/>
                    <a:pt x="1028" y="463"/>
                  </a:cubicBezTo>
                  <a:cubicBezTo>
                    <a:pt x="1029" y="464"/>
                    <a:pt x="1030" y="464"/>
                    <a:pt x="1030" y="465"/>
                  </a:cubicBezTo>
                  <a:cubicBezTo>
                    <a:pt x="1030" y="464"/>
                    <a:pt x="1030" y="464"/>
                    <a:pt x="1029" y="463"/>
                  </a:cubicBezTo>
                  <a:cubicBezTo>
                    <a:pt x="1029" y="463"/>
                    <a:pt x="1029" y="463"/>
                    <a:pt x="1028" y="462"/>
                  </a:cubicBezTo>
                  <a:moveTo>
                    <a:pt x="1030" y="466"/>
                  </a:moveTo>
                  <a:cubicBezTo>
                    <a:pt x="1030" y="466"/>
                    <a:pt x="1030" y="466"/>
                    <a:pt x="1030" y="467"/>
                  </a:cubicBezTo>
                  <a:cubicBezTo>
                    <a:pt x="1030" y="467"/>
                    <a:pt x="1031" y="467"/>
                    <a:pt x="1031" y="467"/>
                  </a:cubicBezTo>
                  <a:cubicBezTo>
                    <a:pt x="1031" y="467"/>
                    <a:pt x="1031" y="467"/>
                    <a:pt x="1031" y="467"/>
                  </a:cubicBezTo>
                  <a:cubicBezTo>
                    <a:pt x="1031" y="467"/>
                    <a:pt x="1031" y="467"/>
                    <a:pt x="1031" y="467"/>
                  </a:cubicBezTo>
                  <a:cubicBezTo>
                    <a:pt x="1031" y="467"/>
                    <a:pt x="1030" y="466"/>
                    <a:pt x="1030" y="466"/>
                  </a:cubicBezTo>
                  <a:moveTo>
                    <a:pt x="1137" y="466"/>
                  </a:moveTo>
                  <a:cubicBezTo>
                    <a:pt x="1137" y="467"/>
                    <a:pt x="1136" y="467"/>
                    <a:pt x="1135" y="467"/>
                  </a:cubicBezTo>
                  <a:cubicBezTo>
                    <a:pt x="1134" y="469"/>
                    <a:pt x="1132" y="470"/>
                    <a:pt x="1131" y="472"/>
                  </a:cubicBezTo>
                  <a:cubicBezTo>
                    <a:pt x="1131" y="472"/>
                    <a:pt x="1132" y="471"/>
                    <a:pt x="1133" y="471"/>
                  </a:cubicBezTo>
                  <a:cubicBezTo>
                    <a:pt x="1134" y="470"/>
                    <a:pt x="1136" y="468"/>
                    <a:pt x="1137" y="466"/>
                  </a:cubicBezTo>
                  <a:moveTo>
                    <a:pt x="1031" y="468"/>
                  </a:moveTo>
                  <a:cubicBezTo>
                    <a:pt x="1031" y="468"/>
                    <a:pt x="1031" y="468"/>
                    <a:pt x="1031" y="468"/>
                  </a:cubicBezTo>
                  <a:cubicBezTo>
                    <a:pt x="1031" y="468"/>
                    <a:pt x="1032" y="469"/>
                    <a:pt x="1032" y="469"/>
                  </a:cubicBezTo>
                  <a:cubicBezTo>
                    <a:pt x="1032" y="469"/>
                    <a:pt x="1032" y="468"/>
                    <a:pt x="1032" y="468"/>
                  </a:cubicBezTo>
                  <a:cubicBezTo>
                    <a:pt x="1031" y="468"/>
                    <a:pt x="1031" y="468"/>
                    <a:pt x="1031" y="468"/>
                  </a:cubicBezTo>
                  <a:moveTo>
                    <a:pt x="1031" y="470"/>
                  </a:moveTo>
                  <a:cubicBezTo>
                    <a:pt x="1031" y="470"/>
                    <a:pt x="1031" y="470"/>
                    <a:pt x="1031" y="470"/>
                  </a:cubicBezTo>
                  <a:cubicBezTo>
                    <a:pt x="1032" y="470"/>
                    <a:pt x="1032" y="470"/>
                    <a:pt x="1032" y="470"/>
                  </a:cubicBezTo>
                  <a:cubicBezTo>
                    <a:pt x="1032" y="470"/>
                    <a:pt x="1032" y="470"/>
                    <a:pt x="1033" y="470"/>
                  </a:cubicBezTo>
                  <a:cubicBezTo>
                    <a:pt x="1033" y="470"/>
                    <a:pt x="1033" y="470"/>
                    <a:pt x="1033" y="470"/>
                  </a:cubicBezTo>
                  <a:cubicBezTo>
                    <a:pt x="1032" y="470"/>
                    <a:pt x="1032" y="470"/>
                    <a:pt x="1031" y="470"/>
                  </a:cubicBezTo>
                  <a:moveTo>
                    <a:pt x="1032" y="472"/>
                  </a:moveTo>
                  <a:cubicBezTo>
                    <a:pt x="1033" y="472"/>
                    <a:pt x="1033" y="473"/>
                    <a:pt x="1034" y="474"/>
                  </a:cubicBezTo>
                  <a:cubicBezTo>
                    <a:pt x="1034" y="474"/>
                    <a:pt x="1035" y="475"/>
                    <a:pt x="1035" y="475"/>
                  </a:cubicBezTo>
                  <a:cubicBezTo>
                    <a:pt x="1035" y="474"/>
                    <a:pt x="1034" y="473"/>
                    <a:pt x="1034" y="472"/>
                  </a:cubicBezTo>
                  <a:cubicBezTo>
                    <a:pt x="1033" y="472"/>
                    <a:pt x="1033" y="472"/>
                    <a:pt x="1032" y="472"/>
                  </a:cubicBezTo>
                  <a:moveTo>
                    <a:pt x="1131" y="473"/>
                  </a:moveTo>
                  <a:cubicBezTo>
                    <a:pt x="1130" y="473"/>
                    <a:pt x="1130" y="473"/>
                    <a:pt x="1129" y="474"/>
                  </a:cubicBezTo>
                  <a:cubicBezTo>
                    <a:pt x="1127" y="475"/>
                    <a:pt x="1126" y="477"/>
                    <a:pt x="1125" y="478"/>
                  </a:cubicBezTo>
                  <a:cubicBezTo>
                    <a:pt x="1125" y="478"/>
                    <a:pt x="1126" y="478"/>
                    <a:pt x="1127" y="477"/>
                  </a:cubicBezTo>
                  <a:cubicBezTo>
                    <a:pt x="1128" y="476"/>
                    <a:pt x="1130" y="474"/>
                    <a:pt x="1131" y="473"/>
                  </a:cubicBezTo>
                  <a:moveTo>
                    <a:pt x="1034" y="475"/>
                  </a:moveTo>
                  <a:cubicBezTo>
                    <a:pt x="1034" y="476"/>
                    <a:pt x="1034" y="476"/>
                    <a:pt x="1034" y="476"/>
                  </a:cubicBezTo>
                  <a:cubicBezTo>
                    <a:pt x="1035" y="476"/>
                    <a:pt x="1035" y="476"/>
                    <a:pt x="1035" y="476"/>
                  </a:cubicBezTo>
                  <a:cubicBezTo>
                    <a:pt x="1035" y="476"/>
                    <a:pt x="1035" y="476"/>
                    <a:pt x="1034" y="475"/>
                  </a:cubicBezTo>
                  <a:moveTo>
                    <a:pt x="1036" y="477"/>
                  </a:moveTo>
                  <a:cubicBezTo>
                    <a:pt x="1036" y="477"/>
                    <a:pt x="1036" y="477"/>
                    <a:pt x="1036" y="477"/>
                  </a:cubicBezTo>
                  <a:cubicBezTo>
                    <a:pt x="1036" y="477"/>
                    <a:pt x="1036" y="477"/>
                    <a:pt x="1037" y="478"/>
                  </a:cubicBezTo>
                  <a:cubicBezTo>
                    <a:pt x="1036" y="477"/>
                    <a:pt x="1036" y="477"/>
                    <a:pt x="1036" y="477"/>
                  </a:cubicBezTo>
                  <a:moveTo>
                    <a:pt x="1532" y="477"/>
                  </a:moveTo>
                  <a:cubicBezTo>
                    <a:pt x="1531" y="477"/>
                    <a:pt x="1531" y="477"/>
                    <a:pt x="1531" y="477"/>
                  </a:cubicBezTo>
                  <a:cubicBezTo>
                    <a:pt x="1534" y="481"/>
                    <a:pt x="1539" y="486"/>
                    <a:pt x="1543" y="490"/>
                  </a:cubicBezTo>
                  <a:cubicBezTo>
                    <a:pt x="1543" y="490"/>
                    <a:pt x="1544" y="489"/>
                    <a:pt x="1544" y="489"/>
                  </a:cubicBezTo>
                  <a:cubicBezTo>
                    <a:pt x="1540" y="485"/>
                    <a:pt x="1535" y="481"/>
                    <a:pt x="1532" y="477"/>
                  </a:cubicBezTo>
                  <a:moveTo>
                    <a:pt x="1036" y="478"/>
                  </a:moveTo>
                  <a:cubicBezTo>
                    <a:pt x="1036" y="479"/>
                    <a:pt x="1036" y="479"/>
                    <a:pt x="1036" y="479"/>
                  </a:cubicBezTo>
                  <a:cubicBezTo>
                    <a:pt x="1036" y="479"/>
                    <a:pt x="1036" y="479"/>
                    <a:pt x="1036" y="479"/>
                  </a:cubicBezTo>
                  <a:cubicBezTo>
                    <a:pt x="1036" y="478"/>
                    <a:pt x="1036" y="478"/>
                    <a:pt x="1036" y="478"/>
                  </a:cubicBezTo>
                  <a:moveTo>
                    <a:pt x="1125" y="479"/>
                  </a:moveTo>
                  <a:cubicBezTo>
                    <a:pt x="1124" y="479"/>
                    <a:pt x="1124" y="480"/>
                    <a:pt x="1123" y="480"/>
                  </a:cubicBezTo>
                  <a:cubicBezTo>
                    <a:pt x="1122" y="481"/>
                    <a:pt x="1120" y="482"/>
                    <a:pt x="1119" y="483"/>
                  </a:cubicBezTo>
                  <a:cubicBezTo>
                    <a:pt x="1120" y="484"/>
                    <a:pt x="1120" y="484"/>
                    <a:pt x="1120" y="484"/>
                  </a:cubicBezTo>
                  <a:cubicBezTo>
                    <a:pt x="1120" y="484"/>
                    <a:pt x="1120" y="484"/>
                    <a:pt x="1120" y="484"/>
                  </a:cubicBezTo>
                  <a:cubicBezTo>
                    <a:pt x="1122" y="482"/>
                    <a:pt x="1124" y="481"/>
                    <a:pt x="1125" y="479"/>
                  </a:cubicBezTo>
                  <a:moveTo>
                    <a:pt x="1037" y="479"/>
                  </a:moveTo>
                  <a:cubicBezTo>
                    <a:pt x="1037" y="479"/>
                    <a:pt x="1037" y="479"/>
                    <a:pt x="1037" y="479"/>
                  </a:cubicBezTo>
                  <a:cubicBezTo>
                    <a:pt x="1037" y="479"/>
                    <a:pt x="1037" y="479"/>
                    <a:pt x="1037" y="479"/>
                  </a:cubicBezTo>
                  <a:close/>
                  <a:moveTo>
                    <a:pt x="1038" y="480"/>
                  </a:moveTo>
                  <a:cubicBezTo>
                    <a:pt x="1038" y="480"/>
                    <a:pt x="1037" y="480"/>
                    <a:pt x="1037" y="480"/>
                  </a:cubicBezTo>
                  <a:cubicBezTo>
                    <a:pt x="1038" y="483"/>
                    <a:pt x="1039" y="485"/>
                    <a:pt x="1041" y="487"/>
                  </a:cubicBezTo>
                  <a:cubicBezTo>
                    <a:pt x="1041" y="486"/>
                    <a:pt x="1041" y="486"/>
                    <a:pt x="1041" y="485"/>
                  </a:cubicBezTo>
                  <a:cubicBezTo>
                    <a:pt x="1040" y="483"/>
                    <a:pt x="1039" y="482"/>
                    <a:pt x="1038" y="480"/>
                  </a:cubicBezTo>
                  <a:moveTo>
                    <a:pt x="1118" y="485"/>
                  </a:moveTo>
                  <a:cubicBezTo>
                    <a:pt x="1117" y="485"/>
                    <a:pt x="1117" y="486"/>
                    <a:pt x="1116" y="487"/>
                  </a:cubicBezTo>
                  <a:cubicBezTo>
                    <a:pt x="1117" y="487"/>
                    <a:pt x="1117" y="487"/>
                    <a:pt x="1117" y="487"/>
                  </a:cubicBezTo>
                  <a:cubicBezTo>
                    <a:pt x="1118" y="486"/>
                    <a:pt x="1119" y="485"/>
                    <a:pt x="1119" y="485"/>
                  </a:cubicBezTo>
                  <a:cubicBezTo>
                    <a:pt x="1119" y="485"/>
                    <a:pt x="1119" y="485"/>
                    <a:pt x="1118" y="485"/>
                  </a:cubicBezTo>
                  <a:moveTo>
                    <a:pt x="1042" y="486"/>
                  </a:moveTo>
                  <a:cubicBezTo>
                    <a:pt x="1041" y="487"/>
                    <a:pt x="1041" y="487"/>
                    <a:pt x="1041" y="488"/>
                  </a:cubicBezTo>
                  <a:cubicBezTo>
                    <a:pt x="1041" y="488"/>
                    <a:pt x="1041" y="488"/>
                    <a:pt x="1041" y="488"/>
                  </a:cubicBezTo>
                  <a:cubicBezTo>
                    <a:pt x="1042" y="488"/>
                    <a:pt x="1042" y="488"/>
                    <a:pt x="1043" y="488"/>
                  </a:cubicBezTo>
                  <a:cubicBezTo>
                    <a:pt x="1042" y="488"/>
                    <a:pt x="1042" y="487"/>
                    <a:pt x="1042" y="486"/>
                  </a:cubicBezTo>
                  <a:moveTo>
                    <a:pt x="1115" y="487"/>
                  </a:moveTo>
                  <a:cubicBezTo>
                    <a:pt x="1115" y="487"/>
                    <a:pt x="1115" y="488"/>
                    <a:pt x="1115" y="488"/>
                  </a:cubicBezTo>
                  <a:cubicBezTo>
                    <a:pt x="1115" y="488"/>
                    <a:pt x="1115" y="488"/>
                    <a:pt x="1115" y="488"/>
                  </a:cubicBezTo>
                  <a:cubicBezTo>
                    <a:pt x="1116" y="488"/>
                    <a:pt x="1116" y="488"/>
                    <a:pt x="1116" y="488"/>
                  </a:cubicBezTo>
                  <a:cubicBezTo>
                    <a:pt x="1116" y="488"/>
                    <a:pt x="1115" y="487"/>
                    <a:pt x="1115" y="487"/>
                  </a:cubicBezTo>
                  <a:moveTo>
                    <a:pt x="1115" y="489"/>
                  </a:moveTo>
                  <a:cubicBezTo>
                    <a:pt x="1114" y="489"/>
                    <a:pt x="1113" y="490"/>
                    <a:pt x="1113" y="490"/>
                  </a:cubicBezTo>
                  <a:cubicBezTo>
                    <a:pt x="1112" y="490"/>
                    <a:pt x="1112" y="491"/>
                    <a:pt x="1111" y="491"/>
                  </a:cubicBezTo>
                  <a:cubicBezTo>
                    <a:pt x="1112" y="491"/>
                    <a:pt x="1112" y="491"/>
                    <a:pt x="1113" y="491"/>
                  </a:cubicBezTo>
                  <a:cubicBezTo>
                    <a:pt x="1113" y="491"/>
                    <a:pt x="1114" y="490"/>
                    <a:pt x="1115" y="489"/>
                  </a:cubicBezTo>
                  <a:moveTo>
                    <a:pt x="1043" y="489"/>
                  </a:moveTo>
                  <a:cubicBezTo>
                    <a:pt x="1043" y="489"/>
                    <a:pt x="1043" y="489"/>
                    <a:pt x="1042" y="490"/>
                  </a:cubicBezTo>
                  <a:cubicBezTo>
                    <a:pt x="1043" y="490"/>
                    <a:pt x="1043" y="490"/>
                    <a:pt x="1043" y="490"/>
                  </a:cubicBezTo>
                  <a:cubicBezTo>
                    <a:pt x="1043" y="490"/>
                    <a:pt x="1044" y="490"/>
                    <a:pt x="1044" y="490"/>
                  </a:cubicBezTo>
                  <a:cubicBezTo>
                    <a:pt x="1044" y="490"/>
                    <a:pt x="1044" y="489"/>
                    <a:pt x="1043" y="489"/>
                  </a:cubicBezTo>
                  <a:moveTo>
                    <a:pt x="1545" y="490"/>
                  </a:moveTo>
                  <a:cubicBezTo>
                    <a:pt x="1545" y="490"/>
                    <a:pt x="1544" y="490"/>
                    <a:pt x="1544" y="490"/>
                  </a:cubicBezTo>
                  <a:cubicBezTo>
                    <a:pt x="1548" y="494"/>
                    <a:pt x="1552" y="498"/>
                    <a:pt x="1557" y="501"/>
                  </a:cubicBezTo>
                  <a:cubicBezTo>
                    <a:pt x="1557" y="501"/>
                    <a:pt x="1557" y="501"/>
                    <a:pt x="1558" y="501"/>
                  </a:cubicBezTo>
                  <a:cubicBezTo>
                    <a:pt x="1553" y="497"/>
                    <a:pt x="1549" y="493"/>
                    <a:pt x="1545" y="490"/>
                  </a:cubicBezTo>
                  <a:moveTo>
                    <a:pt x="1044" y="491"/>
                  </a:moveTo>
                  <a:cubicBezTo>
                    <a:pt x="1044" y="491"/>
                    <a:pt x="1044" y="491"/>
                    <a:pt x="1044" y="491"/>
                  </a:cubicBezTo>
                  <a:cubicBezTo>
                    <a:pt x="1044" y="492"/>
                    <a:pt x="1044" y="492"/>
                    <a:pt x="1044" y="492"/>
                  </a:cubicBezTo>
                  <a:cubicBezTo>
                    <a:pt x="1045" y="492"/>
                    <a:pt x="1045" y="492"/>
                    <a:pt x="1045" y="491"/>
                  </a:cubicBezTo>
                  <a:cubicBezTo>
                    <a:pt x="1045" y="491"/>
                    <a:pt x="1045" y="491"/>
                    <a:pt x="1044" y="491"/>
                  </a:cubicBezTo>
                  <a:moveTo>
                    <a:pt x="1045" y="492"/>
                  </a:moveTo>
                  <a:cubicBezTo>
                    <a:pt x="1045" y="493"/>
                    <a:pt x="1045" y="493"/>
                    <a:pt x="1045" y="493"/>
                  </a:cubicBezTo>
                  <a:cubicBezTo>
                    <a:pt x="1046" y="494"/>
                    <a:pt x="1046" y="495"/>
                    <a:pt x="1047" y="496"/>
                  </a:cubicBezTo>
                  <a:cubicBezTo>
                    <a:pt x="1047" y="496"/>
                    <a:pt x="1047" y="496"/>
                    <a:pt x="1047" y="496"/>
                  </a:cubicBezTo>
                  <a:cubicBezTo>
                    <a:pt x="1047" y="495"/>
                    <a:pt x="1047" y="495"/>
                    <a:pt x="1048" y="495"/>
                  </a:cubicBezTo>
                  <a:cubicBezTo>
                    <a:pt x="1047" y="494"/>
                    <a:pt x="1046" y="493"/>
                    <a:pt x="1045" y="492"/>
                  </a:cubicBezTo>
                  <a:moveTo>
                    <a:pt x="1110" y="492"/>
                  </a:moveTo>
                  <a:cubicBezTo>
                    <a:pt x="1110" y="493"/>
                    <a:pt x="1109" y="493"/>
                    <a:pt x="1109" y="493"/>
                  </a:cubicBezTo>
                  <a:cubicBezTo>
                    <a:pt x="1109" y="493"/>
                    <a:pt x="1110" y="494"/>
                    <a:pt x="1110" y="494"/>
                  </a:cubicBezTo>
                  <a:cubicBezTo>
                    <a:pt x="1110" y="493"/>
                    <a:pt x="1111" y="493"/>
                    <a:pt x="1111" y="493"/>
                  </a:cubicBezTo>
                  <a:cubicBezTo>
                    <a:pt x="1111" y="492"/>
                    <a:pt x="1110" y="492"/>
                    <a:pt x="1110" y="492"/>
                  </a:cubicBezTo>
                  <a:moveTo>
                    <a:pt x="1108" y="494"/>
                  </a:moveTo>
                  <a:cubicBezTo>
                    <a:pt x="1108" y="494"/>
                    <a:pt x="1108" y="494"/>
                    <a:pt x="1108" y="494"/>
                  </a:cubicBezTo>
                  <a:cubicBezTo>
                    <a:pt x="1108" y="494"/>
                    <a:pt x="1109" y="494"/>
                    <a:pt x="1109" y="494"/>
                  </a:cubicBezTo>
                  <a:cubicBezTo>
                    <a:pt x="1109" y="494"/>
                    <a:pt x="1108" y="494"/>
                    <a:pt x="1108" y="494"/>
                  </a:cubicBezTo>
                  <a:moveTo>
                    <a:pt x="1107" y="495"/>
                  </a:moveTo>
                  <a:cubicBezTo>
                    <a:pt x="1106" y="496"/>
                    <a:pt x="1106" y="496"/>
                    <a:pt x="1105" y="496"/>
                  </a:cubicBezTo>
                  <a:cubicBezTo>
                    <a:pt x="1106" y="496"/>
                    <a:pt x="1107" y="496"/>
                    <a:pt x="1108" y="495"/>
                  </a:cubicBezTo>
                  <a:cubicBezTo>
                    <a:pt x="1107" y="495"/>
                    <a:pt x="1107" y="495"/>
                    <a:pt x="1107" y="495"/>
                  </a:cubicBezTo>
                  <a:moveTo>
                    <a:pt x="1048" y="496"/>
                  </a:moveTo>
                  <a:cubicBezTo>
                    <a:pt x="1048" y="496"/>
                    <a:pt x="1048" y="496"/>
                    <a:pt x="1048" y="496"/>
                  </a:cubicBezTo>
                  <a:cubicBezTo>
                    <a:pt x="1048" y="496"/>
                    <a:pt x="1048" y="496"/>
                    <a:pt x="1048" y="496"/>
                  </a:cubicBezTo>
                  <a:cubicBezTo>
                    <a:pt x="1048" y="496"/>
                    <a:pt x="1048" y="496"/>
                    <a:pt x="1048" y="496"/>
                  </a:cubicBezTo>
                  <a:cubicBezTo>
                    <a:pt x="1048" y="496"/>
                    <a:pt x="1048" y="496"/>
                    <a:pt x="1048" y="496"/>
                  </a:cubicBezTo>
                  <a:moveTo>
                    <a:pt x="1048" y="497"/>
                  </a:moveTo>
                  <a:cubicBezTo>
                    <a:pt x="1049" y="498"/>
                    <a:pt x="1050" y="499"/>
                    <a:pt x="1050" y="500"/>
                  </a:cubicBezTo>
                  <a:cubicBezTo>
                    <a:pt x="1051" y="500"/>
                    <a:pt x="1051" y="500"/>
                    <a:pt x="1051" y="499"/>
                  </a:cubicBezTo>
                  <a:cubicBezTo>
                    <a:pt x="1051" y="499"/>
                    <a:pt x="1051" y="499"/>
                    <a:pt x="1050" y="498"/>
                  </a:cubicBezTo>
                  <a:cubicBezTo>
                    <a:pt x="1050" y="498"/>
                    <a:pt x="1049" y="498"/>
                    <a:pt x="1048" y="497"/>
                  </a:cubicBezTo>
                  <a:moveTo>
                    <a:pt x="1106" y="497"/>
                  </a:moveTo>
                  <a:cubicBezTo>
                    <a:pt x="1105" y="498"/>
                    <a:pt x="1104" y="498"/>
                    <a:pt x="1103" y="499"/>
                  </a:cubicBezTo>
                  <a:cubicBezTo>
                    <a:pt x="1103" y="499"/>
                    <a:pt x="1104" y="499"/>
                    <a:pt x="1104" y="499"/>
                  </a:cubicBezTo>
                  <a:cubicBezTo>
                    <a:pt x="1104" y="499"/>
                    <a:pt x="1104" y="499"/>
                    <a:pt x="1104" y="499"/>
                  </a:cubicBezTo>
                  <a:cubicBezTo>
                    <a:pt x="1105" y="498"/>
                    <a:pt x="1105" y="498"/>
                    <a:pt x="1106" y="497"/>
                  </a:cubicBezTo>
                  <a:moveTo>
                    <a:pt x="1102" y="499"/>
                  </a:moveTo>
                  <a:cubicBezTo>
                    <a:pt x="1102" y="499"/>
                    <a:pt x="1102" y="499"/>
                    <a:pt x="1101" y="500"/>
                  </a:cubicBezTo>
                  <a:cubicBezTo>
                    <a:pt x="1101" y="500"/>
                    <a:pt x="1101" y="500"/>
                    <a:pt x="1101" y="500"/>
                  </a:cubicBezTo>
                  <a:cubicBezTo>
                    <a:pt x="1100" y="501"/>
                    <a:pt x="1100" y="501"/>
                    <a:pt x="1099" y="501"/>
                  </a:cubicBezTo>
                  <a:cubicBezTo>
                    <a:pt x="1099" y="501"/>
                    <a:pt x="1099" y="501"/>
                    <a:pt x="1099" y="501"/>
                  </a:cubicBezTo>
                  <a:cubicBezTo>
                    <a:pt x="1099" y="502"/>
                    <a:pt x="1099" y="502"/>
                    <a:pt x="1098" y="502"/>
                  </a:cubicBezTo>
                  <a:cubicBezTo>
                    <a:pt x="1097" y="503"/>
                    <a:pt x="1097" y="503"/>
                    <a:pt x="1096" y="504"/>
                  </a:cubicBezTo>
                  <a:cubicBezTo>
                    <a:pt x="1097" y="503"/>
                    <a:pt x="1098" y="503"/>
                    <a:pt x="1100" y="502"/>
                  </a:cubicBezTo>
                  <a:cubicBezTo>
                    <a:pt x="1100" y="502"/>
                    <a:pt x="1100" y="502"/>
                    <a:pt x="1100" y="502"/>
                  </a:cubicBezTo>
                  <a:cubicBezTo>
                    <a:pt x="1100" y="502"/>
                    <a:pt x="1100" y="502"/>
                    <a:pt x="1100" y="502"/>
                  </a:cubicBezTo>
                  <a:cubicBezTo>
                    <a:pt x="1101" y="502"/>
                    <a:pt x="1101" y="501"/>
                    <a:pt x="1101" y="501"/>
                  </a:cubicBezTo>
                  <a:cubicBezTo>
                    <a:pt x="1102" y="501"/>
                    <a:pt x="1102" y="501"/>
                    <a:pt x="1102" y="500"/>
                  </a:cubicBezTo>
                  <a:cubicBezTo>
                    <a:pt x="1102" y="500"/>
                    <a:pt x="1103" y="500"/>
                    <a:pt x="1103" y="500"/>
                  </a:cubicBezTo>
                  <a:cubicBezTo>
                    <a:pt x="1103" y="499"/>
                    <a:pt x="1102" y="499"/>
                    <a:pt x="1102" y="499"/>
                  </a:cubicBezTo>
                  <a:moveTo>
                    <a:pt x="1052" y="500"/>
                  </a:moveTo>
                  <a:cubicBezTo>
                    <a:pt x="1052" y="500"/>
                    <a:pt x="1051" y="500"/>
                    <a:pt x="1051" y="501"/>
                  </a:cubicBezTo>
                  <a:cubicBezTo>
                    <a:pt x="1051" y="501"/>
                    <a:pt x="1051" y="501"/>
                    <a:pt x="1051" y="501"/>
                  </a:cubicBezTo>
                  <a:cubicBezTo>
                    <a:pt x="1052" y="501"/>
                    <a:pt x="1052" y="501"/>
                    <a:pt x="1052" y="501"/>
                  </a:cubicBezTo>
                  <a:cubicBezTo>
                    <a:pt x="1052" y="501"/>
                    <a:pt x="1052" y="500"/>
                    <a:pt x="1052" y="500"/>
                  </a:cubicBezTo>
                  <a:moveTo>
                    <a:pt x="1558" y="501"/>
                  </a:moveTo>
                  <a:cubicBezTo>
                    <a:pt x="1558" y="502"/>
                    <a:pt x="1558" y="502"/>
                    <a:pt x="1558" y="502"/>
                  </a:cubicBezTo>
                  <a:cubicBezTo>
                    <a:pt x="1558" y="502"/>
                    <a:pt x="1558" y="502"/>
                    <a:pt x="1558" y="503"/>
                  </a:cubicBezTo>
                  <a:cubicBezTo>
                    <a:pt x="1563" y="506"/>
                    <a:pt x="1568" y="510"/>
                    <a:pt x="1572" y="513"/>
                  </a:cubicBezTo>
                  <a:cubicBezTo>
                    <a:pt x="1572" y="512"/>
                    <a:pt x="1573" y="512"/>
                    <a:pt x="1573" y="512"/>
                  </a:cubicBezTo>
                  <a:cubicBezTo>
                    <a:pt x="1568" y="509"/>
                    <a:pt x="1564" y="506"/>
                    <a:pt x="1559" y="502"/>
                  </a:cubicBezTo>
                  <a:cubicBezTo>
                    <a:pt x="1559" y="502"/>
                    <a:pt x="1559" y="502"/>
                    <a:pt x="1558" y="501"/>
                  </a:cubicBezTo>
                  <a:moveTo>
                    <a:pt x="1053" y="501"/>
                  </a:moveTo>
                  <a:cubicBezTo>
                    <a:pt x="1053" y="502"/>
                    <a:pt x="1052" y="502"/>
                    <a:pt x="1052" y="502"/>
                  </a:cubicBezTo>
                  <a:cubicBezTo>
                    <a:pt x="1053" y="502"/>
                    <a:pt x="1053" y="502"/>
                    <a:pt x="1054" y="502"/>
                  </a:cubicBezTo>
                  <a:cubicBezTo>
                    <a:pt x="1053" y="502"/>
                    <a:pt x="1053" y="502"/>
                    <a:pt x="1053" y="501"/>
                  </a:cubicBezTo>
                  <a:moveTo>
                    <a:pt x="1053" y="503"/>
                  </a:moveTo>
                  <a:cubicBezTo>
                    <a:pt x="1053" y="503"/>
                    <a:pt x="1053" y="503"/>
                    <a:pt x="1053" y="503"/>
                  </a:cubicBezTo>
                  <a:cubicBezTo>
                    <a:pt x="1053" y="503"/>
                    <a:pt x="1054" y="503"/>
                    <a:pt x="1054" y="503"/>
                  </a:cubicBezTo>
                  <a:cubicBezTo>
                    <a:pt x="1053" y="503"/>
                    <a:pt x="1053" y="503"/>
                    <a:pt x="1053" y="503"/>
                  </a:cubicBezTo>
                  <a:moveTo>
                    <a:pt x="1055" y="503"/>
                  </a:moveTo>
                  <a:cubicBezTo>
                    <a:pt x="1055" y="504"/>
                    <a:pt x="1055" y="504"/>
                    <a:pt x="1054" y="504"/>
                  </a:cubicBezTo>
                  <a:cubicBezTo>
                    <a:pt x="1055" y="505"/>
                    <a:pt x="1056" y="506"/>
                    <a:pt x="1057" y="506"/>
                  </a:cubicBezTo>
                  <a:cubicBezTo>
                    <a:pt x="1057" y="506"/>
                    <a:pt x="1058" y="506"/>
                    <a:pt x="1058" y="506"/>
                  </a:cubicBezTo>
                  <a:cubicBezTo>
                    <a:pt x="1057" y="505"/>
                    <a:pt x="1056" y="504"/>
                    <a:pt x="1055" y="503"/>
                  </a:cubicBezTo>
                  <a:moveTo>
                    <a:pt x="1096" y="505"/>
                  </a:moveTo>
                  <a:cubicBezTo>
                    <a:pt x="1094" y="506"/>
                    <a:pt x="1092" y="507"/>
                    <a:pt x="1090" y="507"/>
                  </a:cubicBezTo>
                  <a:cubicBezTo>
                    <a:pt x="1091" y="507"/>
                    <a:pt x="1091" y="507"/>
                    <a:pt x="1092" y="507"/>
                  </a:cubicBezTo>
                  <a:cubicBezTo>
                    <a:pt x="1092" y="507"/>
                    <a:pt x="1093" y="507"/>
                    <a:pt x="1093" y="506"/>
                  </a:cubicBezTo>
                  <a:cubicBezTo>
                    <a:pt x="1094" y="506"/>
                    <a:pt x="1094" y="506"/>
                    <a:pt x="1095" y="505"/>
                  </a:cubicBezTo>
                  <a:cubicBezTo>
                    <a:pt x="1095" y="505"/>
                    <a:pt x="1095" y="505"/>
                    <a:pt x="1096" y="505"/>
                  </a:cubicBezTo>
                  <a:moveTo>
                    <a:pt x="1059" y="507"/>
                  </a:moveTo>
                  <a:cubicBezTo>
                    <a:pt x="1059" y="507"/>
                    <a:pt x="1058" y="507"/>
                    <a:pt x="1058" y="507"/>
                  </a:cubicBezTo>
                  <a:cubicBezTo>
                    <a:pt x="1059" y="508"/>
                    <a:pt x="1061" y="509"/>
                    <a:pt x="1062" y="510"/>
                  </a:cubicBezTo>
                  <a:cubicBezTo>
                    <a:pt x="1063" y="510"/>
                    <a:pt x="1063" y="509"/>
                    <a:pt x="1063" y="509"/>
                  </a:cubicBezTo>
                  <a:cubicBezTo>
                    <a:pt x="1062" y="508"/>
                    <a:pt x="1060" y="508"/>
                    <a:pt x="1059" y="507"/>
                  </a:cubicBezTo>
                  <a:moveTo>
                    <a:pt x="1088" y="508"/>
                  </a:moveTo>
                  <a:cubicBezTo>
                    <a:pt x="1088" y="508"/>
                    <a:pt x="1088" y="508"/>
                    <a:pt x="1087" y="509"/>
                  </a:cubicBezTo>
                  <a:cubicBezTo>
                    <a:pt x="1087" y="509"/>
                    <a:pt x="1087" y="509"/>
                    <a:pt x="1086" y="509"/>
                  </a:cubicBezTo>
                  <a:cubicBezTo>
                    <a:pt x="1085" y="510"/>
                    <a:pt x="1083" y="510"/>
                    <a:pt x="1082" y="511"/>
                  </a:cubicBezTo>
                  <a:cubicBezTo>
                    <a:pt x="1082" y="511"/>
                    <a:pt x="1083" y="511"/>
                    <a:pt x="1083" y="511"/>
                  </a:cubicBezTo>
                  <a:cubicBezTo>
                    <a:pt x="1085" y="511"/>
                    <a:pt x="1088" y="510"/>
                    <a:pt x="1090" y="508"/>
                  </a:cubicBezTo>
                  <a:cubicBezTo>
                    <a:pt x="1089" y="508"/>
                    <a:pt x="1089" y="508"/>
                    <a:pt x="1088" y="508"/>
                  </a:cubicBezTo>
                  <a:moveTo>
                    <a:pt x="1065" y="510"/>
                  </a:moveTo>
                  <a:cubicBezTo>
                    <a:pt x="1065" y="510"/>
                    <a:pt x="1064" y="510"/>
                    <a:pt x="1064" y="510"/>
                  </a:cubicBezTo>
                  <a:cubicBezTo>
                    <a:pt x="1065" y="511"/>
                    <a:pt x="1067" y="512"/>
                    <a:pt x="1068" y="512"/>
                  </a:cubicBezTo>
                  <a:cubicBezTo>
                    <a:pt x="1069" y="512"/>
                    <a:pt x="1069" y="512"/>
                    <a:pt x="1070" y="511"/>
                  </a:cubicBezTo>
                  <a:cubicBezTo>
                    <a:pt x="1068" y="511"/>
                    <a:pt x="1067" y="511"/>
                    <a:pt x="1065" y="510"/>
                  </a:cubicBezTo>
                  <a:moveTo>
                    <a:pt x="1078" y="511"/>
                  </a:moveTo>
                  <a:cubicBezTo>
                    <a:pt x="1077" y="512"/>
                    <a:pt x="1076" y="512"/>
                    <a:pt x="1074" y="512"/>
                  </a:cubicBezTo>
                  <a:cubicBezTo>
                    <a:pt x="1074" y="512"/>
                    <a:pt x="1074" y="512"/>
                    <a:pt x="1074" y="512"/>
                  </a:cubicBezTo>
                  <a:cubicBezTo>
                    <a:pt x="1074" y="512"/>
                    <a:pt x="1074" y="512"/>
                    <a:pt x="1074" y="512"/>
                  </a:cubicBezTo>
                  <a:cubicBezTo>
                    <a:pt x="1074" y="512"/>
                    <a:pt x="1074" y="512"/>
                    <a:pt x="1074" y="512"/>
                  </a:cubicBezTo>
                  <a:cubicBezTo>
                    <a:pt x="1074" y="512"/>
                    <a:pt x="1073" y="512"/>
                    <a:pt x="1072" y="513"/>
                  </a:cubicBezTo>
                  <a:cubicBezTo>
                    <a:pt x="1073" y="513"/>
                    <a:pt x="1074" y="513"/>
                    <a:pt x="1074" y="513"/>
                  </a:cubicBezTo>
                  <a:cubicBezTo>
                    <a:pt x="1075" y="513"/>
                    <a:pt x="1075" y="513"/>
                    <a:pt x="1076" y="513"/>
                  </a:cubicBezTo>
                  <a:cubicBezTo>
                    <a:pt x="1077" y="512"/>
                    <a:pt x="1077" y="512"/>
                    <a:pt x="1078" y="511"/>
                  </a:cubicBezTo>
                  <a:moveTo>
                    <a:pt x="1081" y="511"/>
                  </a:moveTo>
                  <a:cubicBezTo>
                    <a:pt x="1080" y="512"/>
                    <a:pt x="1080" y="512"/>
                    <a:pt x="1079" y="512"/>
                  </a:cubicBezTo>
                  <a:cubicBezTo>
                    <a:pt x="1080" y="512"/>
                    <a:pt x="1081" y="512"/>
                    <a:pt x="1081" y="512"/>
                  </a:cubicBezTo>
                  <a:cubicBezTo>
                    <a:pt x="1081" y="512"/>
                    <a:pt x="1081" y="512"/>
                    <a:pt x="1081" y="511"/>
                  </a:cubicBezTo>
                  <a:moveTo>
                    <a:pt x="1574" y="513"/>
                  </a:moveTo>
                  <a:cubicBezTo>
                    <a:pt x="1574" y="513"/>
                    <a:pt x="1573" y="513"/>
                    <a:pt x="1573" y="513"/>
                  </a:cubicBezTo>
                  <a:cubicBezTo>
                    <a:pt x="1581" y="518"/>
                    <a:pt x="1589" y="523"/>
                    <a:pt x="1597" y="526"/>
                  </a:cubicBezTo>
                  <a:cubicBezTo>
                    <a:pt x="1598" y="526"/>
                    <a:pt x="1598" y="526"/>
                    <a:pt x="1599" y="526"/>
                  </a:cubicBezTo>
                  <a:cubicBezTo>
                    <a:pt x="1591" y="522"/>
                    <a:pt x="1582" y="518"/>
                    <a:pt x="1574" y="513"/>
                  </a:cubicBezTo>
                  <a:moveTo>
                    <a:pt x="917" y="516"/>
                  </a:moveTo>
                  <a:cubicBezTo>
                    <a:pt x="916" y="516"/>
                    <a:pt x="916" y="517"/>
                    <a:pt x="915" y="517"/>
                  </a:cubicBezTo>
                  <a:cubicBezTo>
                    <a:pt x="921" y="518"/>
                    <a:pt x="926" y="519"/>
                    <a:pt x="932" y="520"/>
                  </a:cubicBezTo>
                  <a:cubicBezTo>
                    <a:pt x="932" y="520"/>
                    <a:pt x="933" y="519"/>
                    <a:pt x="933" y="519"/>
                  </a:cubicBezTo>
                  <a:cubicBezTo>
                    <a:pt x="928" y="518"/>
                    <a:pt x="922" y="517"/>
                    <a:pt x="917" y="516"/>
                  </a:cubicBezTo>
                  <a:moveTo>
                    <a:pt x="935" y="519"/>
                  </a:moveTo>
                  <a:cubicBezTo>
                    <a:pt x="934" y="520"/>
                    <a:pt x="934" y="520"/>
                    <a:pt x="933" y="520"/>
                  </a:cubicBezTo>
                  <a:cubicBezTo>
                    <a:pt x="935" y="521"/>
                    <a:pt x="938" y="521"/>
                    <a:pt x="940" y="522"/>
                  </a:cubicBezTo>
                  <a:cubicBezTo>
                    <a:pt x="940" y="521"/>
                    <a:pt x="940" y="521"/>
                    <a:pt x="940" y="520"/>
                  </a:cubicBezTo>
                  <a:cubicBezTo>
                    <a:pt x="938" y="520"/>
                    <a:pt x="936" y="520"/>
                    <a:pt x="935" y="519"/>
                  </a:cubicBezTo>
                  <a:moveTo>
                    <a:pt x="941" y="521"/>
                  </a:moveTo>
                  <a:cubicBezTo>
                    <a:pt x="941" y="521"/>
                    <a:pt x="941" y="521"/>
                    <a:pt x="941" y="522"/>
                  </a:cubicBezTo>
                  <a:cubicBezTo>
                    <a:pt x="943" y="522"/>
                    <a:pt x="944" y="522"/>
                    <a:pt x="946" y="522"/>
                  </a:cubicBezTo>
                  <a:cubicBezTo>
                    <a:pt x="946" y="522"/>
                    <a:pt x="946" y="522"/>
                    <a:pt x="946" y="521"/>
                  </a:cubicBezTo>
                  <a:cubicBezTo>
                    <a:pt x="944" y="521"/>
                    <a:pt x="942" y="521"/>
                    <a:pt x="941" y="521"/>
                  </a:cubicBezTo>
                  <a:moveTo>
                    <a:pt x="947" y="522"/>
                  </a:moveTo>
                  <a:cubicBezTo>
                    <a:pt x="947" y="522"/>
                    <a:pt x="947" y="522"/>
                    <a:pt x="947" y="523"/>
                  </a:cubicBezTo>
                  <a:cubicBezTo>
                    <a:pt x="947" y="523"/>
                    <a:pt x="948" y="523"/>
                    <a:pt x="948" y="523"/>
                  </a:cubicBezTo>
                  <a:cubicBezTo>
                    <a:pt x="949" y="523"/>
                    <a:pt x="949" y="522"/>
                    <a:pt x="950" y="522"/>
                  </a:cubicBezTo>
                  <a:cubicBezTo>
                    <a:pt x="949" y="522"/>
                    <a:pt x="948" y="522"/>
                    <a:pt x="947" y="522"/>
                  </a:cubicBezTo>
                  <a:moveTo>
                    <a:pt x="952" y="522"/>
                  </a:moveTo>
                  <a:cubicBezTo>
                    <a:pt x="952" y="523"/>
                    <a:pt x="953" y="523"/>
                    <a:pt x="953" y="524"/>
                  </a:cubicBezTo>
                  <a:cubicBezTo>
                    <a:pt x="956" y="524"/>
                    <a:pt x="958" y="525"/>
                    <a:pt x="961" y="525"/>
                  </a:cubicBezTo>
                  <a:cubicBezTo>
                    <a:pt x="961" y="525"/>
                    <a:pt x="961" y="524"/>
                    <a:pt x="961" y="524"/>
                  </a:cubicBezTo>
                  <a:cubicBezTo>
                    <a:pt x="958" y="524"/>
                    <a:pt x="955" y="523"/>
                    <a:pt x="952" y="522"/>
                  </a:cubicBezTo>
                  <a:moveTo>
                    <a:pt x="950" y="523"/>
                  </a:moveTo>
                  <a:cubicBezTo>
                    <a:pt x="950" y="523"/>
                    <a:pt x="950" y="523"/>
                    <a:pt x="950" y="523"/>
                  </a:cubicBezTo>
                  <a:cubicBezTo>
                    <a:pt x="950" y="523"/>
                    <a:pt x="951" y="523"/>
                    <a:pt x="951" y="523"/>
                  </a:cubicBezTo>
                  <a:cubicBezTo>
                    <a:pt x="951" y="523"/>
                    <a:pt x="951" y="523"/>
                    <a:pt x="950" y="523"/>
                  </a:cubicBezTo>
                  <a:moveTo>
                    <a:pt x="962" y="524"/>
                  </a:moveTo>
                  <a:cubicBezTo>
                    <a:pt x="962" y="525"/>
                    <a:pt x="962" y="525"/>
                    <a:pt x="961" y="525"/>
                  </a:cubicBezTo>
                  <a:cubicBezTo>
                    <a:pt x="963" y="525"/>
                    <a:pt x="964" y="526"/>
                    <a:pt x="966" y="526"/>
                  </a:cubicBezTo>
                  <a:cubicBezTo>
                    <a:pt x="966" y="526"/>
                    <a:pt x="967" y="525"/>
                    <a:pt x="967" y="525"/>
                  </a:cubicBezTo>
                  <a:cubicBezTo>
                    <a:pt x="965" y="525"/>
                    <a:pt x="964" y="525"/>
                    <a:pt x="962" y="524"/>
                  </a:cubicBezTo>
                  <a:moveTo>
                    <a:pt x="969" y="525"/>
                  </a:moveTo>
                  <a:cubicBezTo>
                    <a:pt x="968" y="526"/>
                    <a:pt x="968" y="526"/>
                    <a:pt x="967" y="526"/>
                  </a:cubicBezTo>
                  <a:cubicBezTo>
                    <a:pt x="971" y="527"/>
                    <a:pt x="974" y="527"/>
                    <a:pt x="978" y="528"/>
                  </a:cubicBezTo>
                  <a:cubicBezTo>
                    <a:pt x="978" y="528"/>
                    <a:pt x="979" y="528"/>
                    <a:pt x="979" y="528"/>
                  </a:cubicBezTo>
                  <a:cubicBezTo>
                    <a:pt x="980" y="528"/>
                    <a:pt x="980" y="528"/>
                    <a:pt x="981" y="527"/>
                  </a:cubicBezTo>
                  <a:cubicBezTo>
                    <a:pt x="980" y="527"/>
                    <a:pt x="979" y="527"/>
                    <a:pt x="979" y="527"/>
                  </a:cubicBezTo>
                  <a:cubicBezTo>
                    <a:pt x="975" y="526"/>
                    <a:pt x="972" y="526"/>
                    <a:pt x="969" y="525"/>
                  </a:cubicBezTo>
                  <a:moveTo>
                    <a:pt x="1600" y="526"/>
                  </a:moveTo>
                  <a:cubicBezTo>
                    <a:pt x="1599" y="526"/>
                    <a:pt x="1599" y="527"/>
                    <a:pt x="1599" y="527"/>
                  </a:cubicBezTo>
                  <a:cubicBezTo>
                    <a:pt x="1609" y="531"/>
                    <a:pt x="1619" y="534"/>
                    <a:pt x="1628" y="536"/>
                  </a:cubicBezTo>
                  <a:cubicBezTo>
                    <a:pt x="1628" y="536"/>
                    <a:pt x="1628" y="535"/>
                    <a:pt x="1627" y="535"/>
                  </a:cubicBezTo>
                  <a:cubicBezTo>
                    <a:pt x="1619" y="533"/>
                    <a:pt x="1610" y="530"/>
                    <a:pt x="1600" y="526"/>
                  </a:cubicBezTo>
                  <a:moveTo>
                    <a:pt x="983" y="528"/>
                  </a:moveTo>
                  <a:cubicBezTo>
                    <a:pt x="982" y="528"/>
                    <a:pt x="982" y="528"/>
                    <a:pt x="982" y="528"/>
                  </a:cubicBezTo>
                  <a:cubicBezTo>
                    <a:pt x="984" y="529"/>
                    <a:pt x="986" y="529"/>
                    <a:pt x="988" y="529"/>
                  </a:cubicBezTo>
                  <a:cubicBezTo>
                    <a:pt x="987" y="529"/>
                    <a:pt x="987" y="528"/>
                    <a:pt x="986" y="528"/>
                  </a:cubicBezTo>
                  <a:cubicBezTo>
                    <a:pt x="985" y="528"/>
                    <a:pt x="984" y="528"/>
                    <a:pt x="983" y="528"/>
                  </a:cubicBezTo>
                  <a:moveTo>
                    <a:pt x="989" y="529"/>
                  </a:moveTo>
                  <a:cubicBezTo>
                    <a:pt x="990" y="529"/>
                    <a:pt x="990" y="529"/>
                    <a:pt x="991" y="530"/>
                  </a:cubicBezTo>
                  <a:cubicBezTo>
                    <a:pt x="992" y="530"/>
                    <a:pt x="992" y="529"/>
                    <a:pt x="992" y="529"/>
                  </a:cubicBezTo>
                  <a:cubicBezTo>
                    <a:pt x="991" y="529"/>
                    <a:pt x="990" y="529"/>
                    <a:pt x="989" y="529"/>
                  </a:cubicBezTo>
                  <a:moveTo>
                    <a:pt x="994" y="529"/>
                  </a:moveTo>
                  <a:cubicBezTo>
                    <a:pt x="994" y="530"/>
                    <a:pt x="993" y="530"/>
                    <a:pt x="993" y="530"/>
                  </a:cubicBezTo>
                  <a:cubicBezTo>
                    <a:pt x="996" y="531"/>
                    <a:pt x="1000" y="531"/>
                    <a:pt x="1003" y="532"/>
                  </a:cubicBezTo>
                  <a:cubicBezTo>
                    <a:pt x="1004" y="532"/>
                    <a:pt x="1004" y="531"/>
                    <a:pt x="1004" y="531"/>
                  </a:cubicBezTo>
                  <a:cubicBezTo>
                    <a:pt x="1004" y="531"/>
                    <a:pt x="1004" y="531"/>
                    <a:pt x="1004" y="531"/>
                  </a:cubicBezTo>
                  <a:cubicBezTo>
                    <a:pt x="1001" y="531"/>
                    <a:pt x="997" y="530"/>
                    <a:pt x="994" y="529"/>
                  </a:cubicBezTo>
                  <a:moveTo>
                    <a:pt x="1006" y="532"/>
                  </a:moveTo>
                  <a:cubicBezTo>
                    <a:pt x="1006" y="532"/>
                    <a:pt x="1005" y="532"/>
                    <a:pt x="1005" y="532"/>
                  </a:cubicBezTo>
                  <a:cubicBezTo>
                    <a:pt x="1008" y="532"/>
                    <a:pt x="1011" y="533"/>
                    <a:pt x="1014" y="533"/>
                  </a:cubicBezTo>
                  <a:cubicBezTo>
                    <a:pt x="1014" y="533"/>
                    <a:pt x="1014" y="533"/>
                    <a:pt x="1014" y="533"/>
                  </a:cubicBezTo>
                  <a:cubicBezTo>
                    <a:pt x="1011" y="532"/>
                    <a:pt x="1009" y="532"/>
                    <a:pt x="1006" y="532"/>
                  </a:cubicBezTo>
                  <a:moveTo>
                    <a:pt x="1019" y="533"/>
                  </a:moveTo>
                  <a:cubicBezTo>
                    <a:pt x="1021" y="533"/>
                    <a:pt x="1022" y="533"/>
                    <a:pt x="1024" y="533"/>
                  </a:cubicBezTo>
                  <a:cubicBezTo>
                    <a:pt x="1024" y="533"/>
                    <a:pt x="1024" y="533"/>
                    <a:pt x="1024" y="533"/>
                  </a:cubicBezTo>
                  <a:cubicBezTo>
                    <a:pt x="1022" y="533"/>
                    <a:pt x="1021" y="533"/>
                    <a:pt x="1019" y="533"/>
                  </a:cubicBezTo>
                  <a:moveTo>
                    <a:pt x="1016" y="533"/>
                  </a:moveTo>
                  <a:cubicBezTo>
                    <a:pt x="1016" y="533"/>
                    <a:pt x="1015" y="533"/>
                    <a:pt x="1015" y="533"/>
                  </a:cubicBezTo>
                  <a:cubicBezTo>
                    <a:pt x="1017" y="533"/>
                    <a:pt x="1018" y="534"/>
                    <a:pt x="1019" y="534"/>
                  </a:cubicBezTo>
                  <a:cubicBezTo>
                    <a:pt x="1018" y="534"/>
                    <a:pt x="1017" y="533"/>
                    <a:pt x="1016" y="533"/>
                  </a:cubicBezTo>
                  <a:moveTo>
                    <a:pt x="1026" y="534"/>
                  </a:moveTo>
                  <a:cubicBezTo>
                    <a:pt x="1026" y="534"/>
                    <a:pt x="1026" y="534"/>
                    <a:pt x="1026" y="534"/>
                  </a:cubicBezTo>
                  <a:cubicBezTo>
                    <a:pt x="1027" y="534"/>
                    <a:pt x="1028" y="534"/>
                    <a:pt x="1029" y="534"/>
                  </a:cubicBezTo>
                  <a:cubicBezTo>
                    <a:pt x="1029" y="534"/>
                    <a:pt x="1029" y="534"/>
                    <a:pt x="1029" y="534"/>
                  </a:cubicBezTo>
                  <a:cubicBezTo>
                    <a:pt x="1028" y="534"/>
                    <a:pt x="1027" y="534"/>
                    <a:pt x="1026" y="534"/>
                  </a:cubicBezTo>
                  <a:moveTo>
                    <a:pt x="1031" y="534"/>
                  </a:moveTo>
                  <a:cubicBezTo>
                    <a:pt x="1031" y="534"/>
                    <a:pt x="1031" y="534"/>
                    <a:pt x="1031" y="535"/>
                  </a:cubicBezTo>
                  <a:cubicBezTo>
                    <a:pt x="1031" y="535"/>
                    <a:pt x="1031" y="535"/>
                    <a:pt x="1032" y="535"/>
                  </a:cubicBezTo>
                  <a:cubicBezTo>
                    <a:pt x="1032" y="535"/>
                    <a:pt x="1032" y="535"/>
                    <a:pt x="1032" y="534"/>
                  </a:cubicBezTo>
                  <a:cubicBezTo>
                    <a:pt x="1032" y="534"/>
                    <a:pt x="1031" y="534"/>
                    <a:pt x="1031" y="534"/>
                  </a:cubicBezTo>
                  <a:moveTo>
                    <a:pt x="1034" y="535"/>
                  </a:moveTo>
                  <a:cubicBezTo>
                    <a:pt x="1034" y="535"/>
                    <a:pt x="1034" y="535"/>
                    <a:pt x="1033" y="535"/>
                  </a:cubicBezTo>
                  <a:cubicBezTo>
                    <a:pt x="1040" y="536"/>
                    <a:pt x="1047" y="537"/>
                    <a:pt x="1053" y="538"/>
                  </a:cubicBezTo>
                  <a:cubicBezTo>
                    <a:pt x="1053" y="538"/>
                    <a:pt x="1052" y="538"/>
                    <a:pt x="1052" y="537"/>
                  </a:cubicBezTo>
                  <a:cubicBezTo>
                    <a:pt x="1046" y="537"/>
                    <a:pt x="1041" y="536"/>
                    <a:pt x="1035" y="535"/>
                  </a:cubicBezTo>
                  <a:cubicBezTo>
                    <a:pt x="1035" y="535"/>
                    <a:pt x="1034" y="535"/>
                    <a:pt x="1034" y="535"/>
                  </a:cubicBezTo>
                  <a:moveTo>
                    <a:pt x="1629" y="535"/>
                  </a:moveTo>
                  <a:cubicBezTo>
                    <a:pt x="1629" y="536"/>
                    <a:pt x="1629" y="536"/>
                    <a:pt x="1630" y="537"/>
                  </a:cubicBezTo>
                  <a:cubicBezTo>
                    <a:pt x="1644" y="540"/>
                    <a:pt x="1655" y="540"/>
                    <a:pt x="1662" y="540"/>
                  </a:cubicBezTo>
                  <a:cubicBezTo>
                    <a:pt x="1662" y="540"/>
                    <a:pt x="1663" y="540"/>
                    <a:pt x="1663" y="540"/>
                  </a:cubicBezTo>
                  <a:cubicBezTo>
                    <a:pt x="1659" y="541"/>
                    <a:pt x="1650" y="543"/>
                    <a:pt x="1636" y="548"/>
                  </a:cubicBezTo>
                  <a:cubicBezTo>
                    <a:pt x="1637" y="548"/>
                    <a:pt x="1637" y="548"/>
                    <a:pt x="1637" y="548"/>
                  </a:cubicBezTo>
                  <a:cubicBezTo>
                    <a:pt x="1644" y="546"/>
                    <a:pt x="1649" y="545"/>
                    <a:pt x="1653" y="544"/>
                  </a:cubicBezTo>
                  <a:cubicBezTo>
                    <a:pt x="1658" y="542"/>
                    <a:pt x="1662" y="542"/>
                    <a:pt x="1664" y="541"/>
                  </a:cubicBezTo>
                  <a:cubicBezTo>
                    <a:pt x="1665" y="541"/>
                    <a:pt x="1666" y="541"/>
                    <a:pt x="1666" y="540"/>
                  </a:cubicBezTo>
                  <a:cubicBezTo>
                    <a:pt x="1667" y="540"/>
                    <a:pt x="1667" y="541"/>
                    <a:pt x="1667" y="540"/>
                  </a:cubicBezTo>
                  <a:cubicBezTo>
                    <a:pt x="1667" y="539"/>
                    <a:pt x="1667" y="539"/>
                    <a:pt x="1667" y="539"/>
                  </a:cubicBezTo>
                  <a:cubicBezTo>
                    <a:pt x="1667" y="539"/>
                    <a:pt x="1667" y="539"/>
                    <a:pt x="1666" y="539"/>
                  </a:cubicBezTo>
                  <a:cubicBezTo>
                    <a:pt x="1665" y="539"/>
                    <a:pt x="1664" y="539"/>
                    <a:pt x="1662" y="539"/>
                  </a:cubicBezTo>
                  <a:cubicBezTo>
                    <a:pt x="1655" y="539"/>
                    <a:pt x="1644" y="539"/>
                    <a:pt x="1629" y="535"/>
                  </a:cubicBezTo>
                  <a:moveTo>
                    <a:pt x="1056" y="538"/>
                  </a:moveTo>
                  <a:cubicBezTo>
                    <a:pt x="1056" y="538"/>
                    <a:pt x="1056" y="538"/>
                    <a:pt x="1057" y="538"/>
                  </a:cubicBezTo>
                  <a:cubicBezTo>
                    <a:pt x="1059" y="538"/>
                    <a:pt x="1061" y="539"/>
                    <a:pt x="1063" y="539"/>
                  </a:cubicBezTo>
                  <a:cubicBezTo>
                    <a:pt x="1061" y="539"/>
                    <a:pt x="1058" y="538"/>
                    <a:pt x="1056" y="538"/>
                  </a:cubicBezTo>
                  <a:moveTo>
                    <a:pt x="1063" y="538"/>
                  </a:moveTo>
                  <a:cubicBezTo>
                    <a:pt x="1074" y="539"/>
                    <a:pt x="1084" y="541"/>
                    <a:pt x="1094" y="542"/>
                  </a:cubicBezTo>
                  <a:cubicBezTo>
                    <a:pt x="1120" y="544"/>
                    <a:pt x="1143" y="546"/>
                    <a:pt x="1165" y="546"/>
                  </a:cubicBezTo>
                  <a:cubicBezTo>
                    <a:pt x="1166" y="546"/>
                    <a:pt x="1167" y="547"/>
                    <a:pt x="1168" y="547"/>
                  </a:cubicBezTo>
                  <a:cubicBezTo>
                    <a:pt x="1169" y="547"/>
                    <a:pt x="1171" y="547"/>
                    <a:pt x="1172" y="547"/>
                  </a:cubicBezTo>
                  <a:cubicBezTo>
                    <a:pt x="1171" y="547"/>
                    <a:pt x="1171" y="546"/>
                    <a:pt x="1170" y="546"/>
                  </a:cubicBezTo>
                  <a:cubicBezTo>
                    <a:pt x="1140" y="545"/>
                    <a:pt x="1107" y="543"/>
                    <a:pt x="1070" y="539"/>
                  </a:cubicBezTo>
                  <a:cubicBezTo>
                    <a:pt x="1068" y="538"/>
                    <a:pt x="1066" y="538"/>
                    <a:pt x="1063" y="538"/>
                  </a:cubicBezTo>
                  <a:moveTo>
                    <a:pt x="1294" y="546"/>
                  </a:moveTo>
                  <a:cubicBezTo>
                    <a:pt x="1289" y="546"/>
                    <a:pt x="1283" y="546"/>
                    <a:pt x="1277" y="547"/>
                  </a:cubicBezTo>
                  <a:cubicBezTo>
                    <a:pt x="1278" y="547"/>
                    <a:pt x="1279" y="547"/>
                    <a:pt x="1279" y="547"/>
                  </a:cubicBezTo>
                  <a:cubicBezTo>
                    <a:pt x="1284" y="547"/>
                    <a:pt x="1288" y="547"/>
                    <a:pt x="1291" y="547"/>
                  </a:cubicBezTo>
                  <a:cubicBezTo>
                    <a:pt x="1297" y="547"/>
                    <a:pt x="1301" y="547"/>
                    <a:pt x="1304" y="547"/>
                  </a:cubicBezTo>
                  <a:cubicBezTo>
                    <a:pt x="1306" y="548"/>
                    <a:pt x="1307" y="549"/>
                    <a:pt x="1307" y="549"/>
                  </a:cubicBezTo>
                  <a:cubicBezTo>
                    <a:pt x="1307" y="549"/>
                    <a:pt x="1307" y="549"/>
                    <a:pt x="1307" y="550"/>
                  </a:cubicBezTo>
                  <a:cubicBezTo>
                    <a:pt x="1307" y="550"/>
                    <a:pt x="1308" y="550"/>
                    <a:pt x="1308" y="550"/>
                  </a:cubicBezTo>
                  <a:cubicBezTo>
                    <a:pt x="1308" y="549"/>
                    <a:pt x="1308" y="549"/>
                    <a:pt x="1308" y="549"/>
                  </a:cubicBezTo>
                  <a:cubicBezTo>
                    <a:pt x="1308" y="546"/>
                    <a:pt x="1303" y="546"/>
                    <a:pt x="1294" y="546"/>
                  </a:cubicBezTo>
                  <a:moveTo>
                    <a:pt x="1174" y="546"/>
                  </a:moveTo>
                  <a:cubicBezTo>
                    <a:pt x="1174" y="546"/>
                    <a:pt x="1175" y="547"/>
                    <a:pt x="1175" y="547"/>
                  </a:cubicBezTo>
                  <a:cubicBezTo>
                    <a:pt x="1175" y="547"/>
                    <a:pt x="1175" y="547"/>
                    <a:pt x="1175" y="547"/>
                  </a:cubicBezTo>
                  <a:cubicBezTo>
                    <a:pt x="1176" y="547"/>
                    <a:pt x="1177" y="547"/>
                    <a:pt x="1177" y="547"/>
                  </a:cubicBezTo>
                  <a:cubicBezTo>
                    <a:pt x="1195" y="547"/>
                    <a:pt x="1210" y="548"/>
                    <a:pt x="1224" y="548"/>
                  </a:cubicBezTo>
                  <a:cubicBezTo>
                    <a:pt x="1224" y="548"/>
                    <a:pt x="1224" y="547"/>
                    <a:pt x="1223" y="547"/>
                  </a:cubicBezTo>
                  <a:cubicBezTo>
                    <a:pt x="1208" y="547"/>
                    <a:pt x="1191" y="547"/>
                    <a:pt x="1174" y="546"/>
                  </a:cubicBezTo>
                  <a:moveTo>
                    <a:pt x="1274" y="547"/>
                  </a:moveTo>
                  <a:cubicBezTo>
                    <a:pt x="1273" y="547"/>
                    <a:pt x="1272" y="547"/>
                    <a:pt x="1271" y="547"/>
                  </a:cubicBezTo>
                  <a:cubicBezTo>
                    <a:pt x="1271" y="547"/>
                    <a:pt x="1271" y="547"/>
                    <a:pt x="1272" y="547"/>
                  </a:cubicBezTo>
                  <a:cubicBezTo>
                    <a:pt x="1273" y="547"/>
                    <a:pt x="1275" y="547"/>
                    <a:pt x="1276" y="547"/>
                  </a:cubicBezTo>
                  <a:cubicBezTo>
                    <a:pt x="1275" y="547"/>
                    <a:pt x="1275" y="547"/>
                    <a:pt x="1274" y="547"/>
                  </a:cubicBezTo>
                  <a:moveTo>
                    <a:pt x="1268" y="547"/>
                  </a:moveTo>
                  <a:cubicBezTo>
                    <a:pt x="1267" y="547"/>
                    <a:pt x="1266" y="547"/>
                    <a:pt x="1264" y="547"/>
                  </a:cubicBezTo>
                  <a:cubicBezTo>
                    <a:pt x="1265" y="547"/>
                    <a:pt x="1265" y="547"/>
                    <a:pt x="1266" y="547"/>
                  </a:cubicBezTo>
                  <a:cubicBezTo>
                    <a:pt x="1266" y="547"/>
                    <a:pt x="1267" y="547"/>
                    <a:pt x="1267" y="547"/>
                  </a:cubicBezTo>
                  <a:cubicBezTo>
                    <a:pt x="1268" y="547"/>
                    <a:pt x="1268" y="547"/>
                    <a:pt x="1269" y="547"/>
                  </a:cubicBezTo>
                  <a:cubicBezTo>
                    <a:pt x="1269" y="547"/>
                    <a:pt x="1268" y="547"/>
                    <a:pt x="1268" y="547"/>
                  </a:cubicBezTo>
                  <a:moveTo>
                    <a:pt x="1259" y="547"/>
                  </a:moveTo>
                  <a:cubicBezTo>
                    <a:pt x="1250" y="547"/>
                    <a:pt x="1240" y="547"/>
                    <a:pt x="1230" y="547"/>
                  </a:cubicBezTo>
                  <a:cubicBezTo>
                    <a:pt x="1229" y="547"/>
                    <a:pt x="1227" y="547"/>
                    <a:pt x="1226" y="547"/>
                  </a:cubicBezTo>
                  <a:cubicBezTo>
                    <a:pt x="1226" y="547"/>
                    <a:pt x="1227" y="548"/>
                    <a:pt x="1227" y="548"/>
                  </a:cubicBezTo>
                  <a:cubicBezTo>
                    <a:pt x="1228" y="548"/>
                    <a:pt x="1228" y="548"/>
                    <a:pt x="1229" y="548"/>
                  </a:cubicBezTo>
                  <a:cubicBezTo>
                    <a:pt x="1240" y="548"/>
                    <a:pt x="1251" y="548"/>
                    <a:pt x="1260" y="547"/>
                  </a:cubicBezTo>
                  <a:cubicBezTo>
                    <a:pt x="1259" y="547"/>
                    <a:pt x="1259" y="547"/>
                    <a:pt x="1259" y="547"/>
                  </a:cubicBezTo>
                  <a:moveTo>
                    <a:pt x="1635" y="548"/>
                  </a:moveTo>
                  <a:cubicBezTo>
                    <a:pt x="1625" y="551"/>
                    <a:pt x="1612" y="555"/>
                    <a:pt x="1596" y="561"/>
                  </a:cubicBezTo>
                  <a:cubicBezTo>
                    <a:pt x="1595" y="562"/>
                    <a:pt x="1595" y="562"/>
                    <a:pt x="1594" y="562"/>
                  </a:cubicBezTo>
                  <a:cubicBezTo>
                    <a:pt x="1582" y="566"/>
                    <a:pt x="1568" y="572"/>
                    <a:pt x="1551" y="578"/>
                  </a:cubicBezTo>
                  <a:cubicBezTo>
                    <a:pt x="1552" y="578"/>
                    <a:pt x="1552" y="579"/>
                    <a:pt x="1553" y="579"/>
                  </a:cubicBezTo>
                  <a:cubicBezTo>
                    <a:pt x="1569" y="572"/>
                    <a:pt x="1583" y="567"/>
                    <a:pt x="1596" y="562"/>
                  </a:cubicBezTo>
                  <a:cubicBezTo>
                    <a:pt x="1596" y="562"/>
                    <a:pt x="1596" y="562"/>
                    <a:pt x="1597" y="562"/>
                  </a:cubicBezTo>
                  <a:cubicBezTo>
                    <a:pt x="1601" y="561"/>
                    <a:pt x="1605" y="559"/>
                    <a:pt x="1608" y="558"/>
                  </a:cubicBezTo>
                  <a:cubicBezTo>
                    <a:pt x="1619" y="554"/>
                    <a:pt x="1628" y="551"/>
                    <a:pt x="1636" y="549"/>
                  </a:cubicBezTo>
                  <a:cubicBezTo>
                    <a:pt x="1636" y="548"/>
                    <a:pt x="1636" y="548"/>
                    <a:pt x="1635" y="548"/>
                  </a:cubicBezTo>
                  <a:moveTo>
                    <a:pt x="1307" y="551"/>
                  </a:moveTo>
                  <a:cubicBezTo>
                    <a:pt x="1306" y="551"/>
                    <a:pt x="1305" y="551"/>
                    <a:pt x="1305" y="551"/>
                  </a:cubicBezTo>
                  <a:cubicBezTo>
                    <a:pt x="1304" y="552"/>
                    <a:pt x="1303" y="552"/>
                    <a:pt x="1302" y="553"/>
                  </a:cubicBezTo>
                  <a:cubicBezTo>
                    <a:pt x="1303" y="553"/>
                    <a:pt x="1303" y="553"/>
                    <a:pt x="1304" y="553"/>
                  </a:cubicBezTo>
                  <a:cubicBezTo>
                    <a:pt x="1305" y="553"/>
                    <a:pt x="1306" y="552"/>
                    <a:pt x="1307" y="551"/>
                  </a:cubicBezTo>
                  <a:moveTo>
                    <a:pt x="1301" y="554"/>
                  </a:moveTo>
                  <a:cubicBezTo>
                    <a:pt x="1299" y="554"/>
                    <a:pt x="1297" y="555"/>
                    <a:pt x="1295" y="556"/>
                  </a:cubicBezTo>
                  <a:cubicBezTo>
                    <a:pt x="1296" y="557"/>
                    <a:pt x="1296" y="557"/>
                    <a:pt x="1296" y="557"/>
                  </a:cubicBezTo>
                  <a:cubicBezTo>
                    <a:pt x="1299" y="556"/>
                    <a:pt x="1301" y="555"/>
                    <a:pt x="1302" y="554"/>
                  </a:cubicBezTo>
                  <a:cubicBezTo>
                    <a:pt x="1302" y="554"/>
                    <a:pt x="1301" y="554"/>
                    <a:pt x="1301" y="554"/>
                  </a:cubicBezTo>
                  <a:moveTo>
                    <a:pt x="1294" y="557"/>
                  </a:moveTo>
                  <a:cubicBezTo>
                    <a:pt x="1293" y="557"/>
                    <a:pt x="1293" y="557"/>
                    <a:pt x="1293" y="558"/>
                  </a:cubicBezTo>
                  <a:cubicBezTo>
                    <a:pt x="1293" y="558"/>
                    <a:pt x="1294" y="558"/>
                    <a:pt x="1294" y="558"/>
                  </a:cubicBezTo>
                  <a:cubicBezTo>
                    <a:pt x="1294" y="558"/>
                    <a:pt x="1295" y="558"/>
                    <a:pt x="1295" y="558"/>
                  </a:cubicBezTo>
                  <a:cubicBezTo>
                    <a:pt x="1295" y="557"/>
                    <a:pt x="1294" y="557"/>
                    <a:pt x="1294" y="557"/>
                  </a:cubicBezTo>
                  <a:moveTo>
                    <a:pt x="1291" y="558"/>
                  </a:moveTo>
                  <a:cubicBezTo>
                    <a:pt x="1291" y="559"/>
                    <a:pt x="1290" y="559"/>
                    <a:pt x="1289" y="559"/>
                  </a:cubicBezTo>
                  <a:cubicBezTo>
                    <a:pt x="1286" y="561"/>
                    <a:pt x="1282" y="563"/>
                    <a:pt x="1277" y="566"/>
                  </a:cubicBezTo>
                  <a:cubicBezTo>
                    <a:pt x="1278" y="566"/>
                    <a:pt x="1278" y="566"/>
                    <a:pt x="1279" y="566"/>
                  </a:cubicBezTo>
                  <a:cubicBezTo>
                    <a:pt x="1283" y="564"/>
                    <a:pt x="1287" y="562"/>
                    <a:pt x="1290" y="560"/>
                  </a:cubicBezTo>
                  <a:cubicBezTo>
                    <a:pt x="1291" y="560"/>
                    <a:pt x="1292" y="559"/>
                    <a:pt x="1292" y="559"/>
                  </a:cubicBezTo>
                  <a:cubicBezTo>
                    <a:pt x="1292" y="559"/>
                    <a:pt x="1292" y="559"/>
                    <a:pt x="1291" y="558"/>
                  </a:cubicBezTo>
                  <a:moveTo>
                    <a:pt x="1276" y="567"/>
                  </a:moveTo>
                  <a:cubicBezTo>
                    <a:pt x="1272" y="570"/>
                    <a:pt x="1268" y="573"/>
                    <a:pt x="1263" y="577"/>
                  </a:cubicBezTo>
                  <a:cubicBezTo>
                    <a:pt x="1263" y="577"/>
                    <a:pt x="1263" y="577"/>
                    <a:pt x="1264" y="577"/>
                  </a:cubicBezTo>
                  <a:cubicBezTo>
                    <a:pt x="1269" y="573"/>
                    <a:pt x="1273" y="570"/>
                    <a:pt x="1278" y="567"/>
                  </a:cubicBezTo>
                  <a:cubicBezTo>
                    <a:pt x="1277" y="567"/>
                    <a:pt x="1277" y="567"/>
                    <a:pt x="1276" y="567"/>
                  </a:cubicBezTo>
                  <a:moveTo>
                    <a:pt x="1262" y="578"/>
                  </a:moveTo>
                  <a:cubicBezTo>
                    <a:pt x="1253" y="585"/>
                    <a:pt x="1244" y="593"/>
                    <a:pt x="1235" y="602"/>
                  </a:cubicBezTo>
                  <a:cubicBezTo>
                    <a:pt x="1236" y="602"/>
                    <a:pt x="1236" y="602"/>
                    <a:pt x="1236" y="602"/>
                  </a:cubicBezTo>
                  <a:cubicBezTo>
                    <a:pt x="1245" y="593"/>
                    <a:pt x="1255" y="585"/>
                    <a:pt x="1263" y="578"/>
                  </a:cubicBezTo>
                  <a:cubicBezTo>
                    <a:pt x="1263" y="578"/>
                    <a:pt x="1262" y="578"/>
                    <a:pt x="1262" y="578"/>
                  </a:cubicBezTo>
                  <a:moveTo>
                    <a:pt x="1550" y="579"/>
                  </a:moveTo>
                  <a:cubicBezTo>
                    <a:pt x="1549" y="579"/>
                    <a:pt x="1548" y="580"/>
                    <a:pt x="1546" y="580"/>
                  </a:cubicBezTo>
                  <a:cubicBezTo>
                    <a:pt x="1546" y="580"/>
                    <a:pt x="1546" y="581"/>
                    <a:pt x="1545" y="581"/>
                  </a:cubicBezTo>
                  <a:cubicBezTo>
                    <a:pt x="1545" y="581"/>
                    <a:pt x="1544" y="581"/>
                    <a:pt x="1543" y="582"/>
                  </a:cubicBezTo>
                  <a:cubicBezTo>
                    <a:pt x="1544" y="582"/>
                    <a:pt x="1545" y="582"/>
                    <a:pt x="1546" y="582"/>
                  </a:cubicBezTo>
                  <a:cubicBezTo>
                    <a:pt x="1546" y="582"/>
                    <a:pt x="1546" y="581"/>
                    <a:pt x="1546" y="581"/>
                  </a:cubicBezTo>
                  <a:cubicBezTo>
                    <a:pt x="1547" y="581"/>
                    <a:pt x="1547" y="581"/>
                    <a:pt x="1547" y="581"/>
                  </a:cubicBezTo>
                  <a:cubicBezTo>
                    <a:pt x="1549" y="580"/>
                    <a:pt x="1550" y="580"/>
                    <a:pt x="1551" y="579"/>
                  </a:cubicBezTo>
                  <a:cubicBezTo>
                    <a:pt x="1551" y="579"/>
                    <a:pt x="1550" y="579"/>
                    <a:pt x="1550" y="579"/>
                  </a:cubicBezTo>
                  <a:moveTo>
                    <a:pt x="1541" y="582"/>
                  </a:moveTo>
                  <a:cubicBezTo>
                    <a:pt x="1536" y="584"/>
                    <a:pt x="1531" y="587"/>
                    <a:pt x="1526" y="589"/>
                  </a:cubicBezTo>
                  <a:cubicBezTo>
                    <a:pt x="1527" y="589"/>
                    <a:pt x="1528" y="589"/>
                    <a:pt x="1529" y="588"/>
                  </a:cubicBezTo>
                  <a:cubicBezTo>
                    <a:pt x="1533" y="587"/>
                    <a:pt x="1537" y="585"/>
                    <a:pt x="1541" y="583"/>
                  </a:cubicBezTo>
                  <a:cubicBezTo>
                    <a:pt x="1541" y="583"/>
                    <a:pt x="1541" y="583"/>
                    <a:pt x="1542" y="582"/>
                  </a:cubicBezTo>
                  <a:cubicBezTo>
                    <a:pt x="1541" y="582"/>
                    <a:pt x="1541" y="582"/>
                    <a:pt x="1541" y="582"/>
                  </a:cubicBezTo>
                  <a:moveTo>
                    <a:pt x="1543" y="582"/>
                  </a:moveTo>
                  <a:cubicBezTo>
                    <a:pt x="1543" y="583"/>
                    <a:pt x="1543" y="583"/>
                    <a:pt x="1542" y="583"/>
                  </a:cubicBezTo>
                  <a:cubicBezTo>
                    <a:pt x="1543" y="583"/>
                    <a:pt x="1543" y="583"/>
                    <a:pt x="1543" y="583"/>
                  </a:cubicBezTo>
                  <a:cubicBezTo>
                    <a:pt x="1543" y="583"/>
                    <a:pt x="1543" y="582"/>
                    <a:pt x="1543" y="582"/>
                  </a:cubicBezTo>
                  <a:moveTo>
                    <a:pt x="1526" y="590"/>
                  </a:moveTo>
                  <a:cubicBezTo>
                    <a:pt x="1525" y="590"/>
                    <a:pt x="1524" y="590"/>
                    <a:pt x="1523" y="590"/>
                  </a:cubicBezTo>
                  <a:cubicBezTo>
                    <a:pt x="1515" y="593"/>
                    <a:pt x="1507" y="596"/>
                    <a:pt x="1499" y="600"/>
                  </a:cubicBezTo>
                  <a:cubicBezTo>
                    <a:pt x="1500" y="600"/>
                    <a:pt x="1501" y="600"/>
                    <a:pt x="1502" y="600"/>
                  </a:cubicBezTo>
                  <a:cubicBezTo>
                    <a:pt x="1510" y="596"/>
                    <a:pt x="1518" y="593"/>
                    <a:pt x="1526" y="590"/>
                  </a:cubicBezTo>
                  <a:moveTo>
                    <a:pt x="1499" y="601"/>
                  </a:moveTo>
                  <a:cubicBezTo>
                    <a:pt x="1499" y="601"/>
                    <a:pt x="1498" y="601"/>
                    <a:pt x="1497" y="601"/>
                  </a:cubicBezTo>
                  <a:cubicBezTo>
                    <a:pt x="1497" y="601"/>
                    <a:pt x="1497" y="601"/>
                    <a:pt x="1497" y="601"/>
                  </a:cubicBezTo>
                  <a:cubicBezTo>
                    <a:pt x="1496" y="601"/>
                    <a:pt x="1496" y="601"/>
                    <a:pt x="1496" y="601"/>
                  </a:cubicBezTo>
                  <a:cubicBezTo>
                    <a:pt x="1495" y="602"/>
                    <a:pt x="1495" y="602"/>
                    <a:pt x="1495" y="602"/>
                  </a:cubicBezTo>
                  <a:cubicBezTo>
                    <a:pt x="1492" y="603"/>
                    <a:pt x="1489" y="604"/>
                    <a:pt x="1487" y="605"/>
                  </a:cubicBezTo>
                  <a:cubicBezTo>
                    <a:pt x="1488" y="605"/>
                    <a:pt x="1490" y="605"/>
                    <a:pt x="1491" y="604"/>
                  </a:cubicBezTo>
                  <a:cubicBezTo>
                    <a:pt x="1493" y="604"/>
                    <a:pt x="1494" y="603"/>
                    <a:pt x="1496" y="603"/>
                  </a:cubicBezTo>
                  <a:cubicBezTo>
                    <a:pt x="1496" y="602"/>
                    <a:pt x="1496" y="602"/>
                    <a:pt x="1497" y="602"/>
                  </a:cubicBezTo>
                  <a:cubicBezTo>
                    <a:pt x="1497" y="602"/>
                    <a:pt x="1498" y="601"/>
                    <a:pt x="1499" y="601"/>
                  </a:cubicBezTo>
                  <a:moveTo>
                    <a:pt x="1235" y="602"/>
                  </a:moveTo>
                  <a:cubicBezTo>
                    <a:pt x="1230" y="606"/>
                    <a:pt x="1226" y="611"/>
                    <a:pt x="1222" y="615"/>
                  </a:cubicBezTo>
                  <a:cubicBezTo>
                    <a:pt x="1223" y="615"/>
                    <a:pt x="1223" y="615"/>
                    <a:pt x="1223" y="615"/>
                  </a:cubicBezTo>
                  <a:cubicBezTo>
                    <a:pt x="1227" y="611"/>
                    <a:pt x="1232" y="607"/>
                    <a:pt x="1236" y="603"/>
                  </a:cubicBezTo>
                  <a:cubicBezTo>
                    <a:pt x="1235" y="603"/>
                    <a:pt x="1235" y="602"/>
                    <a:pt x="1235" y="602"/>
                  </a:cubicBezTo>
                  <a:moveTo>
                    <a:pt x="1487" y="606"/>
                  </a:moveTo>
                  <a:cubicBezTo>
                    <a:pt x="1485" y="607"/>
                    <a:pt x="1484" y="607"/>
                    <a:pt x="1482" y="607"/>
                  </a:cubicBezTo>
                  <a:cubicBezTo>
                    <a:pt x="1478" y="609"/>
                    <a:pt x="1475" y="611"/>
                    <a:pt x="1471" y="612"/>
                  </a:cubicBezTo>
                  <a:cubicBezTo>
                    <a:pt x="1472" y="612"/>
                    <a:pt x="1472" y="612"/>
                    <a:pt x="1473" y="612"/>
                  </a:cubicBezTo>
                  <a:cubicBezTo>
                    <a:pt x="1478" y="610"/>
                    <a:pt x="1482" y="608"/>
                    <a:pt x="1487" y="606"/>
                  </a:cubicBezTo>
                  <a:moveTo>
                    <a:pt x="1470" y="613"/>
                  </a:moveTo>
                  <a:cubicBezTo>
                    <a:pt x="1468" y="614"/>
                    <a:pt x="1465" y="615"/>
                    <a:pt x="1463" y="616"/>
                  </a:cubicBezTo>
                  <a:cubicBezTo>
                    <a:pt x="1464" y="616"/>
                    <a:pt x="1464" y="616"/>
                    <a:pt x="1465" y="616"/>
                  </a:cubicBezTo>
                  <a:cubicBezTo>
                    <a:pt x="1467" y="615"/>
                    <a:pt x="1469" y="614"/>
                    <a:pt x="1471" y="613"/>
                  </a:cubicBezTo>
                  <a:cubicBezTo>
                    <a:pt x="1471" y="613"/>
                    <a:pt x="1470" y="613"/>
                    <a:pt x="1470" y="613"/>
                  </a:cubicBezTo>
                  <a:moveTo>
                    <a:pt x="1222" y="616"/>
                  </a:moveTo>
                  <a:cubicBezTo>
                    <a:pt x="1218" y="619"/>
                    <a:pt x="1215" y="623"/>
                    <a:pt x="1212" y="627"/>
                  </a:cubicBezTo>
                  <a:cubicBezTo>
                    <a:pt x="1212" y="627"/>
                    <a:pt x="1212" y="627"/>
                    <a:pt x="1213" y="627"/>
                  </a:cubicBezTo>
                  <a:cubicBezTo>
                    <a:pt x="1216" y="623"/>
                    <a:pt x="1219" y="620"/>
                    <a:pt x="1223" y="616"/>
                  </a:cubicBezTo>
                  <a:cubicBezTo>
                    <a:pt x="1222" y="616"/>
                    <a:pt x="1222" y="616"/>
                    <a:pt x="1222" y="616"/>
                  </a:cubicBezTo>
                  <a:moveTo>
                    <a:pt x="1462" y="616"/>
                  </a:moveTo>
                  <a:cubicBezTo>
                    <a:pt x="1461" y="617"/>
                    <a:pt x="1461" y="617"/>
                    <a:pt x="1460" y="617"/>
                  </a:cubicBezTo>
                  <a:cubicBezTo>
                    <a:pt x="1460" y="617"/>
                    <a:pt x="1461" y="617"/>
                    <a:pt x="1461" y="618"/>
                  </a:cubicBezTo>
                  <a:cubicBezTo>
                    <a:pt x="1462" y="617"/>
                    <a:pt x="1463" y="617"/>
                    <a:pt x="1463" y="617"/>
                  </a:cubicBezTo>
                  <a:cubicBezTo>
                    <a:pt x="1463" y="617"/>
                    <a:pt x="1462" y="617"/>
                    <a:pt x="1462" y="616"/>
                  </a:cubicBezTo>
                  <a:moveTo>
                    <a:pt x="1459" y="618"/>
                  </a:moveTo>
                  <a:cubicBezTo>
                    <a:pt x="1458" y="618"/>
                    <a:pt x="1458" y="618"/>
                    <a:pt x="1457" y="619"/>
                  </a:cubicBezTo>
                  <a:cubicBezTo>
                    <a:pt x="1458" y="619"/>
                    <a:pt x="1458" y="619"/>
                    <a:pt x="1459" y="619"/>
                  </a:cubicBezTo>
                  <a:cubicBezTo>
                    <a:pt x="1459" y="619"/>
                    <a:pt x="1460" y="618"/>
                    <a:pt x="1460" y="618"/>
                  </a:cubicBezTo>
                  <a:cubicBezTo>
                    <a:pt x="1460" y="618"/>
                    <a:pt x="1459" y="618"/>
                    <a:pt x="1459" y="618"/>
                  </a:cubicBezTo>
                  <a:moveTo>
                    <a:pt x="1456" y="619"/>
                  </a:moveTo>
                  <a:cubicBezTo>
                    <a:pt x="1454" y="620"/>
                    <a:pt x="1453" y="620"/>
                    <a:pt x="1451" y="621"/>
                  </a:cubicBezTo>
                  <a:cubicBezTo>
                    <a:pt x="1451" y="621"/>
                    <a:pt x="1451" y="621"/>
                    <a:pt x="1451" y="621"/>
                  </a:cubicBezTo>
                  <a:cubicBezTo>
                    <a:pt x="1451" y="622"/>
                    <a:pt x="1452" y="622"/>
                    <a:pt x="1452" y="622"/>
                  </a:cubicBezTo>
                  <a:cubicBezTo>
                    <a:pt x="1454" y="621"/>
                    <a:pt x="1456" y="620"/>
                    <a:pt x="1457" y="620"/>
                  </a:cubicBezTo>
                  <a:cubicBezTo>
                    <a:pt x="1457" y="619"/>
                    <a:pt x="1456" y="619"/>
                    <a:pt x="1456" y="619"/>
                  </a:cubicBezTo>
                  <a:moveTo>
                    <a:pt x="1449" y="622"/>
                  </a:moveTo>
                  <a:cubicBezTo>
                    <a:pt x="1443" y="625"/>
                    <a:pt x="1437" y="628"/>
                    <a:pt x="1430" y="631"/>
                  </a:cubicBezTo>
                  <a:cubicBezTo>
                    <a:pt x="1433" y="630"/>
                    <a:pt x="1435" y="629"/>
                    <a:pt x="1437" y="629"/>
                  </a:cubicBezTo>
                  <a:cubicBezTo>
                    <a:pt x="1442" y="627"/>
                    <a:pt x="1446" y="625"/>
                    <a:pt x="1451" y="623"/>
                  </a:cubicBezTo>
                  <a:cubicBezTo>
                    <a:pt x="1450" y="622"/>
                    <a:pt x="1449" y="622"/>
                    <a:pt x="1449" y="622"/>
                  </a:cubicBezTo>
                  <a:moveTo>
                    <a:pt x="1211" y="628"/>
                  </a:moveTo>
                  <a:cubicBezTo>
                    <a:pt x="1208" y="631"/>
                    <a:pt x="1205" y="634"/>
                    <a:pt x="1203" y="637"/>
                  </a:cubicBezTo>
                  <a:cubicBezTo>
                    <a:pt x="1203" y="638"/>
                    <a:pt x="1204" y="638"/>
                    <a:pt x="1204" y="638"/>
                  </a:cubicBezTo>
                  <a:cubicBezTo>
                    <a:pt x="1206" y="634"/>
                    <a:pt x="1209" y="631"/>
                    <a:pt x="1212" y="628"/>
                  </a:cubicBezTo>
                  <a:cubicBezTo>
                    <a:pt x="1212" y="628"/>
                    <a:pt x="1211" y="628"/>
                    <a:pt x="1211" y="628"/>
                  </a:cubicBezTo>
                  <a:moveTo>
                    <a:pt x="1431" y="632"/>
                  </a:moveTo>
                  <a:cubicBezTo>
                    <a:pt x="1429" y="632"/>
                    <a:pt x="1426" y="633"/>
                    <a:pt x="1424" y="633"/>
                  </a:cubicBezTo>
                  <a:cubicBezTo>
                    <a:pt x="1422" y="635"/>
                    <a:pt x="1419" y="636"/>
                    <a:pt x="1417" y="637"/>
                  </a:cubicBezTo>
                  <a:cubicBezTo>
                    <a:pt x="1418" y="637"/>
                    <a:pt x="1418" y="637"/>
                    <a:pt x="1419" y="637"/>
                  </a:cubicBezTo>
                  <a:cubicBezTo>
                    <a:pt x="1423" y="635"/>
                    <a:pt x="1427" y="633"/>
                    <a:pt x="1431" y="632"/>
                  </a:cubicBezTo>
                  <a:moveTo>
                    <a:pt x="1415" y="638"/>
                  </a:moveTo>
                  <a:cubicBezTo>
                    <a:pt x="1413" y="639"/>
                    <a:pt x="1411" y="639"/>
                    <a:pt x="1409" y="640"/>
                  </a:cubicBezTo>
                  <a:cubicBezTo>
                    <a:pt x="1409" y="640"/>
                    <a:pt x="1409" y="641"/>
                    <a:pt x="1409" y="641"/>
                  </a:cubicBezTo>
                  <a:cubicBezTo>
                    <a:pt x="1405" y="642"/>
                    <a:pt x="1402" y="644"/>
                    <a:pt x="1398" y="646"/>
                  </a:cubicBezTo>
                  <a:cubicBezTo>
                    <a:pt x="1399" y="646"/>
                    <a:pt x="1400" y="646"/>
                    <a:pt x="1401" y="646"/>
                  </a:cubicBezTo>
                  <a:cubicBezTo>
                    <a:pt x="1404" y="644"/>
                    <a:pt x="1406" y="643"/>
                    <a:pt x="1409" y="642"/>
                  </a:cubicBezTo>
                  <a:cubicBezTo>
                    <a:pt x="1409" y="641"/>
                    <a:pt x="1410" y="641"/>
                    <a:pt x="1410" y="641"/>
                  </a:cubicBezTo>
                  <a:cubicBezTo>
                    <a:pt x="1412" y="640"/>
                    <a:pt x="1415" y="639"/>
                    <a:pt x="1417" y="638"/>
                  </a:cubicBezTo>
                  <a:cubicBezTo>
                    <a:pt x="1416" y="638"/>
                    <a:pt x="1416" y="638"/>
                    <a:pt x="1415" y="638"/>
                  </a:cubicBezTo>
                  <a:moveTo>
                    <a:pt x="1202" y="638"/>
                  </a:moveTo>
                  <a:cubicBezTo>
                    <a:pt x="1200" y="641"/>
                    <a:pt x="1197" y="644"/>
                    <a:pt x="1195" y="647"/>
                  </a:cubicBezTo>
                  <a:cubicBezTo>
                    <a:pt x="1196" y="647"/>
                    <a:pt x="1196" y="648"/>
                    <a:pt x="1196" y="648"/>
                  </a:cubicBezTo>
                  <a:cubicBezTo>
                    <a:pt x="1198" y="645"/>
                    <a:pt x="1201" y="642"/>
                    <a:pt x="1203" y="639"/>
                  </a:cubicBezTo>
                  <a:cubicBezTo>
                    <a:pt x="1203" y="638"/>
                    <a:pt x="1202" y="638"/>
                    <a:pt x="1202" y="638"/>
                  </a:cubicBezTo>
                  <a:moveTo>
                    <a:pt x="1397" y="646"/>
                  </a:moveTo>
                  <a:cubicBezTo>
                    <a:pt x="1396" y="647"/>
                    <a:pt x="1396" y="647"/>
                    <a:pt x="1396" y="647"/>
                  </a:cubicBezTo>
                  <a:cubicBezTo>
                    <a:pt x="1391" y="649"/>
                    <a:pt x="1386" y="651"/>
                    <a:pt x="1381" y="654"/>
                  </a:cubicBezTo>
                  <a:cubicBezTo>
                    <a:pt x="1382" y="654"/>
                    <a:pt x="1383" y="654"/>
                    <a:pt x="1384" y="654"/>
                  </a:cubicBezTo>
                  <a:cubicBezTo>
                    <a:pt x="1388" y="652"/>
                    <a:pt x="1392" y="650"/>
                    <a:pt x="1396" y="648"/>
                  </a:cubicBezTo>
                  <a:cubicBezTo>
                    <a:pt x="1397" y="647"/>
                    <a:pt x="1398" y="647"/>
                    <a:pt x="1399" y="647"/>
                  </a:cubicBezTo>
                  <a:cubicBezTo>
                    <a:pt x="1398" y="646"/>
                    <a:pt x="1397" y="646"/>
                    <a:pt x="1397" y="646"/>
                  </a:cubicBezTo>
                  <a:moveTo>
                    <a:pt x="1195" y="648"/>
                  </a:moveTo>
                  <a:cubicBezTo>
                    <a:pt x="1193" y="651"/>
                    <a:pt x="1191" y="653"/>
                    <a:pt x="1189" y="656"/>
                  </a:cubicBezTo>
                  <a:cubicBezTo>
                    <a:pt x="1190" y="656"/>
                    <a:pt x="1190" y="655"/>
                    <a:pt x="1191" y="655"/>
                  </a:cubicBezTo>
                  <a:cubicBezTo>
                    <a:pt x="1192" y="653"/>
                    <a:pt x="1194" y="651"/>
                    <a:pt x="1196" y="648"/>
                  </a:cubicBezTo>
                  <a:cubicBezTo>
                    <a:pt x="1195" y="648"/>
                    <a:pt x="1195" y="648"/>
                    <a:pt x="1195" y="648"/>
                  </a:cubicBezTo>
                  <a:moveTo>
                    <a:pt x="1379" y="655"/>
                  </a:moveTo>
                  <a:cubicBezTo>
                    <a:pt x="1374" y="657"/>
                    <a:pt x="1369" y="659"/>
                    <a:pt x="1364" y="661"/>
                  </a:cubicBezTo>
                  <a:cubicBezTo>
                    <a:pt x="1365" y="661"/>
                    <a:pt x="1365" y="661"/>
                    <a:pt x="1365" y="661"/>
                  </a:cubicBezTo>
                  <a:cubicBezTo>
                    <a:pt x="1367" y="661"/>
                    <a:pt x="1369" y="660"/>
                    <a:pt x="1372" y="659"/>
                  </a:cubicBezTo>
                  <a:cubicBezTo>
                    <a:pt x="1375" y="658"/>
                    <a:pt x="1378" y="656"/>
                    <a:pt x="1381" y="655"/>
                  </a:cubicBezTo>
                  <a:cubicBezTo>
                    <a:pt x="1381" y="655"/>
                    <a:pt x="1380" y="655"/>
                    <a:pt x="1379" y="655"/>
                  </a:cubicBezTo>
                  <a:moveTo>
                    <a:pt x="1190" y="657"/>
                  </a:moveTo>
                  <a:cubicBezTo>
                    <a:pt x="1190" y="657"/>
                    <a:pt x="1190" y="657"/>
                    <a:pt x="1189" y="657"/>
                  </a:cubicBezTo>
                  <a:cubicBezTo>
                    <a:pt x="1189" y="657"/>
                    <a:pt x="1190" y="657"/>
                    <a:pt x="1190" y="657"/>
                  </a:cubicBezTo>
                  <a:cubicBezTo>
                    <a:pt x="1190" y="657"/>
                    <a:pt x="1190" y="657"/>
                    <a:pt x="1190" y="657"/>
                  </a:cubicBezTo>
                  <a:moveTo>
                    <a:pt x="1188" y="658"/>
                  </a:moveTo>
                  <a:cubicBezTo>
                    <a:pt x="1186" y="660"/>
                    <a:pt x="1185" y="663"/>
                    <a:pt x="1183" y="666"/>
                  </a:cubicBezTo>
                  <a:cubicBezTo>
                    <a:pt x="1183" y="666"/>
                    <a:pt x="1184" y="666"/>
                    <a:pt x="1184" y="666"/>
                  </a:cubicBezTo>
                  <a:cubicBezTo>
                    <a:pt x="1186" y="663"/>
                    <a:pt x="1187" y="661"/>
                    <a:pt x="1189" y="658"/>
                  </a:cubicBezTo>
                  <a:cubicBezTo>
                    <a:pt x="1189" y="658"/>
                    <a:pt x="1188" y="658"/>
                    <a:pt x="1188" y="658"/>
                  </a:cubicBezTo>
                  <a:moveTo>
                    <a:pt x="1364" y="662"/>
                  </a:moveTo>
                  <a:cubicBezTo>
                    <a:pt x="1362" y="663"/>
                    <a:pt x="1359" y="664"/>
                    <a:pt x="1357" y="665"/>
                  </a:cubicBezTo>
                  <a:cubicBezTo>
                    <a:pt x="1354" y="666"/>
                    <a:pt x="1351" y="667"/>
                    <a:pt x="1348" y="669"/>
                  </a:cubicBezTo>
                  <a:cubicBezTo>
                    <a:pt x="1349" y="669"/>
                    <a:pt x="1350" y="669"/>
                    <a:pt x="1351" y="669"/>
                  </a:cubicBezTo>
                  <a:cubicBezTo>
                    <a:pt x="1355" y="667"/>
                    <a:pt x="1360" y="665"/>
                    <a:pt x="1364" y="662"/>
                  </a:cubicBezTo>
                  <a:moveTo>
                    <a:pt x="1183" y="667"/>
                  </a:moveTo>
                  <a:cubicBezTo>
                    <a:pt x="1181" y="669"/>
                    <a:pt x="1180" y="672"/>
                    <a:pt x="1179" y="674"/>
                  </a:cubicBezTo>
                  <a:cubicBezTo>
                    <a:pt x="1179" y="674"/>
                    <a:pt x="1180" y="674"/>
                    <a:pt x="1180" y="673"/>
                  </a:cubicBezTo>
                  <a:cubicBezTo>
                    <a:pt x="1181" y="671"/>
                    <a:pt x="1182" y="669"/>
                    <a:pt x="1184" y="667"/>
                  </a:cubicBezTo>
                  <a:cubicBezTo>
                    <a:pt x="1183" y="667"/>
                    <a:pt x="1183" y="667"/>
                    <a:pt x="1183" y="667"/>
                  </a:cubicBezTo>
                  <a:moveTo>
                    <a:pt x="1348" y="670"/>
                  </a:moveTo>
                  <a:cubicBezTo>
                    <a:pt x="1347" y="670"/>
                    <a:pt x="1347" y="670"/>
                    <a:pt x="1346" y="670"/>
                  </a:cubicBezTo>
                  <a:cubicBezTo>
                    <a:pt x="1341" y="672"/>
                    <a:pt x="1336" y="674"/>
                    <a:pt x="1332" y="676"/>
                  </a:cubicBezTo>
                  <a:cubicBezTo>
                    <a:pt x="1332" y="676"/>
                    <a:pt x="1333" y="676"/>
                    <a:pt x="1334" y="676"/>
                  </a:cubicBezTo>
                  <a:cubicBezTo>
                    <a:pt x="1339" y="674"/>
                    <a:pt x="1343" y="672"/>
                    <a:pt x="1348" y="670"/>
                  </a:cubicBezTo>
                  <a:moveTo>
                    <a:pt x="1180" y="675"/>
                  </a:moveTo>
                  <a:cubicBezTo>
                    <a:pt x="1179" y="675"/>
                    <a:pt x="1179" y="675"/>
                    <a:pt x="1179" y="675"/>
                  </a:cubicBezTo>
                  <a:cubicBezTo>
                    <a:pt x="1179" y="675"/>
                    <a:pt x="1179" y="675"/>
                    <a:pt x="1179" y="675"/>
                  </a:cubicBezTo>
                  <a:cubicBezTo>
                    <a:pt x="1179" y="675"/>
                    <a:pt x="1180" y="675"/>
                    <a:pt x="1180" y="675"/>
                  </a:cubicBezTo>
                  <a:moveTo>
                    <a:pt x="1178" y="676"/>
                  </a:moveTo>
                  <a:cubicBezTo>
                    <a:pt x="1177" y="679"/>
                    <a:pt x="1176" y="681"/>
                    <a:pt x="1175" y="684"/>
                  </a:cubicBezTo>
                  <a:cubicBezTo>
                    <a:pt x="1175" y="684"/>
                    <a:pt x="1176" y="684"/>
                    <a:pt x="1176" y="684"/>
                  </a:cubicBezTo>
                  <a:cubicBezTo>
                    <a:pt x="1177" y="682"/>
                    <a:pt x="1178" y="679"/>
                    <a:pt x="1179" y="676"/>
                  </a:cubicBezTo>
                  <a:cubicBezTo>
                    <a:pt x="1179" y="676"/>
                    <a:pt x="1178" y="676"/>
                    <a:pt x="1178" y="676"/>
                  </a:cubicBezTo>
                  <a:moveTo>
                    <a:pt x="1332" y="677"/>
                  </a:moveTo>
                  <a:cubicBezTo>
                    <a:pt x="1331" y="677"/>
                    <a:pt x="1330" y="677"/>
                    <a:pt x="1329" y="677"/>
                  </a:cubicBezTo>
                  <a:cubicBezTo>
                    <a:pt x="1324" y="679"/>
                    <a:pt x="1319" y="681"/>
                    <a:pt x="1315" y="683"/>
                  </a:cubicBezTo>
                  <a:cubicBezTo>
                    <a:pt x="1316" y="683"/>
                    <a:pt x="1316" y="683"/>
                    <a:pt x="1317" y="683"/>
                  </a:cubicBezTo>
                  <a:cubicBezTo>
                    <a:pt x="1322" y="681"/>
                    <a:pt x="1327" y="679"/>
                    <a:pt x="1332" y="677"/>
                  </a:cubicBezTo>
                  <a:moveTo>
                    <a:pt x="1315" y="684"/>
                  </a:moveTo>
                  <a:cubicBezTo>
                    <a:pt x="1314" y="684"/>
                    <a:pt x="1313" y="684"/>
                    <a:pt x="1312" y="684"/>
                  </a:cubicBezTo>
                  <a:cubicBezTo>
                    <a:pt x="1312" y="684"/>
                    <a:pt x="1312" y="684"/>
                    <a:pt x="1312" y="684"/>
                  </a:cubicBezTo>
                  <a:cubicBezTo>
                    <a:pt x="1307" y="686"/>
                    <a:pt x="1302" y="688"/>
                    <a:pt x="1297" y="690"/>
                  </a:cubicBezTo>
                  <a:cubicBezTo>
                    <a:pt x="1298" y="690"/>
                    <a:pt x="1298" y="690"/>
                    <a:pt x="1299" y="690"/>
                  </a:cubicBezTo>
                  <a:cubicBezTo>
                    <a:pt x="1300" y="690"/>
                    <a:pt x="1300" y="690"/>
                    <a:pt x="1300" y="690"/>
                  </a:cubicBezTo>
                  <a:cubicBezTo>
                    <a:pt x="1305" y="688"/>
                    <a:pt x="1310" y="686"/>
                    <a:pt x="1315" y="684"/>
                  </a:cubicBezTo>
                  <a:moveTo>
                    <a:pt x="1175" y="685"/>
                  </a:moveTo>
                  <a:cubicBezTo>
                    <a:pt x="1174" y="686"/>
                    <a:pt x="1174" y="687"/>
                    <a:pt x="1174" y="688"/>
                  </a:cubicBezTo>
                  <a:cubicBezTo>
                    <a:pt x="1174" y="688"/>
                    <a:pt x="1175" y="688"/>
                    <a:pt x="1175" y="688"/>
                  </a:cubicBezTo>
                  <a:cubicBezTo>
                    <a:pt x="1175" y="687"/>
                    <a:pt x="1175" y="686"/>
                    <a:pt x="1176" y="685"/>
                  </a:cubicBezTo>
                  <a:cubicBezTo>
                    <a:pt x="1175" y="685"/>
                    <a:pt x="1175" y="685"/>
                    <a:pt x="1175" y="685"/>
                  </a:cubicBezTo>
                  <a:moveTo>
                    <a:pt x="1175" y="689"/>
                  </a:moveTo>
                  <a:cubicBezTo>
                    <a:pt x="1174" y="689"/>
                    <a:pt x="1174" y="689"/>
                    <a:pt x="1174" y="689"/>
                  </a:cubicBezTo>
                  <a:cubicBezTo>
                    <a:pt x="1173" y="691"/>
                    <a:pt x="1173" y="694"/>
                    <a:pt x="1173" y="696"/>
                  </a:cubicBezTo>
                  <a:cubicBezTo>
                    <a:pt x="1173" y="696"/>
                    <a:pt x="1173" y="697"/>
                    <a:pt x="1173" y="697"/>
                  </a:cubicBezTo>
                  <a:cubicBezTo>
                    <a:pt x="1173" y="697"/>
                    <a:pt x="1174" y="697"/>
                    <a:pt x="1174" y="697"/>
                  </a:cubicBezTo>
                  <a:cubicBezTo>
                    <a:pt x="1174" y="697"/>
                    <a:pt x="1174" y="696"/>
                    <a:pt x="1174" y="696"/>
                  </a:cubicBezTo>
                  <a:cubicBezTo>
                    <a:pt x="1174" y="693"/>
                    <a:pt x="1174" y="691"/>
                    <a:pt x="1175" y="689"/>
                  </a:cubicBezTo>
                  <a:moveTo>
                    <a:pt x="1294" y="691"/>
                  </a:moveTo>
                  <a:cubicBezTo>
                    <a:pt x="1290" y="692"/>
                    <a:pt x="1285" y="694"/>
                    <a:pt x="1280" y="696"/>
                  </a:cubicBezTo>
                  <a:cubicBezTo>
                    <a:pt x="1283" y="695"/>
                    <a:pt x="1286" y="694"/>
                    <a:pt x="1290" y="694"/>
                  </a:cubicBezTo>
                  <a:cubicBezTo>
                    <a:pt x="1292" y="693"/>
                    <a:pt x="1295" y="692"/>
                    <a:pt x="1297" y="691"/>
                  </a:cubicBezTo>
                  <a:cubicBezTo>
                    <a:pt x="1296" y="691"/>
                    <a:pt x="1295" y="691"/>
                    <a:pt x="1294" y="691"/>
                  </a:cubicBezTo>
                  <a:moveTo>
                    <a:pt x="1278" y="697"/>
                  </a:moveTo>
                  <a:cubicBezTo>
                    <a:pt x="1275" y="698"/>
                    <a:pt x="1273" y="699"/>
                    <a:pt x="1271" y="699"/>
                  </a:cubicBezTo>
                  <a:cubicBezTo>
                    <a:pt x="1266" y="701"/>
                    <a:pt x="1262" y="702"/>
                    <a:pt x="1258" y="703"/>
                  </a:cubicBezTo>
                  <a:cubicBezTo>
                    <a:pt x="1260" y="703"/>
                    <a:pt x="1261" y="703"/>
                    <a:pt x="1262" y="703"/>
                  </a:cubicBezTo>
                  <a:cubicBezTo>
                    <a:pt x="1267" y="701"/>
                    <a:pt x="1273" y="699"/>
                    <a:pt x="1279" y="697"/>
                  </a:cubicBezTo>
                  <a:cubicBezTo>
                    <a:pt x="1278" y="697"/>
                    <a:pt x="1278" y="697"/>
                    <a:pt x="1278" y="697"/>
                  </a:cubicBezTo>
                  <a:moveTo>
                    <a:pt x="1173" y="698"/>
                  </a:moveTo>
                  <a:cubicBezTo>
                    <a:pt x="1173" y="699"/>
                    <a:pt x="1173" y="699"/>
                    <a:pt x="1173" y="700"/>
                  </a:cubicBezTo>
                  <a:cubicBezTo>
                    <a:pt x="1174" y="700"/>
                    <a:pt x="1174" y="700"/>
                    <a:pt x="1174" y="700"/>
                  </a:cubicBezTo>
                  <a:cubicBezTo>
                    <a:pt x="1174" y="699"/>
                    <a:pt x="1174" y="699"/>
                    <a:pt x="1174" y="698"/>
                  </a:cubicBezTo>
                  <a:cubicBezTo>
                    <a:pt x="1174" y="698"/>
                    <a:pt x="1173" y="698"/>
                    <a:pt x="1173" y="698"/>
                  </a:cubicBezTo>
                  <a:moveTo>
                    <a:pt x="1174" y="701"/>
                  </a:moveTo>
                  <a:cubicBezTo>
                    <a:pt x="1174" y="701"/>
                    <a:pt x="1174" y="701"/>
                    <a:pt x="1174" y="701"/>
                  </a:cubicBezTo>
                  <a:cubicBezTo>
                    <a:pt x="1174" y="703"/>
                    <a:pt x="1175" y="705"/>
                    <a:pt x="1177" y="707"/>
                  </a:cubicBezTo>
                  <a:cubicBezTo>
                    <a:pt x="1177" y="707"/>
                    <a:pt x="1177" y="707"/>
                    <a:pt x="1178" y="707"/>
                  </a:cubicBezTo>
                  <a:cubicBezTo>
                    <a:pt x="1176" y="705"/>
                    <a:pt x="1175" y="703"/>
                    <a:pt x="1174" y="701"/>
                  </a:cubicBezTo>
                  <a:moveTo>
                    <a:pt x="1259" y="704"/>
                  </a:moveTo>
                  <a:cubicBezTo>
                    <a:pt x="1257" y="704"/>
                    <a:pt x="1256" y="704"/>
                    <a:pt x="1255" y="704"/>
                  </a:cubicBezTo>
                  <a:cubicBezTo>
                    <a:pt x="1250" y="706"/>
                    <a:pt x="1246" y="707"/>
                    <a:pt x="1242" y="708"/>
                  </a:cubicBezTo>
                  <a:cubicBezTo>
                    <a:pt x="1243" y="708"/>
                    <a:pt x="1243" y="708"/>
                    <a:pt x="1244" y="708"/>
                  </a:cubicBezTo>
                  <a:cubicBezTo>
                    <a:pt x="1246" y="707"/>
                    <a:pt x="1248" y="707"/>
                    <a:pt x="1250" y="707"/>
                  </a:cubicBezTo>
                  <a:cubicBezTo>
                    <a:pt x="1253" y="706"/>
                    <a:pt x="1256" y="705"/>
                    <a:pt x="1259" y="704"/>
                  </a:cubicBezTo>
                  <a:moveTo>
                    <a:pt x="1178" y="708"/>
                  </a:moveTo>
                  <a:cubicBezTo>
                    <a:pt x="1178" y="708"/>
                    <a:pt x="1178" y="708"/>
                    <a:pt x="1177" y="708"/>
                  </a:cubicBezTo>
                  <a:cubicBezTo>
                    <a:pt x="1178" y="709"/>
                    <a:pt x="1179" y="709"/>
                    <a:pt x="1179" y="710"/>
                  </a:cubicBezTo>
                  <a:cubicBezTo>
                    <a:pt x="1180" y="710"/>
                    <a:pt x="1180" y="710"/>
                    <a:pt x="1181" y="710"/>
                  </a:cubicBezTo>
                  <a:cubicBezTo>
                    <a:pt x="1180" y="709"/>
                    <a:pt x="1179" y="709"/>
                    <a:pt x="1178" y="708"/>
                  </a:cubicBezTo>
                  <a:moveTo>
                    <a:pt x="1241" y="709"/>
                  </a:moveTo>
                  <a:cubicBezTo>
                    <a:pt x="1237" y="710"/>
                    <a:pt x="1233" y="710"/>
                    <a:pt x="1229" y="711"/>
                  </a:cubicBezTo>
                  <a:cubicBezTo>
                    <a:pt x="1218" y="713"/>
                    <a:pt x="1209" y="714"/>
                    <a:pt x="1201" y="714"/>
                  </a:cubicBezTo>
                  <a:cubicBezTo>
                    <a:pt x="1199" y="715"/>
                    <a:pt x="1197" y="715"/>
                    <a:pt x="1195" y="715"/>
                  </a:cubicBezTo>
                  <a:cubicBezTo>
                    <a:pt x="1197" y="715"/>
                    <a:pt x="1199" y="715"/>
                    <a:pt x="1201" y="715"/>
                  </a:cubicBezTo>
                  <a:cubicBezTo>
                    <a:pt x="1211" y="715"/>
                    <a:pt x="1224" y="713"/>
                    <a:pt x="1241" y="709"/>
                  </a:cubicBezTo>
                  <a:moveTo>
                    <a:pt x="1181" y="711"/>
                  </a:moveTo>
                  <a:cubicBezTo>
                    <a:pt x="1181" y="711"/>
                    <a:pt x="1181" y="711"/>
                    <a:pt x="1182" y="712"/>
                  </a:cubicBezTo>
                  <a:cubicBezTo>
                    <a:pt x="1182" y="711"/>
                    <a:pt x="1183" y="711"/>
                    <a:pt x="1183" y="711"/>
                  </a:cubicBezTo>
                  <a:cubicBezTo>
                    <a:pt x="1183" y="711"/>
                    <a:pt x="1183" y="711"/>
                    <a:pt x="1183" y="711"/>
                  </a:cubicBezTo>
                  <a:cubicBezTo>
                    <a:pt x="1182" y="711"/>
                    <a:pt x="1181" y="711"/>
                    <a:pt x="1181" y="711"/>
                  </a:cubicBezTo>
                  <a:moveTo>
                    <a:pt x="1185" y="712"/>
                  </a:moveTo>
                  <a:cubicBezTo>
                    <a:pt x="1184" y="712"/>
                    <a:pt x="1184" y="712"/>
                    <a:pt x="1183" y="712"/>
                  </a:cubicBezTo>
                  <a:cubicBezTo>
                    <a:pt x="1185" y="713"/>
                    <a:pt x="1188" y="714"/>
                    <a:pt x="1190" y="714"/>
                  </a:cubicBezTo>
                  <a:cubicBezTo>
                    <a:pt x="1191" y="714"/>
                    <a:pt x="1192" y="714"/>
                    <a:pt x="1193" y="714"/>
                  </a:cubicBezTo>
                  <a:cubicBezTo>
                    <a:pt x="1190" y="713"/>
                    <a:pt x="1187" y="713"/>
                    <a:pt x="1185" y="712"/>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39" name="Freeform 68"/>
            <p:cNvSpPr>
              <a:spLocks noEditPoints="1"/>
            </p:cNvSpPr>
            <p:nvPr userDrawn="1"/>
          </p:nvSpPr>
          <p:spPr bwMode="auto">
            <a:xfrm>
              <a:off x="337" y="4190"/>
              <a:ext cx="3303" cy="1330"/>
            </a:xfrm>
            <a:custGeom>
              <a:avLst/>
              <a:gdLst>
                <a:gd name="T0" fmla="*/ 2147483646 w 1630"/>
                <a:gd name="T1" fmla="*/ 2147483646 h 656"/>
                <a:gd name="T2" fmla="*/ 2147483646 w 1630"/>
                <a:gd name="T3" fmla="*/ 2147483646 h 656"/>
                <a:gd name="T4" fmla="*/ 2147483646 w 1630"/>
                <a:gd name="T5" fmla="*/ 2147483646 h 656"/>
                <a:gd name="T6" fmla="*/ 2147483646 w 1630"/>
                <a:gd name="T7" fmla="*/ 2147483646 h 656"/>
                <a:gd name="T8" fmla="*/ 2147483646 w 1630"/>
                <a:gd name="T9" fmla="*/ 2147483646 h 656"/>
                <a:gd name="T10" fmla="*/ 2147483646 w 1630"/>
                <a:gd name="T11" fmla="*/ 2147483646 h 656"/>
                <a:gd name="T12" fmla="*/ 2147483646 w 1630"/>
                <a:gd name="T13" fmla="*/ 2147483646 h 656"/>
                <a:gd name="T14" fmla="*/ 2147483646 w 1630"/>
                <a:gd name="T15" fmla="*/ 2147483646 h 656"/>
                <a:gd name="T16" fmla="*/ 2147483646 w 1630"/>
                <a:gd name="T17" fmla="*/ 2147483646 h 656"/>
                <a:gd name="T18" fmla="*/ 2147483646 w 1630"/>
                <a:gd name="T19" fmla="*/ 2147483646 h 656"/>
                <a:gd name="T20" fmla="*/ 2147483646 w 1630"/>
                <a:gd name="T21" fmla="*/ 2147483646 h 656"/>
                <a:gd name="T22" fmla="*/ 2147483646 w 1630"/>
                <a:gd name="T23" fmla="*/ 2147483646 h 656"/>
                <a:gd name="T24" fmla="*/ 2147483646 w 1630"/>
                <a:gd name="T25" fmla="*/ 2147483646 h 656"/>
                <a:gd name="T26" fmla="*/ 2147483646 w 1630"/>
                <a:gd name="T27" fmla="*/ 2147483646 h 656"/>
                <a:gd name="T28" fmla="*/ 2147483646 w 1630"/>
                <a:gd name="T29" fmla="*/ 2147483646 h 656"/>
                <a:gd name="T30" fmla="*/ 2147483646 w 1630"/>
                <a:gd name="T31" fmla="*/ 2147483646 h 656"/>
                <a:gd name="T32" fmla="*/ 2147483646 w 1630"/>
                <a:gd name="T33" fmla="*/ 2147483646 h 656"/>
                <a:gd name="T34" fmla="*/ 2147483646 w 1630"/>
                <a:gd name="T35" fmla="*/ 2147483646 h 656"/>
                <a:gd name="T36" fmla="*/ 2147483646 w 1630"/>
                <a:gd name="T37" fmla="*/ 2147483646 h 656"/>
                <a:gd name="T38" fmla="*/ 2147483646 w 1630"/>
                <a:gd name="T39" fmla="*/ 2147483646 h 656"/>
                <a:gd name="T40" fmla="*/ 2147483646 w 1630"/>
                <a:gd name="T41" fmla="*/ 2147483646 h 656"/>
                <a:gd name="T42" fmla="*/ 2147483646 w 1630"/>
                <a:gd name="T43" fmla="*/ 2147483646 h 656"/>
                <a:gd name="T44" fmla="*/ 2147483646 w 1630"/>
                <a:gd name="T45" fmla="*/ 2147483646 h 656"/>
                <a:gd name="T46" fmla="*/ 2147483646 w 1630"/>
                <a:gd name="T47" fmla="*/ 2147483646 h 656"/>
                <a:gd name="T48" fmla="*/ 2147483646 w 1630"/>
                <a:gd name="T49" fmla="*/ 2147483646 h 656"/>
                <a:gd name="T50" fmla="*/ 2147483646 w 1630"/>
                <a:gd name="T51" fmla="*/ 2147483646 h 656"/>
                <a:gd name="T52" fmla="*/ 2147483646 w 1630"/>
                <a:gd name="T53" fmla="*/ 2147483646 h 656"/>
                <a:gd name="T54" fmla="*/ 2147483646 w 1630"/>
                <a:gd name="T55" fmla="*/ 2147483646 h 656"/>
                <a:gd name="T56" fmla="*/ 2147483646 w 1630"/>
                <a:gd name="T57" fmla="*/ 2147483646 h 656"/>
                <a:gd name="T58" fmla="*/ 2147483646 w 1630"/>
                <a:gd name="T59" fmla="*/ 2147483646 h 656"/>
                <a:gd name="T60" fmla="*/ 2147483646 w 1630"/>
                <a:gd name="T61" fmla="*/ 2147483646 h 656"/>
                <a:gd name="T62" fmla="*/ 2147483646 w 1630"/>
                <a:gd name="T63" fmla="*/ 2147483646 h 656"/>
                <a:gd name="T64" fmla="*/ 2147483646 w 1630"/>
                <a:gd name="T65" fmla="*/ 2147483646 h 656"/>
                <a:gd name="T66" fmla="*/ 2147483646 w 1630"/>
                <a:gd name="T67" fmla="*/ 2147483646 h 656"/>
                <a:gd name="T68" fmla="*/ 2147483646 w 1630"/>
                <a:gd name="T69" fmla="*/ 2147483646 h 656"/>
                <a:gd name="T70" fmla="*/ 2147483646 w 1630"/>
                <a:gd name="T71" fmla="*/ 2147483646 h 656"/>
                <a:gd name="T72" fmla="*/ 2147483646 w 1630"/>
                <a:gd name="T73" fmla="*/ 2147483646 h 656"/>
                <a:gd name="T74" fmla="*/ 2147483646 w 1630"/>
                <a:gd name="T75" fmla="*/ 2147483646 h 656"/>
                <a:gd name="T76" fmla="*/ 2147483646 w 1630"/>
                <a:gd name="T77" fmla="*/ 2147483646 h 656"/>
                <a:gd name="T78" fmla="*/ 2147483646 w 1630"/>
                <a:gd name="T79" fmla="*/ 2147483646 h 656"/>
                <a:gd name="T80" fmla="*/ 2147483646 w 1630"/>
                <a:gd name="T81" fmla="*/ 2147483646 h 656"/>
                <a:gd name="T82" fmla="*/ 2147483646 w 1630"/>
                <a:gd name="T83" fmla="*/ 2147483646 h 656"/>
                <a:gd name="T84" fmla="*/ 2147483646 w 1630"/>
                <a:gd name="T85" fmla="*/ 2147483646 h 656"/>
                <a:gd name="T86" fmla="*/ 2147483646 w 1630"/>
                <a:gd name="T87" fmla="*/ 2147483646 h 656"/>
                <a:gd name="T88" fmla="*/ 2147483646 w 1630"/>
                <a:gd name="T89" fmla="*/ 2147483646 h 656"/>
                <a:gd name="T90" fmla="*/ 2147483646 w 1630"/>
                <a:gd name="T91" fmla="*/ 2147483646 h 656"/>
                <a:gd name="T92" fmla="*/ 2147483646 w 1630"/>
                <a:gd name="T93" fmla="*/ 2147483646 h 656"/>
                <a:gd name="T94" fmla="*/ 2147483646 w 1630"/>
                <a:gd name="T95" fmla="*/ 2147483646 h 656"/>
                <a:gd name="T96" fmla="*/ 2147483646 w 1630"/>
                <a:gd name="T97" fmla="*/ 2147483646 h 656"/>
                <a:gd name="T98" fmla="*/ 2147483646 w 1630"/>
                <a:gd name="T99" fmla="*/ 2147483646 h 656"/>
                <a:gd name="T100" fmla="*/ 2147483646 w 1630"/>
                <a:gd name="T101" fmla="*/ 2147483646 h 656"/>
                <a:gd name="T102" fmla="*/ 2147483646 w 1630"/>
                <a:gd name="T103" fmla="*/ 2147483646 h 656"/>
                <a:gd name="T104" fmla="*/ 2147483646 w 1630"/>
                <a:gd name="T105" fmla="*/ 2147483646 h 656"/>
                <a:gd name="T106" fmla="*/ 2147483646 w 1630"/>
                <a:gd name="T107" fmla="*/ 2147483646 h 656"/>
                <a:gd name="T108" fmla="*/ 2147483646 w 1630"/>
                <a:gd name="T109" fmla="*/ 2147483646 h 656"/>
                <a:gd name="T110" fmla="*/ 2147483646 w 1630"/>
                <a:gd name="T111" fmla="*/ 2147483646 h 656"/>
                <a:gd name="T112" fmla="*/ 2147483646 w 1630"/>
                <a:gd name="T113" fmla="*/ 2147483646 h 656"/>
                <a:gd name="T114" fmla="*/ 2147483646 w 1630"/>
                <a:gd name="T115" fmla="*/ 2147483646 h 656"/>
                <a:gd name="T116" fmla="*/ 2147483646 w 1630"/>
                <a:gd name="T117" fmla="*/ 2147483646 h 656"/>
                <a:gd name="T118" fmla="*/ 2147483646 w 1630"/>
                <a:gd name="T119" fmla="*/ 2147483646 h 656"/>
                <a:gd name="T120" fmla="*/ 2147483646 w 1630"/>
                <a:gd name="T121" fmla="*/ 2147483646 h 65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630" h="656">
                  <a:moveTo>
                    <a:pt x="1254" y="0"/>
                  </a:moveTo>
                  <a:cubicBezTo>
                    <a:pt x="1244" y="0"/>
                    <a:pt x="1234" y="1"/>
                    <a:pt x="1225" y="2"/>
                  </a:cubicBezTo>
                  <a:cubicBezTo>
                    <a:pt x="1224" y="2"/>
                    <a:pt x="1223" y="3"/>
                    <a:pt x="1223" y="3"/>
                  </a:cubicBezTo>
                  <a:cubicBezTo>
                    <a:pt x="1211" y="4"/>
                    <a:pt x="1201" y="7"/>
                    <a:pt x="1194" y="12"/>
                  </a:cubicBezTo>
                  <a:cubicBezTo>
                    <a:pt x="1193" y="12"/>
                    <a:pt x="1193" y="12"/>
                    <a:pt x="1192" y="12"/>
                  </a:cubicBezTo>
                  <a:cubicBezTo>
                    <a:pt x="1186" y="16"/>
                    <a:pt x="1182" y="20"/>
                    <a:pt x="1178" y="25"/>
                  </a:cubicBezTo>
                  <a:cubicBezTo>
                    <a:pt x="1178" y="25"/>
                    <a:pt x="1178" y="26"/>
                    <a:pt x="1178" y="26"/>
                  </a:cubicBezTo>
                  <a:cubicBezTo>
                    <a:pt x="1175" y="31"/>
                    <a:pt x="1173" y="37"/>
                    <a:pt x="1173" y="44"/>
                  </a:cubicBezTo>
                  <a:cubicBezTo>
                    <a:pt x="1173" y="52"/>
                    <a:pt x="1176" y="62"/>
                    <a:pt x="1181" y="73"/>
                  </a:cubicBezTo>
                  <a:cubicBezTo>
                    <a:pt x="1206" y="126"/>
                    <a:pt x="1224" y="171"/>
                    <a:pt x="1234" y="208"/>
                  </a:cubicBezTo>
                  <a:cubicBezTo>
                    <a:pt x="1234" y="208"/>
                    <a:pt x="1234" y="208"/>
                    <a:pt x="1235" y="208"/>
                  </a:cubicBezTo>
                  <a:cubicBezTo>
                    <a:pt x="1225" y="170"/>
                    <a:pt x="1207" y="125"/>
                    <a:pt x="1182" y="72"/>
                  </a:cubicBezTo>
                  <a:cubicBezTo>
                    <a:pt x="1177" y="61"/>
                    <a:pt x="1174" y="52"/>
                    <a:pt x="1174" y="44"/>
                  </a:cubicBezTo>
                  <a:cubicBezTo>
                    <a:pt x="1174" y="37"/>
                    <a:pt x="1176" y="31"/>
                    <a:pt x="1179" y="26"/>
                  </a:cubicBezTo>
                  <a:cubicBezTo>
                    <a:pt x="1179" y="26"/>
                    <a:pt x="1179" y="26"/>
                    <a:pt x="1179" y="25"/>
                  </a:cubicBezTo>
                  <a:cubicBezTo>
                    <a:pt x="1183" y="20"/>
                    <a:pt x="1188" y="16"/>
                    <a:pt x="1194" y="13"/>
                  </a:cubicBezTo>
                  <a:cubicBezTo>
                    <a:pt x="1194" y="12"/>
                    <a:pt x="1195" y="12"/>
                    <a:pt x="1195" y="12"/>
                  </a:cubicBezTo>
                  <a:cubicBezTo>
                    <a:pt x="1203" y="8"/>
                    <a:pt x="1213" y="5"/>
                    <a:pt x="1225" y="3"/>
                  </a:cubicBezTo>
                  <a:cubicBezTo>
                    <a:pt x="1226" y="3"/>
                    <a:pt x="1227" y="3"/>
                    <a:pt x="1228" y="3"/>
                  </a:cubicBezTo>
                  <a:cubicBezTo>
                    <a:pt x="1236" y="2"/>
                    <a:pt x="1245" y="1"/>
                    <a:pt x="1254" y="1"/>
                  </a:cubicBezTo>
                  <a:cubicBezTo>
                    <a:pt x="1257" y="1"/>
                    <a:pt x="1261" y="1"/>
                    <a:pt x="1264" y="2"/>
                  </a:cubicBezTo>
                  <a:cubicBezTo>
                    <a:pt x="1264" y="1"/>
                    <a:pt x="1264" y="1"/>
                    <a:pt x="1264" y="1"/>
                  </a:cubicBezTo>
                  <a:cubicBezTo>
                    <a:pt x="1261" y="0"/>
                    <a:pt x="1258" y="0"/>
                    <a:pt x="1254" y="0"/>
                  </a:cubicBezTo>
                  <a:moveTo>
                    <a:pt x="1265" y="1"/>
                  </a:moveTo>
                  <a:cubicBezTo>
                    <a:pt x="1265" y="1"/>
                    <a:pt x="1265" y="1"/>
                    <a:pt x="1265" y="2"/>
                  </a:cubicBezTo>
                  <a:cubicBezTo>
                    <a:pt x="1266" y="2"/>
                    <a:pt x="1268" y="2"/>
                    <a:pt x="1269" y="2"/>
                  </a:cubicBezTo>
                  <a:cubicBezTo>
                    <a:pt x="1269" y="1"/>
                    <a:pt x="1269" y="1"/>
                    <a:pt x="1269" y="1"/>
                  </a:cubicBezTo>
                  <a:cubicBezTo>
                    <a:pt x="1268" y="1"/>
                    <a:pt x="1267" y="1"/>
                    <a:pt x="1265" y="1"/>
                  </a:cubicBezTo>
                  <a:moveTo>
                    <a:pt x="1270" y="1"/>
                  </a:moveTo>
                  <a:cubicBezTo>
                    <a:pt x="1270" y="1"/>
                    <a:pt x="1270" y="1"/>
                    <a:pt x="1270" y="1"/>
                  </a:cubicBezTo>
                  <a:cubicBezTo>
                    <a:pt x="1271" y="1"/>
                    <a:pt x="1271" y="1"/>
                    <a:pt x="1271" y="1"/>
                  </a:cubicBezTo>
                  <a:cubicBezTo>
                    <a:pt x="1271" y="1"/>
                    <a:pt x="1271" y="1"/>
                    <a:pt x="1270" y="1"/>
                  </a:cubicBezTo>
                  <a:moveTo>
                    <a:pt x="1273" y="1"/>
                  </a:moveTo>
                  <a:cubicBezTo>
                    <a:pt x="1273" y="1"/>
                    <a:pt x="1272" y="2"/>
                    <a:pt x="1272" y="2"/>
                  </a:cubicBezTo>
                  <a:cubicBezTo>
                    <a:pt x="1276" y="2"/>
                    <a:pt x="1280" y="2"/>
                    <a:pt x="1284" y="3"/>
                  </a:cubicBezTo>
                  <a:cubicBezTo>
                    <a:pt x="1284" y="2"/>
                    <a:pt x="1284" y="2"/>
                    <a:pt x="1283" y="2"/>
                  </a:cubicBezTo>
                  <a:cubicBezTo>
                    <a:pt x="1280" y="1"/>
                    <a:pt x="1277" y="1"/>
                    <a:pt x="1273" y="1"/>
                  </a:cubicBezTo>
                  <a:moveTo>
                    <a:pt x="1285" y="2"/>
                  </a:moveTo>
                  <a:cubicBezTo>
                    <a:pt x="1285" y="2"/>
                    <a:pt x="1285" y="2"/>
                    <a:pt x="1285" y="3"/>
                  </a:cubicBezTo>
                  <a:cubicBezTo>
                    <a:pt x="1289" y="3"/>
                    <a:pt x="1294" y="4"/>
                    <a:pt x="1299" y="4"/>
                  </a:cubicBezTo>
                  <a:cubicBezTo>
                    <a:pt x="1301" y="5"/>
                    <a:pt x="1303" y="5"/>
                    <a:pt x="1305" y="5"/>
                  </a:cubicBezTo>
                  <a:cubicBezTo>
                    <a:pt x="1306" y="5"/>
                    <a:pt x="1308" y="5"/>
                    <a:pt x="1309" y="5"/>
                  </a:cubicBezTo>
                  <a:cubicBezTo>
                    <a:pt x="1306" y="4"/>
                    <a:pt x="1302" y="4"/>
                    <a:pt x="1299" y="3"/>
                  </a:cubicBezTo>
                  <a:cubicBezTo>
                    <a:pt x="1297" y="3"/>
                    <a:pt x="1295" y="3"/>
                    <a:pt x="1293" y="3"/>
                  </a:cubicBezTo>
                  <a:cubicBezTo>
                    <a:pt x="1290" y="2"/>
                    <a:pt x="1287" y="2"/>
                    <a:pt x="1285" y="2"/>
                  </a:cubicBezTo>
                  <a:moveTo>
                    <a:pt x="1313" y="5"/>
                  </a:moveTo>
                  <a:cubicBezTo>
                    <a:pt x="1312" y="5"/>
                    <a:pt x="1310" y="6"/>
                    <a:pt x="1309" y="6"/>
                  </a:cubicBezTo>
                  <a:cubicBezTo>
                    <a:pt x="1315" y="6"/>
                    <a:pt x="1320" y="7"/>
                    <a:pt x="1326" y="8"/>
                  </a:cubicBezTo>
                  <a:cubicBezTo>
                    <a:pt x="1326" y="8"/>
                    <a:pt x="1326" y="8"/>
                    <a:pt x="1326" y="7"/>
                  </a:cubicBezTo>
                  <a:cubicBezTo>
                    <a:pt x="1322" y="7"/>
                    <a:pt x="1318" y="6"/>
                    <a:pt x="1313" y="5"/>
                  </a:cubicBezTo>
                  <a:moveTo>
                    <a:pt x="1327" y="8"/>
                  </a:moveTo>
                  <a:cubicBezTo>
                    <a:pt x="1327" y="8"/>
                    <a:pt x="1327" y="8"/>
                    <a:pt x="1327" y="9"/>
                  </a:cubicBezTo>
                  <a:cubicBezTo>
                    <a:pt x="1331" y="9"/>
                    <a:pt x="1335" y="10"/>
                    <a:pt x="1338" y="11"/>
                  </a:cubicBezTo>
                  <a:cubicBezTo>
                    <a:pt x="1344" y="11"/>
                    <a:pt x="1349" y="12"/>
                    <a:pt x="1354" y="13"/>
                  </a:cubicBezTo>
                  <a:cubicBezTo>
                    <a:pt x="1349" y="12"/>
                    <a:pt x="1343" y="11"/>
                    <a:pt x="1337" y="9"/>
                  </a:cubicBezTo>
                  <a:cubicBezTo>
                    <a:pt x="1334" y="9"/>
                    <a:pt x="1331" y="8"/>
                    <a:pt x="1327" y="8"/>
                  </a:cubicBezTo>
                  <a:moveTo>
                    <a:pt x="1354" y="14"/>
                  </a:moveTo>
                  <a:cubicBezTo>
                    <a:pt x="1355" y="14"/>
                    <a:pt x="1355" y="14"/>
                    <a:pt x="1356" y="14"/>
                  </a:cubicBezTo>
                  <a:cubicBezTo>
                    <a:pt x="1357" y="14"/>
                    <a:pt x="1357" y="14"/>
                    <a:pt x="1358" y="15"/>
                  </a:cubicBezTo>
                  <a:cubicBezTo>
                    <a:pt x="1357" y="14"/>
                    <a:pt x="1355" y="14"/>
                    <a:pt x="1354" y="14"/>
                  </a:cubicBezTo>
                  <a:moveTo>
                    <a:pt x="1365" y="16"/>
                  </a:moveTo>
                  <a:cubicBezTo>
                    <a:pt x="1369" y="17"/>
                    <a:pt x="1374" y="18"/>
                    <a:pt x="1378" y="20"/>
                  </a:cubicBezTo>
                  <a:cubicBezTo>
                    <a:pt x="1381" y="20"/>
                    <a:pt x="1384" y="21"/>
                    <a:pt x="1387" y="22"/>
                  </a:cubicBezTo>
                  <a:cubicBezTo>
                    <a:pt x="1388" y="22"/>
                    <a:pt x="1388" y="21"/>
                    <a:pt x="1388" y="21"/>
                  </a:cubicBezTo>
                  <a:cubicBezTo>
                    <a:pt x="1383" y="20"/>
                    <a:pt x="1379" y="19"/>
                    <a:pt x="1375" y="18"/>
                  </a:cubicBezTo>
                  <a:cubicBezTo>
                    <a:pt x="1371" y="17"/>
                    <a:pt x="1368" y="17"/>
                    <a:pt x="1365" y="16"/>
                  </a:cubicBezTo>
                  <a:moveTo>
                    <a:pt x="1389" y="21"/>
                  </a:moveTo>
                  <a:cubicBezTo>
                    <a:pt x="1389" y="22"/>
                    <a:pt x="1388" y="22"/>
                    <a:pt x="1388" y="22"/>
                  </a:cubicBezTo>
                  <a:cubicBezTo>
                    <a:pt x="1406" y="27"/>
                    <a:pt x="1424" y="33"/>
                    <a:pt x="1441" y="39"/>
                  </a:cubicBezTo>
                  <a:cubicBezTo>
                    <a:pt x="1441" y="38"/>
                    <a:pt x="1441" y="38"/>
                    <a:pt x="1441" y="38"/>
                  </a:cubicBezTo>
                  <a:cubicBezTo>
                    <a:pt x="1424" y="32"/>
                    <a:pt x="1406" y="26"/>
                    <a:pt x="1389" y="21"/>
                  </a:cubicBezTo>
                  <a:moveTo>
                    <a:pt x="1442" y="38"/>
                  </a:moveTo>
                  <a:cubicBezTo>
                    <a:pt x="1442" y="38"/>
                    <a:pt x="1442" y="39"/>
                    <a:pt x="1442" y="39"/>
                  </a:cubicBezTo>
                  <a:cubicBezTo>
                    <a:pt x="1455" y="43"/>
                    <a:pt x="1467" y="48"/>
                    <a:pt x="1480" y="53"/>
                  </a:cubicBezTo>
                  <a:cubicBezTo>
                    <a:pt x="1480" y="53"/>
                    <a:pt x="1481" y="53"/>
                    <a:pt x="1481" y="53"/>
                  </a:cubicBezTo>
                  <a:cubicBezTo>
                    <a:pt x="1469" y="47"/>
                    <a:pt x="1455" y="42"/>
                    <a:pt x="1442" y="38"/>
                  </a:cubicBezTo>
                  <a:moveTo>
                    <a:pt x="1483" y="53"/>
                  </a:moveTo>
                  <a:cubicBezTo>
                    <a:pt x="1482" y="53"/>
                    <a:pt x="1482" y="54"/>
                    <a:pt x="1481" y="54"/>
                  </a:cubicBezTo>
                  <a:cubicBezTo>
                    <a:pt x="1483" y="54"/>
                    <a:pt x="1485" y="55"/>
                    <a:pt x="1486" y="56"/>
                  </a:cubicBezTo>
                  <a:cubicBezTo>
                    <a:pt x="1487" y="56"/>
                    <a:pt x="1487" y="55"/>
                    <a:pt x="1487" y="55"/>
                  </a:cubicBezTo>
                  <a:cubicBezTo>
                    <a:pt x="1485" y="54"/>
                    <a:pt x="1484" y="54"/>
                    <a:pt x="1483" y="53"/>
                  </a:cubicBezTo>
                  <a:moveTo>
                    <a:pt x="1488" y="55"/>
                  </a:moveTo>
                  <a:cubicBezTo>
                    <a:pt x="1488" y="56"/>
                    <a:pt x="1488" y="56"/>
                    <a:pt x="1487" y="56"/>
                  </a:cubicBezTo>
                  <a:cubicBezTo>
                    <a:pt x="1489" y="57"/>
                    <a:pt x="1490" y="57"/>
                    <a:pt x="1491" y="58"/>
                  </a:cubicBezTo>
                  <a:cubicBezTo>
                    <a:pt x="1494" y="59"/>
                    <a:pt x="1497" y="60"/>
                    <a:pt x="1499" y="61"/>
                  </a:cubicBezTo>
                  <a:cubicBezTo>
                    <a:pt x="1500" y="61"/>
                    <a:pt x="1500" y="61"/>
                    <a:pt x="1500" y="61"/>
                  </a:cubicBezTo>
                  <a:cubicBezTo>
                    <a:pt x="1496" y="59"/>
                    <a:pt x="1492" y="57"/>
                    <a:pt x="1488" y="55"/>
                  </a:cubicBezTo>
                  <a:moveTo>
                    <a:pt x="1501" y="61"/>
                  </a:moveTo>
                  <a:cubicBezTo>
                    <a:pt x="1501" y="61"/>
                    <a:pt x="1501" y="62"/>
                    <a:pt x="1500" y="62"/>
                  </a:cubicBezTo>
                  <a:cubicBezTo>
                    <a:pt x="1503" y="63"/>
                    <a:pt x="1506" y="64"/>
                    <a:pt x="1508" y="66"/>
                  </a:cubicBezTo>
                  <a:cubicBezTo>
                    <a:pt x="1509" y="66"/>
                    <a:pt x="1510" y="65"/>
                    <a:pt x="1510" y="65"/>
                  </a:cubicBezTo>
                  <a:cubicBezTo>
                    <a:pt x="1507" y="64"/>
                    <a:pt x="1504" y="63"/>
                    <a:pt x="1501" y="61"/>
                  </a:cubicBezTo>
                  <a:moveTo>
                    <a:pt x="1512" y="66"/>
                  </a:moveTo>
                  <a:cubicBezTo>
                    <a:pt x="1512" y="66"/>
                    <a:pt x="1511" y="66"/>
                    <a:pt x="1510" y="66"/>
                  </a:cubicBezTo>
                  <a:cubicBezTo>
                    <a:pt x="1515" y="69"/>
                    <a:pt x="1520" y="71"/>
                    <a:pt x="1525" y="74"/>
                  </a:cubicBezTo>
                  <a:cubicBezTo>
                    <a:pt x="1525" y="73"/>
                    <a:pt x="1525" y="73"/>
                    <a:pt x="1525" y="73"/>
                  </a:cubicBezTo>
                  <a:cubicBezTo>
                    <a:pt x="1521" y="71"/>
                    <a:pt x="1517" y="68"/>
                    <a:pt x="1512" y="66"/>
                  </a:cubicBezTo>
                  <a:moveTo>
                    <a:pt x="1526" y="73"/>
                  </a:moveTo>
                  <a:cubicBezTo>
                    <a:pt x="1526" y="73"/>
                    <a:pt x="1526" y="74"/>
                    <a:pt x="1526" y="74"/>
                  </a:cubicBezTo>
                  <a:cubicBezTo>
                    <a:pt x="1529" y="76"/>
                    <a:pt x="1533" y="78"/>
                    <a:pt x="1537" y="80"/>
                  </a:cubicBezTo>
                  <a:cubicBezTo>
                    <a:pt x="1537" y="79"/>
                    <a:pt x="1537" y="79"/>
                    <a:pt x="1537" y="79"/>
                  </a:cubicBezTo>
                  <a:cubicBezTo>
                    <a:pt x="1534" y="77"/>
                    <a:pt x="1530" y="75"/>
                    <a:pt x="1526" y="73"/>
                  </a:cubicBezTo>
                  <a:moveTo>
                    <a:pt x="1540" y="80"/>
                  </a:moveTo>
                  <a:cubicBezTo>
                    <a:pt x="1539" y="80"/>
                    <a:pt x="1539" y="81"/>
                    <a:pt x="1539" y="81"/>
                  </a:cubicBezTo>
                  <a:cubicBezTo>
                    <a:pt x="1545" y="84"/>
                    <a:pt x="1550" y="87"/>
                    <a:pt x="1555" y="90"/>
                  </a:cubicBezTo>
                  <a:cubicBezTo>
                    <a:pt x="1556" y="90"/>
                    <a:pt x="1557" y="90"/>
                    <a:pt x="1557" y="90"/>
                  </a:cubicBezTo>
                  <a:cubicBezTo>
                    <a:pt x="1552" y="87"/>
                    <a:pt x="1546" y="83"/>
                    <a:pt x="1540" y="80"/>
                  </a:cubicBezTo>
                  <a:moveTo>
                    <a:pt x="1559" y="91"/>
                  </a:moveTo>
                  <a:cubicBezTo>
                    <a:pt x="1559" y="91"/>
                    <a:pt x="1558" y="91"/>
                    <a:pt x="1558" y="91"/>
                  </a:cubicBezTo>
                  <a:cubicBezTo>
                    <a:pt x="1558" y="91"/>
                    <a:pt x="1558" y="91"/>
                    <a:pt x="1558" y="92"/>
                  </a:cubicBezTo>
                  <a:cubicBezTo>
                    <a:pt x="1561" y="94"/>
                    <a:pt x="1565" y="96"/>
                    <a:pt x="1568" y="98"/>
                  </a:cubicBezTo>
                  <a:cubicBezTo>
                    <a:pt x="1568" y="98"/>
                    <a:pt x="1568" y="98"/>
                    <a:pt x="1569" y="97"/>
                  </a:cubicBezTo>
                  <a:cubicBezTo>
                    <a:pt x="1566" y="95"/>
                    <a:pt x="1562" y="93"/>
                    <a:pt x="1559" y="91"/>
                  </a:cubicBezTo>
                  <a:moveTo>
                    <a:pt x="1570" y="98"/>
                  </a:moveTo>
                  <a:cubicBezTo>
                    <a:pt x="1569" y="98"/>
                    <a:pt x="1569" y="98"/>
                    <a:pt x="1569" y="99"/>
                  </a:cubicBezTo>
                  <a:cubicBezTo>
                    <a:pt x="1574" y="102"/>
                    <a:pt x="1578" y="105"/>
                    <a:pt x="1582" y="108"/>
                  </a:cubicBezTo>
                  <a:cubicBezTo>
                    <a:pt x="1583" y="108"/>
                    <a:pt x="1583" y="108"/>
                    <a:pt x="1583" y="107"/>
                  </a:cubicBezTo>
                  <a:cubicBezTo>
                    <a:pt x="1579" y="104"/>
                    <a:pt x="1574" y="101"/>
                    <a:pt x="1570" y="98"/>
                  </a:cubicBezTo>
                  <a:moveTo>
                    <a:pt x="1584" y="108"/>
                  </a:moveTo>
                  <a:cubicBezTo>
                    <a:pt x="1584" y="108"/>
                    <a:pt x="1584" y="109"/>
                    <a:pt x="1583" y="109"/>
                  </a:cubicBezTo>
                  <a:cubicBezTo>
                    <a:pt x="1585" y="110"/>
                    <a:pt x="1587" y="112"/>
                    <a:pt x="1589" y="113"/>
                  </a:cubicBezTo>
                  <a:cubicBezTo>
                    <a:pt x="1589" y="113"/>
                    <a:pt x="1589" y="113"/>
                    <a:pt x="1589" y="113"/>
                  </a:cubicBezTo>
                  <a:cubicBezTo>
                    <a:pt x="1589" y="112"/>
                    <a:pt x="1589" y="112"/>
                    <a:pt x="1589" y="112"/>
                  </a:cubicBezTo>
                  <a:cubicBezTo>
                    <a:pt x="1587" y="111"/>
                    <a:pt x="1586" y="109"/>
                    <a:pt x="1584" y="108"/>
                  </a:cubicBezTo>
                  <a:moveTo>
                    <a:pt x="48" y="110"/>
                  </a:moveTo>
                  <a:cubicBezTo>
                    <a:pt x="18" y="110"/>
                    <a:pt x="0" y="116"/>
                    <a:pt x="0" y="129"/>
                  </a:cubicBezTo>
                  <a:cubicBezTo>
                    <a:pt x="0" y="152"/>
                    <a:pt x="55" y="197"/>
                    <a:pt x="192" y="273"/>
                  </a:cubicBezTo>
                  <a:cubicBezTo>
                    <a:pt x="192" y="272"/>
                    <a:pt x="192" y="272"/>
                    <a:pt x="192" y="272"/>
                  </a:cubicBezTo>
                  <a:cubicBezTo>
                    <a:pt x="192" y="272"/>
                    <a:pt x="192" y="272"/>
                    <a:pt x="192" y="272"/>
                  </a:cubicBezTo>
                  <a:cubicBezTo>
                    <a:pt x="56" y="197"/>
                    <a:pt x="1" y="151"/>
                    <a:pt x="1" y="129"/>
                  </a:cubicBezTo>
                  <a:cubicBezTo>
                    <a:pt x="1" y="123"/>
                    <a:pt x="5" y="118"/>
                    <a:pt x="13" y="115"/>
                  </a:cubicBezTo>
                  <a:cubicBezTo>
                    <a:pt x="21" y="112"/>
                    <a:pt x="33" y="111"/>
                    <a:pt x="48" y="111"/>
                  </a:cubicBezTo>
                  <a:cubicBezTo>
                    <a:pt x="48" y="111"/>
                    <a:pt x="48" y="111"/>
                    <a:pt x="48" y="111"/>
                  </a:cubicBezTo>
                  <a:cubicBezTo>
                    <a:pt x="179" y="111"/>
                    <a:pt x="553" y="222"/>
                    <a:pt x="764" y="325"/>
                  </a:cubicBezTo>
                  <a:cubicBezTo>
                    <a:pt x="764" y="325"/>
                    <a:pt x="765" y="324"/>
                    <a:pt x="765" y="324"/>
                  </a:cubicBezTo>
                  <a:cubicBezTo>
                    <a:pt x="553" y="220"/>
                    <a:pt x="179" y="110"/>
                    <a:pt x="48" y="110"/>
                  </a:cubicBezTo>
                  <a:moveTo>
                    <a:pt x="1590" y="114"/>
                  </a:moveTo>
                  <a:cubicBezTo>
                    <a:pt x="1590" y="114"/>
                    <a:pt x="1590" y="114"/>
                    <a:pt x="1590" y="114"/>
                  </a:cubicBezTo>
                  <a:cubicBezTo>
                    <a:pt x="1590" y="114"/>
                    <a:pt x="1591" y="114"/>
                    <a:pt x="1591" y="115"/>
                  </a:cubicBezTo>
                  <a:cubicBezTo>
                    <a:pt x="1591" y="114"/>
                    <a:pt x="1590" y="114"/>
                    <a:pt x="1590" y="114"/>
                  </a:cubicBezTo>
                  <a:moveTo>
                    <a:pt x="1591" y="114"/>
                  </a:moveTo>
                  <a:cubicBezTo>
                    <a:pt x="1593" y="116"/>
                    <a:pt x="1595" y="118"/>
                    <a:pt x="1597" y="119"/>
                  </a:cubicBezTo>
                  <a:cubicBezTo>
                    <a:pt x="1598" y="119"/>
                    <a:pt x="1598" y="119"/>
                    <a:pt x="1598" y="119"/>
                  </a:cubicBezTo>
                  <a:cubicBezTo>
                    <a:pt x="1596" y="117"/>
                    <a:pt x="1594" y="116"/>
                    <a:pt x="1591" y="114"/>
                  </a:cubicBezTo>
                  <a:moveTo>
                    <a:pt x="1598" y="120"/>
                  </a:moveTo>
                  <a:cubicBezTo>
                    <a:pt x="1598" y="120"/>
                    <a:pt x="1598" y="120"/>
                    <a:pt x="1598" y="120"/>
                  </a:cubicBezTo>
                  <a:cubicBezTo>
                    <a:pt x="1598" y="120"/>
                    <a:pt x="1599" y="120"/>
                    <a:pt x="1599" y="120"/>
                  </a:cubicBezTo>
                  <a:cubicBezTo>
                    <a:pt x="1599" y="120"/>
                    <a:pt x="1599" y="120"/>
                    <a:pt x="1598" y="120"/>
                  </a:cubicBezTo>
                  <a:moveTo>
                    <a:pt x="1598" y="121"/>
                  </a:moveTo>
                  <a:cubicBezTo>
                    <a:pt x="1599" y="122"/>
                    <a:pt x="1601" y="123"/>
                    <a:pt x="1602" y="125"/>
                  </a:cubicBezTo>
                  <a:cubicBezTo>
                    <a:pt x="1603" y="124"/>
                    <a:pt x="1603" y="124"/>
                    <a:pt x="1603" y="124"/>
                  </a:cubicBezTo>
                  <a:cubicBezTo>
                    <a:pt x="1602" y="123"/>
                    <a:pt x="1602" y="123"/>
                    <a:pt x="1601" y="122"/>
                  </a:cubicBezTo>
                  <a:cubicBezTo>
                    <a:pt x="1600" y="122"/>
                    <a:pt x="1599" y="121"/>
                    <a:pt x="1598" y="121"/>
                  </a:cubicBezTo>
                  <a:moveTo>
                    <a:pt x="1604" y="125"/>
                  </a:moveTo>
                  <a:cubicBezTo>
                    <a:pt x="1603" y="125"/>
                    <a:pt x="1603" y="125"/>
                    <a:pt x="1603" y="125"/>
                  </a:cubicBezTo>
                  <a:cubicBezTo>
                    <a:pt x="1605" y="127"/>
                    <a:pt x="1607" y="129"/>
                    <a:pt x="1609" y="132"/>
                  </a:cubicBezTo>
                  <a:cubicBezTo>
                    <a:pt x="1609" y="131"/>
                    <a:pt x="1609" y="131"/>
                    <a:pt x="1610" y="131"/>
                  </a:cubicBezTo>
                  <a:cubicBezTo>
                    <a:pt x="1608" y="129"/>
                    <a:pt x="1606" y="127"/>
                    <a:pt x="1604" y="125"/>
                  </a:cubicBezTo>
                  <a:moveTo>
                    <a:pt x="1610" y="132"/>
                  </a:moveTo>
                  <a:cubicBezTo>
                    <a:pt x="1610" y="132"/>
                    <a:pt x="1610" y="132"/>
                    <a:pt x="1610" y="132"/>
                  </a:cubicBezTo>
                  <a:cubicBezTo>
                    <a:pt x="1611" y="134"/>
                    <a:pt x="1613" y="136"/>
                    <a:pt x="1614" y="138"/>
                  </a:cubicBezTo>
                  <a:cubicBezTo>
                    <a:pt x="1615" y="137"/>
                    <a:pt x="1615" y="137"/>
                    <a:pt x="1615" y="137"/>
                  </a:cubicBezTo>
                  <a:cubicBezTo>
                    <a:pt x="1614" y="135"/>
                    <a:pt x="1612" y="133"/>
                    <a:pt x="1610" y="132"/>
                  </a:cubicBezTo>
                  <a:moveTo>
                    <a:pt x="1616" y="138"/>
                  </a:moveTo>
                  <a:cubicBezTo>
                    <a:pt x="1615" y="138"/>
                    <a:pt x="1615" y="138"/>
                    <a:pt x="1615" y="138"/>
                  </a:cubicBezTo>
                  <a:cubicBezTo>
                    <a:pt x="1615" y="139"/>
                    <a:pt x="1615" y="139"/>
                    <a:pt x="1615" y="139"/>
                  </a:cubicBezTo>
                  <a:cubicBezTo>
                    <a:pt x="1616" y="139"/>
                    <a:pt x="1616" y="139"/>
                    <a:pt x="1616" y="139"/>
                  </a:cubicBezTo>
                  <a:cubicBezTo>
                    <a:pt x="1616" y="138"/>
                    <a:pt x="1616" y="138"/>
                    <a:pt x="1616" y="138"/>
                  </a:cubicBezTo>
                  <a:moveTo>
                    <a:pt x="1617" y="139"/>
                  </a:moveTo>
                  <a:cubicBezTo>
                    <a:pt x="1617" y="139"/>
                    <a:pt x="1616" y="140"/>
                    <a:pt x="1616" y="140"/>
                  </a:cubicBezTo>
                  <a:cubicBezTo>
                    <a:pt x="1616" y="140"/>
                    <a:pt x="1616" y="140"/>
                    <a:pt x="1616" y="140"/>
                  </a:cubicBezTo>
                  <a:cubicBezTo>
                    <a:pt x="1616" y="140"/>
                    <a:pt x="1617" y="140"/>
                    <a:pt x="1617" y="139"/>
                  </a:cubicBezTo>
                  <a:cubicBezTo>
                    <a:pt x="1617" y="139"/>
                    <a:pt x="1617" y="139"/>
                    <a:pt x="1617" y="139"/>
                  </a:cubicBezTo>
                  <a:moveTo>
                    <a:pt x="1617" y="140"/>
                  </a:moveTo>
                  <a:cubicBezTo>
                    <a:pt x="1617" y="140"/>
                    <a:pt x="1617" y="141"/>
                    <a:pt x="1617" y="141"/>
                  </a:cubicBezTo>
                  <a:cubicBezTo>
                    <a:pt x="1620" y="145"/>
                    <a:pt x="1623" y="150"/>
                    <a:pt x="1625" y="154"/>
                  </a:cubicBezTo>
                  <a:cubicBezTo>
                    <a:pt x="1625" y="154"/>
                    <a:pt x="1625" y="154"/>
                    <a:pt x="1625" y="153"/>
                  </a:cubicBezTo>
                  <a:cubicBezTo>
                    <a:pt x="1623" y="149"/>
                    <a:pt x="1621" y="145"/>
                    <a:pt x="1617" y="140"/>
                  </a:cubicBezTo>
                  <a:moveTo>
                    <a:pt x="1626" y="154"/>
                  </a:moveTo>
                  <a:cubicBezTo>
                    <a:pt x="1626" y="155"/>
                    <a:pt x="1625" y="155"/>
                    <a:pt x="1625" y="155"/>
                  </a:cubicBezTo>
                  <a:cubicBezTo>
                    <a:pt x="1625" y="155"/>
                    <a:pt x="1625" y="156"/>
                    <a:pt x="1626" y="156"/>
                  </a:cubicBezTo>
                  <a:cubicBezTo>
                    <a:pt x="1626" y="156"/>
                    <a:pt x="1626" y="156"/>
                    <a:pt x="1626" y="155"/>
                  </a:cubicBezTo>
                  <a:cubicBezTo>
                    <a:pt x="1626" y="155"/>
                    <a:pt x="1626" y="155"/>
                    <a:pt x="1626" y="154"/>
                  </a:cubicBezTo>
                  <a:moveTo>
                    <a:pt x="1627" y="156"/>
                  </a:moveTo>
                  <a:cubicBezTo>
                    <a:pt x="1627" y="157"/>
                    <a:pt x="1626" y="157"/>
                    <a:pt x="1626" y="157"/>
                  </a:cubicBezTo>
                  <a:cubicBezTo>
                    <a:pt x="1626" y="158"/>
                    <a:pt x="1627" y="160"/>
                    <a:pt x="1627" y="161"/>
                  </a:cubicBezTo>
                  <a:cubicBezTo>
                    <a:pt x="1628" y="160"/>
                    <a:pt x="1628" y="160"/>
                    <a:pt x="1628" y="160"/>
                  </a:cubicBezTo>
                  <a:cubicBezTo>
                    <a:pt x="1628" y="159"/>
                    <a:pt x="1627" y="158"/>
                    <a:pt x="1627" y="156"/>
                  </a:cubicBezTo>
                  <a:moveTo>
                    <a:pt x="1628" y="161"/>
                  </a:moveTo>
                  <a:cubicBezTo>
                    <a:pt x="1628" y="161"/>
                    <a:pt x="1628" y="162"/>
                    <a:pt x="1628" y="162"/>
                  </a:cubicBezTo>
                  <a:cubicBezTo>
                    <a:pt x="1628" y="162"/>
                    <a:pt x="1628" y="162"/>
                    <a:pt x="1628" y="162"/>
                  </a:cubicBezTo>
                  <a:cubicBezTo>
                    <a:pt x="1628" y="162"/>
                    <a:pt x="1628" y="162"/>
                    <a:pt x="1628" y="161"/>
                  </a:cubicBezTo>
                  <a:cubicBezTo>
                    <a:pt x="1628" y="161"/>
                    <a:pt x="1628" y="161"/>
                    <a:pt x="1628" y="161"/>
                  </a:cubicBezTo>
                  <a:moveTo>
                    <a:pt x="1629" y="163"/>
                  </a:moveTo>
                  <a:cubicBezTo>
                    <a:pt x="1629" y="164"/>
                    <a:pt x="1629" y="164"/>
                    <a:pt x="1628" y="165"/>
                  </a:cubicBezTo>
                  <a:cubicBezTo>
                    <a:pt x="1628" y="165"/>
                    <a:pt x="1628" y="165"/>
                    <a:pt x="1628" y="165"/>
                  </a:cubicBezTo>
                  <a:cubicBezTo>
                    <a:pt x="1629" y="165"/>
                    <a:pt x="1629" y="165"/>
                    <a:pt x="1629" y="164"/>
                  </a:cubicBezTo>
                  <a:cubicBezTo>
                    <a:pt x="1629" y="164"/>
                    <a:pt x="1629" y="164"/>
                    <a:pt x="1629" y="163"/>
                  </a:cubicBezTo>
                  <a:moveTo>
                    <a:pt x="1630" y="166"/>
                  </a:moveTo>
                  <a:cubicBezTo>
                    <a:pt x="1629" y="166"/>
                    <a:pt x="1629" y="166"/>
                    <a:pt x="1629" y="167"/>
                  </a:cubicBezTo>
                  <a:cubicBezTo>
                    <a:pt x="1629" y="167"/>
                    <a:pt x="1629" y="167"/>
                    <a:pt x="1629" y="167"/>
                  </a:cubicBezTo>
                  <a:cubicBezTo>
                    <a:pt x="1629" y="167"/>
                    <a:pt x="1629" y="166"/>
                    <a:pt x="1630" y="166"/>
                  </a:cubicBezTo>
                  <a:cubicBezTo>
                    <a:pt x="1630" y="166"/>
                    <a:pt x="1630" y="166"/>
                    <a:pt x="1630" y="166"/>
                  </a:cubicBezTo>
                  <a:moveTo>
                    <a:pt x="1630" y="169"/>
                  </a:moveTo>
                  <a:cubicBezTo>
                    <a:pt x="1630" y="170"/>
                    <a:pt x="1630" y="170"/>
                    <a:pt x="1629" y="171"/>
                  </a:cubicBezTo>
                  <a:cubicBezTo>
                    <a:pt x="1629" y="172"/>
                    <a:pt x="1629" y="173"/>
                    <a:pt x="1629" y="173"/>
                  </a:cubicBezTo>
                  <a:cubicBezTo>
                    <a:pt x="1629" y="174"/>
                    <a:pt x="1629" y="174"/>
                    <a:pt x="1629" y="174"/>
                  </a:cubicBezTo>
                  <a:cubicBezTo>
                    <a:pt x="1630" y="174"/>
                    <a:pt x="1630" y="174"/>
                    <a:pt x="1630" y="173"/>
                  </a:cubicBezTo>
                  <a:cubicBezTo>
                    <a:pt x="1630" y="173"/>
                    <a:pt x="1630" y="173"/>
                    <a:pt x="1630" y="173"/>
                  </a:cubicBezTo>
                  <a:cubicBezTo>
                    <a:pt x="1630" y="172"/>
                    <a:pt x="1630" y="171"/>
                    <a:pt x="1630" y="169"/>
                  </a:cubicBezTo>
                  <a:moveTo>
                    <a:pt x="1630" y="175"/>
                  </a:moveTo>
                  <a:cubicBezTo>
                    <a:pt x="1630" y="176"/>
                    <a:pt x="1630" y="176"/>
                    <a:pt x="1629" y="176"/>
                  </a:cubicBezTo>
                  <a:cubicBezTo>
                    <a:pt x="1629" y="180"/>
                    <a:pt x="1628" y="184"/>
                    <a:pt x="1627" y="188"/>
                  </a:cubicBezTo>
                  <a:cubicBezTo>
                    <a:pt x="1627" y="188"/>
                    <a:pt x="1627" y="188"/>
                    <a:pt x="1628" y="188"/>
                  </a:cubicBezTo>
                  <a:cubicBezTo>
                    <a:pt x="1629" y="184"/>
                    <a:pt x="1630" y="179"/>
                    <a:pt x="1630" y="175"/>
                  </a:cubicBezTo>
                  <a:moveTo>
                    <a:pt x="1626" y="189"/>
                  </a:moveTo>
                  <a:cubicBezTo>
                    <a:pt x="1625" y="191"/>
                    <a:pt x="1624" y="193"/>
                    <a:pt x="1623" y="195"/>
                  </a:cubicBezTo>
                  <a:cubicBezTo>
                    <a:pt x="1624" y="194"/>
                    <a:pt x="1625" y="193"/>
                    <a:pt x="1625" y="192"/>
                  </a:cubicBezTo>
                  <a:cubicBezTo>
                    <a:pt x="1626" y="191"/>
                    <a:pt x="1627" y="190"/>
                    <a:pt x="1627" y="189"/>
                  </a:cubicBezTo>
                  <a:cubicBezTo>
                    <a:pt x="1627" y="189"/>
                    <a:pt x="1626" y="189"/>
                    <a:pt x="1626" y="189"/>
                  </a:cubicBezTo>
                  <a:moveTo>
                    <a:pt x="1623" y="196"/>
                  </a:moveTo>
                  <a:cubicBezTo>
                    <a:pt x="1622" y="197"/>
                    <a:pt x="1621" y="198"/>
                    <a:pt x="1620" y="199"/>
                  </a:cubicBezTo>
                  <a:cubicBezTo>
                    <a:pt x="1615" y="205"/>
                    <a:pt x="1608" y="211"/>
                    <a:pt x="1599" y="217"/>
                  </a:cubicBezTo>
                  <a:cubicBezTo>
                    <a:pt x="1599" y="217"/>
                    <a:pt x="1598" y="218"/>
                    <a:pt x="1597" y="218"/>
                  </a:cubicBezTo>
                  <a:cubicBezTo>
                    <a:pt x="1597" y="218"/>
                    <a:pt x="1598" y="219"/>
                    <a:pt x="1598" y="219"/>
                  </a:cubicBezTo>
                  <a:cubicBezTo>
                    <a:pt x="1599" y="218"/>
                    <a:pt x="1599" y="218"/>
                    <a:pt x="1600" y="218"/>
                  </a:cubicBezTo>
                  <a:cubicBezTo>
                    <a:pt x="1611" y="211"/>
                    <a:pt x="1618" y="203"/>
                    <a:pt x="1623" y="196"/>
                  </a:cubicBezTo>
                  <a:moveTo>
                    <a:pt x="1235" y="210"/>
                  </a:moveTo>
                  <a:cubicBezTo>
                    <a:pt x="1235" y="210"/>
                    <a:pt x="1234" y="210"/>
                    <a:pt x="1234" y="210"/>
                  </a:cubicBezTo>
                  <a:cubicBezTo>
                    <a:pt x="1236" y="218"/>
                    <a:pt x="1238" y="226"/>
                    <a:pt x="1239" y="234"/>
                  </a:cubicBezTo>
                  <a:cubicBezTo>
                    <a:pt x="1239" y="234"/>
                    <a:pt x="1240" y="233"/>
                    <a:pt x="1240" y="233"/>
                  </a:cubicBezTo>
                  <a:cubicBezTo>
                    <a:pt x="1239" y="226"/>
                    <a:pt x="1237" y="218"/>
                    <a:pt x="1235" y="210"/>
                  </a:cubicBezTo>
                  <a:moveTo>
                    <a:pt x="1596" y="219"/>
                  </a:moveTo>
                  <a:cubicBezTo>
                    <a:pt x="1596" y="219"/>
                    <a:pt x="1596" y="219"/>
                    <a:pt x="1596" y="219"/>
                  </a:cubicBezTo>
                  <a:cubicBezTo>
                    <a:pt x="1595" y="220"/>
                    <a:pt x="1595" y="220"/>
                    <a:pt x="1594" y="221"/>
                  </a:cubicBezTo>
                  <a:cubicBezTo>
                    <a:pt x="1595" y="221"/>
                    <a:pt x="1596" y="220"/>
                    <a:pt x="1597" y="219"/>
                  </a:cubicBezTo>
                  <a:cubicBezTo>
                    <a:pt x="1597" y="219"/>
                    <a:pt x="1597" y="219"/>
                    <a:pt x="1596" y="219"/>
                  </a:cubicBezTo>
                  <a:moveTo>
                    <a:pt x="1592" y="222"/>
                  </a:moveTo>
                  <a:cubicBezTo>
                    <a:pt x="1591" y="222"/>
                    <a:pt x="1591" y="222"/>
                    <a:pt x="1590" y="223"/>
                  </a:cubicBezTo>
                  <a:cubicBezTo>
                    <a:pt x="1590" y="223"/>
                    <a:pt x="1589" y="224"/>
                    <a:pt x="1589" y="225"/>
                  </a:cubicBezTo>
                  <a:cubicBezTo>
                    <a:pt x="1589" y="225"/>
                    <a:pt x="1589" y="225"/>
                    <a:pt x="1589" y="225"/>
                  </a:cubicBezTo>
                  <a:cubicBezTo>
                    <a:pt x="1589" y="225"/>
                    <a:pt x="1589" y="225"/>
                    <a:pt x="1590" y="224"/>
                  </a:cubicBezTo>
                  <a:cubicBezTo>
                    <a:pt x="1590" y="223"/>
                    <a:pt x="1591" y="223"/>
                    <a:pt x="1592" y="222"/>
                  </a:cubicBezTo>
                  <a:moveTo>
                    <a:pt x="1587" y="225"/>
                  </a:moveTo>
                  <a:cubicBezTo>
                    <a:pt x="1585" y="226"/>
                    <a:pt x="1584" y="227"/>
                    <a:pt x="1582" y="228"/>
                  </a:cubicBezTo>
                  <a:cubicBezTo>
                    <a:pt x="1581" y="229"/>
                    <a:pt x="1580" y="231"/>
                    <a:pt x="1578" y="232"/>
                  </a:cubicBezTo>
                  <a:cubicBezTo>
                    <a:pt x="1579" y="232"/>
                    <a:pt x="1579" y="231"/>
                    <a:pt x="1579" y="231"/>
                  </a:cubicBezTo>
                  <a:cubicBezTo>
                    <a:pt x="1581" y="230"/>
                    <a:pt x="1582" y="229"/>
                    <a:pt x="1584" y="228"/>
                  </a:cubicBezTo>
                  <a:cubicBezTo>
                    <a:pt x="1585" y="227"/>
                    <a:pt x="1586" y="226"/>
                    <a:pt x="1587" y="225"/>
                  </a:cubicBezTo>
                  <a:moveTo>
                    <a:pt x="1588" y="225"/>
                  </a:moveTo>
                  <a:cubicBezTo>
                    <a:pt x="1588" y="226"/>
                    <a:pt x="1588" y="226"/>
                    <a:pt x="1588" y="226"/>
                  </a:cubicBezTo>
                  <a:cubicBezTo>
                    <a:pt x="1588" y="226"/>
                    <a:pt x="1588" y="226"/>
                    <a:pt x="1588" y="226"/>
                  </a:cubicBezTo>
                  <a:cubicBezTo>
                    <a:pt x="1588" y="226"/>
                    <a:pt x="1588" y="225"/>
                    <a:pt x="1588" y="225"/>
                  </a:cubicBezTo>
                  <a:moveTo>
                    <a:pt x="1577" y="231"/>
                  </a:moveTo>
                  <a:cubicBezTo>
                    <a:pt x="1576" y="232"/>
                    <a:pt x="1575" y="233"/>
                    <a:pt x="1574" y="233"/>
                  </a:cubicBezTo>
                  <a:cubicBezTo>
                    <a:pt x="1574" y="234"/>
                    <a:pt x="1574" y="234"/>
                    <a:pt x="1574" y="234"/>
                  </a:cubicBezTo>
                  <a:cubicBezTo>
                    <a:pt x="1570" y="237"/>
                    <a:pt x="1566" y="239"/>
                    <a:pt x="1563" y="242"/>
                  </a:cubicBezTo>
                  <a:cubicBezTo>
                    <a:pt x="1566" y="240"/>
                    <a:pt x="1569" y="238"/>
                    <a:pt x="1573" y="236"/>
                  </a:cubicBezTo>
                  <a:cubicBezTo>
                    <a:pt x="1574" y="234"/>
                    <a:pt x="1576" y="233"/>
                    <a:pt x="1577" y="231"/>
                  </a:cubicBezTo>
                  <a:moveTo>
                    <a:pt x="1240" y="234"/>
                  </a:moveTo>
                  <a:cubicBezTo>
                    <a:pt x="1240" y="235"/>
                    <a:pt x="1240" y="235"/>
                    <a:pt x="1239" y="235"/>
                  </a:cubicBezTo>
                  <a:cubicBezTo>
                    <a:pt x="1240" y="237"/>
                    <a:pt x="1240" y="239"/>
                    <a:pt x="1240" y="240"/>
                  </a:cubicBezTo>
                  <a:cubicBezTo>
                    <a:pt x="1240" y="240"/>
                    <a:pt x="1241" y="240"/>
                    <a:pt x="1241" y="239"/>
                  </a:cubicBezTo>
                  <a:cubicBezTo>
                    <a:pt x="1241" y="238"/>
                    <a:pt x="1240" y="236"/>
                    <a:pt x="1240" y="234"/>
                  </a:cubicBezTo>
                  <a:moveTo>
                    <a:pt x="1241" y="241"/>
                  </a:moveTo>
                  <a:cubicBezTo>
                    <a:pt x="1241" y="241"/>
                    <a:pt x="1241" y="241"/>
                    <a:pt x="1240" y="242"/>
                  </a:cubicBezTo>
                  <a:cubicBezTo>
                    <a:pt x="1240" y="243"/>
                    <a:pt x="1241" y="245"/>
                    <a:pt x="1241" y="247"/>
                  </a:cubicBezTo>
                  <a:cubicBezTo>
                    <a:pt x="1241" y="247"/>
                    <a:pt x="1242" y="247"/>
                    <a:pt x="1242" y="247"/>
                  </a:cubicBezTo>
                  <a:cubicBezTo>
                    <a:pt x="1242" y="245"/>
                    <a:pt x="1241" y="243"/>
                    <a:pt x="1241" y="241"/>
                  </a:cubicBezTo>
                  <a:moveTo>
                    <a:pt x="1555" y="246"/>
                  </a:moveTo>
                  <a:cubicBezTo>
                    <a:pt x="1554" y="247"/>
                    <a:pt x="1553" y="247"/>
                    <a:pt x="1552" y="248"/>
                  </a:cubicBezTo>
                  <a:cubicBezTo>
                    <a:pt x="1552" y="248"/>
                    <a:pt x="1552" y="248"/>
                    <a:pt x="1552" y="248"/>
                  </a:cubicBezTo>
                  <a:cubicBezTo>
                    <a:pt x="1553" y="248"/>
                    <a:pt x="1554" y="247"/>
                    <a:pt x="1555" y="246"/>
                  </a:cubicBezTo>
                  <a:moveTo>
                    <a:pt x="1241" y="248"/>
                  </a:moveTo>
                  <a:cubicBezTo>
                    <a:pt x="1241" y="248"/>
                    <a:pt x="1241" y="249"/>
                    <a:pt x="1241" y="249"/>
                  </a:cubicBezTo>
                  <a:cubicBezTo>
                    <a:pt x="1241" y="249"/>
                    <a:pt x="1242" y="249"/>
                    <a:pt x="1242" y="249"/>
                  </a:cubicBezTo>
                  <a:cubicBezTo>
                    <a:pt x="1242" y="248"/>
                    <a:pt x="1242" y="248"/>
                    <a:pt x="1242" y="248"/>
                  </a:cubicBezTo>
                  <a:cubicBezTo>
                    <a:pt x="1242" y="248"/>
                    <a:pt x="1241" y="248"/>
                    <a:pt x="1241" y="248"/>
                  </a:cubicBezTo>
                  <a:moveTo>
                    <a:pt x="1551" y="249"/>
                  </a:moveTo>
                  <a:cubicBezTo>
                    <a:pt x="1546" y="252"/>
                    <a:pt x="1542" y="255"/>
                    <a:pt x="1538" y="258"/>
                  </a:cubicBezTo>
                  <a:cubicBezTo>
                    <a:pt x="1536" y="260"/>
                    <a:pt x="1535" y="261"/>
                    <a:pt x="1533" y="262"/>
                  </a:cubicBezTo>
                  <a:cubicBezTo>
                    <a:pt x="1533" y="262"/>
                    <a:pt x="1533" y="263"/>
                    <a:pt x="1533" y="263"/>
                  </a:cubicBezTo>
                  <a:cubicBezTo>
                    <a:pt x="1535" y="261"/>
                    <a:pt x="1537" y="260"/>
                    <a:pt x="1538" y="259"/>
                  </a:cubicBezTo>
                  <a:cubicBezTo>
                    <a:pt x="1543" y="256"/>
                    <a:pt x="1547" y="253"/>
                    <a:pt x="1551" y="249"/>
                  </a:cubicBezTo>
                  <a:cubicBezTo>
                    <a:pt x="1551" y="249"/>
                    <a:pt x="1551" y="249"/>
                    <a:pt x="1551" y="249"/>
                  </a:cubicBezTo>
                  <a:moveTo>
                    <a:pt x="1242" y="250"/>
                  </a:moveTo>
                  <a:cubicBezTo>
                    <a:pt x="1242" y="250"/>
                    <a:pt x="1241" y="250"/>
                    <a:pt x="1241" y="250"/>
                  </a:cubicBezTo>
                  <a:cubicBezTo>
                    <a:pt x="1241" y="251"/>
                    <a:pt x="1241" y="252"/>
                    <a:pt x="1241" y="253"/>
                  </a:cubicBezTo>
                  <a:cubicBezTo>
                    <a:pt x="1242" y="253"/>
                    <a:pt x="1242" y="253"/>
                    <a:pt x="1242" y="253"/>
                  </a:cubicBezTo>
                  <a:cubicBezTo>
                    <a:pt x="1242" y="252"/>
                    <a:pt x="1242" y="251"/>
                    <a:pt x="1242" y="250"/>
                  </a:cubicBezTo>
                  <a:moveTo>
                    <a:pt x="1241" y="254"/>
                  </a:moveTo>
                  <a:cubicBezTo>
                    <a:pt x="1242" y="255"/>
                    <a:pt x="1242" y="256"/>
                    <a:pt x="1242" y="257"/>
                  </a:cubicBezTo>
                  <a:cubicBezTo>
                    <a:pt x="1242" y="257"/>
                    <a:pt x="1242" y="257"/>
                    <a:pt x="1243" y="257"/>
                  </a:cubicBezTo>
                  <a:cubicBezTo>
                    <a:pt x="1243" y="256"/>
                    <a:pt x="1243" y="255"/>
                    <a:pt x="1242" y="254"/>
                  </a:cubicBezTo>
                  <a:cubicBezTo>
                    <a:pt x="1242" y="254"/>
                    <a:pt x="1242" y="254"/>
                    <a:pt x="1241" y="254"/>
                  </a:cubicBezTo>
                  <a:moveTo>
                    <a:pt x="1243" y="258"/>
                  </a:moveTo>
                  <a:cubicBezTo>
                    <a:pt x="1242" y="258"/>
                    <a:pt x="1242" y="258"/>
                    <a:pt x="1242" y="258"/>
                  </a:cubicBezTo>
                  <a:cubicBezTo>
                    <a:pt x="1242" y="259"/>
                    <a:pt x="1242" y="259"/>
                    <a:pt x="1242" y="260"/>
                  </a:cubicBezTo>
                  <a:cubicBezTo>
                    <a:pt x="1242" y="259"/>
                    <a:pt x="1242" y="259"/>
                    <a:pt x="1243" y="259"/>
                  </a:cubicBezTo>
                  <a:cubicBezTo>
                    <a:pt x="1243" y="259"/>
                    <a:pt x="1243" y="259"/>
                    <a:pt x="1243" y="258"/>
                  </a:cubicBezTo>
                  <a:moveTo>
                    <a:pt x="1243" y="260"/>
                  </a:moveTo>
                  <a:cubicBezTo>
                    <a:pt x="1242" y="260"/>
                    <a:pt x="1242" y="260"/>
                    <a:pt x="1242" y="260"/>
                  </a:cubicBezTo>
                  <a:cubicBezTo>
                    <a:pt x="1242" y="262"/>
                    <a:pt x="1242" y="264"/>
                    <a:pt x="1242" y="265"/>
                  </a:cubicBezTo>
                  <a:cubicBezTo>
                    <a:pt x="1242" y="265"/>
                    <a:pt x="1242" y="265"/>
                    <a:pt x="1242" y="266"/>
                  </a:cubicBezTo>
                  <a:cubicBezTo>
                    <a:pt x="1242" y="266"/>
                    <a:pt x="1243" y="266"/>
                    <a:pt x="1243" y="266"/>
                  </a:cubicBezTo>
                  <a:cubicBezTo>
                    <a:pt x="1243" y="265"/>
                    <a:pt x="1243" y="265"/>
                    <a:pt x="1243" y="265"/>
                  </a:cubicBezTo>
                  <a:cubicBezTo>
                    <a:pt x="1243" y="264"/>
                    <a:pt x="1243" y="262"/>
                    <a:pt x="1243" y="260"/>
                  </a:cubicBezTo>
                  <a:moveTo>
                    <a:pt x="1532" y="262"/>
                  </a:moveTo>
                  <a:cubicBezTo>
                    <a:pt x="1529" y="265"/>
                    <a:pt x="1526" y="267"/>
                    <a:pt x="1523" y="269"/>
                  </a:cubicBezTo>
                  <a:cubicBezTo>
                    <a:pt x="1521" y="270"/>
                    <a:pt x="1519" y="272"/>
                    <a:pt x="1517" y="273"/>
                  </a:cubicBezTo>
                  <a:cubicBezTo>
                    <a:pt x="1514" y="275"/>
                    <a:pt x="1512" y="277"/>
                    <a:pt x="1509" y="279"/>
                  </a:cubicBezTo>
                  <a:cubicBezTo>
                    <a:pt x="1509" y="279"/>
                    <a:pt x="1509" y="279"/>
                    <a:pt x="1509" y="279"/>
                  </a:cubicBezTo>
                  <a:cubicBezTo>
                    <a:pt x="1515" y="275"/>
                    <a:pt x="1520" y="272"/>
                    <a:pt x="1526" y="268"/>
                  </a:cubicBezTo>
                  <a:cubicBezTo>
                    <a:pt x="1528" y="266"/>
                    <a:pt x="1530" y="264"/>
                    <a:pt x="1532" y="262"/>
                  </a:cubicBezTo>
                  <a:moveTo>
                    <a:pt x="1243" y="267"/>
                  </a:moveTo>
                  <a:cubicBezTo>
                    <a:pt x="1243" y="267"/>
                    <a:pt x="1242" y="267"/>
                    <a:pt x="1242" y="267"/>
                  </a:cubicBezTo>
                  <a:cubicBezTo>
                    <a:pt x="1242" y="269"/>
                    <a:pt x="1242" y="272"/>
                    <a:pt x="1242" y="274"/>
                  </a:cubicBezTo>
                  <a:cubicBezTo>
                    <a:pt x="1242" y="274"/>
                    <a:pt x="1242" y="273"/>
                    <a:pt x="1243" y="273"/>
                  </a:cubicBezTo>
                  <a:cubicBezTo>
                    <a:pt x="1243" y="271"/>
                    <a:pt x="1243" y="269"/>
                    <a:pt x="1243" y="267"/>
                  </a:cubicBezTo>
                  <a:moveTo>
                    <a:pt x="192" y="272"/>
                  </a:moveTo>
                  <a:cubicBezTo>
                    <a:pt x="192" y="272"/>
                    <a:pt x="192" y="272"/>
                    <a:pt x="192" y="272"/>
                  </a:cubicBezTo>
                  <a:cubicBezTo>
                    <a:pt x="192" y="273"/>
                    <a:pt x="192" y="273"/>
                    <a:pt x="192" y="273"/>
                  </a:cubicBezTo>
                  <a:cubicBezTo>
                    <a:pt x="431" y="405"/>
                    <a:pt x="640" y="472"/>
                    <a:pt x="807" y="506"/>
                  </a:cubicBezTo>
                  <a:cubicBezTo>
                    <a:pt x="807" y="506"/>
                    <a:pt x="808" y="505"/>
                    <a:pt x="808" y="505"/>
                  </a:cubicBezTo>
                  <a:cubicBezTo>
                    <a:pt x="641" y="472"/>
                    <a:pt x="432" y="404"/>
                    <a:pt x="192" y="272"/>
                  </a:cubicBezTo>
                  <a:moveTo>
                    <a:pt x="1243" y="275"/>
                  </a:moveTo>
                  <a:cubicBezTo>
                    <a:pt x="1242" y="275"/>
                    <a:pt x="1242" y="275"/>
                    <a:pt x="1241" y="276"/>
                  </a:cubicBezTo>
                  <a:cubicBezTo>
                    <a:pt x="1241" y="278"/>
                    <a:pt x="1241" y="281"/>
                    <a:pt x="1241" y="283"/>
                  </a:cubicBezTo>
                  <a:cubicBezTo>
                    <a:pt x="1241" y="283"/>
                    <a:pt x="1241" y="283"/>
                    <a:pt x="1242" y="283"/>
                  </a:cubicBezTo>
                  <a:cubicBezTo>
                    <a:pt x="1242" y="280"/>
                    <a:pt x="1242" y="277"/>
                    <a:pt x="1243" y="275"/>
                  </a:cubicBezTo>
                  <a:moveTo>
                    <a:pt x="1509" y="280"/>
                  </a:moveTo>
                  <a:cubicBezTo>
                    <a:pt x="1507" y="281"/>
                    <a:pt x="1506" y="282"/>
                    <a:pt x="1505" y="283"/>
                  </a:cubicBezTo>
                  <a:cubicBezTo>
                    <a:pt x="1505" y="283"/>
                    <a:pt x="1505" y="283"/>
                    <a:pt x="1505" y="283"/>
                  </a:cubicBezTo>
                  <a:cubicBezTo>
                    <a:pt x="1506" y="282"/>
                    <a:pt x="1508" y="281"/>
                    <a:pt x="1509" y="280"/>
                  </a:cubicBezTo>
                  <a:cubicBezTo>
                    <a:pt x="1509" y="280"/>
                    <a:pt x="1509" y="280"/>
                    <a:pt x="1509" y="280"/>
                  </a:cubicBezTo>
                  <a:moveTo>
                    <a:pt x="1504" y="284"/>
                  </a:moveTo>
                  <a:cubicBezTo>
                    <a:pt x="1502" y="285"/>
                    <a:pt x="1501" y="285"/>
                    <a:pt x="1500" y="286"/>
                  </a:cubicBezTo>
                  <a:cubicBezTo>
                    <a:pt x="1497" y="288"/>
                    <a:pt x="1495" y="290"/>
                    <a:pt x="1492" y="292"/>
                  </a:cubicBezTo>
                  <a:cubicBezTo>
                    <a:pt x="1491" y="293"/>
                    <a:pt x="1490" y="294"/>
                    <a:pt x="1490" y="295"/>
                  </a:cubicBezTo>
                  <a:cubicBezTo>
                    <a:pt x="1494" y="292"/>
                    <a:pt x="1499" y="288"/>
                    <a:pt x="1504" y="284"/>
                  </a:cubicBezTo>
                  <a:cubicBezTo>
                    <a:pt x="1504" y="284"/>
                    <a:pt x="1504" y="284"/>
                    <a:pt x="1504" y="284"/>
                  </a:cubicBezTo>
                  <a:moveTo>
                    <a:pt x="1242" y="284"/>
                  </a:moveTo>
                  <a:cubicBezTo>
                    <a:pt x="1241" y="284"/>
                    <a:pt x="1241" y="284"/>
                    <a:pt x="1241" y="284"/>
                  </a:cubicBezTo>
                  <a:cubicBezTo>
                    <a:pt x="1239" y="293"/>
                    <a:pt x="1237" y="301"/>
                    <a:pt x="1234" y="308"/>
                  </a:cubicBezTo>
                  <a:cubicBezTo>
                    <a:pt x="1235" y="308"/>
                    <a:pt x="1235" y="307"/>
                    <a:pt x="1236" y="306"/>
                  </a:cubicBezTo>
                  <a:cubicBezTo>
                    <a:pt x="1239" y="299"/>
                    <a:pt x="1240" y="292"/>
                    <a:pt x="1242" y="284"/>
                  </a:cubicBezTo>
                  <a:moveTo>
                    <a:pt x="1489" y="295"/>
                  </a:moveTo>
                  <a:cubicBezTo>
                    <a:pt x="1487" y="297"/>
                    <a:pt x="1485" y="298"/>
                    <a:pt x="1483" y="300"/>
                  </a:cubicBezTo>
                  <a:cubicBezTo>
                    <a:pt x="1483" y="300"/>
                    <a:pt x="1483" y="300"/>
                    <a:pt x="1483" y="301"/>
                  </a:cubicBezTo>
                  <a:cubicBezTo>
                    <a:pt x="1484" y="300"/>
                    <a:pt x="1485" y="299"/>
                    <a:pt x="1486" y="299"/>
                  </a:cubicBezTo>
                  <a:cubicBezTo>
                    <a:pt x="1486" y="298"/>
                    <a:pt x="1486" y="298"/>
                    <a:pt x="1487" y="298"/>
                  </a:cubicBezTo>
                  <a:cubicBezTo>
                    <a:pt x="1487" y="297"/>
                    <a:pt x="1488" y="296"/>
                    <a:pt x="1489" y="295"/>
                  </a:cubicBezTo>
                  <a:moveTo>
                    <a:pt x="1482" y="301"/>
                  </a:moveTo>
                  <a:cubicBezTo>
                    <a:pt x="1482" y="301"/>
                    <a:pt x="1482" y="301"/>
                    <a:pt x="1482" y="301"/>
                  </a:cubicBezTo>
                  <a:cubicBezTo>
                    <a:pt x="1482" y="301"/>
                    <a:pt x="1482" y="301"/>
                    <a:pt x="1482" y="301"/>
                  </a:cubicBezTo>
                  <a:cubicBezTo>
                    <a:pt x="1482" y="301"/>
                    <a:pt x="1482" y="301"/>
                    <a:pt x="1482" y="301"/>
                  </a:cubicBezTo>
                  <a:cubicBezTo>
                    <a:pt x="1482" y="301"/>
                    <a:pt x="1482" y="301"/>
                    <a:pt x="1482" y="301"/>
                  </a:cubicBezTo>
                  <a:moveTo>
                    <a:pt x="1481" y="302"/>
                  </a:moveTo>
                  <a:cubicBezTo>
                    <a:pt x="1481" y="302"/>
                    <a:pt x="1481" y="302"/>
                    <a:pt x="1481" y="302"/>
                  </a:cubicBezTo>
                  <a:cubicBezTo>
                    <a:pt x="1481" y="302"/>
                    <a:pt x="1481" y="302"/>
                    <a:pt x="1481" y="302"/>
                  </a:cubicBezTo>
                  <a:cubicBezTo>
                    <a:pt x="1481" y="302"/>
                    <a:pt x="1481" y="302"/>
                    <a:pt x="1481" y="302"/>
                  </a:cubicBezTo>
                  <a:moveTo>
                    <a:pt x="1477" y="305"/>
                  </a:moveTo>
                  <a:cubicBezTo>
                    <a:pt x="1477" y="305"/>
                    <a:pt x="1477" y="305"/>
                    <a:pt x="1476" y="305"/>
                  </a:cubicBezTo>
                  <a:cubicBezTo>
                    <a:pt x="1476" y="305"/>
                    <a:pt x="1476" y="306"/>
                    <a:pt x="1476" y="306"/>
                  </a:cubicBezTo>
                  <a:cubicBezTo>
                    <a:pt x="1476" y="305"/>
                    <a:pt x="1477" y="305"/>
                    <a:pt x="1477" y="305"/>
                  </a:cubicBezTo>
                  <a:moveTo>
                    <a:pt x="1477" y="307"/>
                  </a:moveTo>
                  <a:cubicBezTo>
                    <a:pt x="1475" y="308"/>
                    <a:pt x="1473" y="309"/>
                    <a:pt x="1471" y="310"/>
                  </a:cubicBezTo>
                  <a:cubicBezTo>
                    <a:pt x="1471" y="311"/>
                    <a:pt x="1470" y="311"/>
                    <a:pt x="1470" y="311"/>
                  </a:cubicBezTo>
                  <a:cubicBezTo>
                    <a:pt x="1470" y="311"/>
                    <a:pt x="1469" y="312"/>
                    <a:pt x="1468" y="313"/>
                  </a:cubicBezTo>
                  <a:cubicBezTo>
                    <a:pt x="1468" y="313"/>
                    <a:pt x="1468" y="313"/>
                    <a:pt x="1469" y="313"/>
                  </a:cubicBezTo>
                  <a:cubicBezTo>
                    <a:pt x="1469" y="313"/>
                    <a:pt x="1469" y="313"/>
                    <a:pt x="1469" y="313"/>
                  </a:cubicBezTo>
                  <a:cubicBezTo>
                    <a:pt x="1470" y="313"/>
                    <a:pt x="1470" y="312"/>
                    <a:pt x="1471" y="312"/>
                  </a:cubicBezTo>
                  <a:cubicBezTo>
                    <a:pt x="1472" y="311"/>
                    <a:pt x="1473" y="310"/>
                    <a:pt x="1474" y="309"/>
                  </a:cubicBezTo>
                  <a:cubicBezTo>
                    <a:pt x="1475" y="308"/>
                    <a:pt x="1476" y="307"/>
                    <a:pt x="1477" y="307"/>
                  </a:cubicBezTo>
                  <a:moveTo>
                    <a:pt x="1235" y="309"/>
                  </a:moveTo>
                  <a:cubicBezTo>
                    <a:pt x="1234" y="310"/>
                    <a:pt x="1234" y="310"/>
                    <a:pt x="1233" y="311"/>
                  </a:cubicBezTo>
                  <a:cubicBezTo>
                    <a:pt x="1232" y="313"/>
                    <a:pt x="1231" y="316"/>
                    <a:pt x="1230" y="318"/>
                  </a:cubicBezTo>
                  <a:cubicBezTo>
                    <a:pt x="1230" y="318"/>
                    <a:pt x="1231" y="318"/>
                    <a:pt x="1231" y="318"/>
                  </a:cubicBezTo>
                  <a:cubicBezTo>
                    <a:pt x="1232" y="315"/>
                    <a:pt x="1234" y="312"/>
                    <a:pt x="1235" y="309"/>
                  </a:cubicBezTo>
                  <a:moveTo>
                    <a:pt x="1467" y="314"/>
                  </a:moveTo>
                  <a:cubicBezTo>
                    <a:pt x="1467" y="314"/>
                    <a:pt x="1466" y="315"/>
                    <a:pt x="1465" y="316"/>
                  </a:cubicBezTo>
                  <a:cubicBezTo>
                    <a:pt x="1466" y="315"/>
                    <a:pt x="1467" y="315"/>
                    <a:pt x="1468" y="314"/>
                  </a:cubicBezTo>
                  <a:cubicBezTo>
                    <a:pt x="1468" y="314"/>
                    <a:pt x="1467" y="314"/>
                    <a:pt x="1467" y="314"/>
                  </a:cubicBezTo>
                  <a:moveTo>
                    <a:pt x="1466" y="316"/>
                  </a:moveTo>
                  <a:cubicBezTo>
                    <a:pt x="1464" y="317"/>
                    <a:pt x="1463" y="318"/>
                    <a:pt x="1462" y="318"/>
                  </a:cubicBezTo>
                  <a:cubicBezTo>
                    <a:pt x="1459" y="321"/>
                    <a:pt x="1457" y="324"/>
                    <a:pt x="1454" y="326"/>
                  </a:cubicBezTo>
                  <a:cubicBezTo>
                    <a:pt x="1455" y="326"/>
                    <a:pt x="1456" y="325"/>
                    <a:pt x="1457" y="325"/>
                  </a:cubicBezTo>
                  <a:cubicBezTo>
                    <a:pt x="1460" y="322"/>
                    <a:pt x="1463" y="319"/>
                    <a:pt x="1466" y="316"/>
                  </a:cubicBezTo>
                  <a:moveTo>
                    <a:pt x="1230" y="319"/>
                  </a:moveTo>
                  <a:cubicBezTo>
                    <a:pt x="1230" y="319"/>
                    <a:pt x="1230" y="319"/>
                    <a:pt x="1229" y="319"/>
                  </a:cubicBezTo>
                  <a:cubicBezTo>
                    <a:pt x="1226" y="325"/>
                    <a:pt x="1221" y="331"/>
                    <a:pt x="1216" y="337"/>
                  </a:cubicBezTo>
                  <a:cubicBezTo>
                    <a:pt x="1217" y="337"/>
                    <a:pt x="1217" y="337"/>
                    <a:pt x="1218" y="337"/>
                  </a:cubicBezTo>
                  <a:cubicBezTo>
                    <a:pt x="1223" y="331"/>
                    <a:pt x="1227" y="325"/>
                    <a:pt x="1230" y="319"/>
                  </a:cubicBezTo>
                  <a:moveTo>
                    <a:pt x="766" y="325"/>
                  </a:moveTo>
                  <a:cubicBezTo>
                    <a:pt x="766" y="325"/>
                    <a:pt x="765" y="325"/>
                    <a:pt x="765" y="325"/>
                  </a:cubicBezTo>
                  <a:cubicBezTo>
                    <a:pt x="765" y="326"/>
                    <a:pt x="765" y="326"/>
                    <a:pt x="765" y="326"/>
                  </a:cubicBezTo>
                  <a:cubicBezTo>
                    <a:pt x="766" y="325"/>
                    <a:pt x="766" y="325"/>
                    <a:pt x="766" y="325"/>
                  </a:cubicBezTo>
                  <a:cubicBezTo>
                    <a:pt x="766" y="325"/>
                    <a:pt x="766" y="325"/>
                    <a:pt x="766" y="325"/>
                  </a:cubicBezTo>
                  <a:cubicBezTo>
                    <a:pt x="766" y="325"/>
                    <a:pt x="766" y="325"/>
                    <a:pt x="766" y="325"/>
                  </a:cubicBezTo>
                  <a:moveTo>
                    <a:pt x="767" y="325"/>
                  </a:moveTo>
                  <a:cubicBezTo>
                    <a:pt x="767" y="326"/>
                    <a:pt x="767" y="326"/>
                    <a:pt x="767" y="326"/>
                  </a:cubicBezTo>
                  <a:cubicBezTo>
                    <a:pt x="767" y="326"/>
                    <a:pt x="767" y="326"/>
                    <a:pt x="767" y="326"/>
                  </a:cubicBezTo>
                  <a:cubicBezTo>
                    <a:pt x="767" y="326"/>
                    <a:pt x="768" y="327"/>
                    <a:pt x="768" y="327"/>
                  </a:cubicBezTo>
                  <a:cubicBezTo>
                    <a:pt x="768" y="327"/>
                    <a:pt x="769" y="327"/>
                    <a:pt x="769" y="326"/>
                  </a:cubicBezTo>
                  <a:cubicBezTo>
                    <a:pt x="769" y="326"/>
                    <a:pt x="768" y="326"/>
                    <a:pt x="767" y="325"/>
                  </a:cubicBezTo>
                  <a:moveTo>
                    <a:pt x="770" y="327"/>
                  </a:moveTo>
                  <a:cubicBezTo>
                    <a:pt x="770" y="327"/>
                    <a:pt x="769" y="327"/>
                    <a:pt x="769" y="327"/>
                  </a:cubicBezTo>
                  <a:cubicBezTo>
                    <a:pt x="769" y="328"/>
                    <a:pt x="770" y="328"/>
                    <a:pt x="770" y="328"/>
                  </a:cubicBezTo>
                  <a:cubicBezTo>
                    <a:pt x="770" y="328"/>
                    <a:pt x="771" y="328"/>
                    <a:pt x="771" y="327"/>
                  </a:cubicBezTo>
                  <a:cubicBezTo>
                    <a:pt x="771" y="327"/>
                    <a:pt x="771" y="327"/>
                    <a:pt x="770" y="327"/>
                  </a:cubicBezTo>
                  <a:moveTo>
                    <a:pt x="1455" y="327"/>
                  </a:moveTo>
                  <a:cubicBezTo>
                    <a:pt x="1454" y="328"/>
                    <a:pt x="1453" y="328"/>
                    <a:pt x="1452" y="329"/>
                  </a:cubicBezTo>
                  <a:cubicBezTo>
                    <a:pt x="1450" y="331"/>
                    <a:pt x="1448" y="333"/>
                    <a:pt x="1446" y="335"/>
                  </a:cubicBezTo>
                  <a:cubicBezTo>
                    <a:pt x="1447" y="335"/>
                    <a:pt x="1447" y="335"/>
                    <a:pt x="1448" y="334"/>
                  </a:cubicBezTo>
                  <a:cubicBezTo>
                    <a:pt x="1450" y="332"/>
                    <a:pt x="1452" y="329"/>
                    <a:pt x="1455" y="327"/>
                  </a:cubicBezTo>
                  <a:moveTo>
                    <a:pt x="773" y="328"/>
                  </a:moveTo>
                  <a:cubicBezTo>
                    <a:pt x="773" y="328"/>
                    <a:pt x="773" y="328"/>
                    <a:pt x="773" y="328"/>
                  </a:cubicBezTo>
                  <a:cubicBezTo>
                    <a:pt x="773" y="328"/>
                    <a:pt x="773" y="328"/>
                    <a:pt x="773" y="328"/>
                  </a:cubicBezTo>
                  <a:cubicBezTo>
                    <a:pt x="773" y="328"/>
                    <a:pt x="773" y="328"/>
                    <a:pt x="773" y="328"/>
                  </a:cubicBezTo>
                  <a:moveTo>
                    <a:pt x="772" y="328"/>
                  </a:moveTo>
                  <a:cubicBezTo>
                    <a:pt x="772" y="328"/>
                    <a:pt x="771" y="328"/>
                    <a:pt x="771" y="328"/>
                  </a:cubicBezTo>
                  <a:cubicBezTo>
                    <a:pt x="771" y="329"/>
                    <a:pt x="771" y="329"/>
                    <a:pt x="772" y="329"/>
                  </a:cubicBezTo>
                  <a:cubicBezTo>
                    <a:pt x="772" y="329"/>
                    <a:pt x="772" y="329"/>
                    <a:pt x="772" y="329"/>
                  </a:cubicBezTo>
                  <a:cubicBezTo>
                    <a:pt x="772" y="328"/>
                    <a:pt x="772" y="328"/>
                    <a:pt x="772" y="328"/>
                  </a:cubicBezTo>
                  <a:moveTo>
                    <a:pt x="774" y="329"/>
                  </a:moveTo>
                  <a:cubicBezTo>
                    <a:pt x="774" y="329"/>
                    <a:pt x="773" y="329"/>
                    <a:pt x="773" y="329"/>
                  </a:cubicBezTo>
                  <a:cubicBezTo>
                    <a:pt x="773" y="329"/>
                    <a:pt x="773" y="329"/>
                    <a:pt x="773" y="329"/>
                  </a:cubicBezTo>
                  <a:cubicBezTo>
                    <a:pt x="777" y="331"/>
                    <a:pt x="781" y="333"/>
                    <a:pt x="785" y="335"/>
                  </a:cubicBezTo>
                  <a:cubicBezTo>
                    <a:pt x="785" y="335"/>
                    <a:pt x="784" y="334"/>
                    <a:pt x="784" y="334"/>
                  </a:cubicBezTo>
                  <a:cubicBezTo>
                    <a:pt x="781" y="332"/>
                    <a:pt x="778" y="331"/>
                    <a:pt x="774" y="329"/>
                  </a:cubicBezTo>
                  <a:moveTo>
                    <a:pt x="786" y="335"/>
                  </a:moveTo>
                  <a:cubicBezTo>
                    <a:pt x="786" y="335"/>
                    <a:pt x="786" y="336"/>
                    <a:pt x="787" y="336"/>
                  </a:cubicBezTo>
                  <a:cubicBezTo>
                    <a:pt x="787" y="337"/>
                    <a:pt x="788" y="337"/>
                    <a:pt x="788" y="337"/>
                  </a:cubicBezTo>
                  <a:cubicBezTo>
                    <a:pt x="788" y="337"/>
                    <a:pt x="789" y="337"/>
                    <a:pt x="789" y="336"/>
                  </a:cubicBezTo>
                  <a:cubicBezTo>
                    <a:pt x="788" y="336"/>
                    <a:pt x="787" y="335"/>
                    <a:pt x="786" y="335"/>
                  </a:cubicBezTo>
                  <a:moveTo>
                    <a:pt x="1446" y="336"/>
                  </a:moveTo>
                  <a:cubicBezTo>
                    <a:pt x="1445" y="337"/>
                    <a:pt x="1445" y="337"/>
                    <a:pt x="1444" y="338"/>
                  </a:cubicBezTo>
                  <a:cubicBezTo>
                    <a:pt x="1444" y="338"/>
                    <a:pt x="1444" y="338"/>
                    <a:pt x="1443" y="338"/>
                  </a:cubicBezTo>
                  <a:cubicBezTo>
                    <a:pt x="1443" y="339"/>
                    <a:pt x="1442" y="340"/>
                    <a:pt x="1442" y="340"/>
                  </a:cubicBezTo>
                  <a:cubicBezTo>
                    <a:pt x="1440" y="342"/>
                    <a:pt x="1439" y="344"/>
                    <a:pt x="1437" y="346"/>
                  </a:cubicBezTo>
                  <a:cubicBezTo>
                    <a:pt x="1438" y="346"/>
                    <a:pt x="1438" y="346"/>
                    <a:pt x="1438" y="346"/>
                  </a:cubicBezTo>
                  <a:cubicBezTo>
                    <a:pt x="1440" y="344"/>
                    <a:pt x="1442" y="341"/>
                    <a:pt x="1444" y="339"/>
                  </a:cubicBezTo>
                  <a:cubicBezTo>
                    <a:pt x="1445" y="338"/>
                    <a:pt x="1445" y="338"/>
                    <a:pt x="1446" y="337"/>
                  </a:cubicBezTo>
                  <a:cubicBezTo>
                    <a:pt x="1446" y="337"/>
                    <a:pt x="1446" y="337"/>
                    <a:pt x="1446" y="336"/>
                  </a:cubicBezTo>
                  <a:moveTo>
                    <a:pt x="789" y="337"/>
                  </a:moveTo>
                  <a:cubicBezTo>
                    <a:pt x="789" y="337"/>
                    <a:pt x="789" y="337"/>
                    <a:pt x="789" y="338"/>
                  </a:cubicBezTo>
                  <a:cubicBezTo>
                    <a:pt x="795" y="341"/>
                    <a:pt x="801" y="344"/>
                    <a:pt x="806" y="347"/>
                  </a:cubicBezTo>
                  <a:cubicBezTo>
                    <a:pt x="806" y="346"/>
                    <a:pt x="807" y="346"/>
                    <a:pt x="807" y="346"/>
                  </a:cubicBezTo>
                  <a:cubicBezTo>
                    <a:pt x="802" y="343"/>
                    <a:pt x="796" y="340"/>
                    <a:pt x="789" y="337"/>
                  </a:cubicBezTo>
                  <a:moveTo>
                    <a:pt x="1217" y="338"/>
                  </a:moveTo>
                  <a:cubicBezTo>
                    <a:pt x="1216" y="338"/>
                    <a:pt x="1216" y="338"/>
                    <a:pt x="1215" y="338"/>
                  </a:cubicBezTo>
                  <a:cubicBezTo>
                    <a:pt x="1210" y="344"/>
                    <a:pt x="1203" y="349"/>
                    <a:pt x="1196" y="355"/>
                  </a:cubicBezTo>
                  <a:cubicBezTo>
                    <a:pt x="1197" y="354"/>
                    <a:pt x="1197" y="354"/>
                    <a:pt x="1198" y="354"/>
                  </a:cubicBezTo>
                  <a:cubicBezTo>
                    <a:pt x="1205" y="349"/>
                    <a:pt x="1211" y="344"/>
                    <a:pt x="1217" y="338"/>
                  </a:cubicBezTo>
                  <a:moveTo>
                    <a:pt x="1437" y="347"/>
                  </a:moveTo>
                  <a:cubicBezTo>
                    <a:pt x="1436" y="347"/>
                    <a:pt x="1436" y="347"/>
                    <a:pt x="1436" y="348"/>
                  </a:cubicBezTo>
                  <a:cubicBezTo>
                    <a:pt x="1436" y="348"/>
                    <a:pt x="1437" y="348"/>
                    <a:pt x="1437" y="347"/>
                  </a:cubicBezTo>
                  <a:cubicBezTo>
                    <a:pt x="1438" y="347"/>
                    <a:pt x="1438" y="347"/>
                    <a:pt x="1438" y="347"/>
                  </a:cubicBezTo>
                  <a:cubicBezTo>
                    <a:pt x="1437" y="347"/>
                    <a:pt x="1437" y="347"/>
                    <a:pt x="1437" y="347"/>
                  </a:cubicBezTo>
                  <a:moveTo>
                    <a:pt x="809" y="347"/>
                  </a:moveTo>
                  <a:cubicBezTo>
                    <a:pt x="808" y="347"/>
                    <a:pt x="808" y="347"/>
                    <a:pt x="807" y="347"/>
                  </a:cubicBezTo>
                  <a:cubicBezTo>
                    <a:pt x="809" y="348"/>
                    <a:pt x="810" y="349"/>
                    <a:pt x="812" y="350"/>
                  </a:cubicBezTo>
                  <a:cubicBezTo>
                    <a:pt x="812" y="350"/>
                    <a:pt x="813" y="349"/>
                    <a:pt x="813" y="349"/>
                  </a:cubicBezTo>
                  <a:cubicBezTo>
                    <a:pt x="811" y="348"/>
                    <a:pt x="810" y="348"/>
                    <a:pt x="809" y="347"/>
                  </a:cubicBezTo>
                  <a:moveTo>
                    <a:pt x="1436" y="349"/>
                  </a:moveTo>
                  <a:cubicBezTo>
                    <a:pt x="1436" y="349"/>
                    <a:pt x="1436" y="349"/>
                    <a:pt x="1436" y="349"/>
                  </a:cubicBezTo>
                  <a:cubicBezTo>
                    <a:pt x="1436" y="349"/>
                    <a:pt x="1436" y="349"/>
                    <a:pt x="1436" y="349"/>
                  </a:cubicBezTo>
                  <a:cubicBezTo>
                    <a:pt x="1436" y="349"/>
                    <a:pt x="1436" y="349"/>
                    <a:pt x="1436" y="349"/>
                  </a:cubicBezTo>
                  <a:moveTo>
                    <a:pt x="1435" y="349"/>
                  </a:moveTo>
                  <a:cubicBezTo>
                    <a:pt x="1435" y="349"/>
                    <a:pt x="1435" y="349"/>
                    <a:pt x="1435" y="349"/>
                  </a:cubicBezTo>
                  <a:cubicBezTo>
                    <a:pt x="1432" y="353"/>
                    <a:pt x="1430" y="357"/>
                    <a:pt x="1428" y="361"/>
                  </a:cubicBezTo>
                  <a:cubicBezTo>
                    <a:pt x="1428" y="361"/>
                    <a:pt x="1429" y="360"/>
                    <a:pt x="1429" y="360"/>
                  </a:cubicBezTo>
                  <a:cubicBezTo>
                    <a:pt x="1431" y="357"/>
                    <a:pt x="1433" y="354"/>
                    <a:pt x="1435" y="350"/>
                  </a:cubicBezTo>
                  <a:cubicBezTo>
                    <a:pt x="1435" y="350"/>
                    <a:pt x="1435" y="350"/>
                    <a:pt x="1435" y="349"/>
                  </a:cubicBezTo>
                  <a:moveTo>
                    <a:pt x="814" y="350"/>
                  </a:moveTo>
                  <a:cubicBezTo>
                    <a:pt x="813" y="350"/>
                    <a:pt x="813" y="350"/>
                    <a:pt x="813" y="350"/>
                  </a:cubicBezTo>
                  <a:cubicBezTo>
                    <a:pt x="819" y="354"/>
                    <a:pt x="824" y="357"/>
                    <a:pt x="830" y="360"/>
                  </a:cubicBezTo>
                  <a:cubicBezTo>
                    <a:pt x="833" y="362"/>
                    <a:pt x="836" y="363"/>
                    <a:pt x="839" y="365"/>
                  </a:cubicBezTo>
                  <a:cubicBezTo>
                    <a:pt x="831" y="360"/>
                    <a:pt x="823" y="355"/>
                    <a:pt x="814" y="350"/>
                  </a:cubicBezTo>
                  <a:moveTo>
                    <a:pt x="1197" y="355"/>
                  </a:moveTo>
                  <a:cubicBezTo>
                    <a:pt x="1196" y="356"/>
                    <a:pt x="1195" y="356"/>
                    <a:pt x="1194" y="356"/>
                  </a:cubicBezTo>
                  <a:cubicBezTo>
                    <a:pt x="1193" y="357"/>
                    <a:pt x="1191" y="358"/>
                    <a:pt x="1190" y="359"/>
                  </a:cubicBezTo>
                  <a:cubicBezTo>
                    <a:pt x="1191" y="358"/>
                    <a:pt x="1193" y="358"/>
                    <a:pt x="1194" y="357"/>
                  </a:cubicBezTo>
                  <a:cubicBezTo>
                    <a:pt x="1195" y="356"/>
                    <a:pt x="1196" y="356"/>
                    <a:pt x="1197" y="355"/>
                  </a:cubicBezTo>
                  <a:moveTo>
                    <a:pt x="1190" y="360"/>
                  </a:moveTo>
                  <a:cubicBezTo>
                    <a:pt x="1188" y="360"/>
                    <a:pt x="1186" y="361"/>
                    <a:pt x="1185" y="362"/>
                  </a:cubicBezTo>
                  <a:cubicBezTo>
                    <a:pt x="1181" y="364"/>
                    <a:pt x="1178" y="366"/>
                    <a:pt x="1174" y="368"/>
                  </a:cubicBezTo>
                  <a:cubicBezTo>
                    <a:pt x="1176" y="367"/>
                    <a:pt x="1177" y="367"/>
                    <a:pt x="1178" y="367"/>
                  </a:cubicBezTo>
                  <a:cubicBezTo>
                    <a:pt x="1182" y="364"/>
                    <a:pt x="1186" y="362"/>
                    <a:pt x="1190" y="360"/>
                  </a:cubicBezTo>
                  <a:moveTo>
                    <a:pt x="1428" y="362"/>
                  </a:moveTo>
                  <a:cubicBezTo>
                    <a:pt x="1428" y="362"/>
                    <a:pt x="1427" y="362"/>
                    <a:pt x="1427" y="362"/>
                  </a:cubicBezTo>
                  <a:cubicBezTo>
                    <a:pt x="1426" y="364"/>
                    <a:pt x="1425" y="366"/>
                    <a:pt x="1424" y="368"/>
                  </a:cubicBezTo>
                  <a:cubicBezTo>
                    <a:pt x="1424" y="368"/>
                    <a:pt x="1425" y="368"/>
                    <a:pt x="1425" y="368"/>
                  </a:cubicBezTo>
                  <a:cubicBezTo>
                    <a:pt x="1426" y="366"/>
                    <a:pt x="1427" y="364"/>
                    <a:pt x="1428" y="362"/>
                  </a:cubicBezTo>
                  <a:moveTo>
                    <a:pt x="840" y="366"/>
                  </a:moveTo>
                  <a:cubicBezTo>
                    <a:pt x="845" y="369"/>
                    <a:pt x="850" y="373"/>
                    <a:pt x="855" y="376"/>
                  </a:cubicBezTo>
                  <a:cubicBezTo>
                    <a:pt x="856" y="376"/>
                    <a:pt x="856" y="376"/>
                    <a:pt x="856" y="376"/>
                  </a:cubicBezTo>
                  <a:cubicBezTo>
                    <a:pt x="853" y="374"/>
                    <a:pt x="851" y="372"/>
                    <a:pt x="848" y="370"/>
                  </a:cubicBezTo>
                  <a:cubicBezTo>
                    <a:pt x="845" y="369"/>
                    <a:pt x="842" y="367"/>
                    <a:pt x="840" y="366"/>
                  </a:cubicBezTo>
                  <a:moveTo>
                    <a:pt x="1175" y="368"/>
                  </a:moveTo>
                  <a:cubicBezTo>
                    <a:pt x="1173" y="369"/>
                    <a:pt x="1172" y="369"/>
                    <a:pt x="1171" y="369"/>
                  </a:cubicBezTo>
                  <a:cubicBezTo>
                    <a:pt x="1168" y="371"/>
                    <a:pt x="1164" y="372"/>
                    <a:pt x="1161" y="374"/>
                  </a:cubicBezTo>
                  <a:cubicBezTo>
                    <a:pt x="1163" y="373"/>
                    <a:pt x="1164" y="373"/>
                    <a:pt x="1165" y="373"/>
                  </a:cubicBezTo>
                  <a:cubicBezTo>
                    <a:pt x="1169" y="372"/>
                    <a:pt x="1172" y="370"/>
                    <a:pt x="1175" y="368"/>
                  </a:cubicBezTo>
                  <a:moveTo>
                    <a:pt x="1425" y="369"/>
                  </a:moveTo>
                  <a:cubicBezTo>
                    <a:pt x="1424" y="369"/>
                    <a:pt x="1424" y="370"/>
                    <a:pt x="1423" y="370"/>
                  </a:cubicBezTo>
                  <a:cubicBezTo>
                    <a:pt x="1423" y="370"/>
                    <a:pt x="1423" y="371"/>
                    <a:pt x="1423" y="371"/>
                  </a:cubicBezTo>
                  <a:cubicBezTo>
                    <a:pt x="1423" y="371"/>
                    <a:pt x="1424" y="371"/>
                    <a:pt x="1424" y="371"/>
                  </a:cubicBezTo>
                  <a:cubicBezTo>
                    <a:pt x="1424" y="370"/>
                    <a:pt x="1424" y="370"/>
                    <a:pt x="1425" y="369"/>
                  </a:cubicBezTo>
                  <a:moveTo>
                    <a:pt x="1423" y="373"/>
                  </a:moveTo>
                  <a:cubicBezTo>
                    <a:pt x="1423" y="373"/>
                    <a:pt x="1422" y="373"/>
                    <a:pt x="1422" y="373"/>
                  </a:cubicBezTo>
                  <a:cubicBezTo>
                    <a:pt x="1421" y="377"/>
                    <a:pt x="1419" y="381"/>
                    <a:pt x="1419" y="385"/>
                  </a:cubicBezTo>
                  <a:cubicBezTo>
                    <a:pt x="1419" y="385"/>
                    <a:pt x="1419" y="385"/>
                    <a:pt x="1420" y="384"/>
                  </a:cubicBezTo>
                  <a:cubicBezTo>
                    <a:pt x="1421" y="381"/>
                    <a:pt x="1422" y="377"/>
                    <a:pt x="1423" y="373"/>
                  </a:cubicBezTo>
                  <a:moveTo>
                    <a:pt x="1162" y="375"/>
                  </a:moveTo>
                  <a:cubicBezTo>
                    <a:pt x="1160" y="375"/>
                    <a:pt x="1159" y="375"/>
                    <a:pt x="1157" y="375"/>
                  </a:cubicBezTo>
                  <a:cubicBezTo>
                    <a:pt x="1154" y="377"/>
                    <a:pt x="1151" y="378"/>
                    <a:pt x="1147" y="379"/>
                  </a:cubicBezTo>
                  <a:cubicBezTo>
                    <a:pt x="1141" y="382"/>
                    <a:pt x="1135" y="384"/>
                    <a:pt x="1129" y="387"/>
                  </a:cubicBezTo>
                  <a:cubicBezTo>
                    <a:pt x="1129" y="387"/>
                    <a:pt x="1130" y="387"/>
                    <a:pt x="1130" y="387"/>
                  </a:cubicBezTo>
                  <a:cubicBezTo>
                    <a:pt x="1136" y="385"/>
                    <a:pt x="1142" y="382"/>
                    <a:pt x="1148" y="380"/>
                  </a:cubicBezTo>
                  <a:cubicBezTo>
                    <a:pt x="1153" y="378"/>
                    <a:pt x="1157" y="376"/>
                    <a:pt x="1162" y="375"/>
                  </a:cubicBezTo>
                  <a:moveTo>
                    <a:pt x="857" y="376"/>
                  </a:moveTo>
                  <a:cubicBezTo>
                    <a:pt x="857" y="376"/>
                    <a:pt x="857" y="377"/>
                    <a:pt x="856" y="377"/>
                  </a:cubicBezTo>
                  <a:cubicBezTo>
                    <a:pt x="857" y="377"/>
                    <a:pt x="857" y="377"/>
                    <a:pt x="857" y="377"/>
                  </a:cubicBezTo>
                  <a:cubicBezTo>
                    <a:pt x="858" y="377"/>
                    <a:pt x="858" y="377"/>
                    <a:pt x="858" y="377"/>
                  </a:cubicBezTo>
                  <a:cubicBezTo>
                    <a:pt x="858" y="377"/>
                    <a:pt x="858" y="377"/>
                    <a:pt x="857" y="376"/>
                  </a:cubicBezTo>
                  <a:moveTo>
                    <a:pt x="859" y="378"/>
                  </a:moveTo>
                  <a:cubicBezTo>
                    <a:pt x="859" y="378"/>
                    <a:pt x="859" y="378"/>
                    <a:pt x="858" y="378"/>
                  </a:cubicBezTo>
                  <a:cubicBezTo>
                    <a:pt x="863" y="381"/>
                    <a:pt x="867" y="384"/>
                    <a:pt x="871" y="387"/>
                  </a:cubicBezTo>
                  <a:cubicBezTo>
                    <a:pt x="872" y="387"/>
                    <a:pt x="873" y="388"/>
                    <a:pt x="873" y="388"/>
                  </a:cubicBezTo>
                  <a:cubicBezTo>
                    <a:pt x="869" y="385"/>
                    <a:pt x="864" y="381"/>
                    <a:pt x="859" y="378"/>
                  </a:cubicBezTo>
                  <a:moveTo>
                    <a:pt x="1420" y="385"/>
                  </a:moveTo>
                  <a:cubicBezTo>
                    <a:pt x="1419" y="386"/>
                    <a:pt x="1419" y="386"/>
                    <a:pt x="1419" y="386"/>
                  </a:cubicBezTo>
                  <a:cubicBezTo>
                    <a:pt x="1418" y="389"/>
                    <a:pt x="1418" y="392"/>
                    <a:pt x="1418" y="395"/>
                  </a:cubicBezTo>
                  <a:cubicBezTo>
                    <a:pt x="1418" y="398"/>
                    <a:pt x="1418" y="400"/>
                    <a:pt x="1418" y="403"/>
                  </a:cubicBezTo>
                  <a:cubicBezTo>
                    <a:pt x="1419" y="403"/>
                    <a:pt x="1419" y="403"/>
                    <a:pt x="1419" y="403"/>
                  </a:cubicBezTo>
                  <a:cubicBezTo>
                    <a:pt x="1419" y="400"/>
                    <a:pt x="1419" y="398"/>
                    <a:pt x="1419" y="395"/>
                  </a:cubicBezTo>
                  <a:cubicBezTo>
                    <a:pt x="1419" y="392"/>
                    <a:pt x="1419" y="389"/>
                    <a:pt x="1420" y="385"/>
                  </a:cubicBezTo>
                  <a:moveTo>
                    <a:pt x="1128" y="387"/>
                  </a:moveTo>
                  <a:cubicBezTo>
                    <a:pt x="1126" y="388"/>
                    <a:pt x="1125" y="388"/>
                    <a:pt x="1124" y="389"/>
                  </a:cubicBezTo>
                  <a:cubicBezTo>
                    <a:pt x="1125" y="389"/>
                    <a:pt x="1126" y="389"/>
                    <a:pt x="1128" y="389"/>
                  </a:cubicBezTo>
                  <a:cubicBezTo>
                    <a:pt x="1128" y="388"/>
                    <a:pt x="1129" y="388"/>
                    <a:pt x="1129" y="388"/>
                  </a:cubicBezTo>
                  <a:cubicBezTo>
                    <a:pt x="1128" y="388"/>
                    <a:pt x="1128" y="388"/>
                    <a:pt x="1128" y="387"/>
                  </a:cubicBezTo>
                  <a:moveTo>
                    <a:pt x="873" y="389"/>
                  </a:moveTo>
                  <a:cubicBezTo>
                    <a:pt x="876" y="391"/>
                    <a:pt x="879" y="393"/>
                    <a:pt x="882" y="396"/>
                  </a:cubicBezTo>
                  <a:cubicBezTo>
                    <a:pt x="882" y="396"/>
                    <a:pt x="882" y="395"/>
                    <a:pt x="883" y="395"/>
                  </a:cubicBezTo>
                  <a:cubicBezTo>
                    <a:pt x="880" y="393"/>
                    <a:pt x="878" y="391"/>
                    <a:pt x="875" y="390"/>
                  </a:cubicBezTo>
                  <a:cubicBezTo>
                    <a:pt x="875" y="389"/>
                    <a:pt x="874" y="389"/>
                    <a:pt x="873" y="389"/>
                  </a:cubicBezTo>
                  <a:moveTo>
                    <a:pt x="1122" y="390"/>
                  </a:moveTo>
                  <a:cubicBezTo>
                    <a:pt x="1121" y="390"/>
                    <a:pt x="1121" y="390"/>
                    <a:pt x="1121" y="390"/>
                  </a:cubicBezTo>
                  <a:cubicBezTo>
                    <a:pt x="1121" y="390"/>
                    <a:pt x="1121" y="390"/>
                    <a:pt x="1121" y="390"/>
                  </a:cubicBezTo>
                  <a:cubicBezTo>
                    <a:pt x="1121" y="390"/>
                    <a:pt x="1121" y="390"/>
                    <a:pt x="1122" y="390"/>
                  </a:cubicBezTo>
                  <a:moveTo>
                    <a:pt x="1121" y="391"/>
                  </a:moveTo>
                  <a:cubicBezTo>
                    <a:pt x="1120" y="392"/>
                    <a:pt x="1118" y="393"/>
                    <a:pt x="1116" y="393"/>
                  </a:cubicBezTo>
                  <a:cubicBezTo>
                    <a:pt x="1115" y="393"/>
                    <a:pt x="1115" y="394"/>
                    <a:pt x="1114" y="394"/>
                  </a:cubicBezTo>
                  <a:cubicBezTo>
                    <a:pt x="1114" y="394"/>
                    <a:pt x="1115" y="394"/>
                    <a:pt x="1116" y="394"/>
                  </a:cubicBezTo>
                  <a:cubicBezTo>
                    <a:pt x="1118" y="393"/>
                    <a:pt x="1120" y="392"/>
                    <a:pt x="1121" y="391"/>
                  </a:cubicBezTo>
                  <a:moveTo>
                    <a:pt x="1112" y="395"/>
                  </a:moveTo>
                  <a:cubicBezTo>
                    <a:pt x="1111" y="396"/>
                    <a:pt x="1110" y="396"/>
                    <a:pt x="1108" y="397"/>
                  </a:cubicBezTo>
                  <a:cubicBezTo>
                    <a:pt x="1110" y="397"/>
                    <a:pt x="1111" y="397"/>
                    <a:pt x="1112" y="396"/>
                  </a:cubicBezTo>
                  <a:cubicBezTo>
                    <a:pt x="1113" y="396"/>
                    <a:pt x="1113" y="396"/>
                    <a:pt x="1114" y="395"/>
                  </a:cubicBezTo>
                  <a:cubicBezTo>
                    <a:pt x="1113" y="395"/>
                    <a:pt x="1113" y="395"/>
                    <a:pt x="1112" y="395"/>
                  </a:cubicBezTo>
                  <a:moveTo>
                    <a:pt x="883" y="396"/>
                  </a:moveTo>
                  <a:cubicBezTo>
                    <a:pt x="883" y="396"/>
                    <a:pt x="883" y="396"/>
                    <a:pt x="883" y="396"/>
                  </a:cubicBezTo>
                  <a:cubicBezTo>
                    <a:pt x="888" y="401"/>
                    <a:pt x="892" y="405"/>
                    <a:pt x="896" y="409"/>
                  </a:cubicBezTo>
                  <a:cubicBezTo>
                    <a:pt x="896" y="409"/>
                    <a:pt x="896" y="409"/>
                    <a:pt x="897" y="408"/>
                  </a:cubicBezTo>
                  <a:cubicBezTo>
                    <a:pt x="893" y="404"/>
                    <a:pt x="888" y="400"/>
                    <a:pt x="883" y="396"/>
                  </a:cubicBezTo>
                  <a:moveTo>
                    <a:pt x="1109" y="398"/>
                  </a:moveTo>
                  <a:cubicBezTo>
                    <a:pt x="1108" y="398"/>
                    <a:pt x="1107" y="398"/>
                    <a:pt x="1107" y="398"/>
                  </a:cubicBezTo>
                  <a:cubicBezTo>
                    <a:pt x="1107" y="398"/>
                    <a:pt x="1107" y="398"/>
                    <a:pt x="1108" y="398"/>
                  </a:cubicBezTo>
                  <a:cubicBezTo>
                    <a:pt x="1108" y="398"/>
                    <a:pt x="1108" y="398"/>
                    <a:pt x="1109" y="398"/>
                  </a:cubicBezTo>
                  <a:moveTo>
                    <a:pt x="1104" y="399"/>
                  </a:moveTo>
                  <a:cubicBezTo>
                    <a:pt x="1104" y="399"/>
                    <a:pt x="1104" y="399"/>
                    <a:pt x="1104" y="399"/>
                  </a:cubicBezTo>
                  <a:cubicBezTo>
                    <a:pt x="1105" y="400"/>
                    <a:pt x="1105" y="400"/>
                    <a:pt x="1105" y="400"/>
                  </a:cubicBezTo>
                  <a:cubicBezTo>
                    <a:pt x="1105" y="400"/>
                    <a:pt x="1106" y="400"/>
                    <a:pt x="1106" y="399"/>
                  </a:cubicBezTo>
                  <a:cubicBezTo>
                    <a:pt x="1106" y="399"/>
                    <a:pt x="1105" y="399"/>
                    <a:pt x="1104" y="399"/>
                  </a:cubicBezTo>
                  <a:moveTo>
                    <a:pt x="1103" y="400"/>
                  </a:moveTo>
                  <a:cubicBezTo>
                    <a:pt x="1098" y="403"/>
                    <a:pt x="1093" y="406"/>
                    <a:pt x="1088" y="409"/>
                  </a:cubicBezTo>
                  <a:cubicBezTo>
                    <a:pt x="1087" y="409"/>
                    <a:pt x="1087" y="410"/>
                    <a:pt x="1086" y="410"/>
                  </a:cubicBezTo>
                  <a:cubicBezTo>
                    <a:pt x="1085" y="411"/>
                    <a:pt x="1083" y="412"/>
                    <a:pt x="1082" y="413"/>
                  </a:cubicBezTo>
                  <a:cubicBezTo>
                    <a:pt x="1082" y="413"/>
                    <a:pt x="1081" y="413"/>
                    <a:pt x="1080" y="414"/>
                  </a:cubicBezTo>
                  <a:cubicBezTo>
                    <a:pt x="1078" y="415"/>
                    <a:pt x="1076" y="417"/>
                    <a:pt x="1074" y="418"/>
                  </a:cubicBezTo>
                  <a:cubicBezTo>
                    <a:pt x="1073" y="419"/>
                    <a:pt x="1073" y="419"/>
                    <a:pt x="1073" y="419"/>
                  </a:cubicBezTo>
                  <a:cubicBezTo>
                    <a:pt x="1074" y="419"/>
                    <a:pt x="1074" y="419"/>
                    <a:pt x="1075" y="418"/>
                  </a:cubicBezTo>
                  <a:cubicBezTo>
                    <a:pt x="1077" y="417"/>
                    <a:pt x="1078" y="417"/>
                    <a:pt x="1080" y="416"/>
                  </a:cubicBezTo>
                  <a:cubicBezTo>
                    <a:pt x="1080" y="415"/>
                    <a:pt x="1081" y="415"/>
                    <a:pt x="1081" y="415"/>
                  </a:cubicBezTo>
                  <a:cubicBezTo>
                    <a:pt x="1082" y="414"/>
                    <a:pt x="1084" y="413"/>
                    <a:pt x="1085" y="412"/>
                  </a:cubicBezTo>
                  <a:cubicBezTo>
                    <a:pt x="1086" y="412"/>
                    <a:pt x="1086" y="411"/>
                    <a:pt x="1087" y="411"/>
                  </a:cubicBezTo>
                  <a:cubicBezTo>
                    <a:pt x="1092" y="407"/>
                    <a:pt x="1098" y="404"/>
                    <a:pt x="1104" y="401"/>
                  </a:cubicBezTo>
                  <a:cubicBezTo>
                    <a:pt x="1104" y="400"/>
                    <a:pt x="1104" y="400"/>
                    <a:pt x="1103" y="400"/>
                  </a:cubicBezTo>
                  <a:moveTo>
                    <a:pt x="1419" y="404"/>
                  </a:moveTo>
                  <a:cubicBezTo>
                    <a:pt x="1419" y="404"/>
                    <a:pt x="1419" y="404"/>
                    <a:pt x="1418" y="404"/>
                  </a:cubicBezTo>
                  <a:cubicBezTo>
                    <a:pt x="1419" y="405"/>
                    <a:pt x="1419" y="406"/>
                    <a:pt x="1419" y="406"/>
                  </a:cubicBezTo>
                  <a:cubicBezTo>
                    <a:pt x="1419" y="406"/>
                    <a:pt x="1420" y="406"/>
                    <a:pt x="1420" y="406"/>
                  </a:cubicBezTo>
                  <a:cubicBezTo>
                    <a:pt x="1420" y="405"/>
                    <a:pt x="1420" y="404"/>
                    <a:pt x="1419" y="404"/>
                  </a:cubicBezTo>
                  <a:moveTo>
                    <a:pt x="1420" y="407"/>
                  </a:moveTo>
                  <a:cubicBezTo>
                    <a:pt x="1420" y="407"/>
                    <a:pt x="1419" y="407"/>
                    <a:pt x="1419" y="407"/>
                  </a:cubicBezTo>
                  <a:cubicBezTo>
                    <a:pt x="1421" y="417"/>
                    <a:pt x="1426" y="426"/>
                    <a:pt x="1433" y="436"/>
                  </a:cubicBezTo>
                  <a:cubicBezTo>
                    <a:pt x="1433" y="436"/>
                    <a:pt x="1433" y="436"/>
                    <a:pt x="1434" y="436"/>
                  </a:cubicBezTo>
                  <a:cubicBezTo>
                    <a:pt x="1427" y="426"/>
                    <a:pt x="1422" y="417"/>
                    <a:pt x="1420" y="407"/>
                  </a:cubicBezTo>
                  <a:moveTo>
                    <a:pt x="898" y="409"/>
                  </a:moveTo>
                  <a:cubicBezTo>
                    <a:pt x="897" y="409"/>
                    <a:pt x="897" y="409"/>
                    <a:pt x="897" y="410"/>
                  </a:cubicBezTo>
                  <a:cubicBezTo>
                    <a:pt x="898" y="411"/>
                    <a:pt x="899" y="413"/>
                    <a:pt x="901" y="414"/>
                  </a:cubicBezTo>
                  <a:cubicBezTo>
                    <a:pt x="901" y="414"/>
                    <a:pt x="901" y="414"/>
                    <a:pt x="902" y="414"/>
                  </a:cubicBezTo>
                  <a:cubicBezTo>
                    <a:pt x="900" y="412"/>
                    <a:pt x="899" y="411"/>
                    <a:pt x="898" y="409"/>
                  </a:cubicBezTo>
                  <a:moveTo>
                    <a:pt x="902" y="415"/>
                  </a:moveTo>
                  <a:cubicBezTo>
                    <a:pt x="902" y="415"/>
                    <a:pt x="902" y="415"/>
                    <a:pt x="901" y="415"/>
                  </a:cubicBezTo>
                  <a:cubicBezTo>
                    <a:pt x="902" y="415"/>
                    <a:pt x="902" y="416"/>
                    <a:pt x="902" y="416"/>
                  </a:cubicBezTo>
                  <a:cubicBezTo>
                    <a:pt x="903" y="416"/>
                    <a:pt x="904" y="417"/>
                    <a:pt x="904" y="417"/>
                  </a:cubicBezTo>
                  <a:cubicBezTo>
                    <a:pt x="904" y="417"/>
                    <a:pt x="904" y="416"/>
                    <a:pt x="904" y="416"/>
                  </a:cubicBezTo>
                  <a:cubicBezTo>
                    <a:pt x="903" y="416"/>
                    <a:pt x="903" y="415"/>
                    <a:pt x="902" y="415"/>
                  </a:cubicBezTo>
                  <a:moveTo>
                    <a:pt x="904" y="418"/>
                  </a:moveTo>
                  <a:cubicBezTo>
                    <a:pt x="904" y="418"/>
                    <a:pt x="904" y="418"/>
                    <a:pt x="904" y="419"/>
                  </a:cubicBezTo>
                  <a:cubicBezTo>
                    <a:pt x="905" y="420"/>
                    <a:pt x="906" y="421"/>
                    <a:pt x="907" y="422"/>
                  </a:cubicBezTo>
                  <a:cubicBezTo>
                    <a:pt x="908" y="423"/>
                    <a:pt x="908" y="424"/>
                    <a:pt x="909" y="426"/>
                  </a:cubicBezTo>
                  <a:cubicBezTo>
                    <a:pt x="910" y="426"/>
                    <a:pt x="910" y="426"/>
                    <a:pt x="911" y="426"/>
                  </a:cubicBezTo>
                  <a:cubicBezTo>
                    <a:pt x="909" y="424"/>
                    <a:pt x="908" y="422"/>
                    <a:pt x="906" y="419"/>
                  </a:cubicBezTo>
                  <a:cubicBezTo>
                    <a:pt x="905" y="419"/>
                    <a:pt x="905" y="418"/>
                    <a:pt x="904" y="418"/>
                  </a:cubicBezTo>
                  <a:moveTo>
                    <a:pt x="1070" y="422"/>
                  </a:moveTo>
                  <a:cubicBezTo>
                    <a:pt x="1069" y="423"/>
                    <a:pt x="1067" y="423"/>
                    <a:pt x="1066" y="424"/>
                  </a:cubicBezTo>
                  <a:cubicBezTo>
                    <a:pt x="1066" y="424"/>
                    <a:pt x="1066" y="424"/>
                    <a:pt x="1066" y="424"/>
                  </a:cubicBezTo>
                  <a:cubicBezTo>
                    <a:pt x="1066" y="424"/>
                    <a:pt x="1066" y="424"/>
                    <a:pt x="1066" y="424"/>
                  </a:cubicBezTo>
                  <a:cubicBezTo>
                    <a:pt x="1067" y="424"/>
                    <a:pt x="1068" y="423"/>
                    <a:pt x="1069" y="423"/>
                  </a:cubicBezTo>
                  <a:cubicBezTo>
                    <a:pt x="1070" y="422"/>
                    <a:pt x="1070" y="422"/>
                    <a:pt x="1070" y="422"/>
                  </a:cubicBezTo>
                  <a:moveTo>
                    <a:pt x="1065" y="425"/>
                  </a:moveTo>
                  <a:cubicBezTo>
                    <a:pt x="1064" y="425"/>
                    <a:pt x="1064" y="425"/>
                    <a:pt x="1064" y="425"/>
                  </a:cubicBezTo>
                  <a:cubicBezTo>
                    <a:pt x="1064" y="425"/>
                    <a:pt x="1065" y="425"/>
                    <a:pt x="1065" y="425"/>
                  </a:cubicBezTo>
                  <a:cubicBezTo>
                    <a:pt x="1065" y="425"/>
                    <a:pt x="1065" y="425"/>
                    <a:pt x="1065" y="425"/>
                  </a:cubicBezTo>
                  <a:moveTo>
                    <a:pt x="1065" y="426"/>
                  </a:moveTo>
                  <a:cubicBezTo>
                    <a:pt x="1063" y="427"/>
                    <a:pt x="1061" y="427"/>
                    <a:pt x="1060" y="428"/>
                  </a:cubicBezTo>
                  <a:cubicBezTo>
                    <a:pt x="1059" y="429"/>
                    <a:pt x="1059" y="429"/>
                    <a:pt x="1058" y="429"/>
                  </a:cubicBezTo>
                  <a:cubicBezTo>
                    <a:pt x="1057" y="430"/>
                    <a:pt x="1057" y="430"/>
                    <a:pt x="1056" y="431"/>
                  </a:cubicBezTo>
                  <a:cubicBezTo>
                    <a:pt x="1053" y="433"/>
                    <a:pt x="1050" y="435"/>
                    <a:pt x="1047" y="438"/>
                  </a:cubicBezTo>
                  <a:cubicBezTo>
                    <a:pt x="1047" y="438"/>
                    <a:pt x="1046" y="438"/>
                    <a:pt x="1046" y="439"/>
                  </a:cubicBezTo>
                  <a:cubicBezTo>
                    <a:pt x="1044" y="440"/>
                    <a:pt x="1043" y="441"/>
                    <a:pt x="1042" y="442"/>
                  </a:cubicBezTo>
                  <a:cubicBezTo>
                    <a:pt x="1042" y="442"/>
                    <a:pt x="1043" y="441"/>
                    <a:pt x="1043" y="441"/>
                  </a:cubicBezTo>
                  <a:cubicBezTo>
                    <a:pt x="1045" y="441"/>
                    <a:pt x="1046" y="440"/>
                    <a:pt x="1047" y="439"/>
                  </a:cubicBezTo>
                  <a:cubicBezTo>
                    <a:pt x="1050" y="437"/>
                    <a:pt x="1052" y="435"/>
                    <a:pt x="1055" y="433"/>
                  </a:cubicBezTo>
                  <a:cubicBezTo>
                    <a:pt x="1056" y="433"/>
                    <a:pt x="1056" y="432"/>
                    <a:pt x="1057" y="432"/>
                  </a:cubicBezTo>
                  <a:cubicBezTo>
                    <a:pt x="1060" y="430"/>
                    <a:pt x="1062" y="428"/>
                    <a:pt x="1065" y="426"/>
                  </a:cubicBezTo>
                  <a:moveTo>
                    <a:pt x="910" y="427"/>
                  </a:moveTo>
                  <a:cubicBezTo>
                    <a:pt x="910" y="427"/>
                    <a:pt x="910" y="428"/>
                    <a:pt x="910" y="428"/>
                  </a:cubicBezTo>
                  <a:cubicBezTo>
                    <a:pt x="911" y="428"/>
                    <a:pt x="912" y="429"/>
                    <a:pt x="912" y="430"/>
                  </a:cubicBezTo>
                  <a:cubicBezTo>
                    <a:pt x="912" y="429"/>
                    <a:pt x="912" y="429"/>
                    <a:pt x="911" y="428"/>
                  </a:cubicBezTo>
                  <a:cubicBezTo>
                    <a:pt x="911" y="428"/>
                    <a:pt x="911" y="428"/>
                    <a:pt x="910" y="427"/>
                  </a:cubicBezTo>
                  <a:moveTo>
                    <a:pt x="912" y="430"/>
                  </a:moveTo>
                  <a:cubicBezTo>
                    <a:pt x="912" y="431"/>
                    <a:pt x="912" y="431"/>
                    <a:pt x="912" y="431"/>
                  </a:cubicBezTo>
                  <a:cubicBezTo>
                    <a:pt x="912" y="431"/>
                    <a:pt x="912" y="431"/>
                    <a:pt x="912" y="431"/>
                  </a:cubicBezTo>
                  <a:cubicBezTo>
                    <a:pt x="912" y="431"/>
                    <a:pt x="912" y="431"/>
                    <a:pt x="912" y="430"/>
                  </a:cubicBezTo>
                  <a:moveTo>
                    <a:pt x="912" y="432"/>
                  </a:moveTo>
                  <a:cubicBezTo>
                    <a:pt x="912" y="432"/>
                    <a:pt x="912" y="432"/>
                    <a:pt x="912" y="432"/>
                  </a:cubicBezTo>
                  <a:cubicBezTo>
                    <a:pt x="912" y="432"/>
                    <a:pt x="912" y="432"/>
                    <a:pt x="912" y="432"/>
                  </a:cubicBezTo>
                  <a:cubicBezTo>
                    <a:pt x="912" y="432"/>
                    <a:pt x="912" y="432"/>
                    <a:pt x="912" y="432"/>
                  </a:cubicBezTo>
                  <a:moveTo>
                    <a:pt x="914" y="433"/>
                  </a:moveTo>
                  <a:cubicBezTo>
                    <a:pt x="913" y="433"/>
                    <a:pt x="913" y="433"/>
                    <a:pt x="913" y="433"/>
                  </a:cubicBezTo>
                  <a:cubicBezTo>
                    <a:pt x="913" y="434"/>
                    <a:pt x="914" y="436"/>
                    <a:pt x="914" y="437"/>
                  </a:cubicBezTo>
                  <a:cubicBezTo>
                    <a:pt x="914" y="437"/>
                    <a:pt x="915" y="437"/>
                    <a:pt x="915" y="437"/>
                  </a:cubicBezTo>
                  <a:cubicBezTo>
                    <a:pt x="915" y="436"/>
                    <a:pt x="914" y="434"/>
                    <a:pt x="914" y="433"/>
                  </a:cubicBezTo>
                  <a:moveTo>
                    <a:pt x="1434" y="436"/>
                  </a:moveTo>
                  <a:cubicBezTo>
                    <a:pt x="1434" y="436"/>
                    <a:pt x="1434" y="437"/>
                    <a:pt x="1433" y="437"/>
                  </a:cubicBezTo>
                  <a:cubicBezTo>
                    <a:pt x="1437" y="442"/>
                    <a:pt x="1442" y="448"/>
                    <a:pt x="1448" y="453"/>
                  </a:cubicBezTo>
                  <a:cubicBezTo>
                    <a:pt x="1449" y="453"/>
                    <a:pt x="1449" y="453"/>
                    <a:pt x="1449" y="453"/>
                  </a:cubicBezTo>
                  <a:cubicBezTo>
                    <a:pt x="1443" y="447"/>
                    <a:pt x="1438" y="442"/>
                    <a:pt x="1434" y="436"/>
                  </a:cubicBezTo>
                  <a:moveTo>
                    <a:pt x="914" y="438"/>
                  </a:moveTo>
                  <a:cubicBezTo>
                    <a:pt x="914" y="438"/>
                    <a:pt x="914" y="438"/>
                    <a:pt x="914" y="438"/>
                  </a:cubicBezTo>
                  <a:cubicBezTo>
                    <a:pt x="914" y="438"/>
                    <a:pt x="914" y="438"/>
                    <a:pt x="915" y="438"/>
                  </a:cubicBezTo>
                  <a:cubicBezTo>
                    <a:pt x="914" y="438"/>
                    <a:pt x="914" y="438"/>
                    <a:pt x="914" y="438"/>
                  </a:cubicBezTo>
                  <a:moveTo>
                    <a:pt x="915" y="439"/>
                  </a:moveTo>
                  <a:cubicBezTo>
                    <a:pt x="915" y="439"/>
                    <a:pt x="915" y="439"/>
                    <a:pt x="915" y="439"/>
                  </a:cubicBezTo>
                  <a:cubicBezTo>
                    <a:pt x="915" y="439"/>
                    <a:pt x="915" y="439"/>
                    <a:pt x="915" y="439"/>
                  </a:cubicBezTo>
                  <a:cubicBezTo>
                    <a:pt x="915" y="439"/>
                    <a:pt x="915" y="439"/>
                    <a:pt x="915" y="439"/>
                  </a:cubicBezTo>
                  <a:moveTo>
                    <a:pt x="915" y="440"/>
                  </a:moveTo>
                  <a:cubicBezTo>
                    <a:pt x="915" y="441"/>
                    <a:pt x="915" y="442"/>
                    <a:pt x="915" y="443"/>
                  </a:cubicBezTo>
                  <a:cubicBezTo>
                    <a:pt x="915" y="443"/>
                    <a:pt x="915" y="443"/>
                    <a:pt x="915" y="443"/>
                  </a:cubicBezTo>
                  <a:cubicBezTo>
                    <a:pt x="915" y="444"/>
                    <a:pt x="915" y="444"/>
                    <a:pt x="915" y="445"/>
                  </a:cubicBezTo>
                  <a:cubicBezTo>
                    <a:pt x="915" y="445"/>
                    <a:pt x="916" y="445"/>
                    <a:pt x="916" y="445"/>
                  </a:cubicBezTo>
                  <a:cubicBezTo>
                    <a:pt x="916" y="444"/>
                    <a:pt x="916" y="444"/>
                    <a:pt x="916" y="443"/>
                  </a:cubicBezTo>
                  <a:cubicBezTo>
                    <a:pt x="916" y="442"/>
                    <a:pt x="916" y="441"/>
                    <a:pt x="916" y="441"/>
                  </a:cubicBezTo>
                  <a:cubicBezTo>
                    <a:pt x="915" y="440"/>
                    <a:pt x="915" y="440"/>
                    <a:pt x="915" y="440"/>
                  </a:cubicBezTo>
                  <a:moveTo>
                    <a:pt x="1040" y="443"/>
                  </a:moveTo>
                  <a:cubicBezTo>
                    <a:pt x="1040" y="443"/>
                    <a:pt x="1040" y="443"/>
                    <a:pt x="1040" y="444"/>
                  </a:cubicBezTo>
                  <a:cubicBezTo>
                    <a:pt x="1039" y="444"/>
                    <a:pt x="1039" y="444"/>
                    <a:pt x="1039" y="444"/>
                  </a:cubicBezTo>
                  <a:cubicBezTo>
                    <a:pt x="1039" y="444"/>
                    <a:pt x="1039" y="444"/>
                    <a:pt x="1039" y="444"/>
                  </a:cubicBezTo>
                  <a:cubicBezTo>
                    <a:pt x="1039" y="444"/>
                    <a:pt x="1040" y="444"/>
                    <a:pt x="1040" y="443"/>
                  </a:cubicBezTo>
                  <a:moveTo>
                    <a:pt x="1038" y="446"/>
                  </a:moveTo>
                  <a:cubicBezTo>
                    <a:pt x="1038" y="446"/>
                    <a:pt x="1038" y="446"/>
                    <a:pt x="1038" y="446"/>
                  </a:cubicBezTo>
                  <a:cubicBezTo>
                    <a:pt x="1037" y="446"/>
                    <a:pt x="1036" y="447"/>
                    <a:pt x="1035" y="448"/>
                  </a:cubicBezTo>
                  <a:cubicBezTo>
                    <a:pt x="1035" y="448"/>
                    <a:pt x="1035" y="448"/>
                    <a:pt x="1035" y="448"/>
                  </a:cubicBezTo>
                  <a:cubicBezTo>
                    <a:pt x="1036" y="447"/>
                    <a:pt x="1037" y="446"/>
                    <a:pt x="1038" y="446"/>
                  </a:cubicBezTo>
                  <a:moveTo>
                    <a:pt x="915" y="446"/>
                  </a:moveTo>
                  <a:cubicBezTo>
                    <a:pt x="915" y="446"/>
                    <a:pt x="915" y="446"/>
                    <a:pt x="915" y="446"/>
                  </a:cubicBezTo>
                  <a:cubicBezTo>
                    <a:pt x="915" y="447"/>
                    <a:pt x="915" y="447"/>
                    <a:pt x="916" y="447"/>
                  </a:cubicBezTo>
                  <a:cubicBezTo>
                    <a:pt x="916" y="447"/>
                    <a:pt x="916" y="447"/>
                    <a:pt x="916" y="447"/>
                  </a:cubicBezTo>
                  <a:cubicBezTo>
                    <a:pt x="916" y="447"/>
                    <a:pt x="916" y="447"/>
                    <a:pt x="916" y="446"/>
                  </a:cubicBezTo>
                  <a:cubicBezTo>
                    <a:pt x="916" y="446"/>
                    <a:pt x="915" y="446"/>
                    <a:pt x="915" y="446"/>
                  </a:cubicBezTo>
                  <a:moveTo>
                    <a:pt x="915" y="448"/>
                  </a:moveTo>
                  <a:cubicBezTo>
                    <a:pt x="915" y="449"/>
                    <a:pt x="915" y="450"/>
                    <a:pt x="915" y="451"/>
                  </a:cubicBezTo>
                  <a:cubicBezTo>
                    <a:pt x="915" y="451"/>
                    <a:pt x="916" y="451"/>
                    <a:pt x="916" y="451"/>
                  </a:cubicBezTo>
                  <a:cubicBezTo>
                    <a:pt x="916" y="451"/>
                    <a:pt x="916" y="451"/>
                    <a:pt x="916" y="451"/>
                  </a:cubicBezTo>
                  <a:cubicBezTo>
                    <a:pt x="916" y="450"/>
                    <a:pt x="916" y="450"/>
                    <a:pt x="916" y="449"/>
                  </a:cubicBezTo>
                  <a:cubicBezTo>
                    <a:pt x="916" y="449"/>
                    <a:pt x="916" y="449"/>
                    <a:pt x="916" y="449"/>
                  </a:cubicBezTo>
                  <a:cubicBezTo>
                    <a:pt x="916" y="449"/>
                    <a:pt x="916" y="448"/>
                    <a:pt x="915" y="448"/>
                  </a:cubicBezTo>
                  <a:cubicBezTo>
                    <a:pt x="915" y="448"/>
                    <a:pt x="915" y="448"/>
                    <a:pt x="915" y="448"/>
                  </a:cubicBezTo>
                  <a:moveTo>
                    <a:pt x="1034" y="448"/>
                  </a:moveTo>
                  <a:cubicBezTo>
                    <a:pt x="1034" y="448"/>
                    <a:pt x="1033" y="449"/>
                    <a:pt x="1033" y="449"/>
                  </a:cubicBezTo>
                  <a:cubicBezTo>
                    <a:pt x="1033" y="449"/>
                    <a:pt x="1034" y="449"/>
                    <a:pt x="1034" y="449"/>
                  </a:cubicBezTo>
                  <a:cubicBezTo>
                    <a:pt x="1034" y="449"/>
                    <a:pt x="1034" y="449"/>
                    <a:pt x="1035" y="449"/>
                  </a:cubicBezTo>
                  <a:cubicBezTo>
                    <a:pt x="1035" y="449"/>
                    <a:pt x="1034" y="448"/>
                    <a:pt x="1034" y="448"/>
                  </a:cubicBezTo>
                  <a:moveTo>
                    <a:pt x="1032" y="450"/>
                  </a:moveTo>
                  <a:cubicBezTo>
                    <a:pt x="1031" y="450"/>
                    <a:pt x="1031" y="450"/>
                    <a:pt x="1031" y="450"/>
                  </a:cubicBezTo>
                  <a:cubicBezTo>
                    <a:pt x="1027" y="453"/>
                    <a:pt x="1024" y="456"/>
                    <a:pt x="1020" y="459"/>
                  </a:cubicBezTo>
                  <a:cubicBezTo>
                    <a:pt x="1021" y="459"/>
                    <a:pt x="1022" y="458"/>
                    <a:pt x="1023" y="458"/>
                  </a:cubicBezTo>
                  <a:cubicBezTo>
                    <a:pt x="1026" y="455"/>
                    <a:pt x="1030" y="453"/>
                    <a:pt x="1033" y="450"/>
                  </a:cubicBezTo>
                  <a:cubicBezTo>
                    <a:pt x="1033" y="450"/>
                    <a:pt x="1032" y="450"/>
                    <a:pt x="1032" y="450"/>
                  </a:cubicBezTo>
                  <a:moveTo>
                    <a:pt x="1450" y="453"/>
                  </a:moveTo>
                  <a:cubicBezTo>
                    <a:pt x="1450" y="453"/>
                    <a:pt x="1449" y="454"/>
                    <a:pt x="1449" y="454"/>
                  </a:cubicBezTo>
                  <a:cubicBezTo>
                    <a:pt x="1452" y="457"/>
                    <a:pt x="1455" y="459"/>
                    <a:pt x="1458" y="462"/>
                  </a:cubicBezTo>
                  <a:cubicBezTo>
                    <a:pt x="1459" y="462"/>
                    <a:pt x="1459" y="462"/>
                    <a:pt x="1459" y="461"/>
                  </a:cubicBezTo>
                  <a:cubicBezTo>
                    <a:pt x="1456" y="459"/>
                    <a:pt x="1453" y="456"/>
                    <a:pt x="1450" y="453"/>
                  </a:cubicBezTo>
                  <a:moveTo>
                    <a:pt x="916" y="453"/>
                  </a:moveTo>
                  <a:cubicBezTo>
                    <a:pt x="916" y="453"/>
                    <a:pt x="916" y="453"/>
                    <a:pt x="916" y="453"/>
                  </a:cubicBezTo>
                  <a:cubicBezTo>
                    <a:pt x="916" y="454"/>
                    <a:pt x="916" y="454"/>
                    <a:pt x="916" y="454"/>
                  </a:cubicBezTo>
                  <a:cubicBezTo>
                    <a:pt x="916" y="454"/>
                    <a:pt x="916" y="454"/>
                    <a:pt x="917" y="455"/>
                  </a:cubicBezTo>
                  <a:cubicBezTo>
                    <a:pt x="917" y="454"/>
                    <a:pt x="917" y="454"/>
                    <a:pt x="917" y="454"/>
                  </a:cubicBezTo>
                  <a:cubicBezTo>
                    <a:pt x="916" y="454"/>
                    <a:pt x="916" y="454"/>
                    <a:pt x="916" y="453"/>
                  </a:cubicBezTo>
                  <a:moveTo>
                    <a:pt x="916" y="455"/>
                  </a:moveTo>
                  <a:cubicBezTo>
                    <a:pt x="916" y="455"/>
                    <a:pt x="916" y="456"/>
                    <a:pt x="916" y="456"/>
                  </a:cubicBezTo>
                  <a:cubicBezTo>
                    <a:pt x="916" y="456"/>
                    <a:pt x="917" y="456"/>
                    <a:pt x="917" y="456"/>
                  </a:cubicBezTo>
                  <a:cubicBezTo>
                    <a:pt x="917" y="456"/>
                    <a:pt x="917" y="456"/>
                    <a:pt x="917" y="456"/>
                  </a:cubicBezTo>
                  <a:cubicBezTo>
                    <a:pt x="916" y="456"/>
                    <a:pt x="916" y="455"/>
                    <a:pt x="916" y="455"/>
                  </a:cubicBezTo>
                  <a:moveTo>
                    <a:pt x="916" y="457"/>
                  </a:moveTo>
                  <a:cubicBezTo>
                    <a:pt x="916" y="457"/>
                    <a:pt x="916" y="458"/>
                    <a:pt x="916" y="458"/>
                  </a:cubicBezTo>
                  <a:cubicBezTo>
                    <a:pt x="916" y="458"/>
                    <a:pt x="917" y="458"/>
                    <a:pt x="917" y="459"/>
                  </a:cubicBezTo>
                  <a:cubicBezTo>
                    <a:pt x="917" y="458"/>
                    <a:pt x="917" y="458"/>
                    <a:pt x="917" y="457"/>
                  </a:cubicBezTo>
                  <a:cubicBezTo>
                    <a:pt x="917" y="457"/>
                    <a:pt x="916" y="457"/>
                    <a:pt x="916" y="457"/>
                  </a:cubicBezTo>
                  <a:moveTo>
                    <a:pt x="1021" y="460"/>
                  </a:moveTo>
                  <a:cubicBezTo>
                    <a:pt x="1020" y="460"/>
                    <a:pt x="1019" y="461"/>
                    <a:pt x="1018" y="461"/>
                  </a:cubicBezTo>
                  <a:cubicBezTo>
                    <a:pt x="1015" y="463"/>
                    <a:pt x="1013" y="465"/>
                    <a:pt x="1011" y="466"/>
                  </a:cubicBezTo>
                  <a:cubicBezTo>
                    <a:pt x="1012" y="466"/>
                    <a:pt x="1013" y="466"/>
                    <a:pt x="1014" y="465"/>
                  </a:cubicBezTo>
                  <a:cubicBezTo>
                    <a:pt x="1016" y="464"/>
                    <a:pt x="1018" y="462"/>
                    <a:pt x="1021" y="460"/>
                  </a:cubicBezTo>
                  <a:moveTo>
                    <a:pt x="916" y="461"/>
                  </a:moveTo>
                  <a:cubicBezTo>
                    <a:pt x="916" y="462"/>
                    <a:pt x="917" y="463"/>
                    <a:pt x="917" y="464"/>
                  </a:cubicBezTo>
                  <a:cubicBezTo>
                    <a:pt x="917" y="463"/>
                    <a:pt x="917" y="463"/>
                    <a:pt x="918" y="463"/>
                  </a:cubicBezTo>
                  <a:cubicBezTo>
                    <a:pt x="918" y="462"/>
                    <a:pt x="917" y="462"/>
                    <a:pt x="917" y="461"/>
                  </a:cubicBezTo>
                  <a:cubicBezTo>
                    <a:pt x="917" y="461"/>
                    <a:pt x="917" y="461"/>
                    <a:pt x="916" y="461"/>
                  </a:cubicBezTo>
                  <a:moveTo>
                    <a:pt x="1460" y="462"/>
                  </a:moveTo>
                  <a:cubicBezTo>
                    <a:pt x="1460" y="462"/>
                    <a:pt x="1460" y="462"/>
                    <a:pt x="1459" y="463"/>
                  </a:cubicBezTo>
                  <a:cubicBezTo>
                    <a:pt x="1464" y="466"/>
                    <a:pt x="1469" y="470"/>
                    <a:pt x="1474" y="474"/>
                  </a:cubicBezTo>
                  <a:cubicBezTo>
                    <a:pt x="1475" y="474"/>
                    <a:pt x="1475" y="474"/>
                    <a:pt x="1475" y="473"/>
                  </a:cubicBezTo>
                  <a:cubicBezTo>
                    <a:pt x="1470" y="470"/>
                    <a:pt x="1465" y="466"/>
                    <a:pt x="1460" y="462"/>
                  </a:cubicBezTo>
                  <a:moveTo>
                    <a:pt x="918" y="464"/>
                  </a:moveTo>
                  <a:cubicBezTo>
                    <a:pt x="918" y="464"/>
                    <a:pt x="918" y="464"/>
                    <a:pt x="918" y="464"/>
                  </a:cubicBezTo>
                  <a:cubicBezTo>
                    <a:pt x="918" y="464"/>
                    <a:pt x="918" y="464"/>
                    <a:pt x="918" y="464"/>
                  </a:cubicBezTo>
                  <a:cubicBezTo>
                    <a:pt x="918" y="464"/>
                    <a:pt x="918" y="464"/>
                    <a:pt x="918" y="464"/>
                  </a:cubicBezTo>
                  <a:moveTo>
                    <a:pt x="917" y="465"/>
                  </a:moveTo>
                  <a:cubicBezTo>
                    <a:pt x="917" y="466"/>
                    <a:pt x="917" y="467"/>
                    <a:pt x="917" y="467"/>
                  </a:cubicBezTo>
                  <a:cubicBezTo>
                    <a:pt x="917" y="467"/>
                    <a:pt x="918" y="467"/>
                    <a:pt x="918" y="467"/>
                  </a:cubicBezTo>
                  <a:cubicBezTo>
                    <a:pt x="918" y="467"/>
                    <a:pt x="918" y="466"/>
                    <a:pt x="918" y="465"/>
                  </a:cubicBezTo>
                  <a:cubicBezTo>
                    <a:pt x="918" y="465"/>
                    <a:pt x="917" y="465"/>
                    <a:pt x="917" y="465"/>
                  </a:cubicBezTo>
                  <a:moveTo>
                    <a:pt x="1012" y="467"/>
                  </a:moveTo>
                  <a:cubicBezTo>
                    <a:pt x="1011" y="468"/>
                    <a:pt x="1010" y="468"/>
                    <a:pt x="1009" y="468"/>
                  </a:cubicBezTo>
                  <a:cubicBezTo>
                    <a:pt x="1007" y="470"/>
                    <a:pt x="1006" y="471"/>
                    <a:pt x="1004" y="472"/>
                  </a:cubicBezTo>
                  <a:cubicBezTo>
                    <a:pt x="1005" y="472"/>
                    <a:pt x="1005" y="472"/>
                    <a:pt x="1005" y="473"/>
                  </a:cubicBezTo>
                  <a:cubicBezTo>
                    <a:pt x="1007" y="471"/>
                    <a:pt x="1010" y="469"/>
                    <a:pt x="1012" y="467"/>
                  </a:cubicBezTo>
                  <a:moveTo>
                    <a:pt x="917" y="468"/>
                  </a:moveTo>
                  <a:cubicBezTo>
                    <a:pt x="917" y="469"/>
                    <a:pt x="917" y="469"/>
                    <a:pt x="918" y="470"/>
                  </a:cubicBezTo>
                  <a:cubicBezTo>
                    <a:pt x="918" y="470"/>
                    <a:pt x="918" y="470"/>
                    <a:pt x="918" y="469"/>
                  </a:cubicBezTo>
                  <a:cubicBezTo>
                    <a:pt x="918" y="469"/>
                    <a:pt x="918" y="469"/>
                    <a:pt x="918" y="468"/>
                  </a:cubicBezTo>
                  <a:cubicBezTo>
                    <a:pt x="918" y="468"/>
                    <a:pt x="918" y="468"/>
                    <a:pt x="917" y="468"/>
                  </a:cubicBezTo>
                  <a:moveTo>
                    <a:pt x="919" y="470"/>
                  </a:moveTo>
                  <a:cubicBezTo>
                    <a:pt x="918" y="471"/>
                    <a:pt x="918" y="471"/>
                    <a:pt x="918" y="471"/>
                  </a:cubicBezTo>
                  <a:cubicBezTo>
                    <a:pt x="918" y="472"/>
                    <a:pt x="918" y="473"/>
                    <a:pt x="918" y="474"/>
                  </a:cubicBezTo>
                  <a:cubicBezTo>
                    <a:pt x="918" y="473"/>
                    <a:pt x="919" y="473"/>
                    <a:pt x="919" y="473"/>
                  </a:cubicBezTo>
                  <a:cubicBezTo>
                    <a:pt x="919" y="472"/>
                    <a:pt x="919" y="471"/>
                    <a:pt x="919" y="470"/>
                  </a:cubicBezTo>
                  <a:moveTo>
                    <a:pt x="1003" y="473"/>
                  </a:moveTo>
                  <a:cubicBezTo>
                    <a:pt x="1003" y="473"/>
                    <a:pt x="1002" y="474"/>
                    <a:pt x="1002" y="474"/>
                  </a:cubicBezTo>
                  <a:cubicBezTo>
                    <a:pt x="1002" y="474"/>
                    <a:pt x="1002" y="474"/>
                    <a:pt x="1002" y="474"/>
                  </a:cubicBezTo>
                  <a:cubicBezTo>
                    <a:pt x="1003" y="474"/>
                    <a:pt x="1004" y="473"/>
                    <a:pt x="1004" y="473"/>
                  </a:cubicBezTo>
                  <a:cubicBezTo>
                    <a:pt x="1004" y="473"/>
                    <a:pt x="1004" y="473"/>
                    <a:pt x="1003" y="473"/>
                  </a:cubicBezTo>
                  <a:moveTo>
                    <a:pt x="1476" y="474"/>
                  </a:moveTo>
                  <a:cubicBezTo>
                    <a:pt x="1476" y="474"/>
                    <a:pt x="1475" y="474"/>
                    <a:pt x="1475" y="475"/>
                  </a:cubicBezTo>
                  <a:cubicBezTo>
                    <a:pt x="1476" y="475"/>
                    <a:pt x="1476" y="475"/>
                    <a:pt x="1477" y="476"/>
                  </a:cubicBezTo>
                  <a:cubicBezTo>
                    <a:pt x="1479" y="477"/>
                    <a:pt x="1481" y="478"/>
                    <a:pt x="1483" y="479"/>
                  </a:cubicBezTo>
                  <a:cubicBezTo>
                    <a:pt x="1482" y="479"/>
                    <a:pt x="1481" y="478"/>
                    <a:pt x="1481" y="477"/>
                  </a:cubicBezTo>
                  <a:cubicBezTo>
                    <a:pt x="1480" y="476"/>
                    <a:pt x="1478" y="476"/>
                    <a:pt x="1477" y="475"/>
                  </a:cubicBezTo>
                  <a:cubicBezTo>
                    <a:pt x="1477" y="475"/>
                    <a:pt x="1476" y="474"/>
                    <a:pt x="1476" y="474"/>
                  </a:cubicBezTo>
                  <a:moveTo>
                    <a:pt x="919" y="475"/>
                  </a:moveTo>
                  <a:cubicBezTo>
                    <a:pt x="919" y="475"/>
                    <a:pt x="919" y="475"/>
                    <a:pt x="918" y="475"/>
                  </a:cubicBezTo>
                  <a:cubicBezTo>
                    <a:pt x="919" y="476"/>
                    <a:pt x="919" y="477"/>
                    <a:pt x="919" y="478"/>
                  </a:cubicBezTo>
                  <a:cubicBezTo>
                    <a:pt x="919" y="478"/>
                    <a:pt x="920" y="478"/>
                    <a:pt x="920" y="479"/>
                  </a:cubicBezTo>
                  <a:cubicBezTo>
                    <a:pt x="920" y="477"/>
                    <a:pt x="920" y="476"/>
                    <a:pt x="919" y="475"/>
                  </a:cubicBezTo>
                  <a:moveTo>
                    <a:pt x="1002" y="475"/>
                  </a:moveTo>
                  <a:cubicBezTo>
                    <a:pt x="1001" y="475"/>
                    <a:pt x="1000" y="476"/>
                    <a:pt x="1000" y="476"/>
                  </a:cubicBezTo>
                  <a:cubicBezTo>
                    <a:pt x="1000" y="476"/>
                    <a:pt x="1000" y="476"/>
                    <a:pt x="1000" y="477"/>
                  </a:cubicBezTo>
                  <a:cubicBezTo>
                    <a:pt x="1001" y="476"/>
                    <a:pt x="1001" y="476"/>
                    <a:pt x="1002" y="475"/>
                  </a:cubicBezTo>
                  <a:moveTo>
                    <a:pt x="997" y="478"/>
                  </a:moveTo>
                  <a:cubicBezTo>
                    <a:pt x="997" y="478"/>
                    <a:pt x="996" y="479"/>
                    <a:pt x="995" y="479"/>
                  </a:cubicBezTo>
                  <a:cubicBezTo>
                    <a:pt x="996" y="480"/>
                    <a:pt x="996" y="480"/>
                    <a:pt x="996" y="480"/>
                  </a:cubicBezTo>
                  <a:cubicBezTo>
                    <a:pt x="997" y="479"/>
                    <a:pt x="998" y="478"/>
                    <a:pt x="999" y="478"/>
                  </a:cubicBezTo>
                  <a:cubicBezTo>
                    <a:pt x="998" y="478"/>
                    <a:pt x="998" y="478"/>
                    <a:pt x="997" y="478"/>
                  </a:cubicBezTo>
                  <a:moveTo>
                    <a:pt x="1483" y="479"/>
                  </a:moveTo>
                  <a:cubicBezTo>
                    <a:pt x="1484" y="480"/>
                    <a:pt x="1484" y="480"/>
                    <a:pt x="1485" y="481"/>
                  </a:cubicBezTo>
                  <a:cubicBezTo>
                    <a:pt x="1488" y="483"/>
                    <a:pt x="1491" y="484"/>
                    <a:pt x="1494" y="486"/>
                  </a:cubicBezTo>
                  <a:cubicBezTo>
                    <a:pt x="1494" y="485"/>
                    <a:pt x="1494" y="485"/>
                    <a:pt x="1495" y="485"/>
                  </a:cubicBezTo>
                  <a:cubicBezTo>
                    <a:pt x="1491" y="483"/>
                    <a:pt x="1487" y="481"/>
                    <a:pt x="1483" y="479"/>
                  </a:cubicBezTo>
                  <a:moveTo>
                    <a:pt x="919" y="480"/>
                  </a:moveTo>
                  <a:cubicBezTo>
                    <a:pt x="920" y="480"/>
                    <a:pt x="920" y="481"/>
                    <a:pt x="920" y="482"/>
                  </a:cubicBezTo>
                  <a:cubicBezTo>
                    <a:pt x="920" y="481"/>
                    <a:pt x="920" y="481"/>
                    <a:pt x="920" y="480"/>
                  </a:cubicBezTo>
                  <a:cubicBezTo>
                    <a:pt x="920" y="480"/>
                    <a:pt x="920" y="480"/>
                    <a:pt x="919" y="480"/>
                  </a:cubicBezTo>
                  <a:moveTo>
                    <a:pt x="994" y="480"/>
                  </a:moveTo>
                  <a:cubicBezTo>
                    <a:pt x="994" y="480"/>
                    <a:pt x="994" y="480"/>
                    <a:pt x="994" y="481"/>
                  </a:cubicBezTo>
                  <a:cubicBezTo>
                    <a:pt x="994" y="481"/>
                    <a:pt x="994" y="481"/>
                    <a:pt x="995" y="481"/>
                  </a:cubicBezTo>
                  <a:cubicBezTo>
                    <a:pt x="995" y="481"/>
                    <a:pt x="995" y="481"/>
                    <a:pt x="995" y="480"/>
                  </a:cubicBezTo>
                  <a:cubicBezTo>
                    <a:pt x="995" y="480"/>
                    <a:pt x="995" y="480"/>
                    <a:pt x="994" y="480"/>
                  </a:cubicBezTo>
                  <a:moveTo>
                    <a:pt x="993" y="481"/>
                  </a:moveTo>
                  <a:cubicBezTo>
                    <a:pt x="992" y="482"/>
                    <a:pt x="992" y="482"/>
                    <a:pt x="992" y="482"/>
                  </a:cubicBezTo>
                  <a:cubicBezTo>
                    <a:pt x="993" y="482"/>
                    <a:pt x="993" y="482"/>
                    <a:pt x="993" y="482"/>
                  </a:cubicBezTo>
                  <a:cubicBezTo>
                    <a:pt x="993" y="482"/>
                    <a:pt x="994" y="482"/>
                    <a:pt x="994" y="482"/>
                  </a:cubicBezTo>
                  <a:cubicBezTo>
                    <a:pt x="993" y="482"/>
                    <a:pt x="993" y="482"/>
                    <a:pt x="993" y="481"/>
                  </a:cubicBezTo>
                  <a:moveTo>
                    <a:pt x="921" y="482"/>
                  </a:moveTo>
                  <a:cubicBezTo>
                    <a:pt x="921" y="482"/>
                    <a:pt x="920" y="483"/>
                    <a:pt x="920" y="483"/>
                  </a:cubicBezTo>
                  <a:cubicBezTo>
                    <a:pt x="920" y="484"/>
                    <a:pt x="921" y="484"/>
                    <a:pt x="921" y="485"/>
                  </a:cubicBezTo>
                  <a:cubicBezTo>
                    <a:pt x="921" y="485"/>
                    <a:pt x="921" y="485"/>
                    <a:pt x="922" y="484"/>
                  </a:cubicBezTo>
                  <a:cubicBezTo>
                    <a:pt x="921" y="484"/>
                    <a:pt x="921" y="483"/>
                    <a:pt x="921" y="482"/>
                  </a:cubicBezTo>
                  <a:moveTo>
                    <a:pt x="991" y="482"/>
                  </a:moveTo>
                  <a:cubicBezTo>
                    <a:pt x="991" y="483"/>
                    <a:pt x="991" y="483"/>
                    <a:pt x="991" y="483"/>
                  </a:cubicBezTo>
                  <a:cubicBezTo>
                    <a:pt x="991" y="483"/>
                    <a:pt x="992" y="483"/>
                    <a:pt x="992" y="483"/>
                  </a:cubicBezTo>
                  <a:cubicBezTo>
                    <a:pt x="992" y="483"/>
                    <a:pt x="992" y="483"/>
                    <a:pt x="992" y="483"/>
                  </a:cubicBezTo>
                  <a:cubicBezTo>
                    <a:pt x="992" y="483"/>
                    <a:pt x="992" y="483"/>
                    <a:pt x="991" y="482"/>
                  </a:cubicBezTo>
                  <a:moveTo>
                    <a:pt x="1590" y="484"/>
                  </a:moveTo>
                  <a:cubicBezTo>
                    <a:pt x="1582" y="484"/>
                    <a:pt x="1565" y="487"/>
                    <a:pt x="1537" y="497"/>
                  </a:cubicBezTo>
                  <a:cubicBezTo>
                    <a:pt x="1524" y="496"/>
                    <a:pt x="1510" y="492"/>
                    <a:pt x="1496" y="486"/>
                  </a:cubicBezTo>
                  <a:cubicBezTo>
                    <a:pt x="1495" y="486"/>
                    <a:pt x="1495" y="486"/>
                    <a:pt x="1495" y="486"/>
                  </a:cubicBezTo>
                  <a:cubicBezTo>
                    <a:pt x="1509" y="493"/>
                    <a:pt x="1522" y="496"/>
                    <a:pt x="1535" y="498"/>
                  </a:cubicBezTo>
                  <a:cubicBezTo>
                    <a:pt x="1526" y="501"/>
                    <a:pt x="1517" y="505"/>
                    <a:pt x="1507" y="509"/>
                  </a:cubicBezTo>
                  <a:cubicBezTo>
                    <a:pt x="1507" y="509"/>
                    <a:pt x="1507" y="510"/>
                    <a:pt x="1507" y="510"/>
                  </a:cubicBezTo>
                  <a:cubicBezTo>
                    <a:pt x="1518" y="505"/>
                    <a:pt x="1528" y="501"/>
                    <a:pt x="1537" y="498"/>
                  </a:cubicBezTo>
                  <a:cubicBezTo>
                    <a:pt x="1541" y="499"/>
                    <a:pt x="1546" y="499"/>
                    <a:pt x="1550" y="499"/>
                  </a:cubicBezTo>
                  <a:cubicBezTo>
                    <a:pt x="1576" y="499"/>
                    <a:pt x="1595" y="491"/>
                    <a:pt x="1595" y="486"/>
                  </a:cubicBezTo>
                  <a:cubicBezTo>
                    <a:pt x="1595" y="484"/>
                    <a:pt x="1593" y="484"/>
                    <a:pt x="1590" y="484"/>
                  </a:cubicBezTo>
                  <a:moveTo>
                    <a:pt x="1550" y="498"/>
                  </a:moveTo>
                  <a:cubicBezTo>
                    <a:pt x="1547" y="498"/>
                    <a:pt x="1543" y="498"/>
                    <a:pt x="1539" y="497"/>
                  </a:cubicBezTo>
                  <a:cubicBezTo>
                    <a:pt x="1566" y="488"/>
                    <a:pt x="1582" y="485"/>
                    <a:pt x="1590" y="485"/>
                  </a:cubicBezTo>
                  <a:cubicBezTo>
                    <a:pt x="1593" y="485"/>
                    <a:pt x="1594" y="485"/>
                    <a:pt x="1594" y="486"/>
                  </a:cubicBezTo>
                  <a:cubicBezTo>
                    <a:pt x="1595" y="487"/>
                    <a:pt x="1590" y="491"/>
                    <a:pt x="1582" y="493"/>
                  </a:cubicBezTo>
                  <a:cubicBezTo>
                    <a:pt x="1574" y="496"/>
                    <a:pt x="1563" y="498"/>
                    <a:pt x="1550" y="498"/>
                  </a:cubicBezTo>
                  <a:moveTo>
                    <a:pt x="990" y="484"/>
                  </a:moveTo>
                  <a:cubicBezTo>
                    <a:pt x="989" y="484"/>
                    <a:pt x="989" y="484"/>
                    <a:pt x="989" y="485"/>
                  </a:cubicBezTo>
                  <a:cubicBezTo>
                    <a:pt x="988" y="485"/>
                    <a:pt x="988" y="485"/>
                    <a:pt x="988" y="485"/>
                  </a:cubicBezTo>
                  <a:cubicBezTo>
                    <a:pt x="987" y="486"/>
                    <a:pt x="987" y="486"/>
                    <a:pt x="986" y="486"/>
                  </a:cubicBezTo>
                  <a:cubicBezTo>
                    <a:pt x="986" y="486"/>
                    <a:pt x="986" y="486"/>
                    <a:pt x="986" y="487"/>
                  </a:cubicBezTo>
                  <a:cubicBezTo>
                    <a:pt x="986" y="487"/>
                    <a:pt x="986" y="487"/>
                    <a:pt x="986" y="487"/>
                  </a:cubicBezTo>
                  <a:cubicBezTo>
                    <a:pt x="987" y="486"/>
                    <a:pt x="988" y="486"/>
                    <a:pt x="990" y="485"/>
                  </a:cubicBezTo>
                  <a:cubicBezTo>
                    <a:pt x="990" y="485"/>
                    <a:pt x="990" y="484"/>
                    <a:pt x="991" y="484"/>
                  </a:cubicBezTo>
                  <a:cubicBezTo>
                    <a:pt x="990" y="484"/>
                    <a:pt x="990" y="484"/>
                    <a:pt x="990" y="484"/>
                  </a:cubicBezTo>
                  <a:moveTo>
                    <a:pt x="922" y="485"/>
                  </a:moveTo>
                  <a:cubicBezTo>
                    <a:pt x="922" y="486"/>
                    <a:pt x="921" y="486"/>
                    <a:pt x="921" y="486"/>
                  </a:cubicBezTo>
                  <a:cubicBezTo>
                    <a:pt x="921" y="486"/>
                    <a:pt x="921" y="487"/>
                    <a:pt x="921" y="487"/>
                  </a:cubicBezTo>
                  <a:cubicBezTo>
                    <a:pt x="922" y="487"/>
                    <a:pt x="922" y="487"/>
                    <a:pt x="922" y="486"/>
                  </a:cubicBezTo>
                  <a:cubicBezTo>
                    <a:pt x="922" y="486"/>
                    <a:pt x="922" y="486"/>
                    <a:pt x="922" y="485"/>
                  </a:cubicBezTo>
                  <a:moveTo>
                    <a:pt x="923" y="487"/>
                  </a:moveTo>
                  <a:cubicBezTo>
                    <a:pt x="922" y="488"/>
                    <a:pt x="922" y="488"/>
                    <a:pt x="922" y="488"/>
                  </a:cubicBezTo>
                  <a:cubicBezTo>
                    <a:pt x="922" y="488"/>
                    <a:pt x="922" y="489"/>
                    <a:pt x="922" y="489"/>
                  </a:cubicBezTo>
                  <a:cubicBezTo>
                    <a:pt x="922" y="489"/>
                    <a:pt x="922" y="488"/>
                    <a:pt x="923" y="488"/>
                  </a:cubicBezTo>
                  <a:cubicBezTo>
                    <a:pt x="923" y="488"/>
                    <a:pt x="923" y="488"/>
                    <a:pt x="923" y="487"/>
                  </a:cubicBezTo>
                  <a:moveTo>
                    <a:pt x="986" y="488"/>
                  </a:moveTo>
                  <a:cubicBezTo>
                    <a:pt x="985" y="488"/>
                    <a:pt x="984" y="488"/>
                    <a:pt x="983" y="489"/>
                  </a:cubicBezTo>
                  <a:cubicBezTo>
                    <a:pt x="983" y="489"/>
                    <a:pt x="983" y="489"/>
                    <a:pt x="982" y="489"/>
                  </a:cubicBezTo>
                  <a:cubicBezTo>
                    <a:pt x="980" y="491"/>
                    <a:pt x="977" y="493"/>
                    <a:pt x="975" y="495"/>
                  </a:cubicBezTo>
                  <a:cubicBezTo>
                    <a:pt x="975" y="495"/>
                    <a:pt x="974" y="495"/>
                    <a:pt x="974" y="495"/>
                  </a:cubicBezTo>
                  <a:cubicBezTo>
                    <a:pt x="973" y="496"/>
                    <a:pt x="972" y="497"/>
                    <a:pt x="971" y="497"/>
                  </a:cubicBezTo>
                  <a:cubicBezTo>
                    <a:pt x="971" y="497"/>
                    <a:pt x="972" y="497"/>
                    <a:pt x="972" y="497"/>
                  </a:cubicBezTo>
                  <a:cubicBezTo>
                    <a:pt x="973" y="497"/>
                    <a:pt x="974" y="496"/>
                    <a:pt x="975" y="496"/>
                  </a:cubicBezTo>
                  <a:cubicBezTo>
                    <a:pt x="975" y="496"/>
                    <a:pt x="975" y="496"/>
                    <a:pt x="975" y="496"/>
                  </a:cubicBezTo>
                  <a:cubicBezTo>
                    <a:pt x="976" y="495"/>
                    <a:pt x="976" y="495"/>
                    <a:pt x="976" y="495"/>
                  </a:cubicBezTo>
                  <a:cubicBezTo>
                    <a:pt x="979" y="493"/>
                    <a:pt x="981" y="492"/>
                    <a:pt x="983" y="490"/>
                  </a:cubicBezTo>
                  <a:cubicBezTo>
                    <a:pt x="984" y="490"/>
                    <a:pt x="984" y="489"/>
                    <a:pt x="984" y="489"/>
                  </a:cubicBezTo>
                  <a:cubicBezTo>
                    <a:pt x="984" y="489"/>
                    <a:pt x="984" y="489"/>
                    <a:pt x="984" y="489"/>
                  </a:cubicBezTo>
                  <a:cubicBezTo>
                    <a:pt x="985" y="489"/>
                    <a:pt x="985" y="489"/>
                    <a:pt x="985" y="489"/>
                  </a:cubicBezTo>
                  <a:cubicBezTo>
                    <a:pt x="986" y="488"/>
                    <a:pt x="986" y="488"/>
                    <a:pt x="986" y="488"/>
                  </a:cubicBezTo>
                  <a:cubicBezTo>
                    <a:pt x="986" y="488"/>
                    <a:pt x="986" y="488"/>
                    <a:pt x="986" y="488"/>
                  </a:cubicBezTo>
                  <a:moveTo>
                    <a:pt x="922" y="491"/>
                  </a:moveTo>
                  <a:cubicBezTo>
                    <a:pt x="923" y="491"/>
                    <a:pt x="923" y="491"/>
                    <a:pt x="923" y="492"/>
                  </a:cubicBezTo>
                  <a:cubicBezTo>
                    <a:pt x="923" y="492"/>
                    <a:pt x="924" y="492"/>
                    <a:pt x="924" y="492"/>
                  </a:cubicBezTo>
                  <a:cubicBezTo>
                    <a:pt x="924" y="491"/>
                    <a:pt x="924" y="491"/>
                    <a:pt x="924" y="491"/>
                  </a:cubicBezTo>
                  <a:cubicBezTo>
                    <a:pt x="923" y="491"/>
                    <a:pt x="923" y="491"/>
                    <a:pt x="922" y="491"/>
                  </a:cubicBezTo>
                  <a:moveTo>
                    <a:pt x="924" y="493"/>
                  </a:moveTo>
                  <a:cubicBezTo>
                    <a:pt x="923" y="493"/>
                    <a:pt x="923" y="493"/>
                    <a:pt x="923" y="493"/>
                  </a:cubicBezTo>
                  <a:cubicBezTo>
                    <a:pt x="923" y="493"/>
                    <a:pt x="923" y="493"/>
                    <a:pt x="923" y="493"/>
                  </a:cubicBezTo>
                  <a:cubicBezTo>
                    <a:pt x="923" y="493"/>
                    <a:pt x="923" y="493"/>
                    <a:pt x="924" y="493"/>
                  </a:cubicBezTo>
                  <a:moveTo>
                    <a:pt x="925" y="494"/>
                  </a:moveTo>
                  <a:cubicBezTo>
                    <a:pt x="925" y="494"/>
                    <a:pt x="924" y="494"/>
                    <a:pt x="924" y="494"/>
                  </a:cubicBezTo>
                  <a:cubicBezTo>
                    <a:pt x="925" y="496"/>
                    <a:pt x="926" y="498"/>
                    <a:pt x="926" y="499"/>
                  </a:cubicBezTo>
                  <a:cubicBezTo>
                    <a:pt x="927" y="499"/>
                    <a:pt x="927" y="499"/>
                    <a:pt x="927" y="499"/>
                  </a:cubicBezTo>
                  <a:cubicBezTo>
                    <a:pt x="927" y="499"/>
                    <a:pt x="927" y="499"/>
                    <a:pt x="927" y="498"/>
                  </a:cubicBezTo>
                  <a:cubicBezTo>
                    <a:pt x="926" y="497"/>
                    <a:pt x="926" y="496"/>
                    <a:pt x="925" y="494"/>
                  </a:cubicBezTo>
                  <a:moveTo>
                    <a:pt x="928" y="499"/>
                  </a:moveTo>
                  <a:cubicBezTo>
                    <a:pt x="928" y="499"/>
                    <a:pt x="927" y="500"/>
                    <a:pt x="927" y="500"/>
                  </a:cubicBezTo>
                  <a:cubicBezTo>
                    <a:pt x="927" y="500"/>
                    <a:pt x="927" y="500"/>
                    <a:pt x="927" y="500"/>
                  </a:cubicBezTo>
                  <a:cubicBezTo>
                    <a:pt x="927" y="500"/>
                    <a:pt x="928" y="501"/>
                    <a:pt x="928" y="502"/>
                  </a:cubicBezTo>
                  <a:cubicBezTo>
                    <a:pt x="929" y="502"/>
                    <a:pt x="929" y="501"/>
                    <a:pt x="929" y="501"/>
                  </a:cubicBezTo>
                  <a:cubicBezTo>
                    <a:pt x="929" y="501"/>
                    <a:pt x="928" y="500"/>
                    <a:pt x="928" y="499"/>
                  </a:cubicBezTo>
                  <a:moveTo>
                    <a:pt x="967" y="501"/>
                  </a:moveTo>
                  <a:cubicBezTo>
                    <a:pt x="962" y="503"/>
                    <a:pt x="957" y="506"/>
                    <a:pt x="952" y="508"/>
                  </a:cubicBezTo>
                  <a:cubicBezTo>
                    <a:pt x="955" y="507"/>
                    <a:pt x="959" y="506"/>
                    <a:pt x="962" y="504"/>
                  </a:cubicBezTo>
                  <a:cubicBezTo>
                    <a:pt x="963" y="503"/>
                    <a:pt x="964" y="503"/>
                    <a:pt x="964" y="503"/>
                  </a:cubicBezTo>
                  <a:cubicBezTo>
                    <a:pt x="965" y="502"/>
                    <a:pt x="966" y="502"/>
                    <a:pt x="967" y="501"/>
                  </a:cubicBezTo>
                  <a:cubicBezTo>
                    <a:pt x="967" y="501"/>
                    <a:pt x="967" y="501"/>
                    <a:pt x="967" y="501"/>
                  </a:cubicBezTo>
                  <a:moveTo>
                    <a:pt x="930" y="502"/>
                  </a:moveTo>
                  <a:cubicBezTo>
                    <a:pt x="930" y="502"/>
                    <a:pt x="929" y="502"/>
                    <a:pt x="929" y="502"/>
                  </a:cubicBezTo>
                  <a:cubicBezTo>
                    <a:pt x="930" y="503"/>
                    <a:pt x="930" y="504"/>
                    <a:pt x="931" y="505"/>
                  </a:cubicBezTo>
                  <a:cubicBezTo>
                    <a:pt x="931" y="504"/>
                    <a:pt x="932" y="504"/>
                    <a:pt x="932" y="504"/>
                  </a:cubicBezTo>
                  <a:cubicBezTo>
                    <a:pt x="931" y="504"/>
                    <a:pt x="931" y="503"/>
                    <a:pt x="930" y="502"/>
                  </a:cubicBezTo>
                  <a:moveTo>
                    <a:pt x="933" y="505"/>
                  </a:moveTo>
                  <a:cubicBezTo>
                    <a:pt x="932" y="505"/>
                    <a:pt x="932" y="505"/>
                    <a:pt x="932" y="505"/>
                  </a:cubicBezTo>
                  <a:cubicBezTo>
                    <a:pt x="933" y="507"/>
                    <a:pt x="935" y="508"/>
                    <a:pt x="936" y="508"/>
                  </a:cubicBezTo>
                  <a:cubicBezTo>
                    <a:pt x="937" y="508"/>
                    <a:pt x="937" y="508"/>
                    <a:pt x="938" y="508"/>
                  </a:cubicBezTo>
                  <a:cubicBezTo>
                    <a:pt x="936" y="507"/>
                    <a:pt x="934" y="506"/>
                    <a:pt x="933" y="505"/>
                  </a:cubicBezTo>
                  <a:moveTo>
                    <a:pt x="810" y="505"/>
                  </a:moveTo>
                  <a:cubicBezTo>
                    <a:pt x="809" y="506"/>
                    <a:pt x="809" y="506"/>
                    <a:pt x="809" y="506"/>
                  </a:cubicBezTo>
                  <a:cubicBezTo>
                    <a:pt x="814" y="507"/>
                    <a:pt x="819" y="508"/>
                    <a:pt x="825" y="509"/>
                  </a:cubicBezTo>
                  <a:cubicBezTo>
                    <a:pt x="825" y="509"/>
                    <a:pt x="825" y="509"/>
                    <a:pt x="825" y="509"/>
                  </a:cubicBezTo>
                  <a:cubicBezTo>
                    <a:pt x="820" y="508"/>
                    <a:pt x="815" y="507"/>
                    <a:pt x="810" y="505"/>
                  </a:cubicBezTo>
                  <a:moveTo>
                    <a:pt x="950" y="508"/>
                  </a:moveTo>
                  <a:cubicBezTo>
                    <a:pt x="949" y="508"/>
                    <a:pt x="948" y="509"/>
                    <a:pt x="947" y="509"/>
                  </a:cubicBezTo>
                  <a:cubicBezTo>
                    <a:pt x="947" y="509"/>
                    <a:pt x="948" y="509"/>
                    <a:pt x="948" y="509"/>
                  </a:cubicBezTo>
                  <a:cubicBezTo>
                    <a:pt x="948" y="509"/>
                    <a:pt x="949" y="508"/>
                    <a:pt x="950" y="508"/>
                  </a:cubicBezTo>
                  <a:moveTo>
                    <a:pt x="939" y="508"/>
                  </a:moveTo>
                  <a:cubicBezTo>
                    <a:pt x="939" y="508"/>
                    <a:pt x="938" y="508"/>
                    <a:pt x="938" y="509"/>
                  </a:cubicBezTo>
                  <a:cubicBezTo>
                    <a:pt x="938" y="509"/>
                    <a:pt x="938" y="509"/>
                    <a:pt x="938" y="509"/>
                  </a:cubicBezTo>
                  <a:cubicBezTo>
                    <a:pt x="938" y="509"/>
                    <a:pt x="939" y="508"/>
                    <a:pt x="939" y="508"/>
                  </a:cubicBezTo>
                  <a:cubicBezTo>
                    <a:pt x="939" y="508"/>
                    <a:pt x="939" y="508"/>
                    <a:pt x="939" y="508"/>
                  </a:cubicBezTo>
                  <a:moveTo>
                    <a:pt x="947" y="508"/>
                  </a:moveTo>
                  <a:cubicBezTo>
                    <a:pt x="946" y="509"/>
                    <a:pt x="945" y="509"/>
                    <a:pt x="944" y="509"/>
                  </a:cubicBezTo>
                  <a:cubicBezTo>
                    <a:pt x="944" y="509"/>
                    <a:pt x="944" y="509"/>
                    <a:pt x="944" y="509"/>
                  </a:cubicBezTo>
                  <a:cubicBezTo>
                    <a:pt x="943" y="509"/>
                    <a:pt x="943" y="509"/>
                    <a:pt x="943" y="509"/>
                  </a:cubicBezTo>
                  <a:cubicBezTo>
                    <a:pt x="942" y="509"/>
                    <a:pt x="942" y="509"/>
                    <a:pt x="941" y="508"/>
                  </a:cubicBezTo>
                  <a:cubicBezTo>
                    <a:pt x="940" y="509"/>
                    <a:pt x="940" y="509"/>
                    <a:pt x="939" y="509"/>
                  </a:cubicBezTo>
                  <a:cubicBezTo>
                    <a:pt x="941" y="509"/>
                    <a:pt x="942" y="510"/>
                    <a:pt x="944" y="510"/>
                  </a:cubicBezTo>
                  <a:cubicBezTo>
                    <a:pt x="944" y="510"/>
                    <a:pt x="944" y="510"/>
                    <a:pt x="944" y="510"/>
                  </a:cubicBezTo>
                  <a:cubicBezTo>
                    <a:pt x="945" y="509"/>
                    <a:pt x="946" y="509"/>
                    <a:pt x="947" y="508"/>
                  </a:cubicBezTo>
                  <a:moveTo>
                    <a:pt x="827" y="509"/>
                  </a:moveTo>
                  <a:cubicBezTo>
                    <a:pt x="827" y="509"/>
                    <a:pt x="826" y="510"/>
                    <a:pt x="826" y="510"/>
                  </a:cubicBezTo>
                  <a:cubicBezTo>
                    <a:pt x="827" y="510"/>
                    <a:pt x="828" y="510"/>
                    <a:pt x="829" y="510"/>
                  </a:cubicBezTo>
                  <a:cubicBezTo>
                    <a:pt x="829" y="510"/>
                    <a:pt x="829" y="510"/>
                    <a:pt x="829" y="510"/>
                  </a:cubicBezTo>
                  <a:cubicBezTo>
                    <a:pt x="828" y="510"/>
                    <a:pt x="828" y="509"/>
                    <a:pt x="827" y="509"/>
                  </a:cubicBezTo>
                  <a:moveTo>
                    <a:pt x="1506" y="509"/>
                  </a:moveTo>
                  <a:cubicBezTo>
                    <a:pt x="1500" y="512"/>
                    <a:pt x="1495" y="514"/>
                    <a:pt x="1489" y="517"/>
                  </a:cubicBezTo>
                  <a:cubicBezTo>
                    <a:pt x="1488" y="517"/>
                    <a:pt x="1488" y="517"/>
                    <a:pt x="1487" y="517"/>
                  </a:cubicBezTo>
                  <a:cubicBezTo>
                    <a:pt x="1476" y="522"/>
                    <a:pt x="1464" y="527"/>
                    <a:pt x="1452" y="533"/>
                  </a:cubicBezTo>
                  <a:cubicBezTo>
                    <a:pt x="1451" y="534"/>
                    <a:pt x="1451" y="534"/>
                    <a:pt x="1450" y="534"/>
                  </a:cubicBezTo>
                  <a:cubicBezTo>
                    <a:pt x="1443" y="537"/>
                    <a:pt x="1436" y="541"/>
                    <a:pt x="1428" y="545"/>
                  </a:cubicBezTo>
                  <a:cubicBezTo>
                    <a:pt x="1428" y="545"/>
                    <a:pt x="1428" y="546"/>
                    <a:pt x="1428" y="546"/>
                  </a:cubicBezTo>
                  <a:cubicBezTo>
                    <a:pt x="1436" y="542"/>
                    <a:pt x="1444" y="538"/>
                    <a:pt x="1451" y="535"/>
                  </a:cubicBezTo>
                  <a:cubicBezTo>
                    <a:pt x="1452" y="534"/>
                    <a:pt x="1452" y="534"/>
                    <a:pt x="1453" y="534"/>
                  </a:cubicBezTo>
                  <a:cubicBezTo>
                    <a:pt x="1466" y="528"/>
                    <a:pt x="1478" y="523"/>
                    <a:pt x="1489" y="518"/>
                  </a:cubicBezTo>
                  <a:cubicBezTo>
                    <a:pt x="1489" y="518"/>
                    <a:pt x="1489" y="517"/>
                    <a:pt x="1490" y="517"/>
                  </a:cubicBezTo>
                  <a:cubicBezTo>
                    <a:pt x="1496" y="515"/>
                    <a:pt x="1501" y="512"/>
                    <a:pt x="1506" y="510"/>
                  </a:cubicBezTo>
                  <a:cubicBezTo>
                    <a:pt x="1506" y="510"/>
                    <a:pt x="1506" y="510"/>
                    <a:pt x="1506" y="509"/>
                  </a:cubicBezTo>
                  <a:moveTo>
                    <a:pt x="830" y="510"/>
                  </a:moveTo>
                  <a:cubicBezTo>
                    <a:pt x="830" y="510"/>
                    <a:pt x="830" y="510"/>
                    <a:pt x="830" y="510"/>
                  </a:cubicBezTo>
                  <a:cubicBezTo>
                    <a:pt x="832" y="511"/>
                    <a:pt x="834" y="511"/>
                    <a:pt x="836" y="512"/>
                  </a:cubicBezTo>
                  <a:cubicBezTo>
                    <a:pt x="836" y="511"/>
                    <a:pt x="836" y="511"/>
                    <a:pt x="836" y="511"/>
                  </a:cubicBezTo>
                  <a:cubicBezTo>
                    <a:pt x="834" y="511"/>
                    <a:pt x="832" y="510"/>
                    <a:pt x="830" y="510"/>
                  </a:cubicBezTo>
                  <a:moveTo>
                    <a:pt x="837" y="511"/>
                  </a:moveTo>
                  <a:cubicBezTo>
                    <a:pt x="837" y="511"/>
                    <a:pt x="837" y="512"/>
                    <a:pt x="837" y="512"/>
                  </a:cubicBezTo>
                  <a:cubicBezTo>
                    <a:pt x="837" y="512"/>
                    <a:pt x="838" y="512"/>
                    <a:pt x="838" y="512"/>
                  </a:cubicBezTo>
                  <a:cubicBezTo>
                    <a:pt x="838" y="512"/>
                    <a:pt x="838" y="512"/>
                    <a:pt x="838" y="512"/>
                  </a:cubicBezTo>
                  <a:cubicBezTo>
                    <a:pt x="838" y="511"/>
                    <a:pt x="837" y="511"/>
                    <a:pt x="837" y="511"/>
                  </a:cubicBezTo>
                  <a:moveTo>
                    <a:pt x="840" y="512"/>
                  </a:moveTo>
                  <a:cubicBezTo>
                    <a:pt x="840" y="512"/>
                    <a:pt x="840" y="512"/>
                    <a:pt x="840" y="512"/>
                  </a:cubicBezTo>
                  <a:cubicBezTo>
                    <a:pt x="841" y="512"/>
                    <a:pt x="841" y="512"/>
                    <a:pt x="841" y="512"/>
                  </a:cubicBezTo>
                  <a:cubicBezTo>
                    <a:pt x="841" y="512"/>
                    <a:pt x="841" y="512"/>
                    <a:pt x="841" y="512"/>
                  </a:cubicBezTo>
                  <a:cubicBezTo>
                    <a:pt x="841" y="512"/>
                    <a:pt x="840" y="512"/>
                    <a:pt x="840" y="512"/>
                  </a:cubicBezTo>
                  <a:moveTo>
                    <a:pt x="843" y="513"/>
                  </a:moveTo>
                  <a:cubicBezTo>
                    <a:pt x="843" y="513"/>
                    <a:pt x="843" y="513"/>
                    <a:pt x="843" y="513"/>
                  </a:cubicBezTo>
                  <a:cubicBezTo>
                    <a:pt x="845" y="513"/>
                    <a:pt x="848" y="514"/>
                    <a:pt x="851" y="514"/>
                  </a:cubicBezTo>
                  <a:cubicBezTo>
                    <a:pt x="848" y="514"/>
                    <a:pt x="846" y="513"/>
                    <a:pt x="843" y="513"/>
                  </a:cubicBezTo>
                  <a:moveTo>
                    <a:pt x="851" y="513"/>
                  </a:moveTo>
                  <a:cubicBezTo>
                    <a:pt x="851" y="513"/>
                    <a:pt x="852" y="513"/>
                    <a:pt x="852" y="513"/>
                  </a:cubicBezTo>
                  <a:cubicBezTo>
                    <a:pt x="852" y="513"/>
                    <a:pt x="852" y="513"/>
                    <a:pt x="852" y="513"/>
                  </a:cubicBezTo>
                  <a:cubicBezTo>
                    <a:pt x="852" y="513"/>
                    <a:pt x="851" y="513"/>
                    <a:pt x="851" y="513"/>
                  </a:cubicBezTo>
                  <a:moveTo>
                    <a:pt x="853" y="514"/>
                  </a:moveTo>
                  <a:cubicBezTo>
                    <a:pt x="853" y="514"/>
                    <a:pt x="853" y="514"/>
                    <a:pt x="853" y="514"/>
                  </a:cubicBezTo>
                  <a:cubicBezTo>
                    <a:pt x="855" y="514"/>
                    <a:pt x="857" y="514"/>
                    <a:pt x="859" y="515"/>
                  </a:cubicBezTo>
                  <a:cubicBezTo>
                    <a:pt x="860" y="515"/>
                    <a:pt x="860" y="515"/>
                    <a:pt x="860" y="515"/>
                  </a:cubicBezTo>
                  <a:cubicBezTo>
                    <a:pt x="858" y="514"/>
                    <a:pt x="856" y="514"/>
                    <a:pt x="853" y="514"/>
                  </a:cubicBezTo>
                  <a:moveTo>
                    <a:pt x="861" y="515"/>
                  </a:moveTo>
                  <a:cubicBezTo>
                    <a:pt x="861" y="515"/>
                    <a:pt x="861" y="515"/>
                    <a:pt x="861" y="515"/>
                  </a:cubicBezTo>
                  <a:cubicBezTo>
                    <a:pt x="865" y="516"/>
                    <a:pt x="869" y="517"/>
                    <a:pt x="873" y="517"/>
                  </a:cubicBezTo>
                  <a:cubicBezTo>
                    <a:pt x="873" y="517"/>
                    <a:pt x="873" y="517"/>
                    <a:pt x="873" y="517"/>
                  </a:cubicBezTo>
                  <a:cubicBezTo>
                    <a:pt x="872" y="517"/>
                    <a:pt x="872" y="517"/>
                    <a:pt x="871" y="517"/>
                  </a:cubicBezTo>
                  <a:cubicBezTo>
                    <a:pt x="868" y="516"/>
                    <a:pt x="865" y="516"/>
                    <a:pt x="861" y="515"/>
                  </a:cubicBezTo>
                  <a:moveTo>
                    <a:pt x="875" y="517"/>
                  </a:moveTo>
                  <a:cubicBezTo>
                    <a:pt x="875" y="517"/>
                    <a:pt x="875" y="517"/>
                    <a:pt x="875" y="517"/>
                  </a:cubicBezTo>
                  <a:cubicBezTo>
                    <a:pt x="875" y="518"/>
                    <a:pt x="876" y="518"/>
                    <a:pt x="876" y="518"/>
                  </a:cubicBezTo>
                  <a:cubicBezTo>
                    <a:pt x="879" y="518"/>
                    <a:pt x="881" y="519"/>
                    <a:pt x="884" y="519"/>
                  </a:cubicBezTo>
                  <a:cubicBezTo>
                    <a:pt x="884" y="519"/>
                    <a:pt x="885" y="519"/>
                    <a:pt x="885" y="519"/>
                  </a:cubicBezTo>
                  <a:cubicBezTo>
                    <a:pt x="882" y="518"/>
                    <a:pt x="878" y="518"/>
                    <a:pt x="875" y="517"/>
                  </a:cubicBezTo>
                  <a:moveTo>
                    <a:pt x="887" y="519"/>
                  </a:moveTo>
                  <a:cubicBezTo>
                    <a:pt x="886" y="519"/>
                    <a:pt x="886" y="520"/>
                    <a:pt x="886" y="520"/>
                  </a:cubicBezTo>
                  <a:cubicBezTo>
                    <a:pt x="888" y="520"/>
                    <a:pt x="891" y="521"/>
                    <a:pt x="894" y="521"/>
                  </a:cubicBezTo>
                  <a:cubicBezTo>
                    <a:pt x="894" y="521"/>
                    <a:pt x="895" y="521"/>
                    <a:pt x="895" y="521"/>
                  </a:cubicBezTo>
                  <a:cubicBezTo>
                    <a:pt x="896" y="521"/>
                    <a:pt x="896" y="521"/>
                    <a:pt x="896" y="521"/>
                  </a:cubicBezTo>
                  <a:cubicBezTo>
                    <a:pt x="893" y="520"/>
                    <a:pt x="890" y="520"/>
                    <a:pt x="887" y="519"/>
                  </a:cubicBezTo>
                  <a:moveTo>
                    <a:pt x="898" y="521"/>
                  </a:moveTo>
                  <a:cubicBezTo>
                    <a:pt x="898" y="521"/>
                    <a:pt x="898" y="522"/>
                    <a:pt x="898" y="522"/>
                  </a:cubicBezTo>
                  <a:cubicBezTo>
                    <a:pt x="900" y="522"/>
                    <a:pt x="903" y="523"/>
                    <a:pt x="906" y="523"/>
                  </a:cubicBezTo>
                  <a:cubicBezTo>
                    <a:pt x="906" y="523"/>
                    <a:pt x="906" y="523"/>
                    <a:pt x="906" y="523"/>
                  </a:cubicBezTo>
                  <a:cubicBezTo>
                    <a:pt x="904" y="522"/>
                    <a:pt x="901" y="522"/>
                    <a:pt x="898" y="521"/>
                  </a:cubicBezTo>
                  <a:moveTo>
                    <a:pt x="908" y="523"/>
                  </a:moveTo>
                  <a:cubicBezTo>
                    <a:pt x="908" y="523"/>
                    <a:pt x="908" y="523"/>
                    <a:pt x="908" y="523"/>
                  </a:cubicBezTo>
                  <a:cubicBezTo>
                    <a:pt x="910" y="523"/>
                    <a:pt x="912" y="524"/>
                    <a:pt x="915" y="524"/>
                  </a:cubicBezTo>
                  <a:cubicBezTo>
                    <a:pt x="915" y="524"/>
                    <a:pt x="915" y="524"/>
                    <a:pt x="915" y="524"/>
                  </a:cubicBezTo>
                  <a:cubicBezTo>
                    <a:pt x="912" y="524"/>
                    <a:pt x="910" y="523"/>
                    <a:pt x="908" y="523"/>
                  </a:cubicBezTo>
                  <a:moveTo>
                    <a:pt x="918" y="524"/>
                  </a:moveTo>
                  <a:cubicBezTo>
                    <a:pt x="918" y="524"/>
                    <a:pt x="918" y="524"/>
                    <a:pt x="918" y="524"/>
                  </a:cubicBezTo>
                  <a:cubicBezTo>
                    <a:pt x="919" y="524"/>
                    <a:pt x="920" y="524"/>
                    <a:pt x="921" y="524"/>
                  </a:cubicBezTo>
                  <a:cubicBezTo>
                    <a:pt x="921" y="524"/>
                    <a:pt x="921" y="524"/>
                    <a:pt x="921" y="524"/>
                  </a:cubicBezTo>
                  <a:cubicBezTo>
                    <a:pt x="920" y="524"/>
                    <a:pt x="919" y="524"/>
                    <a:pt x="918" y="524"/>
                  </a:cubicBezTo>
                  <a:moveTo>
                    <a:pt x="923" y="524"/>
                  </a:moveTo>
                  <a:cubicBezTo>
                    <a:pt x="923" y="524"/>
                    <a:pt x="923" y="524"/>
                    <a:pt x="922" y="524"/>
                  </a:cubicBezTo>
                  <a:cubicBezTo>
                    <a:pt x="923" y="524"/>
                    <a:pt x="923" y="524"/>
                    <a:pt x="924" y="525"/>
                  </a:cubicBezTo>
                  <a:cubicBezTo>
                    <a:pt x="924" y="524"/>
                    <a:pt x="924" y="524"/>
                    <a:pt x="924" y="524"/>
                  </a:cubicBezTo>
                  <a:cubicBezTo>
                    <a:pt x="924" y="524"/>
                    <a:pt x="923" y="524"/>
                    <a:pt x="923" y="524"/>
                  </a:cubicBezTo>
                  <a:moveTo>
                    <a:pt x="916" y="524"/>
                  </a:moveTo>
                  <a:cubicBezTo>
                    <a:pt x="916" y="524"/>
                    <a:pt x="916" y="524"/>
                    <a:pt x="916" y="524"/>
                  </a:cubicBezTo>
                  <a:cubicBezTo>
                    <a:pt x="917" y="524"/>
                    <a:pt x="917" y="524"/>
                    <a:pt x="917" y="524"/>
                  </a:cubicBezTo>
                  <a:cubicBezTo>
                    <a:pt x="917" y="524"/>
                    <a:pt x="917" y="524"/>
                    <a:pt x="916" y="524"/>
                  </a:cubicBezTo>
                  <a:moveTo>
                    <a:pt x="926" y="525"/>
                  </a:moveTo>
                  <a:cubicBezTo>
                    <a:pt x="926" y="525"/>
                    <a:pt x="926" y="525"/>
                    <a:pt x="926" y="525"/>
                  </a:cubicBezTo>
                  <a:cubicBezTo>
                    <a:pt x="930" y="526"/>
                    <a:pt x="934" y="526"/>
                    <a:pt x="938" y="527"/>
                  </a:cubicBezTo>
                  <a:cubicBezTo>
                    <a:pt x="938" y="526"/>
                    <a:pt x="937" y="526"/>
                    <a:pt x="936" y="526"/>
                  </a:cubicBezTo>
                  <a:cubicBezTo>
                    <a:pt x="933" y="525"/>
                    <a:pt x="929" y="525"/>
                    <a:pt x="926" y="525"/>
                  </a:cubicBezTo>
                  <a:moveTo>
                    <a:pt x="940" y="526"/>
                  </a:moveTo>
                  <a:cubicBezTo>
                    <a:pt x="941" y="527"/>
                    <a:pt x="941" y="527"/>
                    <a:pt x="942" y="527"/>
                  </a:cubicBezTo>
                  <a:cubicBezTo>
                    <a:pt x="945" y="528"/>
                    <a:pt x="948" y="528"/>
                    <a:pt x="952" y="529"/>
                  </a:cubicBezTo>
                  <a:cubicBezTo>
                    <a:pt x="955" y="529"/>
                    <a:pt x="957" y="529"/>
                    <a:pt x="960" y="530"/>
                  </a:cubicBezTo>
                  <a:cubicBezTo>
                    <a:pt x="997" y="534"/>
                    <a:pt x="1030" y="536"/>
                    <a:pt x="1060" y="537"/>
                  </a:cubicBezTo>
                  <a:cubicBezTo>
                    <a:pt x="1059" y="537"/>
                    <a:pt x="1058" y="536"/>
                    <a:pt x="1057" y="536"/>
                  </a:cubicBezTo>
                  <a:cubicBezTo>
                    <a:pt x="1032" y="535"/>
                    <a:pt x="1005" y="533"/>
                    <a:pt x="976" y="530"/>
                  </a:cubicBezTo>
                  <a:cubicBezTo>
                    <a:pt x="964" y="529"/>
                    <a:pt x="952" y="528"/>
                    <a:pt x="940" y="526"/>
                  </a:cubicBezTo>
                  <a:moveTo>
                    <a:pt x="1225" y="535"/>
                  </a:moveTo>
                  <a:cubicBezTo>
                    <a:pt x="1213" y="535"/>
                    <a:pt x="1192" y="536"/>
                    <a:pt x="1164" y="537"/>
                  </a:cubicBezTo>
                  <a:cubicBezTo>
                    <a:pt x="1165" y="537"/>
                    <a:pt x="1166" y="537"/>
                    <a:pt x="1167" y="538"/>
                  </a:cubicBezTo>
                  <a:cubicBezTo>
                    <a:pt x="1173" y="537"/>
                    <a:pt x="1179" y="537"/>
                    <a:pt x="1184" y="537"/>
                  </a:cubicBezTo>
                  <a:cubicBezTo>
                    <a:pt x="1202" y="536"/>
                    <a:pt x="1216" y="536"/>
                    <a:pt x="1225" y="536"/>
                  </a:cubicBezTo>
                  <a:cubicBezTo>
                    <a:pt x="1229" y="536"/>
                    <a:pt x="1232" y="536"/>
                    <a:pt x="1234" y="536"/>
                  </a:cubicBezTo>
                  <a:cubicBezTo>
                    <a:pt x="1236" y="537"/>
                    <a:pt x="1237" y="537"/>
                    <a:pt x="1237" y="538"/>
                  </a:cubicBezTo>
                  <a:cubicBezTo>
                    <a:pt x="1237" y="538"/>
                    <a:pt x="1237" y="538"/>
                    <a:pt x="1237" y="538"/>
                  </a:cubicBezTo>
                  <a:cubicBezTo>
                    <a:pt x="1237" y="538"/>
                    <a:pt x="1237" y="538"/>
                    <a:pt x="1238" y="538"/>
                  </a:cubicBezTo>
                  <a:cubicBezTo>
                    <a:pt x="1238" y="538"/>
                    <a:pt x="1238" y="538"/>
                    <a:pt x="1238" y="538"/>
                  </a:cubicBezTo>
                  <a:cubicBezTo>
                    <a:pt x="1237" y="535"/>
                    <a:pt x="1233" y="535"/>
                    <a:pt x="1225" y="535"/>
                  </a:cubicBezTo>
                  <a:moveTo>
                    <a:pt x="1060" y="536"/>
                  </a:moveTo>
                  <a:cubicBezTo>
                    <a:pt x="1061" y="536"/>
                    <a:pt x="1063" y="537"/>
                    <a:pt x="1064" y="537"/>
                  </a:cubicBezTo>
                  <a:cubicBezTo>
                    <a:pt x="1081" y="538"/>
                    <a:pt x="1098" y="538"/>
                    <a:pt x="1113" y="538"/>
                  </a:cubicBezTo>
                  <a:cubicBezTo>
                    <a:pt x="1112" y="538"/>
                    <a:pt x="1111" y="538"/>
                    <a:pt x="1111" y="537"/>
                  </a:cubicBezTo>
                  <a:cubicBezTo>
                    <a:pt x="1110" y="537"/>
                    <a:pt x="1110" y="537"/>
                    <a:pt x="1110" y="537"/>
                  </a:cubicBezTo>
                  <a:cubicBezTo>
                    <a:pt x="1102" y="537"/>
                    <a:pt x="1094" y="537"/>
                    <a:pt x="1085" y="537"/>
                  </a:cubicBezTo>
                  <a:cubicBezTo>
                    <a:pt x="1077" y="537"/>
                    <a:pt x="1069" y="536"/>
                    <a:pt x="1060" y="536"/>
                  </a:cubicBezTo>
                  <a:moveTo>
                    <a:pt x="1161" y="537"/>
                  </a:moveTo>
                  <a:cubicBezTo>
                    <a:pt x="1160" y="537"/>
                    <a:pt x="1159" y="537"/>
                    <a:pt x="1158" y="537"/>
                  </a:cubicBezTo>
                  <a:cubicBezTo>
                    <a:pt x="1159" y="537"/>
                    <a:pt x="1160" y="537"/>
                    <a:pt x="1161" y="538"/>
                  </a:cubicBezTo>
                  <a:cubicBezTo>
                    <a:pt x="1162" y="538"/>
                    <a:pt x="1163" y="538"/>
                    <a:pt x="1164" y="538"/>
                  </a:cubicBezTo>
                  <a:cubicBezTo>
                    <a:pt x="1163" y="537"/>
                    <a:pt x="1162" y="537"/>
                    <a:pt x="1161" y="537"/>
                  </a:cubicBezTo>
                  <a:moveTo>
                    <a:pt x="1156" y="537"/>
                  </a:moveTo>
                  <a:cubicBezTo>
                    <a:pt x="1154" y="537"/>
                    <a:pt x="1153" y="537"/>
                    <a:pt x="1152" y="537"/>
                  </a:cubicBezTo>
                  <a:cubicBezTo>
                    <a:pt x="1153" y="537"/>
                    <a:pt x="1153" y="538"/>
                    <a:pt x="1154" y="538"/>
                  </a:cubicBezTo>
                  <a:cubicBezTo>
                    <a:pt x="1154" y="538"/>
                    <a:pt x="1154" y="538"/>
                    <a:pt x="1154" y="538"/>
                  </a:cubicBezTo>
                  <a:cubicBezTo>
                    <a:pt x="1156" y="538"/>
                    <a:pt x="1157" y="538"/>
                    <a:pt x="1158" y="538"/>
                  </a:cubicBezTo>
                  <a:cubicBezTo>
                    <a:pt x="1157" y="538"/>
                    <a:pt x="1156" y="537"/>
                    <a:pt x="1156" y="537"/>
                  </a:cubicBezTo>
                  <a:moveTo>
                    <a:pt x="1146" y="537"/>
                  </a:moveTo>
                  <a:cubicBezTo>
                    <a:pt x="1138" y="537"/>
                    <a:pt x="1129" y="537"/>
                    <a:pt x="1120" y="537"/>
                  </a:cubicBezTo>
                  <a:cubicBezTo>
                    <a:pt x="1118" y="537"/>
                    <a:pt x="1116" y="537"/>
                    <a:pt x="1113" y="537"/>
                  </a:cubicBezTo>
                  <a:cubicBezTo>
                    <a:pt x="1114" y="538"/>
                    <a:pt x="1115" y="538"/>
                    <a:pt x="1116" y="538"/>
                  </a:cubicBezTo>
                  <a:cubicBezTo>
                    <a:pt x="1117" y="538"/>
                    <a:pt x="1119" y="538"/>
                    <a:pt x="1120" y="538"/>
                  </a:cubicBezTo>
                  <a:cubicBezTo>
                    <a:pt x="1130" y="538"/>
                    <a:pt x="1140" y="538"/>
                    <a:pt x="1149" y="538"/>
                  </a:cubicBezTo>
                  <a:cubicBezTo>
                    <a:pt x="1148" y="538"/>
                    <a:pt x="1147" y="537"/>
                    <a:pt x="1146" y="537"/>
                  </a:cubicBezTo>
                  <a:moveTo>
                    <a:pt x="1237" y="540"/>
                  </a:moveTo>
                  <a:cubicBezTo>
                    <a:pt x="1236" y="540"/>
                    <a:pt x="1236" y="540"/>
                    <a:pt x="1235" y="540"/>
                  </a:cubicBezTo>
                  <a:cubicBezTo>
                    <a:pt x="1233" y="542"/>
                    <a:pt x="1229" y="544"/>
                    <a:pt x="1224" y="547"/>
                  </a:cubicBezTo>
                  <a:cubicBezTo>
                    <a:pt x="1222" y="548"/>
                    <a:pt x="1221" y="549"/>
                    <a:pt x="1219" y="550"/>
                  </a:cubicBezTo>
                  <a:cubicBezTo>
                    <a:pt x="1219" y="550"/>
                    <a:pt x="1220" y="550"/>
                    <a:pt x="1220" y="550"/>
                  </a:cubicBezTo>
                  <a:cubicBezTo>
                    <a:pt x="1222" y="549"/>
                    <a:pt x="1223" y="548"/>
                    <a:pt x="1224" y="548"/>
                  </a:cubicBezTo>
                  <a:cubicBezTo>
                    <a:pt x="1231" y="544"/>
                    <a:pt x="1235" y="542"/>
                    <a:pt x="1237" y="540"/>
                  </a:cubicBezTo>
                  <a:moveTo>
                    <a:pt x="1427" y="545"/>
                  </a:moveTo>
                  <a:cubicBezTo>
                    <a:pt x="1422" y="548"/>
                    <a:pt x="1418" y="550"/>
                    <a:pt x="1413" y="552"/>
                  </a:cubicBezTo>
                  <a:cubicBezTo>
                    <a:pt x="1413" y="552"/>
                    <a:pt x="1412" y="553"/>
                    <a:pt x="1412" y="553"/>
                  </a:cubicBezTo>
                  <a:cubicBezTo>
                    <a:pt x="1404" y="557"/>
                    <a:pt x="1395" y="561"/>
                    <a:pt x="1387" y="566"/>
                  </a:cubicBezTo>
                  <a:cubicBezTo>
                    <a:pt x="1387" y="566"/>
                    <a:pt x="1388" y="566"/>
                    <a:pt x="1389" y="566"/>
                  </a:cubicBezTo>
                  <a:cubicBezTo>
                    <a:pt x="1397" y="561"/>
                    <a:pt x="1405" y="557"/>
                    <a:pt x="1413" y="553"/>
                  </a:cubicBezTo>
                  <a:cubicBezTo>
                    <a:pt x="1413" y="553"/>
                    <a:pt x="1413" y="553"/>
                    <a:pt x="1414" y="553"/>
                  </a:cubicBezTo>
                  <a:cubicBezTo>
                    <a:pt x="1418" y="551"/>
                    <a:pt x="1423" y="548"/>
                    <a:pt x="1427" y="546"/>
                  </a:cubicBezTo>
                  <a:cubicBezTo>
                    <a:pt x="1427" y="546"/>
                    <a:pt x="1427" y="546"/>
                    <a:pt x="1427" y="545"/>
                  </a:cubicBezTo>
                  <a:moveTo>
                    <a:pt x="1218" y="551"/>
                  </a:moveTo>
                  <a:cubicBezTo>
                    <a:pt x="1216" y="552"/>
                    <a:pt x="1214" y="554"/>
                    <a:pt x="1212" y="556"/>
                  </a:cubicBezTo>
                  <a:cubicBezTo>
                    <a:pt x="1213" y="556"/>
                    <a:pt x="1213" y="556"/>
                    <a:pt x="1213" y="556"/>
                  </a:cubicBezTo>
                  <a:cubicBezTo>
                    <a:pt x="1216" y="554"/>
                    <a:pt x="1218" y="553"/>
                    <a:pt x="1219" y="551"/>
                  </a:cubicBezTo>
                  <a:cubicBezTo>
                    <a:pt x="1219" y="551"/>
                    <a:pt x="1218" y="551"/>
                    <a:pt x="1218" y="551"/>
                  </a:cubicBezTo>
                  <a:moveTo>
                    <a:pt x="1211" y="557"/>
                  </a:moveTo>
                  <a:cubicBezTo>
                    <a:pt x="1211" y="557"/>
                    <a:pt x="1211" y="557"/>
                    <a:pt x="1211" y="557"/>
                  </a:cubicBezTo>
                  <a:cubicBezTo>
                    <a:pt x="1211" y="557"/>
                    <a:pt x="1211" y="558"/>
                    <a:pt x="1212" y="558"/>
                  </a:cubicBezTo>
                  <a:cubicBezTo>
                    <a:pt x="1212" y="557"/>
                    <a:pt x="1212" y="557"/>
                    <a:pt x="1213" y="557"/>
                  </a:cubicBezTo>
                  <a:cubicBezTo>
                    <a:pt x="1212" y="557"/>
                    <a:pt x="1212" y="557"/>
                    <a:pt x="1211" y="557"/>
                  </a:cubicBezTo>
                  <a:moveTo>
                    <a:pt x="1209" y="559"/>
                  </a:moveTo>
                  <a:cubicBezTo>
                    <a:pt x="1206" y="562"/>
                    <a:pt x="1203" y="565"/>
                    <a:pt x="1200" y="568"/>
                  </a:cubicBezTo>
                  <a:cubicBezTo>
                    <a:pt x="1200" y="568"/>
                    <a:pt x="1200" y="568"/>
                    <a:pt x="1201" y="568"/>
                  </a:cubicBezTo>
                  <a:cubicBezTo>
                    <a:pt x="1204" y="565"/>
                    <a:pt x="1207" y="562"/>
                    <a:pt x="1210" y="559"/>
                  </a:cubicBezTo>
                  <a:cubicBezTo>
                    <a:pt x="1209" y="559"/>
                    <a:pt x="1209" y="559"/>
                    <a:pt x="1209" y="559"/>
                  </a:cubicBezTo>
                  <a:moveTo>
                    <a:pt x="1387" y="567"/>
                  </a:moveTo>
                  <a:cubicBezTo>
                    <a:pt x="1386" y="567"/>
                    <a:pt x="1385" y="567"/>
                    <a:pt x="1384" y="567"/>
                  </a:cubicBezTo>
                  <a:cubicBezTo>
                    <a:pt x="1379" y="569"/>
                    <a:pt x="1374" y="572"/>
                    <a:pt x="1369" y="575"/>
                  </a:cubicBezTo>
                  <a:cubicBezTo>
                    <a:pt x="1369" y="575"/>
                    <a:pt x="1368" y="575"/>
                    <a:pt x="1368" y="575"/>
                  </a:cubicBezTo>
                  <a:cubicBezTo>
                    <a:pt x="1367" y="576"/>
                    <a:pt x="1366" y="577"/>
                    <a:pt x="1365" y="577"/>
                  </a:cubicBezTo>
                  <a:cubicBezTo>
                    <a:pt x="1366" y="577"/>
                    <a:pt x="1367" y="577"/>
                    <a:pt x="1368" y="577"/>
                  </a:cubicBezTo>
                  <a:cubicBezTo>
                    <a:pt x="1368" y="576"/>
                    <a:pt x="1368" y="576"/>
                    <a:pt x="1369" y="576"/>
                  </a:cubicBezTo>
                  <a:cubicBezTo>
                    <a:pt x="1369" y="576"/>
                    <a:pt x="1369" y="576"/>
                    <a:pt x="1370" y="576"/>
                  </a:cubicBezTo>
                  <a:cubicBezTo>
                    <a:pt x="1375" y="573"/>
                    <a:pt x="1381" y="570"/>
                    <a:pt x="1387" y="567"/>
                  </a:cubicBezTo>
                  <a:moveTo>
                    <a:pt x="1199" y="569"/>
                  </a:moveTo>
                  <a:cubicBezTo>
                    <a:pt x="1196" y="572"/>
                    <a:pt x="1192" y="576"/>
                    <a:pt x="1189" y="579"/>
                  </a:cubicBezTo>
                  <a:cubicBezTo>
                    <a:pt x="1189" y="579"/>
                    <a:pt x="1190" y="580"/>
                    <a:pt x="1190" y="580"/>
                  </a:cubicBezTo>
                  <a:cubicBezTo>
                    <a:pt x="1193" y="576"/>
                    <a:pt x="1197" y="572"/>
                    <a:pt x="1200" y="569"/>
                  </a:cubicBezTo>
                  <a:cubicBezTo>
                    <a:pt x="1200" y="569"/>
                    <a:pt x="1199" y="569"/>
                    <a:pt x="1199" y="569"/>
                  </a:cubicBezTo>
                  <a:moveTo>
                    <a:pt x="1365" y="578"/>
                  </a:moveTo>
                  <a:cubicBezTo>
                    <a:pt x="1364" y="578"/>
                    <a:pt x="1363" y="578"/>
                    <a:pt x="1362" y="578"/>
                  </a:cubicBezTo>
                  <a:cubicBezTo>
                    <a:pt x="1356" y="582"/>
                    <a:pt x="1351" y="585"/>
                    <a:pt x="1345" y="587"/>
                  </a:cubicBezTo>
                  <a:cubicBezTo>
                    <a:pt x="1346" y="587"/>
                    <a:pt x="1346" y="588"/>
                    <a:pt x="1347" y="588"/>
                  </a:cubicBezTo>
                  <a:cubicBezTo>
                    <a:pt x="1352" y="585"/>
                    <a:pt x="1358" y="582"/>
                    <a:pt x="1364" y="579"/>
                  </a:cubicBezTo>
                  <a:cubicBezTo>
                    <a:pt x="1364" y="579"/>
                    <a:pt x="1365" y="578"/>
                    <a:pt x="1365" y="578"/>
                  </a:cubicBezTo>
                  <a:moveTo>
                    <a:pt x="1188" y="580"/>
                  </a:moveTo>
                  <a:cubicBezTo>
                    <a:pt x="1181" y="588"/>
                    <a:pt x="1174" y="597"/>
                    <a:pt x="1168" y="605"/>
                  </a:cubicBezTo>
                  <a:cubicBezTo>
                    <a:pt x="1169" y="606"/>
                    <a:pt x="1169" y="606"/>
                    <a:pt x="1169" y="606"/>
                  </a:cubicBezTo>
                  <a:cubicBezTo>
                    <a:pt x="1175" y="597"/>
                    <a:pt x="1182" y="588"/>
                    <a:pt x="1189" y="580"/>
                  </a:cubicBezTo>
                  <a:cubicBezTo>
                    <a:pt x="1189" y="580"/>
                    <a:pt x="1189" y="580"/>
                    <a:pt x="1188" y="580"/>
                  </a:cubicBezTo>
                  <a:moveTo>
                    <a:pt x="1344" y="588"/>
                  </a:moveTo>
                  <a:cubicBezTo>
                    <a:pt x="1339" y="590"/>
                    <a:pt x="1335" y="593"/>
                    <a:pt x="1331" y="595"/>
                  </a:cubicBezTo>
                  <a:cubicBezTo>
                    <a:pt x="1332" y="594"/>
                    <a:pt x="1334" y="594"/>
                    <a:pt x="1335" y="594"/>
                  </a:cubicBezTo>
                  <a:cubicBezTo>
                    <a:pt x="1338" y="592"/>
                    <a:pt x="1342" y="590"/>
                    <a:pt x="1345" y="588"/>
                  </a:cubicBezTo>
                  <a:cubicBezTo>
                    <a:pt x="1345" y="588"/>
                    <a:pt x="1344" y="588"/>
                    <a:pt x="1344" y="588"/>
                  </a:cubicBezTo>
                  <a:moveTo>
                    <a:pt x="1330" y="596"/>
                  </a:moveTo>
                  <a:cubicBezTo>
                    <a:pt x="1329" y="596"/>
                    <a:pt x="1328" y="596"/>
                    <a:pt x="1327" y="597"/>
                  </a:cubicBezTo>
                  <a:cubicBezTo>
                    <a:pt x="1326" y="597"/>
                    <a:pt x="1325" y="597"/>
                    <a:pt x="1325" y="598"/>
                  </a:cubicBezTo>
                  <a:cubicBezTo>
                    <a:pt x="1325" y="598"/>
                    <a:pt x="1326" y="598"/>
                    <a:pt x="1326" y="598"/>
                  </a:cubicBezTo>
                  <a:cubicBezTo>
                    <a:pt x="1327" y="598"/>
                    <a:pt x="1327" y="598"/>
                    <a:pt x="1328" y="597"/>
                  </a:cubicBezTo>
                  <a:cubicBezTo>
                    <a:pt x="1328" y="597"/>
                    <a:pt x="1328" y="597"/>
                    <a:pt x="1329" y="597"/>
                  </a:cubicBezTo>
                  <a:cubicBezTo>
                    <a:pt x="1329" y="597"/>
                    <a:pt x="1330" y="596"/>
                    <a:pt x="1330" y="596"/>
                  </a:cubicBezTo>
                  <a:cubicBezTo>
                    <a:pt x="1330" y="596"/>
                    <a:pt x="1330" y="596"/>
                    <a:pt x="1330" y="596"/>
                  </a:cubicBezTo>
                  <a:moveTo>
                    <a:pt x="1323" y="598"/>
                  </a:moveTo>
                  <a:cubicBezTo>
                    <a:pt x="1323" y="599"/>
                    <a:pt x="1323" y="599"/>
                    <a:pt x="1323" y="599"/>
                  </a:cubicBezTo>
                  <a:cubicBezTo>
                    <a:pt x="1323" y="599"/>
                    <a:pt x="1324" y="599"/>
                    <a:pt x="1324" y="599"/>
                  </a:cubicBezTo>
                  <a:cubicBezTo>
                    <a:pt x="1324" y="599"/>
                    <a:pt x="1325" y="599"/>
                    <a:pt x="1325" y="599"/>
                  </a:cubicBezTo>
                  <a:cubicBezTo>
                    <a:pt x="1324" y="599"/>
                    <a:pt x="1324" y="599"/>
                    <a:pt x="1323" y="598"/>
                  </a:cubicBezTo>
                  <a:moveTo>
                    <a:pt x="1322" y="599"/>
                  </a:moveTo>
                  <a:cubicBezTo>
                    <a:pt x="1320" y="600"/>
                    <a:pt x="1319" y="601"/>
                    <a:pt x="1317" y="602"/>
                  </a:cubicBezTo>
                  <a:cubicBezTo>
                    <a:pt x="1317" y="602"/>
                    <a:pt x="1318" y="602"/>
                    <a:pt x="1318" y="602"/>
                  </a:cubicBezTo>
                  <a:cubicBezTo>
                    <a:pt x="1320" y="601"/>
                    <a:pt x="1321" y="601"/>
                    <a:pt x="1323" y="600"/>
                  </a:cubicBezTo>
                  <a:cubicBezTo>
                    <a:pt x="1323" y="600"/>
                    <a:pt x="1322" y="599"/>
                    <a:pt x="1322" y="599"/>
                  </a:cubicBezTo>
                  <a:moveTo>
                    <a:pt x="1316" y="602"/>
                  </a:moveTo>
                  <a:cubicBezTo>
                    <a:pt x="1313" y="604"/>
                    <a:pt x="1310" y="605"/>
                    <a:pt x="1307" y="606"/>
                  </a:cubicBezTo>
                  <a:cubicBezTo>
                    <a:pt x="1308" y="606"/>
                    <a:pt x="1309" y="607"/>
                    <a:pt x="1309" y="607"/>
                  </a:cubicBezTo>
                  <a:cubicBezTo>
                    <a:pt x="1312" y="605"/>
                    <a:pt x="1314" y="604"/>
                    <a:pt x="1317" y="603"/>
                  </a:cubicBezTo>
                  <a:cubicBezTo>
                    <a:pt x="1317" y="603"/>
                    <a:pt x="1316" y="603"/>
                    <a:pt x="1316" y="602"/>
                  </a:cubicBezTo>
                  <a:moveTo>
                    <a:pt x="1168" y="606"/>
                  </a:moveTo>
                  <a:cubicBezTo>
                    <a:pt x="1165" y="611"/>
                    <a:pt x="1162" y="615"/>
                    <a:pt x="1159" y="619"/>
                  </a:cubicBezTo>
                  <a:cubicBezTo>
                    <a:pt x="1160" y="619"/>
                    <a:pt x="1160" y="619"/>
                    <a:pt x="1160" y="619"/>
                  </a:cubicBezTo>
                  <a:cubicBezTo>
                    <a:pt x="1160" y="619"/>
                    <a:pt x="1160" y="619"/>
                    <a:pt x="1161" y="619"/>
                  </a:cubicBezTo>
                  <a:cubicBezTo>
                    <a:pt x="1163" y="615"/>
                    <a:pt x="1166" y="611"/>
                    <a:pt x="1169" y="607"/>
                  </a:cubicBezTo>
                  <a:cubicBezTo>
                    <a:pt x="1168" y="607"/>
                    <a:pt x="1168" y="606"/>
                    <a:pt x="1168" y="606"/>
                  </a:cubicBezTo>
                  <a:moveTo>
                    <a:pt x="1306" y="607"/>
                  </a:moveTo>
                  <a:cubicBezTo>
                    <a:pt x="1300" y="610"/>
                    <a:pt x="1294" y="613"/>
                    <a:pt x="1288" y="616"/>
                  </a:cubicBezTo>
                  <a:cubicBezTo>
                    <a:pt x="1288" y="616"/>
                    <a:pt x="1288" y="616"/>
                    <a:pt x="1288" y="616"/>
                  </a:cubicBezTo>
                  <a:cubicBezTo>
                    <a:pt x="1281" y="619"/>
                    <a:pt x="1275" y="622"/>
                    <a:pt x="1270" y="624"/>
                  </a:cubicBezTo>
                  <a:cubicBezTo>
                    <a:pt x="1270" y="624"/>
                    <a:pt x="1271" y="624"/>
                    <a:pt x="1272" y="624"/>
                  </a:cubicBezTo>
                  <a:cubicBezTo>
                    <a:pt x="1277" y="622"/>
                    <a:pt x="1282" y="619"/>
                    <a:pt x="1288" y="617"/>
                  </a:cubicBezTo>
                  <a:cubicBezTo>
                    <a:pt x="1288" y="617"/>
                    <a:pt x="1289" y="617"/>
                    <a:pt x="1289" y="616"/>
                  </a:cubicBezTo>
                  <a:cubicBezTo>
                    <a:pt x="1295" y="614"/>
                    <a:pt x="1301" y="611"/>
                    <a:pt x="1308" y="607"/>
                  </a:cubicBezTo>
                  <a:cubicBezTo>
                    <a:pt x="1307" y="607"/>
                    <a:pt x="1307" y="607"/>
                    <a:pt x="1306" y="607"/>
                  </a:cubicBezTo>
                  <a:moveTo>
                    <a:pt x="1160" y="621"/>
                  </a:moveTo>
                  <a:cubicBezTo>
                    <a:pt x="1159" y="621"/>
                    <a:pt x="1159" y="621"/>
                    <a:pt x="1159" y="621"/>
                  </a:cubicBezTo>
                  <a:cubicBezTo>
                    <a:pt x="1157" y="625"/>
                    <a:pt x="1155" y="628"/>
                    <a:pt x="1154" y="632"/>
                  </a:cubicBezTo>
                  <a:cubicBezTo>
                    <a:pt x="1154" y="632"/>
                    <a:pt x="1154" y="632"/>
                    <a:pt x="1155" y="632"/>
                  </a:cubicBezTo>
                  <a:cubicBezTo>
                    <a:pt x="1156" y="628"/>
                    <a:pt x="1158" y="624"/>
                    <a:pt x="1160" y="621"/>
                  </a:cubicBezTo>
                  <a:moveTo>
                    <a:pt x="1268" y="625"/>
                  </a:moveTo>
                  <a:cubicBezTo>
                    <a:pt x="1266" y="626"/>
                    <a:pt x="1263" y="627"/>
                    <a:pt x="1261" y="628"/>
                  </a:cubicBezTo>
                  <a:cubicBezTo>
                    <a:pt x="1264" y="627"/>
                    <a:pt x="1267" y="626"/>
                    <a:pt x="1270" y="625"/>
                  </a:cubicBezTo>
                  <a:cubicBezTo>
                    <a:pt x="1270" y="625"/>
                    <a:pt x="1270" y="625"/>
                    <a:pt x="1270" y="625"/>
                  </a:cubicBezTo>
                  <a:cubicBezTo>
                    <a:pt x="1269" y="625"/>
                    <a:pt x="1269" y="625"/>
                    <a:pt x="1268" y="625"/>
                  </a:cubicBezTo>
                  <a:moveTo>
                    <a:pt x="1261" y="629"/>
                  </a:moveTo>
                  <a:cubicBezTo>
                    <a:pt x="1258" y="630"/>
                    <a:pt x="1255" y="631"/>
                    <a:pt x="1252" y="632"/>
                  </a:cubicBezTo>
                  <a:cubicBezTo>
                    <a:pt x="1250" y="633"/>
                    <a:pt x="1249" y="633"/>
                    <a:pt x="1248" y="634"/>
                  </a:cubicBezTo>
                  <a:cubicBezTo>
                    <a:pt x="1248" y="634"/>
                    <a:pt x="1249" y="634"/>
                    <a:pt x="1250" y="634"/>
                  </a:cubicBezTo>
                  <a:cubicBezTo>
                    <a:pt x="1253" y="632"/>
                    <a:pt x="1257" y="631"/>
                    <a:pt x="1261" y="629"/>
                  </a:cubicBezTo>
                  <a:moveTo>
                    <a:pt x="1153" y="632"/>
                  </a:moveTo>
                  <a:cubicBezTo>
                    <a:pt x="1153" y="634"/>
                    <a:pt x="1153" y="635"/>
                    <a:pt x="1152" y="636"/>
                  </a:cubicBezTo>
                  <a:cubicBezTo>
                    <a:pt x="1153" y="636"/>
                    <a:pt x="1153" y="636"/>
                    <a:pt x="1153" y="636"/>
                  </a:cubicBezTo>
                  <a:cubicBezTo>
                    <a:pt x="1154" y="635"/>
                    <a:pt x="1154" y="634"/>
                    <a:pt x="1154" y="633"/>
                  </a:cubicBezTo>
                  <a:cubicBezTo>
                    <a:pt x="1154" y="633"/>
                    <a:pt x="1154" y="633"/>
                    <a:pt x="1153" y="632"/>
                  </a:cubicBezTo>
                  <a:moveTo>
                    <a:pt x="1246" y="635"/>
                  </a:moveTo>
                  <a:cubicBezTo>
                    <a:pt x="1238" y="638"/>
                    <a:pt x="1232" y="640"/>
                    <a:pt x="1226" y="642"/>
                  </a:cubicBezTo>
                  <a:cubicBezTo>
                    <a:pt x="1226" y="642"/>
                    <a:pt x="1227" y="643"/>
                    <a:pt x="1228" y="643"/>
                  </a:cubicBezTo>
                  <a:cubicBezTo>
                    <a:pt x="1234" y="640"/>
                    <a:pt x="1241" y="638"/>
                    <a:pt x="1248" y="635"/>
                  </a:cubicBezTo>
                  <a:cubicBezTo>
                    <a:pt x="1247" y="635"/>
                    <a:pt x="1246" y="635"/>
                    <a:pt x="1246" y="635"/>
                  </a:cubicBezTo>
                  <a:moveTo>
                    <a:pt x="1153" y="637"/>
                  </a:moveTo>
                  <a:cubicBezTo>
                    <a:pt x="1153" y="637"/>
                    <a:pt x="1152" y="637"/>
                    <a:pt x="1152" y="638"/>
                  </a:cubicBezTo>
                  <a:cubicBezTo>
                    <a:pt x="1152" y="639"/>
                    <a:pt x="1152" y="641"/>
                    <a:pt x="1152" y="642"/>
                  </a:cubicBezTo>
                  <a:cubicBezTo>
                    <a:pt x="1152" y="642"/>
                    <a:pt x="1152" y="643"/>
                    <a:pt x="1152" y="643"/>
                  </a:cubicBezTo>
                  <a:cubicBezTo>
                    <a:pt x="1152" y="643"/>
                    <a:pt x="1152" y="643"/>
                    <a:pt x="1153" y="643"/>
                  </a:cubicBezTo>
                  <a:cubicBezTo>
                    <a:pt x="1153" y="643"/>
                    <a:pt x="1153" y="643"/>
                    <a:pt x="1153" y="642"/>
                  </a:cubicBezTo>
                  <a:cubicBezTo>
                    <a:pt x="1153" y="641"/>
                    <a:pt x="1153" y="639"/>
                    <a:pt x="1153" y="637"/>
                  </a:cubicBezTo>
                  <a:moveTo>
                    <a:pt x="1223" y="643"/>
                  </a:moveTo>
                  <a:cubicBezTo>
                    <a:pt x="1216" y="646"/>
                    <a:pt x="1209" y="648"/>
                    <a:pt x="1202" y="650"/>
                  </a:cubicBezTo>
                  <a:cubicBezTo>
                    <a:pt x="1203" y="650"/>
                    <a:pt x="1204" y="650"/>
                    <a:pt x="1205" y="650"/>
                  </a:cubicBezTo>
                  <a:cubicBezTo>
                    <a:pt x="1211" y="648"/>
                    <a:pt x="1218" y="646"/>
                    <a:pt x="1226" y="643"/>
                  </a:cubicBezTo>
                  <a:cubicBezTo>
                    <a:pt x="1225" y="643"/>
                    <a:pt x="1224" y="643"/>
                    <a:pt x="1223" y="643"/>
                  </a:cubicBezTo>
                  <a:moveTo>
                    <a:pt x="1152" y="644"/>
                  </a:moveTo>
                  <a:cubicBezTo>
                    <a:pt x="1152" y="646"/>
                    <a:pt x="1152" y="648"/>
                    <a:pt x="1153" y="649"/>
                  </a:cubicBezTo>
                  <a:cubicBezTo>
                    <a:pt x="1154" y="649"/>
                    <a:pt x="1154" y="649"/>
                    <a:pt x="1154" y="649"/>
                  </a:cubicBezTo>
                  <a:cubicBezTo>
                    <a:pt x="1153" y="648"/>
                    <a:pt x="1153" y="646"/>
                    <a:pt x="1153" y="644"/>
                  </a:cubicBezTo>
                  <a:cubicBezTo>
                    <a:pt x="1152" y="644"/>
                    <a:pt x="1152" y="644"/>
                    <a:pt x="1152" y="644"/>
                  </a:cubicBezTo>
                  <a:moveTo>
                    <a:pt x="1155" y="650"/>
                  </a:moveTo>
                  <a:cubicBezTo>
                    <a:pt x="1154" y="650"/>
                    <a:pt x="1154" y="650"/>
                    <a:pt x="1154" y="650"/>
                  </a:cubicBezTo>
                  <a:cubicBezTo>
                    <a:pt x="1155" y="652"/>
                    <a:pt x="1157" y="653"/>
                    <a:pt x="1159" y="654"/>
                  </a:cubicBezTo>
                  <a:cubicBezTo>
                    <a:pt x="1160" y="655"/>
                    <a:pt x="1162" y="655"/>
                    <a:pt x="1164" y="655"/>
                  </a:cubicBezTo>
                  <a:cubicBezTo>
                    <a:pt x="1160" y="654"/>
                    <a:pt x="1157" y="652"/>
                    <a:pt x="1155" y="650"/>
                  </a:cubicBezTo>
                  <a:moveTo>
                    <a:pt x="1200" y="651"/>
                  </a:moveTo>
                  <a:cubicBezTo>
                    <a:pt x="1193" y="653"/>
                    <a:pt x="1187" y="654"/>
                    <a:pt x="1181" y="655"/>
                  </a:cubicBezTo>
                  <a:cubicBezTo>
                    <a:pt x="1180" y="655"/>
                    <a:pt x="1178" y="656"/>
                    <a:pt x="1177" y="656"/>
                  </a:cubicBezTo>
                  <a:cubicBezTo>
                    <a:pt x="1184" y="656"/>
                    <a:pt x="1192" y="654"/>
                    <a:pt x="1203" y="651"/>
                  </a:cubicBezTo>
                  <a:cubicBezTo>
                    <a:pt x="1202" y="651"/>
                    <a:pt x="1201" y="651"/>
                    <a:pt x="1200" y="651"/>
                  </a:cubicBezTo>
                  <a:moveTo>
                    <a:pt x="1176" y="655"/>
                  </a:moveTo>
                  <a:cubicBezTo>
                    <a:pt x="1174" y="656"/>
                    <a:pt x="1173" y="656"/>
                    <a:pt x="1171" y="656"/>
                  </a:cubicBezTo>
                  <a:cubicBezTo>
                    <a:pt x="1170" y="656"/>
                    <a:pt x="1168" y="656"/>
                    <a:pt x="1167" y="655"/>
                  </a:cubicBezTo>
                  <a:cubicBezTo>
                    <a:pt x="1169" y="656"/>
                    <a:pt x="1171" y="656"/>
                    <a:pt x="1174" y="656"/>
                  </a:cubicBezTo>
                  <a:cubicBezTo>
                    <a:pt x="1175" y="656"/>
                    <a:pt x="1175" y="656"/>
                    <a:pt x="1176" y="655"/>
                  </a:cubicBezTo>
                  <a:moveTo>
                    <a:pt x="1164" y="656"/>
                  </a:moveTo>
                  <a:cubicBezTo>
                    <a:pt x="1165" y="656"/>
                    <a:pt x="1166" y="656"/>
                    <a:pt x="1167" y="656"/>
                  </a:cubicBezTo>
                  <a:cubicBezTo>
                    <a:pt x="1166" y="656"/>
                    <a:pt x="1165" y="656"/>
                    <a:pt x="1164" y="656"/>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40" name="Freeform 69"/>
            <p:cNvSpPr>
              <a:spLocks noEditPoints="1"/>
            </p:cNvSpPr>
            <p:nvPr userDrawn="1"/>
          </p:nvSpPr>
          <p:spPr bwMode="auto">
            <a:xfrm>
              <a:off x="560" y="4204"/>
              <a:ext cx="3104" cy="1220"/>
            </a:xfrm>
            <a:custGeom>
              <a:avLst/>
              <a:gdLst>
                <a:gd name="T0" fmla="*/ 2147483646 w 1532"/>
                <a:gd name="T1" fmla="*/ 0 h 602"/>
                <a:gd name="T2" fmla="*/ 2147483646 w 1532"/>
                <a:gd name="T3" fmla="*/ 2147483646 h 602"/>
                <a:gd name="T4" fmla="*/ 2147483646 w 1532"/>
                <a:gd name="T5" fmla="*/ 2147483646 h 602"/>
                <a:gd name="T6" fmla="*/ 2147483646 w 1532"/>
                <a:gd name="T7" fmla="*/ 2147483646 h 602"/>
                <a:gd name="T8" fmla="*/ 2147483646 w 1532"/>
                <a:gd name="T9" fmla="*/ 2147483646 h 602"/>
                <a:gd name="T10" fmla="*/ 2147483646 w 1532"/>
                <a:gd name="T11" fmla="*/ 2147483646 h 602"/>
                <a:gd name="T12" fmla="*/ 2147483646 w 1532"/>
                <a:gd name="T13" fmla="*/ 2147483646 h 602"/>
                <a:gd name="T14" fmla="*/ 2147483646 w 1532"/>
                <a:gd name="T15" fmla="*/ 2147483646 h 602"/>
                <a:gd name="T16" fmla="*/ 2147483646 w 1532"/>
                <a:gd name="T17" fmla="*/ 2147483646 h 602"/>
                <a:gd name="T18" fmla="*/ 2147483646 w 1532"/>
                <a:gd name="T19" fmla="*/ 2147483646 h 602"/>
                <a:gd name="T20" fmla="*/ 2147483646 w 1532"/>
                <a:gd name="T21" fmla="*/ 2147483646 h 602"/>
                <a:gd name="T22" fmla="*/ 2147483646 w 1532"/>
                <a:gd name="T23" fmla="*/ 2147483646 h 602"/>
                <a:gd name="T24" fmla="*/ 2147483646 w 1532"/>
                <a:gd name="T25" fmla="*/ 2147483646 h 602"/>
                <a:gd name="T26" fmla="*/ 2147483646 w 1532"/>
                <a:gd name="T27" fmla="*/ 2147483646 h 602"/>
                <a:gd name="T28" fmla="*/ 2147483646 w 1532"/>
                <a:gd name="T29" fmla="*/ 2147483646 h 602"/>
                <a:gd name="T30" fmla="*/ 2147483646 w 1532"/>
                <a:gd name="T31" fmla="*/ 2147483646 h 602"/>
                <a:gd name="T32" fmla="*/ 2147483646 w 1532"/>
                <a:gd name="T33" fmla="*/ 2147483646 h 602"/>
                <a:gd name="T34" fmla="*/ 2147483646 w 1532"/>
                <a:gd name="T35" fmla="*/ 2147483646 h 602"/>
                <a:gd name="T36" fmla="*/ 2147483646 w 1532"/>
                <a:gd name="T37" fmla="*/ 2147483646 h 602"/>
                <a:gd name="T38" fmla="*/ 2147483646 w 1532"/>
                <a:gd name="T39" fmla="*/ 2147483646 h 602"/>
                <a:gd name="T40" fmla="*/ 2147483646 w 1532"/>
                <a:gd name="T41" fmla="*/ 2147483646 h 602"/>
                <a:gd name="T42" fmla="*/ 2147483646 w 1532"/>
                <a:gd name="T43" fmla="*/ 2147483646 h 602"/>
                <a:gd name="T44" fmla="*/ 2147483646 w 1532"/>
                <a:gd name="T45" fmla="*/ 2147483646 h 602"/>
                <a:gd name="T46" fmla="*/ 2147483646 w 1532"/>
                <a:gd name="T47" fmla="*/ 2147483646 h 602"/>
                <a:gd name="T48" fmla="*/ 2147483646 w 1532"/>
                <a:gd name="T49" fmla="*/ 2147483646 h 602"/>
                <a:gd name="T50" fmla="*/ 2147483646 w 1532"/>
                <a:gd name="T51" fmla="*/ 2147483646 h 602"/>
                <a:gd name="T52" fmla="*/ 2147483646 w 1532"/>
                <a:gd name="T53" fmla="*/ 2147483646 h 602"/>
                <a:gd name="T54" fmla="*/ 2147483646 w 1532"/>
                <a:gd name="T55" fmla="*/ 2147483646 h 602"/>
                <a:gd name="T56" fmla="*/ 2147483646 w 1532"/>
                <a:gd name="T57" fmla="*/ 2147483646 h 602"/>
                <a:gd name="T58" fmla="*/ 2147483646 w 1532"/>
                <a:gd name="T59" fmla="*/ 2147483646 h 602"/>
                <a:gd name="T60" fmla="*/ 2147483646 w 1532"/>
                <a:gd name="T61" fmla="*/ 2147483646 h 602"/>
                <a:gd name="T62" fmla="*/ 2147483646 w 1532"/>
                <a:gd name="T63" fmla="*/ 2147483646 h 602"/>
                <a:gd name="T64" fmla="*/ 2147483646 w 1532"/>
                <a:gd name="T65" fmla="*/ 2147483646 h 602"/>
                <a:gd name="T66" fmla="*/ 2147483646 w 1532"/>
                <a:gd name="T67" fmla="*/ 2147483646 h 602"/>
                <a:gd name="T68" fmla="*/ 2147483646 w 1532"/>
                <a:gd name="T69" fmla="*/ 2147483646 h 602"/>
                <a:gd name="T70" fmla="*/ 2147483646 w 1532"/>
                <a:gd name="T71" fmla="*/ 2147483646 h 602"/>
                <a:gd name="T72" fmla="*/ 2147483646 w 1532"/>
                <a:gd name="T73" fmla="*/ 2147483646 h 602"/>
                <a:gd name="T74" fmla="*/ 2147483646 w 1532"/>
                <a:gd name="T75" fmla="*/ 2147483646 h 602"/>
                <a:gd name="T76" fmla="*/ 2147483646 w 1532"/>
                <a:gd name="T77" fmla="*/ 2147483646 h 602"/>
                <a:gd name="T78" fmla="*/ 2147483646 w 1532"/>
                <a:gd name="T79" fmla="*/ 2147483646 h 602"/>
                <a:gd name="T80" fmla="*/ 2147483646 w 1532"/>
                <a:gd name="T81" fmla="*/ 2147483646 h 602"/>
                <a:gd name="T82" fmla="*/ 2147483646 w 1532"/>
                <a:gd name="T83" fmla="*/ 2147483646 h 602"/>
                <a:gd name="T84" fmla="*/ 2147483646 w 1532"/>
                <a:gd name="T85" fmla="*/ 2147483646 h 602"/>
                <a:gd name="T86" fmla="*/ 2147483646 w 1532"/>
                <a:gd name="T87" fmla="*/ 2147483646 h 602"/>
                <a:gd name="T88" fmla="*/ 2147483646 w 1532"/>
                <a:gd name="T89" fmla="*/ 2147483646 h 602"/>
                <a:gd name="T90" fmla="*/ 2147483646 w 1532"/>
                <a:gd name="T91" fmla="*/ 2147483646 h 602"/>
                <a:gd name="T92" fmla="*/ 2147483646 w 1532"/>
                <a:gd name="T93" fmla="*/ 2147483646 h 602"/>
                <a:gd name="T94" fmla="*/ 2147483646 w 1532"/>
                <a:gd name="T95" fmla="*/ 2147483646 h 602"/>
                <a:gd name="T96" fmla="*/ 2147483646 w 1532"/>
                <a:gd name="T97" fmla="*/ 2147483646 h 602"/>
                <a:gd name="T98" fmla="*/ 2147483646 w 1532"/>
                <a:gd name="T99" fmla="*/ 2147483646 h 602"/>
                <a:gd name="T100" fmla="*/ 2147483646 w 1532"/>
                <a:gd name="T101" fmla="*/ 2147483646 h 602"/>
                <a:gd name="T102" fmla="*/ 2147483646 w 1532"/>
                <a:gd name="T103" fmla="*/ 2147483646 h 602"/>
                <a:gd name="T104" fmla="*/ 2147483646 w 1532"/>
                <a:gd name="T105" fmla="*/ 2147483646 h 602"/>
                <a:gd name="T106" fmla="*/ 2147483646 w 1532"/>
                <a:gd name="T107" fmla="*/ 2147483646 h 602"/>
                <a:gd name="T108" fmla="*/ 2147483646 w 1532"/>
                <a:gd name="T109" fmla="*/ 2147483646 h 602"/>
                <a:gd name="T110" fmla="*/ 2147483646 w 1532"/>
                <a:gd name="T111" fmla="*/ 2147483646 h 602"/>
                <a:gd name="T112" fmla="*/ 2147483646 w 1532"/>
                <a:gd name="T113" fmla="*/ 2147483646 h 602"/>
                <a:gd name="T114" fmla="*/ 2147483646 w 1532"/>
                <a:gd name="T115" fmla="*/ 2147483646 h 602"/>
                <a:gd name="T116" fmla="*/ 2147483646 w 1532"/>
                <a:gd name="T117" fmla="*/ 2147483646 h 602"/>
                <a:gd name="T118" fmla="*/ 2147483646 w 1532"/>
                <a:gd name="T119" fmla="*/ 2147483646 h 602"/>
                <a:gd name="T120" fmla="*/ 2147483646 w 1532"/>
                <a:gd name="T121" fmla="*/ 2147483646 h 602"/>
                <a:gd name="T122" fmla="*/ 2147483646 w 1532"/>
                <a:gd name="T123" fmla="*/ 2147483646 h 60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532" h="602">
                  <a:moveTo>
                    <a:pt x="1179" y="0"/>
                  </a:moveTo>
                  <a:cubicBezTo>
                    <a:pt x="1178" y="0"/>
                    <a:pt x="1177" y="0"/>
                    <a:pt x="1176" y="0"/>
                  </a:cubicBezTo>
                  <a:cubicBezTo>
                    <a:pt x="1176" y="1"/>
                    <a:pt x="1176" y="1"/>
                    <a:pt x="1176" y="1"/>
                  </a:cubicBezTo>
                  <a:cubicBezTo>
                    <a:pt x="1177" y="1"/>
                    <a:pt x="1179" y="1"/>
                    <a:pt x="1180" y="0"/>
                  </a:cubicBezTo>
                  <a:cubicBezTo>
                    <a:pt x="1180" y="0"/>
                    <a:pt x="1180" y="0"/>
                    <a:pt x="1179" y="0"/>
                  </a:cubicBezTo>
                  <a:moveTo>
                    <a:pt x="1175" y="0"/>
                  </a:moveTo>
                  <a:cubicBezTo>
                    <a:pt x="1170" y="0"/>
                    <a:pt x="1166" y="1"/>
                    <a:pt x="1162" y="1"/>
                  </a:cubicBezTo>
                  <a:cubicBezTo>
                    <a:pt x="1162" y="1"/>
                    <a:pt x="1162" y="1"/>
                    <a:pt x="1162" y="2"/>
                  </a:cubicBezTo>
                  <a:cubicBezTo>
                    <a:pt x="1166" y="2"/>
                    <a:pt x="1170" y="1"/>
                    <a:pt x="1175" y="1"/>
                  </a:cubicBezTo>
                  <a:cubicBezTo>
                    <a:pt x="1175" y="1"/>
                    <a:pt x="1175" y="1"/>
                    <a:pt x="1175" y="0"/>
                  </a:cubicBezTo>
                  <a:moveTo>
                    <a:pt x="1186" y="0"/>
                  </a:moveTo>
                  <a:cubicBezTo>
                    <a:pt x="1184" y="1"/>
                    <a:pt x="1182" y="1"/>
                    <a:pt x="1180" y="1"/>
                  </a:cubicBezTo>
                  <a:cubicBezTo>
                    <a:pt x="1188" y="1"/>
                    <a:pt x="1197" y="2"/>
                    <a:pt x="1205" y="2"/>
                  </a:cubicBezTo>
                  <a:cubicBezTo>
                    <a:pt x="1207" y="2"/>
                    <a:pt x="1208" y="3"/>
                    <a:pt x="1210" y="3"/>
                  </a:cubicBezTo>
                  <a:cubicBezTo>
                    <a:pt x="1212" y="3"/>
                    <a:pt x="1214" y="3"/>
                    <a:pt x="1216" y="3"/>
                  </a:cubicBezTo>
                  <a:cubicBezTo>
                    <a:pt x="1216" y="3"/>
                    <a:pt x="1216" y="3"/>
                    <a:pt x="1216" y="2"/>
                  </a:cubicBezTo>
                  <a:cubicBezTo>
                    <a:pt x="1213" y="2"/>
                    <a:pt x="1209" y="2"/>
                    <a:pt x="1206" y="1"/>
                  </a:cubicBezTo>
                  <a:cubicBezTo>
                    <a:pt x="1204" y="1"/>
                    <a:pt x="1203" y="1"/>
                    <a:pt x="1201" y="1"/>
                  </a:cubicBezTo>
                  <a:cubicBezTo>
                    <a:pt x="1196" y="1"/>
                    <a:pt x="1191" y="0"/>
                    <a:pt x="1186" y="0"/>
                  </a:cubicBezTo>
                  <a:moveTo>
                    <a:pt x="1161" y="1"/>
                  </a:moveTo>
                  <a:cubicBezTo>
                    <a:pt x="1158" y="1"/>
                    <a:pt x="1155" y="1"/>
                    <a:pt x="1152" y="2"/>
                  </a:cubicBezTo>
                  <a:cubicBezTo>
                    <a:pt x="1152" y="2"/>
                    <a:pt x="1152" y="2"/>
                    <a:pt x="1152" y="2"/>
                  </a:cubicBezTo>
                  <a:cubicBezTo>
                    <a:pt x="1152" y="2"/>
                    <a:pt x="1152" y="3"/>
                    <a:pt x="1152" y="3"/>
                  </a:cubicBezTo>
                  <a:cubicBezTo>
                    <a:pt x="1155" y="2"/>
                    <a:pt x="1158" y="2"/>
                    <a:pt x="1161" y="2"/>
                  </a:cubicBezTo>
                  <a:cubicBezTo>
                    <a:pt x="1161" y="2"/>
                    <a:pt x="1161" y="1"/>
                    <a:pt x="1161" y="1"/>
                  </a:cubicBezTo>
                  <a:moveTo>
                    <a:pt x="1151" y="2"/>
                  </a:moveTo>
                  <a:cubicBezTo>
                    <a:pt x="1149" y="2"/>
                    <a:pt x="1146" y="2"/>
                    <a:pt x="1144" y="3"/>
                  </a:cubicBezTo>
                  <a:cubicBezTo>
                    <a:pt x="1144" y="3"/>
                    <a:pt x="1143" y="3"/>
                    <a:pt x="1142" y="3"/>
                  </a:cubicBezTo>
                  <a:cubicBezTo>
                    <a:pt x="1131" y="5"/>
                    <a:pt x="1122" y="8"/>
                    <a:pt x="1114" y="13"/>
                  </a:cubicBezTo>
                  <a:cubicBezTo>
                    <a:pt x="1114" y="13"/>
                    <a:pt x="1113" y="13"/>
                    <a:pt x="1113" y="13"/>
                  </a:cubicBezTo>
                  <a:cubicBezTo>
                    <a:pt x="1107" y="17"/>
                    <a:pt x="1102" y="22"/>
                    <a:pt x="1099" y="27"/>
                  </a:cubicBezTo>
                  <a:cubicBezTo>
                    <a:pt x="1098" y="27"/>
                    <a:pt x="1098" y="27"/>
                    <a:pt x="1098" y="28"/>
                  </a:cubicBezTo>
                  <a:cubicBezTo>
                    <a:pt x="1095" y="33"/>
                    <a:pt x="1093" y="39"/>
                    <a:pt x="1093" y="46"/>
                  </a:cubicBezTo>
                  <a:cubicBezTo>
                    <a:pt x="1093" y="54"/>
                    <a:pt x="1096" y="63"/>
                    <a:pt x="1100" y="74"/>
                  </a:cubicBezTo>
                  <a:cubicBezTo>
                    <a:pt x="1117" y="110"/>
                    <a:pt x="1129" y="142"/>
                    <a:pt x="1138" y="171"/>
                  </a:cubicBezTo>
                  <a:cubicBezTo>
                    <a:pt x="1138" y="170"/>
                    <a:pt x="1138" y="170"/>
                    <a:pt x="1138" y="169"/>
                  </a:cubicBezTo>
                  <a:cubicBezTo>
                    <a:pt x="1130" y="141"/>
                    <a:pt x="1117" y="109"/>
                    <a:pt x="1101" y="73"/>
                  </a:cubicBezTo>
                  <a:cubicBezTo>
                    <a:pt x="1097" y="63"/>
                    <a:pt x="1094" y="54"/>
                    <a:pt x="1094" y="46"/>
                  </a:cubicBezTo>
                  <a:cubicBezTo>
                    <a:pt x="1094" y="39"/>
                    <a:pt x="1096" y="33"/>
                    <a:pt x="1099" y="28"/>
                  </a:cubicBezTo>
                  <a:cubicBezTo>
                    <a:pt x="1099" y="28"/>
                    <a:pt x="1099" y="27"/>
                    <a:pt x="1100" y="27"/>
                  </a:cubicBezTo>
                  <a:cubicBezTo>
                    <a:pt x="1103" y="22"/>
                    <a:pt x="1108" y="17"/>
                    <a:pt x="1114" y="14"/>
                  </a:cubicBezTo>
                  <a:cubicBezTo>
                    <a:pt x="1115" y="14"/>
                    <a:pt x="1115" y="13"/>
                    <a:pt x="1115" y="13"/>
                  </a:cubicBezTo>
                  <a:cubicBezTo>
                    <a:pt x="1123" y="9"/>
                    <a:pt x="1133" y="6"/>
                    <a:pt x="1144" y="4"/>
                  </a:cubicBezTo>
                  <a:cubicBezTo>
                    <a:pt x="1145" y="4"/>
                    <a:pt x="1146" y="4"/>
                    <a:pt x="1147" y="3"/>
                  </a:cubicBezTo>
                  <a:cubicBezTo>
                    <a:pt x="1148" y="3"/>
                    <a:pt x="1149" y="3"/>
                    <a:pt x="1150" y="3"/>
                  </a:cubicBezTo>
                  <a:cubicBezTo>
                    <a:pt x="1150" y="3"/>
                    <a:pt x="1150" y="2"/>
                    <a:pt x="1151" y="2"/>
                  </a:cubicBezTo>
                  <a:moveTo>
                    <a:pt x="1217" y="2"/>
                  </a:moveTo>
                  <a:cubicBezTo>
                    <a:pt x="1217" y="3"/>
                    <a:pt x="1217" y="3"/>
                    <a:pt x="1217" y="3"/>
                  </a:cubicBezTo>
                  <a:cubicBezTo>
                    <a:pt x="1226" y="4"/>
                    <a:pt x="1234" y="5"/>
                    <a:pt x="1243" y="7"/>
                  </a:cubicBezTo>
                  <a:cubicBezTo>
                    <a:pt x="1243" y="7"/>
                    <a:pt x="1244" y="7"/>
                    <a:pt x="1244" y="7"/>
                  </a:cubicBezTo>
                  <a:cubicBezTo>
                    <a:pt x="1245" y="7"/>
                    <a:pt x="1247" y="7"/>
                    <a:pt x="1248" y="8"/>
                  </a:cubicBezTo>
                  <a:cubicBezTo>
                    <a:pt x="1255" y="8"/>
                    <a:pt x="1263" y="9"/>
                    <a:pt x="1270" y="11"/>
                  </a:cubicBezTo>
                  <a:cubicBezTo>
                    <a:pt x="1262" y="9"/>
                    <a:pt x="1254" y="7"/>
                    <a:pt x="1245" y="6"/>
                  </a:cubicBezTo>
                  <a:cubicBezTo>
                    <a:pt x="1245" y="6"/>
                    <a:pt x="1245" y="6"/>
                    <a:pt x="1244" y="6"/>
                  </a:cubicBezTo>
                  <a:cubicBezTo>
                    <a:pt x="1239" y="5"/>
                    <a:pt x="1234" y="4"/>
                    <a:pt x="1228" y="4"/>
                  </a:cubicBezTo>
                  <a:cubicBezTo>
                    <a:pt x="1225" y="3"/>
                    <a:pt x="1221" y="3"/>
                    <a:pt x="1217" y="2"/>
                  </a:cubicBezTo>
                  <a:moveTo>
                    <a:pt x="1269" y="11"/>
                  </a:moveTo>
                  <a:cubicBezTo>
                    <a:pt x="1272" y="12"/>
                    <a:pt x="1275" y="13"/>
                    <a:pt x="1278" y="13"/>
                  </a:cubicBezTo>
                  <a:cubicBezTo>
                    <a:pt x="1278" y="13"/>
                    <a:pt x="1278" y="13"/>
                    <a:pt x="1278" y="13"/>
                  </a:cubicBezTo>
                  <a:cubicBezTo>
                    <a:pt x="1275" y="12"/>
                    <a:pt x="1272" y="12"/>
                    <a:pt x="1269" y="11"/>
                  </a:cubicBezTo>
                  <a:moveTo>
                    <a:pt x="1279" y="13"/>
                  </a:moveTo>
                  <a:cubicBezTo>
                    <a:pt x="1279" y="13"/>
                    <a:pt x="1279" y="13"/>
                    <a:pt x="1279" y="13"/>
                  </a:cubicBezTo>
                  <a:cubicBezTo>
                    <a:pt x="1296" y="17"/>
                    <a:pt x="1314" y="22"/>
                    <a:pt x="1332" y="27"/>
                  </a:cubicBezTo>
                  <a:cubicBezTo>
                    <a:pt x="1332" y="27"/>
                    <a:pt x="1332" y="27"/>
                    <a:pt x="1332" y="26"/>
                  </a:cubicBezTo>
                  <a:cubicBezTo>
                    <a:pt x="1320" y="23"/>
                    <a:pt x="1307" y="19"/>
                    <a:pt x="1295" y="16"/>
                  </a:cubicBezTo>
                  <a:cubicBezTo>
                    <a:pt x="1289" y="15"/>
                    <a:pt x="1284" y="14"/>
                    <a:pt x="1279" y="13"/>
                  </a:cubicBezTo>
                  <a:moveTo>
                    <a:pt x="1333" y="27"/>
                  </a:moveTo>
                  <a:cubicBezTo>
                    <a:pt x="1333" y="27"/>
                    <a:pt x="1333" y="27"/>
                    <a:pt x="1333" y="28"/>
                  </a:cubicBezTo>
                  <a:cubicBezTo>
                    <a:pt x="1348" y="32"/>
                    <a:pt x="1364" y="37"/>
                    <a:pt x="1379" y="43"/>
                  </a:cubicBezTo>
                  <a:cubicBezTo>
                    <a:pt x="1379" y="43"/>
                    <a:pt x="1379" y="42"/>
                    <a:pt x="1379" y="42"/>
                  </a:cubicBezTo>
                  <a:cubicBezTo>
                    <a:pt x="1364" y="36"/>
                    <a:pt x="1349" y="31"/>
                    <a:pt x="1333" y="27"/>
                  </a:cubicBezTo>
                  <a:moveTo>
                    <a:pt x="1380" y="42"/>
                  </a:moveTo>
                  <a:cubicBezTo>
                    <a:pt x="1380" y="43"/>
                    <a:pt x="1380" y="43"/>
                    <a:pt x="1380" y="43"/>
                  </a:cubicBezTo>
                  <a:cubicBezTo>
                    <a:pt x="1380" y="43"/>
                    <a:pt x="1380" y="43"/>
                    <a:pt x="1381" y="43"/>
                  </a:cubicBezTo>
                  <a:cubicBezTo>
                    <a:pt x="1380" y="43"/>
                    <a:pt x="1380" y="43"/>
                    <a:pt x="1380" y="42"/>
                  </a:cubicBezTo>
                  <a:moveTo>
                    <a:pt x="1382" y="43"/>
                  </a:moveTo>
                  <a:cubicBezTo>
                    <a:pt x="1382" y="43"/>
                    <a:pt x="1381" y="44"/>
                    <a:pt x="1381" y="44"/>
                  </a:cubicBezTo>
                  <a:cubicBezTo>
                    <a:pt x="1385" y="46"/>
                    <a:pt x="1390" y="48"/>
                    <a:pt x="1395" y="50"/>
                  </a:cubicBezTo>
                  <a:cubicBezTo>
                    <a:pt x="1396" y="49"/>
                    <a:pt x="1396" y="49"/>
                    <a:pt x="1396" y="49"/>
                  </a:cubicBezTo>
                  <a:cubicBezTo>
                    <a:pt x="1392" y="47"/>
                    <a:pt x="1387" y="45"/>
                    <a:pt x="1382" y="43"/>
                  </a:cubicBezTo>
                  <a:moveTo>
                    <a:pt x="1397" y="49"/>
                  </a:moveTo>
                  <a:cubicBezTo>
                    <a:pt x="1397" y="50"/>
                    <a:pt x="1397" y="50"/>
                    <a:pt x="1396" y="50"/>
                  </a:cubicBezTo>
                  <a:cubicBezTo>
                    <a:pt x="1398" y="51"/>
                    <a:pt x="1401" y="52"/>
                    <a:pt x="1403" y="53"/>
                  </a:cubicBezTo>
                  <a:cubicBezTo>
                    <a:pt x="1406" y="54"/>
                    <a:pt x="1410" y="56"/>
                    <a:pt x="1414" y="57"/>
                  </a:cubicBezTo>
                  <a:cubicBezTo>
                    <a:pt x="1414" y="57"/>
                    <a:pt x="1415" y="57"/>
                    <a:pt x="1416" y="57"/>
                  </a:cubicBezTo>
                  <a:cubicBezTo>
                    <a:pt x="1410" y="55"/>
                    <a:pt x="1404" y="52"/>
                    <a:pt x="1397" y="49"/>
                  </a:cubicBezTo>
                  <a:moveTo>
                    <a:pt x="1418" y="58"/>
                  </a:moveTo>
                  <a:cubicBezTo>
                    <a:pt x="1417" y="58"/>
                    <a:pt x="1416" y="58"/>
                    <a:pt x="1416" y="58"/>
                  </a:cubicBezTo>
                  <a:cubicBezTo>
                    <a:pt x="1417" y="59"/>
                    <a:pt x="1418" y="59"/>
                    <a:pt x="1419" y="60"/>
                  </a:cubicBezTo>
                  <a:cubicBezTo>
                    <a:pt x="1419" y="59"/>
                    <a:pt x="1419" y="59"/>
                    <a:pt x="1419" y="59"/>
                  </a:cubicBezTo>
                  <a:cubicBezTo>
                    <a:pt x="1419" y="59"/>
                    <a:pt x="1418" y="58"/>
                    <a:pt x="1418" y="58"/>
                  </a:cubicBezTo>
                  <a:moveTo>
                    <a:pt x="1420" y="59"/>
                  </a:moveTo>
                  <a:cubicBezTo>
                    <a:pt x="1420" y="60"/>
                    <a:pt x="1420" y="60"/>
                    <a:pt x="1420" y="60"/>
                  </a:cubicBezTo>
                  <a:cubicBezTo>
                    <a:pt x="1424" y="62"/>
                    <a:pt x="1427" y="64"/>
                    <a:pt x="1431" y="66"/>
                  </a:cubicBezTo>
                  <a:cubicBezTo>
                    <a:pt x="1431" y="65"/>
                    <a:pt x="1432" y="65"/>
                    <a:pt x="1432" y="65"/>
                  </a:cubicBezTo>
                  <a:cubicBezTo>
                    <a:pt x="1428" y="63"/>
                    <a:pt x="1424" y="61"/>
                    <a:pt x="1420" y="59"/>
                  </a:cubicBezTo>
                  <a:moveTo>
                    <a:pt x="1433" y="65"/>
                  </a:moveTo>
                  <a:cubicBezTo>
                    <a:pt x="1433" y="66"/>
                    <a:pt x="1432" y="66"/>
                    <a:pt x="1432" y="66"/>
                  </a:cubicBezTo>
                  <a:cubicBezTo>
                    <a:pt x="1432" y="66"/>
                    <a:pt x="1432" y="66"/>
                    <a:pt x="1432" y="66"/>
                  </a:cubicBezTo>
                  <a:cubicBezTo>
                    <a:pt x="1432" y="66"/>
                    <a:pt x="1433" y="66"/>
                    <a:pt x="1433" y="65"/>
                  </a:cubicBezTo>
                  <a:cubicBezTo>
                    <a:pt x="1433" y="65"/>
                    <a:pt x="1433" y="65"/>
                    <a:pt x="1433" y="65"/>
                  </a:cubicBezTo>
                  <a:moveTo>
                    <a:pt x="1434" y="66"/>
                  </a:moveTo>
                  <a:cubicBezTo>
                    <a:pt x="1434" y="66"/>
                    <a:pt x="1433" y="66"/>
                    <a:pt x="1433" y="67"/>
                  </a:cubicBezTo>
                  <a:cubicBezTo>
                    <a:pt x="1440" y="70"/>
                    <a:pt x="1446" y="73"/>
                    <a:pt x="1452" y="77"/>
                  </a:cubicBezTo>
                  <a:cubicBezTo>
                    <a:pt x="1452" y="76"/>
                    <a:pt x="1453" y="76"/>
                    <a:pt x="1453" y="76"/>
                  </a:cubicBezTo>
                  <a:cubicBezTo>
                    <a:pt x="1447" y="72"/>
                    <a:pt x="1440" y="69"/>
                    <a:pt x="1434" y="66"/>
                  </a:cubicBezTo>
                  <a:moveTo>
                    <a:pt x="1454" y="76"/>
                  </a:moveTo>
                  <a:cubicBezTo>
                    <a:pt x="1453" y="77"/>
                    <a:pt x="1453" y="77"/>
                    <a:pt x="1453" y="77"/>
                  </a:cubicBezTo>
                  <a:cubicBezTo>
                    <a:pt x="1457" y="79"/>
                    <a:pt x="1460" y="81"/>
                    <a:pt x="1463" y="83"/>
                  </a:cubicBezTo>
                  <a:cubicBezTo>
                    <a:pt x="1464" y="83"/>
                    <a:pt x="1465" y="83"/>
                    <a:pt x="1465" y="83"/>
                  </a:cubicBezTo>
                  <a:cubicBezTo>
                    <a:pt x="1461" y="81"/>
                    <a:pt x="1458" y="79"/>
                    <a:pt x="1454" y="76"/>
                  </a:cubicBezTo>
                  <a:moveTo>
                    <a:pt x="1467" y="84"/>
                  </a:moveTo>
                  <a:cubicBezTo>
                    <a:pt x="1467" y="84"/>
                    <a:pt x="1467" y="84"/>
                    <a:pt x="1467" y="84"/>
                  </a:cubicBezTo>
                  <a:cubicBezTo>
                    <a:pt x="1466" y="84"/>
                    <a:pt x="1466" y="84"/>
                    <a:pt x="1466" y="85"/>
                  </a:cubicBezTo>
                  <a:cubicBezTo>
                    <a:pt x="1469" y="87"/>
                    <a:pt x="1472" y="88"/>
                    <a:pt x="1475" y="90"/>
                  </a:cubicBezTo>
                  <a:cubicBezTo>
                    <a:pt x="1475" y="90"/>
                    <a:pt x="1475" y="90"/>
                    <a:pt x="1475" y="89"/>
                  </a:cubicBezTo>
                  <a:cubicBezTo>
                    <a:pt x="1472" y="87"/>
                    <a:pt x="1470" y="86"/>
                    <a:pt x="1467" y="84"/>
                  </a:cubicBezTo>
                  <a:moveTo>
                    <a:pt x="1465" y="84"/>
                  </a:moveTo>
                  <a:cubicBezTo>
                    <a:pt x="1465" y="84"/>
                    <a:pt x="1465" y="84"/>
                    <a:pt x="1465" y="84"/>
                  </a:cubicBezTo>
                  <a:cubicBezTo>
                    <a:pt x="1465" y="84"/>
                    <a:pt x="1465" y="84"/>
                    <a:pt x="1465" y="84"/>
                  </a:cubicBezTo>
                  <a:cubicBezTo>
                    <a:pt x="1465" y="84"/>
                    <a:pt x="1465" y="84"/>
                    <a:pt x="1465" y="84"/>
                  </a:cubicBezTo>
                  <a:moveTo>
                    <a:pt x="1476" y="90"/>
                  </a:moveTo>
                  <a:cubicBezTo>
                    <a:pt x="1476" y="90"/>
                    <a:pt x="1476" y="91"/>
                    <a:pt x="1476" y="91"/>
                  </a:cubicBezTo>
                  <a:cubicBezTo>
                    <a:pt x="1477" y="92"/>
                    <a:pt x="1478" y="93"/>
                    <a:pt x="1480" y="94"/>
                  </a:cubicBezTo>
                  <a:cubicBezTo>
                    <a:pt x="1480" y="93"/>
                    <a:pt x="1480" y="93"/>
                    <a:pt x="1480" y="93"/>
                  </a:cubicBezTo>
                  <a:cubicBezTo>
                    <a:pt x="1479" y="92"/>
                    <a:pt x="1477" y="91"/>
                    <a:pt x="1476" y="90"/>
                  </a:cubicBezTo>
                  <a:moveTo>
                    <a:pt x="1481" y="93"/>
                  </a:moveTo>
                  <a:cubicBezTo>
                    <a:pt x="1481" y="94"/>
                    <a:pt x="1481" y="94"/>
                    <a:pt x="1480" y="94"/>
                  </a:cubicBezTo>
                  <a:cubicBezTo>
                    <a:pt x="1481" y="94"/>
                    <a:pt x="1481" y="95"/>
                    <a:pt x="1482" y="95"/>
                  </a:cubicBezTo>
                  <a:cubicBezTo>
                    <a:pt x="1482" y="95"/>
                    <a:pt x="1482" y="94"/>
                    <a:pt x="1482" y="94"/>
                  </a:cubicBezTo>
                  <a:cubicBezTo>
                    <a:pt x="1482" y="94"/>
                    <a:pt x="1481" y="94"/>
                    <a:pt x="1481" y="93"/>
                  </a:cubicBezTo>
                  <a:moveTo>
                    <a:pt x="1483" y="95"/>
                  </a:moveTo>
                  <a:cubicBezTo>
                    <a:pt x="1483" y="95"/>
                    <a:pt x="1483" y="95"/>
                    <a:pt x="1483" y="96"/>
                  </a:cubicBezTo>
                  <a:cubicBezTo>
                    <a:pt x="1487" y="99"/>
                    <a:pt x="1491" y="102"/>
                    <a:pt x="1495" y="105"/>
                  </a:cubicBezTo>
                  <a:cubicBezTo>
                    <a:pt x="1495" y="105"/>
                    <a:pt x="1495" y="105"/>
                    <a:pt x="1496" y="104"/>
                  </a:cubicBezTo>
                  <a:cubicBezTo>
                    <a:pt x="1492" y="101"/>
                    <a:pt x="1487" y="98"/>
                    <a:pt x="1483" y="95"/>
                  </a:cubicBezTo>
                  <a:moveTo>
                    <a:pt x="1496" y="105"/>
                  </a:moveTo>
                  <a:cubicBezTo>
                    <a:pt x="1496" y="105"/>
                    <a:pt x="1496" y="105"/>
                    <a:pt x="1496" y="106"/>
                  </a:cubicBezTo>
                  <a:cubicBezTo>
                    <a:pt x="1497" y="107"/>
                    <a:pt x="1499" y="109"/>
                    <a:pt x="1501" y="110"/>
                  </a:cubicBezTo>
                  <a:cubicBezTo>
                    <a:pt x="1501" y="110"/>
                    <a:pt x="1501" y="110"/>
                    <a:pt x="1502" y="109"/>
                  </a:cubicBezTo>
                  <a:cubicBezTo>
                    <a:pt x="1500" y="108"/>
                    <a:pt x="1498" y="106"/>
                    <a:pt x="1496" y="105"/>
                  </a:cubicBezTo>
                  <a:moveTo>
                    <a:pt x="1502" y="110"/>
                  </a:moveTo>
                  <a:cubicBezTo>
                    <a:pt x="1502" y="110"/>
                    <a:pt x="1502" y="111"/>
                    <a:pt x="1502" y="111"/>
                  </a:cubicBezTo>
                  <a:cubicBezTo>
                    <a:pt x="1504" y="113"/>
                    <a:pt x="1506" y="115"/>
                    <a:pt x="1508" y="117"/>
                  </a:cubicBezTo>
                  <a:cubicBezTo>
                    <a:pt x="1508" y="116"/>
                    <a:pt x="1508" y="116"/>
                    <a:pt x="1508" y="116"/>
                  </a:cubicBezTo>
                  <a:cubicBezTo>
                    <a:pt x="1506" y="114"/>
                    <a:pt x="1504" y="112"/>
                    <a:pt x="1502" y="110"/>
                  </a:cubicBezTo>
                  <a:moveTo>
                    <a:pt x="1509" y="117"/>
                  </a:moveTo>
                  <a:cubicBezTo>
                    <a:pt x="1509" y="117"/>
                    <a:pt x="1509" y="117"/>
                    <a:pt x="1508" y="117"/>
                  </a:cubicBezTo>
                  <a:cubicBezTo>
                    <a:pt x="1509" y="118"/>
                    <a:pt x="1509" y="118"/>
                    <a:pt x="1509" y="118"/>
                  </a:cubicBezTo>
                  <a:cubicBezTo>
                    <a:pt x="1510" y="118"/>
                    <a:pt x="1510" y="118"/>
                    <a:pt x="1510" y="118"/>
                  </a:cubicBezTo>
                  <a:cubicBezTo>
                    <a:pt x="1510" y="118"/>
                    <a:pt x="1509" y="117"/>
                    <a:pt x="1509" y="117"/>
                  </a:cubicBezTo>
                  <a:moveTo>
                    <a:pt x="1510" y="119"/>
                  </a:moveTo>
                  <a:cubicBezTo>
                    <a:pt x="1511" y="120"/>
                    <a:pt x="1512" y="121"/>
                    <a:pt x="1513" y="122"/>
                  </a:cubicBezTo>
                  <a:cubicBezTo>
                    <a:pt x="1513" y="122"/>
                    <a:pt x="1513" y="122"/>
                    <a:pt x="1514" y="121"/>
                  </a:cubicBezTo>
                  <a:cubicBezTo>
                    <a:pt x="1513" y="121"/>
                    <a:pt x="1512" y="120"/>
                    <a:pt x="1511" y="119"/>
                  </a:cubicBezTo>
                  <a:cubicBezTo>
                    <a:pt x="1511" y="119"/>
                    <a:pt x="1510" y="119"/>
                    <a:pt x="1510" y="119"/>
                  </a:cubicBezTo>
                  <a:moveTo>
                    <a:pt x="1514" y="123"/>
                  </a:moveTo>
                  <a:cubicBezTo>
                    <a:pt x="1514" y="123"/>
                    <a:pt x="1514" y="123"/>
                    <a:pt x="1514" y="123"/>
                  </a:cubicBezTo>
                  <a:cubicBezTo>
                    <a:pt x="1515" y="124"/>
                    <a:pt x="1515" y="125"/>
                    <a:pt x="1516" y="125"/>
                  </a:cubicBezTo>
                  <a:cubicBezTo>
                    <a:pt x="1516" y="125"/>
                    <a:pt x="1516" y="125"/>
                    <a:pt x="1516" y="125"/>
                  </a:cubicBezTo>
                  <a:cubicBezTo>
                    <a:pt x="1516" y="124"/>
                    <a:pt x="1515" y="123"/>
                    <a:pt x="1514" y="123"/>
                  </a:cubicBezTo>
                  <a:moveTo>
                    <a:pt x="1517" y="126"/>
                  </a:moveTo>
                  <a:cubicBezTo>
                    <a:pt x="1517" y="126"/>
                    <a:pt x="1516" y="126"/>
                    <a:pt x="1516" y="126"/>
                  </a:cubicBezTo>
                  <a:cubicBezTo>
                    <a:pt x="1519" y="130"/>
                    <a:pt x="1522" y="133"/>
                    <a:pt x="1524" y="137"/>
                  </a:cubicBezTo>
                  <a:cubicBezTo>
                    <a:pt x="1524" y="137"/>
                    <a:pt x="1524" y="137"/>
                    <a:pt x="1524" y="136"/>
                  </a:cubicBezTo>
                  <a:cubicBezTo>
                    <a:pt x="1522" y="133"/>
                    <a:pt x="1520" y="129"/>
                    <a:pt x="1517" y="126"/>
                  </a:cubicBezTo>
                  <a:moveTo>
                    <a:pt x="1525" y="137"/>
                  </a:moveTo>
                  <a:cubicBezTo>
                    <a:pt x="1525" y="138"/>
                    <a:pt x="1524" y="138"/>
                    <a:pt x="1524" y="138"/>
                  </a:cubicBezTo>
                  <a:cubicBezTo>
                    <a:pt x="1524" y="138"/>
                    <a:pt x="1524" y="139"/>
                    <a:pt x="1525" y="139"/>
                  </a:cubicBezTo>
                  <a:cubicBezTo>
                    <a:pt x="1525" y="138"/>
                    <a:pt x="1525" y="138"/>
                    <a:pt x="1525" y="137"/>
                  </a:cubicBezTo>
                  <a:moveTo>
                    <a:pt x="1526" y="139"/>
                  </a:moveTo>
                  <a:cubicBezTo>
                    <a:pt x="1526" y="139"/>
                    <a:pt x="1525" y="140"/>
                    <a:pt x="1525" y="140"/>
                  </a:cubicBezTo>
                  <a:cubicBezTo>
                    <a:pt x="1525" y="140"/>
                    <a:pt x="1525" y="140"/>
                    <a:pt x="1525" y="140"/>
                  </a:cubicBezTo>
                  <a:cubicBezTo>
                    <a:pt x="1526" y="140"/>
                    <a:pt x="1526" y="140"/>
                    <a:pt x="1526" y="140"/>
                  </a:cubicBezTo>
                  <a:cubicBezTo>
                    <a:pt x="1526" y="139"/>
                    <a:pt x="1526" y="139"/>
                    <a:pt x="1526" y="139"/>
                  </a:cubicBezTo>
                  <a:moveTo>
                    <a:pt x="1527" y="141"/>
                  </a:moveTo>
                  <a:cubicBezTo>
                    <a:pt x="1526" y="141"/>
                    <a:pt x="1526" y="141"/>
                    <a:pt x="1526" y="141"/>
                  </a:cubicBezTo>
                  <a:cubicBezTo>
                    <a:pt x="1526" y="141"/>
                    <a:pt x="1526" y="142"/>
                    <a:pt x="1526" y="142"/>
                  </a:cubicBezTo>
                  <a:cubicBezTo>
                    <a:pt x="1526" y="141"/>
                    <a:pt x="1526" y="141"/>
                    <a:pt x="1527" y="141"/>
                  </a:cubicBezTo>
                  <a:cubicBezTo>
                    <a:pt x="1527" y="141"/>
                    <a:pt x="1527" y="141"/>
                    <a:pt x="1527" y="141"/>
                  </a:cubicBezTo>
                  <a:cubicBezTo>
                    <a:pt x="1527" y="141"/>
                    <a:pt x="1527" y="141"/>
                    <a:pt x="1527" y="141"/>
                  </a:cubicBezTo>
                  <a:moveTo>
                    <a:pt x="1528" y="143"/>
                  </a:moveTo>
                  <a:cubicBezTo>
                    <a:pt x="1527" y="143"/>
                    <a:pt x="1527" y="144"/>
                    <a:pt x="1527" y="144"/>
                  </a:cubicBezTo>
                  <a:cubicBezTo>
                    <a:pt x="1527" y="145"/>
                    <a:pt x="1528" y="145"/>
                    <a:pt x="1528" y="146"/>
                  </a:cubicBezTo>
                  <a:cubicBezTo>
                    <a:pt x="1528" y="146"/>
                    <a:pt x="1528" y="146"/>
                    <a:pt x="1529" y="145"/>
                  </a:cubicBezTo>
                  <a:cubicBezTo>
                    <a:pt x="1528" y="145"/>
                    <a:pt x="1528" y="144"/>
                    <a:pt x="1528" y="143"/>
                  </a:cubicBezTo>
                  <a:moveTo>
                    <a:pt x="1530" y="148"/>
                  </a:moveTo>
                  <a:cubicBezTo>
                    <a:pt x="1529" y="148"/>
                    <a:pt x="1529" y="149"/>
                    <a:pt x="1529" y="149"/>
                  </a:cubicBezTo>
                  <a:cubicBezTo>
                    <a:pt x="1529" y="151"/>
                    <a:pt x="1530" y="152"/>
                    <a:pt x="1530" y="154"/>
                  </a:cubicBezTo>
                  <a:cubicBezTo>
                    <a:pt x="1530" y="154"/>
                    <a:pt x="1530" y="153"/>
                    <a:pt x="1530" y="153"/>
                  </a:cubicBezTo>
                  <a:cubicBezTo>
                    <a:pt x="1530" y="152"/>
                    <a:pt x="1530" y="150"/>
                    <a:pt x="1530" y="149"/>
                  </a:cubicBezTo>
                  <a:cubicBezTo>
                    <a:pt x="1530" y="149"/>
                    <a:pt x="1530" y="148"/>
                    <a:pt x="1530" y="148"/>
                  </a:cubicBezTo>
                  <a:moveTo>
                    <a:pt x="38" y="151"/>
                  </a:moveTo>
                  <a:cubicBezTo>
                    <a:pt x="15" y="151"/>
                    <a:pt x="1" y="155"/>
                    <a:pt x="0" y="166"/>
                  </a:cubicBezTo>
                  <a:cubicBezTo>
                    <a:pt x="1" y="187"/>
                    <a:pt x="51" y="227"/>
                    <a:pt x="175" y="295"/>
                  </a:cubicBezTo>
                  <a:cubicBezTo>
                    <a:pt x="176" y="295"/>
                    <a:pt x="176" y="295"/>
                    <a:pt x="176" y="295"/>
                  </a:cubicBezTo>
                  <a:cubicBezTo>
                    <a:pt x="176" y="294"/>
                    <a:pt x="176" y="294"/>
                    <a:pt x="176" y="294"/>
                  </a:cubicBezTo>
                  <a:cubicBezTo>
                    <a:pt x="51" y="226"/>
                    <a:pt x="1" y="185"/>
                    <a:pt x="1" y="166"/>
                  </a:cubicBezTo>
                  <a:cubicBezTo>
                    <a:pt x="2" y="157"/>
                    <a:pt x="15" y="152"/>
                    <a:pt x="38" y="152"/>
                  </a:cubicBezTo>
                  <a:cubicBezTo>
                    <a:pt x="39" y="152"/>
                    <a:pt x="39" y="152"/>
                    <a:pt x="39" y="152"/>
                  </a:cubicBezTo>
                  <a:cubicBezTo>
                    <a:pt x="119" y="152"/>
                    <a:pt x="313" y="204"/>
                    <a:pt x="488" y="267"/>
                  </a:cubicBezTo>
                  <a:cubicBezTo>
                    <a:pt x="519" y="279"/>
                    <a:pt x="550" y="291"/>
                    <a:pt x="579" y="302"/>
                  </a:cubicBezTo>
                  <a:cubicBezTo>
                    <a:pt x="577" y="301"/>
                    <a:pt x="574" y="300"/>
                    <a:pt x="572" y="299"/>
                  </a:cubicBezTo>
                  <a:cubicBezTo>
                    <a:pt x="545" y="288"/>
                    <a:pt x="517" y="277"/>
                    <a:pt x="488" y="267"/>
                  </a:cubicBezTo>
                  <a:cubicBezTo>
                    <a:pt x="313" y="203"/>
                    <a:pt x="119" y="151"/>
                    <a:pt x="38" y="151"/>
                  </a:cubicBezTo>
                  <a:moveTo>
                    <a:pt x="1531" y="154"/>
                  </a:moveTo>
                  <a:cubicBezTo>
                    <a:pt x="1531" y="156"/>
                    <a:pt x="1531" y="157"/>
                    <a:pt x="1531" y="159"/>
                  </a:cubicBezTo>
                  <a:cubicBezTo>
                    <a:pt x="1531" y="159"/>
                    <a:pt x="1531" y="159"/>
                    <a:pt x="1531" y="159"/>
                  </a:cubicBezTo>
                  <a:cubicBezTo>
                    <a:pt x="1531" y="159"/>
                    <a:pt x="1531" y="159"/>
                    <a:pt x="1532" y="158"/>
                  </a:cubicBezTo>
                  <a:cubicBezTo>
                    <a:pt x="1531" y="157"/>
                    <a:pt x="1531" y="155"/>
                    <a:pt x="1531" y="154"/>
                  </a:cubicBezTo>
                  <a:moveTo>
                    <a:pt x="1532" y="160"/>
                  </a:moveTo>
                  <a:cubicBezTo>
                    <a:pt x="1531" y="160"/>
                    <a:pt x="1531" y="160"/>
                    <a:pt x="1531" y="160"/>
                  </a:cubicBezTo>
                  <a:cubicBezTo>
                    <a:pt x="1531" y="160"/>
                    <a:pt x="1531" y="161"/>
                    <a:pt x="1531" y="161"/>
                  </a:cubicBezTo>
                  <a:cubicBezTo>
                    <a:pt x="1531" y="161"/>
                    <a:pt x="1531" y="162"/>
                    <a:pt x="1531" y="163"/>
                  </a:cubicBezTo>
                  <a:cubicBezTo>
                    <a:pt x="1531" y="162"/>
                    <a:pt x="1531" y="162"/>
                    <a:pt x="1532" y="162"/>
                  </a:cubicBezTo>
                  <a:cubicBezTo>
                    <a:pt x="1532" y="162"/>
                    <a:pt x="1532" y="161"/>
                    <a:pt x="1532" y="161"/>
                  </a:cubicBezTo>
                  <a:cubicBezTo>
                    <a:pt x="1532" y="160"/>
                    <a:pt x="1532" y="160"/>
                    <a:pt x="1532" y="160"/>
                  </a:cubicBezTo>
                  <a:moveTo>
                    <a:pt x="1532" y="163"/>
                  </a:moveTo>
                  <a:cubicBezTo>
                    <a:pt x="1531" y="163"/>
                    <a:pt x="1531" y="163"/>
                    <a:pt x="1531" y="164"/>
                  </a:cubicBezTo>
                  <a:cubicBezTo>
                    <a:pt x="1530" y="170"/>
                    <a:pt x="1528" y="176"/>
                    <a:pt x="1525" y="181"/>
                  </a:cubicBezTo>
                  <a:cubicBezTo>
                    <a:pt x="1525" y="181"/>
                    <a:pt x="1525" y="181"/>
                    <a:pt x="1526" y="182"/>
                  </a:cubicBezTo>
                  <a:cubicBezTo>
                    <a:pt x="1529" y="176"/>
                    <a:pt x="1531" y="169"/>
                    <a:pt x="1532" y="163"/>
                  </a:cubicBezTo>
                  <a:moveTo>
                    <a:pt x="1139" y="171"/>
                  </a:moveTo>
                  <a:cubicBezTo>
                    <a:pt x="1138" y="171"/>
                    <a:pt x="1138" y="172"/>
                    <a:pt x="1138" y="172"/>
                  </a:cubicBezTo>
                  <a:cubicBezTo>
                    <a:pt x="1139" y="175"/>
                    <a:pt x="1140" y="178"/>
                    <a:pt x="1140" y="181"/>
                  </a:cubicBezTo>
                  <a:cubicBezTo>
                    <a:pt x="1141" y="180"/>
                    <a:pt x="1141" y="180"/>
                    <a:pt x="1141" y="180"/>
                  </a:cubicBezTo>
                  <a:cubicBezTo>
                    <a:pt x="1140" y="177"/>
                    <a:pt x="1139" y="174"/>
                    <a:pt x="1139" y="171"/>
                  </a:cubicBezTo>
                  <a:moveTo>
                    <a:pt x="1141" y="181"/>
                  </a:moveTo>
                  <a:cubicBezTo>
                    <a:pt x="1141" y="181"/>
                    <a:pt x="1141" y="182"/>
                    <a:pt x="1141" y="182"/>
                  </a:cubicBezTo>
                  <a:cubicBezTo>
                    <a:pt x="1141" y="184"/>
                    <a:pt x="1141" y="185"/>
                    <a:pt x="1142" y="187"/>
                  </a:cubicBezTo>
                  <a:cubicBezTo>
                    <a:pt x="1142" y="186"/>
                    <a:pt x="1142" y="186"/>
                    <a:pt x="1143" y="186"/>
                  </a:cubicBezTo>
                  <a:cubicBezTo>
                    <a:pt x="1142" y="184"/>
                    <a:pt x="1142" y="183"/>
                    <a:pt x="1141" y="181"/>
                  </a:cubicBezTo>
                  <a:moveTo>
                    <a:pt x="1524" y="182"/>
                  </a:moveTo>
                  <a:cubicBezTo>
                    <a:pt x="1520" y="190"/>
                    <a:pt x="1512" y="197"/>
                    <a:pt x="1502" y="204"/>
                  </a:cubicBezTo>
                  <a:cubicBezTo>
                    <a:pt x="1498" y="207"/>
                    <a:pt x="1494" y="210"/>
                    <a:pt x="1490" y="213"/>
                  </a:cubicBezTo>
                  <a:cubicBezTo>
                    <a:pt x="1490" y="213"/>
                    <a:pt x="1490" y="213"/>
                    <a:pt x="1491" y="213"/>
                  </a:cubicBezTo>
                  <a:cubicBezTo>
                    <a:pt x="1494" y="211"/>
                    <a:pt x="1498" y="208"/>
                    <a:pt x="1502" y="205"/>
                  </a:cubicBezTo>
                  <a:cubicBezTo>
                    <a:pt x="1513" y="198"/>
                    <a:pt x="1521" y="190"/>
                    <a:pt x="1525" y="182"/>
                  </a:cubicBezTo>
                  <a:cubicBezTo>
                    <a:pt x="1525" y="182"/>
                    <a:pt x="1525" y="182"/>
                    <a:pt x="1524" y="182"/>
                  </a:cubicBezTo>
                  <a:moveTo>
                    <a:pt x="1143" y="187"/>
                  </a:moveTo>
                  <a:cubicBezTo>
                    <a:pt x="1143" y="187"/>
                    <a:pt x="1142" y="187"/>
                    <a:pt x="1142" y="188"/>
                  </a:cubicBezTo>
                  <a:cubicBezTo>
                    <a:pt x="1144" y="196"/>
                    <a:pt x="1146" y="203"/>
                    <a:pt x="1147" y="210"/>
                  </a:cubicBezTo>
                  <a:cubicBezTo>
                    <a:pt x="1147" y="210"/>
                    <a:pt x="1147" y="209"/>
                    <a:pt x="1148" y="209"/>
                  </a:cubicBezTo>
                  <a:cubicBezTo>
                    <a:pt x="1146" y="202"/>
                    <a:pt x="1145" y="195"/>
                    <a:pt x="1143" y="187"/>
                  </a:cubicBezTo>
                  <a:moveTo>
                    <a:pt x="1148" y="211"/>
                  </a:moveTo>
                  <a:cubicBezTo>
                    <a:pt x="1148" y="211"/>
                    <a:pt x="1147" y="211"/>
                    <a:pt x="1147" y="212"/>
                  </a:cubicBezTo>
                  <a:cubicBezTo>
                    <a:pt x="1147" y="213"/>
                    <a:pt x="1148" y="215"/>
                    <a:pt x="1148" y="216"/>
                  </a:cubicBezTo>
                  <a:cubicBezTo>
                    <a:pt x="1148" y="216"/>
                    <a:pt x="1148" y="216"/>
                    <a:pt x="1149" y="216"/>
                  </a:cubicBezTo>
                  <a:cubicBezTo>
                    <a:pt x="1148" y="214"/>
                    <a:pt x="1148" y="212"/>
                    <a:pt x="1148" y="211"/>
                  </a:cubicBezTo>
                  <a:moveTo>
                    <a:pt x="1489" y="213"/>
                  </a:moveTo>
                  <a:cubicBezTo>
                    <a:pt x="1486" y="215"/>
                    <a:pt x="1484" y="217"/>
                    <a:pt x="1481" y="218"/>
                  </a:cubicBezTo>
                  <a:cubicBezTo>
                    <a:pt x="1481" y="219"/>
                    <a:pt x="1480" y="220"/>
                    <a:pt x="1479" y="221"/>
                  </a:cubicBezTo>
                  <a:cubicBezTo>
                    <a:pt x="1483" y="219"/>
                    <a:pt x="1486" y="216"/>
                    <a:pt x="1490" y="214"/>
                  </a:cubicBezTo>
                  <a:cubicBezTo>
                    <a:pt x="1489" y="214"/>
                    <a:pt x="1489" y="213"/>
                    <a:pt x="1489" y="213"/>
                  </a:cubicBezTo>
                  <a:moveTo>
                    <a:pt x="1149" y="217"/>
                  </a:moveTo>
                  <a:cubicBezTo>
                    <a:pt x="1149" y="217"/>
                    <a:pt x="1148" y="217"/>
                    <a:pt x="1148" y="217"/>
                  </a:cubicBezTo>
                  <a:cubicBezTo>
                    <a:pt x="1149" y="223"/>
                    <a:pt x="1149" y="229"/>
                    <a:pt x="1150" y="235"/>
                  </a:cubicBezTo>
                  <a:cubicBezTo>
                    <a:pt x="1150" y="234"/>
                    <a:pt x="1151" y="234"/>
                    <a:pt x="1151" y="234"/>
                  </a:cubicBezTo>
                  <a:cubicBezTo>
                    <a:pt x="1150" y="228"/>
                    <a:pt x="1150" y="223"/>
                    <a:pt x="1149" y="217"/>
                  </a:cubicBezTo>
                  <a:moveTo>
                    <a:pt x="1478" y="221"/>
                  </a:moveTo>
                  <a:cubicBezTo>
                    <a:pt x="1478" y="221"/>
                    <a:pt x="1478" y="221"/>
                    <a:pt x="1478" y="221"/>
                  </a:cubicBezTo>
                  <a:cubicBezTo>
                    <a:pt x="1477" y="222"/>
                    <a:pt x="1476" y="223"/>
                    <a:pt x="1475" y="224"/>
                  </a:cubicBezTo>
                  <a:cubicBezTo>
                    <a:pt x="1475" y="224"/>
                    <a:pt x="1476" y="224"/>
                    <a:pt x="1476" y="223"/>
                  </a:cubicBezTo>
                  <a:cubicBezTo>
                    <a:pt x="1477" y="222"/>
                    <a:pt x="1478" y="222"/>
                    <a:pt x="1478" y="221"/>
                  </a:cubicBezTo>
                  <a:cubicBezTo>
                    <a:pt x="1478" y="221"/>
                    <a:pt x="1478" y="221"/>
                    <a:pt x="1478" y="221"/>
                  </a:cubicBezTo>
                  <a:moveTo>
                    <a:pt x="1474" y="224"/>
                  </a:moveTo>
                  <a:cubicBezTo>
                    <a:pt x="1473" y="225"/>
                    <a:pt x="1471" y="226"/>
                    <a:pt x="1470" y="227"/>
                  </a:cubicBezTo>
                  <a:cubicBezTo>
                    <a:pt x="1468" y="228"/>
                    <a:pt x="1466" y="230"/>
                    <a:pt x="1465" y="231"/>
                  </a:cubicBezTo>
                  <a:cubicBezTo>
                    <a:pt x="1467" y="230"/>
                    <a:pt x="1469" y="229"/>
                    <a:pt x="1471" y="227"/>
                  </a:cubicBezTo>
                  <a:cubicBezTo>
                    <a:pt x="1472" y="226"/>
                    <a:pt x="1473" y="225"/>
                    <a:pt x="1474" y="224"/>
                  </a:cubicBezTo>
                  <a:moveTo>
                    <a:pt x="1464" y="231"/>
                  </a:moveTo>
                  <a:cubicBezTo>
                    <a:pt x="1463" y="231"/>
                    <a:pt x="1462" y="232"/>
                    <a:pt x="1461" y="233"/>
                  </a:cubicBezTo>
                  <a:cubicBezTo>
                    <a:pt x="1458" y="235"/>
                    <a:pt x="1455" y="237"/>
                    <a:pt x="1452" y="239"/>
                  </a:cubicBezTo>
                  <a:cubicBezTo>
                    <a:pt x="1452" y="240"/>
                    <a:pt x="1452" y="240"/>
                    <a:pt x="1451" y="240"/>
                  </a:cubicBezTo>
                  <a:cubicBezTo>
                    <a:pt x="1450" y="241"/>
                    <a:pt x="1449" y="241"/>
                    <a:pt x="1449" y="242"/>
                  </a:cubicBezTo>
                  <a:cubicBezTo>
                    <a:pt x="1448" y="242"/>
                    <a:pt x="1448" y="243"/>
                    <a:pt x="1447" y="243"/>
                  </a:cubicBezTo>
                  <a:cubicBezTo>
                    <a:pt x="1448" y="243"/>
                    <a:pt x="1448" y="243"/>
                    <a:pt x="1449" y="243"/>
                  </a:cubicBezTo>
                  <a:cubicBezTo>
                    <a:pt x="1452" y="241"/>
                    <a:pt x="1455" y="239"/>
                    <a:pt x="1458" y="236"/>
                  </a:cubicBezTo>
                  <a:cubicBezTo>
                    <a:pt x="1460" y="234"/>
                    <a:pt x="1462" y="233"/>
                    <a:pt x="1464" y="231"/>
                  </a:cubicBezTo>
                  <a:moveTo>
                    <a:pt x="1151" y="235"/>
                  </a:moveTo>
                  <a:cubicBezTo>
                    <a:pt x="1151" y="235"/>
                    <a:pt x="1150" y="235"/>
                    <a:pt x="1150" y="236"/>
                  </a:cubicBezTo>
                  <a:cubicBezTo>
                    <a:pt x="1150" y="237"/>
                    <a:pt x="1150" y="238"/>
                    <a:pt x="1150" y="240"/>
                  </a:cubicBezTo>
                  <a:cubicBezTo>
                    <a:pt x="1151" y="239"/>
                    <a:pt x="1151" y="238"/>
                    <a:pt x="1151" y="238"/>
                  </a:cubicBezTo>
                  <a:cubicBezTo>
                    <a:pt x="1151" y="237"/>
                    <a:pt x="1151" y="236"/>
                    <a:pt x="1151" y="235"/>
                  </a:cubicBezTo>
                  <a:moveTo>
                    <a:pt x="1151" y="240"/>
                  </a:moveTo>
                  <a:cubicBezTo>
                    <a:pt x="1151" y="240"/>
                    <a:pt x="1151" y="240"/>
                    <a:pt x="1151" y="240"/>
                  </a:cubicBezTo>
                  <a:cubicBezTo>
                    <a:pt x="1151" y="240"/>
                    <a:pt x="1151" y="240"/>
                    <a:pt x="1151" y="240"/>
                  </a:cubicBezTo>
                  <a:cubicBezTo>
                    <a:pt x="1151" y="240"/>
                    <a:pt x="1151" y="240"/>
                    <a:pt x="1151" y="240"/>
                  </a:cubicBezTo>
                  <a:moveTo>
                    <a:pt x="1150" y="241"/>
                  </a:moveTo>
                  <a:cubicBezTo>
                    <a:pt x="1150" y="241"/>
                    <a:pt x="1150" y="241"/>
                    <a:pt x="1150" y="241"/>
                  </a:cubicBezTo>
                  <a:cubicBezTo>
                    <a:pt x="1150" y="243"/>
                    <a:pt x="1150" y="244"/>
                    <a:pt x="1150" y="245"/>
                  </a:cubicBezTo>
                  <a:cubicBezTo>
                    <a:pt x="1151" y="245"/>
                    <a:pt x="1151" y="245"/>
                    <a:pt x="1151" y="245"/>
                  </a:cubicBezTo>
                  <a:cubicBezTo>
                    <a:pt x="1151" y="244"/>
                    <a:pt x="1151" y="242"/>
                    <a:pt x="1151" y="241"/>
                  </a:cubicBezTo>
                  <a:cubicBezTo>
                    <a:pt x="1151" y="241"/>
                    <a:pt x="1151" y="241"/>
                    <a:pt x="1150" y="241"/>
                  </a:cubicBezTo>
                  <a:moveTo>
                    <a:pt x="1447" y="244"/>
                  </a:moveTo>
                  <a:cubicBezTo>
                    <a:pt x="1446" y="244"/>
                    <a:pt x="1446" y="244"/>
                    <a:pt x="1446" y="244"/>
                  </a:cubicBezTo>
                  <a:cubicBezTo>
                    <a:pt x="1446" y="245"/>
                    <a:pt x="1446" y="245"/>
                    <a:pt x="1446" y="245"/>
                  </a:cubicBezTo>
                  <a:cubicBezTo>
                    <a:pt x="1447" y="245"/>
                    <a:pt x="1447" y="244"/>
                    <a:pt x="1448" y="244"/>
                  </a:cubicBezTo>
                  <a:cubicBezTo>
                    <a:pt x="1447" y="244"/>
                    <a:pt x="1447" y="244"/>
                    <a:pt x="1447" y="244"/>
                  </a:cubicBezTo>
                  <a:moveTo>
                    <a:pt x="1445" y="245"/>
                  </a:moveTo>
                  <a:cubicBezTo>
                    <a:pt x="1438" y="250"/>
                    <a:pt x="1431" y="256"/>
                    <a:pt x="1424" y="261"/>
                  </a:cubicBezTo>
                  <a:cubicBezTo>
                    <a:pt x="1424" y="261"/>
                    <a:pt x="1424" y="261"/>
                    <a:pt x="1425" y="262"/>
                  </a:cubicBezTo>
                  <a:cubicBezTo>
                    <a:pt x="1431" y="257"/>
                    <a:pt x="1438" y="251"/>
                    <a:pt x="1445" y="246"/>
                  </a:cubicBezTo>
                  <a:cubicBezTo>
                    <a:pt x="1445" y="246"/>
                    <a:pt x="1445" y="246"/>
                    <a:pt x="1446" y="246"/>
                  </a:cubicBezTo>
                  <a:cubicBezTo>
                    <a:pt x="1445" y="245"/>
                    <a:pt x="1445" y="245"/>
                    <a:pt x="1445" y="245"/>
                  </a:cubicBezTo>
                  <a:moveTo>
                    <a:pt x="1151" y="246"/>
                  </a:moveTo>
                  <a:cubicBezTo>
                    <a:pt x="1151" y="246"/>
                    <a:pt x="1151" y="246"/>
                    <a:pt x="1151" y="246"/>
                  </a:cubicBezTo>
                  <a:cubicBezTo>
                    <a:pt x="1151" y="246"/>
                    <a:pt x="1151" y="246"/>
                    <a:pt x="1151" y="246"/>
                  </a:cubicBezTo>
                  <a:cubicBezTo>
                    <a:pt x="1151" y="246"/>
                    <a:pt x="1151" y="246"/>
                    <a:pt x="1151" y="246"/>
                  </a:cubicBezTo>
                  <a:moveTo>
                    <a:pt x="1151" y="247"/>
                  </a:moveTo>
                  <a:cubicBezTo>
                    <a:pt x="1151" y="247"/>
                    <a:pt x="1151" y="247"/>
                    <a:pt x="1150" y="247"/>
                  </a:cubicBezTo>
                  <a:cubicBezTo>
                    <a:pt x="1150" y="248"/>
                    <a:pt x="1150" y="249"/>
                    <a:pt x="1150" y="250"/>
                  </a:cubicBezTo>
                  <a:cubicBezTo>
                    <a:pt x="1151" y="250"/>
                    <a:pt x="1151" y="250"/>
                    <a:pt x="1151" y="250"/>
                  </a:cubicBezTo>
                  <a:cubicBezTo>
                    <a:pt x="1151" y="250"/>
                    <a:pt x="1151" y="250"/>
                    <a:pt x="1151" y="250"/>
                  </a:cubicBezTo>
                  <a:cubicBezTo>
                    <a:pt x="1151" y="249"/>
                    <a:pt x="1151" y="248"/>
                    <a:pt x="1151" y="247"/>
                  </a:cubicBezTo>
                  <a:moveTo>
                    <a:pt x="1151" y="251"/>
                  </a:moveTo>
                  <a:cubicBezTo>
                    <a:pt x="1151" y="251"/>
                    <a:pt x="1151" y="251"/>
                    <a:pt x="1151" y="251"/>
                  </a:cubicBezTo>
                  <a:cubicBezTo>
                    <a:pt x="1151" y="251"/>
                    <a:pt x="1151" y="251"/>
                    <a:pt x="1150" y="251"/>
                  </a:cubicBezTo>
                  <a:cubicBezTo>
                    <a:pt x="1150" y="253"/>
                    <a:pt x="1150" y="256"/>
                    <a:pt x="1150" y="258"/>
                  </a:cubicBezTo>
                  <a:cubicBezTo>
                    <a:pt x="1151" y="258"/>
                    <a:pt x="1151" y="258"/>
                    <a:pt x="1151" y="258"/>
                  </a:cubicBezTo>
                  <a:cubicBezTo>
                    <a:pt x="1151" y="256"/>
                    <a:pt x="1151" y="253"/>
                    <a:pt x="1151" y="251"/>
                  </a:cubicBezTo>
                  <a:moveTo>
                    <a:pt x="1151" y="259"/>
                  </a:moveTo>
                  <a:cubicBezTo>
                    <a:pt x="1151" y="259"/>
                    <a:pt x="1151" y="259"/>
                    <a:pt x="1150" y="259"/>
                  </a:cubicBezTo>
                  <a:cubicBezTo>
                    <a:pt x="1150" y="261"/>
                    <a:pt x="1150" y="262"/>
                    <a:pt x="1150" y="263"/>
                  </a:cubicBezTo>
                  <a:cubicBezTo>
                    <a:pt x="1150" y="263"/>
                    <a:pt x="1150" y="263"/>
                    <a:pt x="1150" y="264"/>
                  </a:cubicBezTo>
                  <a:cubicBezTo>
                    <a:pt x="1151" y="263"/>
                    <a:pt x="1151" y="262"/>
                    <a:pt x="1151" y="262"/>
                  </a:cubicBezTo>
                  <a:cubicBezTo>
                    <a:pt x="1151" y="261"/>
                    <a:pt x="1151" y="260"/>
                    <a:pt x="1151" y="259"/>
                  </a:cubicBezTo>
                  <a:moveTo>
                    <a:pt x="1423" y="261"/>
                  </a:moveTo>
                  <a:cubicBezTo>
                    <a:pt x="1422" y="262"/>
                    <a:pt x="1421" y="263"/>
                    <a:pt x="1419" y="264"/>
                  </a:cubicBezTo>
                  <a:cubicBezTo>
                    <a:pt x="1414" y="269"/>
                    <a:pt x="1408" y="273"/>
                    <a:pt x="1403" y="278"/>
                  </a:cubicBezTo>
                  <a:cubicBezTo>
                    <a:pt x="1403" y="278"/>
                    <a:pt x="1403" y="278"/>
                    <a:pt x="1404" y="279"/>
                  </a:cubicBezTo>
                  <a:cubicBezTo>
                    <a:pt x="1404" y="278"/>
                    <a:pt x="1404" y="278"/>
                    <a:pt x="1404" y="278"/>
                  </a:cubicBezTo>
                  <a:cubicBezTo>
                    <a:pt x="1410" y="273"/>
                    <a:pt x="1417" y="268"/>
                    <a:pt x="1424" y="262"/>
                  </a:cubicBezTo>
                  <a:cubicBezTo>
                    <a:pt x="1424" y="262"/>
                    <a:pt x="1424" y="262"/>
                    <a:pt x="1423" y="261"/>
                  </a:cubicBezTo>
                  <a:moveTo>
                    <a:pt x="1151" y="265"/>
                  </a:moveTo>
                  <a:cubicBezTo>
                    <a:pt x="1151" y="265"/>
                    <a:pt x="1151" y="265"/>
                    <a:pt x="1151" y="265"/>
                  </a:cubicBezTo>
                  <a:cubicBezTo>
                    <a:pt x="1151" y="265"/>
                    <a:pt x="1151" y="265"/>
                    <a:pt x="1151" y="265"/>
                  </a:cubicBezTo>
                  <a:cubicBezTo>
                    <a:pt x="1151" y="265"/>
                    <a:pt x="1151" y="265"/>
                    <a:pt x="1151" y="265"/>
                  </a:cubicBezTo>
                  <a:moveTo>
                    <a:pt x="1150" y="266"/>
                  </a:moveTo>
                  <a:cubicBezTo>
                    <a:pt x="1150" y="266"/>
                    <a:pt x="1150" y="267"/>
                    <a:pt x="1150" y="267"/>
                  </a:cubicBezTo>
                  <a:cubicBezTo>
                    <a:pt x="1149" y="270"/>
                    <a:pt x="1149" y="273"/>
                    <a:pt x="1148" y="275"/>
                  </a:cubicBezTo>
                  <a:cubicBezTo>
                    <a:pt x="1149" y="275"/>
                    <a:pt x="1149" y="275"/>
                    <a:pt x="1150" y="275"/>
                  </a:cubicBezTo>
                  <a:cubicBezTo>
                    <a:pt x="1150" y="273"/>
                    <a:pt x="1150" y="270"/>
                    <a:pt x="1151" y="267"/>
                  </a:cubicBezTo>
                  <a:cubicBezTo>
                    <a:pt x="1151" y="266"/>
                    <a:pt x="1150" y="266"/>
                    <a:pt x="1150" y="266"/>
                  </a:cubicBezTo>
                  <a:moveTo>
                    <a:pt x="1149" y="276"/>
                  </a:moveTo>
                  <a:cubicBezTo>
                    <a:pt x="1149" y="276"/>
                    <a:pt x="1149" y="276"/>
                    <a:pt x="1148" y="276"/>
                  </a:cubicBezTo>
                  <a:cubicBezTo>
                    <a:pt x="1147" y="286"/>
                    <a:pt x="1144" y="294"/>
                    <a:pt x="1141" y="302"/>
                  </a:cubicBezTo>
                  <a:cubicBezTo>
                    <a:pt x="1142" y="300"/>
                    <a:pt x="1143" y="299"/>
                    <a:pt x="1144" y="297"/>
                  </a:cubicBezTo>
                  <a:cubicBezTo>
                    <a:pt x="1146" y="290"/>
                    <a:pt x="1148" y="284"/>
                    <a:pt x="1149" y="276"/>
                  </a:cubicBezTo>
                  <a:moveTo>
                    <a:pt x="1402" y="278"/>
                  </a:moveTo>
                  <a:cubicBezTo>
                    <a:pt x="1402" y="279"/>
                    <a:pt x="1402" y="279"/>
                    <a:pt x="1402" y="279"/>
                  </a:cubicBezTo>
                  <a:cubicBezTo>
                    <a:pt x="1401" y="279"/>
                    <a:pt x="1401" y="280"/>
                    <a:pt x="1400" y="280"/>
                  </a:cubicBezTo>
                  <a:cubicBezTo>
                    <a:pt x="1400" y="280"/>
                    <a:pt x="1401" y="280"/>
                    <a:pt x="1401" y="281"/>
                  </a:cubicBezTo>
                  <a:cubicBezTo>
                    <a:pt x="1401" y="280"/>
                    <a:pt x="1402" y="280"/>
                    <a:pt x="1403" y="279"/>
                  </a:cubicBezTo>
                  <a:cubicBezTo>
                    <a:pt x="1403" y="279"/>
                    <a:pt x="1402" y="279"/>
                    <a:pt x="1402" y="278"/>
                  </a:cubicBezTo>
                  <a:moveTo>
                    <a:pt x="1400" y="281"/>
                  </a:moveTo>
                  <a:cubicBezTo>
                    <a:pt x="1399" y="281"/>
                    <a:pt x="1399" y="282"/>
                    <a:pt x="1399" y="282"/>
                  </a:cubicBezTo>
                  <a:cubicBezTo>
                    <a:pt x="1399" y="282"/>
                    <a:pt x="1399" y="281"/>
                    <a:pt x="1400" y="281"/>
                  </a:cubicBezTo>
                  <a:cubicBezTo>
                    <a:pt x="1400" y="281"/>
                    <a:pt x="1400" y="281"/>
                    <a:pt x="1400" y="281"/>
                  </a:cubicBezTo>
                  <a:moveTo>
                    <a:pt x="1398" y="284"/>
                  </a:moveTo>
                  <a:cubicBezTo>
                    <a:pt x="1397" y="284"/>
                    <a:pt x="1396" y="285"/>
                    <a:pt x="1395" y="286"/>
                  </a:cubicBezTo>
                  <a:cubicBezTo>
                    <a:pt x="1393" y="287"/>
                    <a:pt x="1392" y="289"/>
                    <a:pt x="1390" y="290"/>
                  </a:cubicBezTo>
                  <a:cubicBezTo>
                    <a:pt x="1391" y="290"/>
                    <a:pt x="1392" y="289"/>
                    <a:pt x="1393" y="288"/>
                  </a:cubicBezTo>
                  <a:cubicBezTo>
                    <a:pt x="1394" y="287"/>
                    <a:pt x="1395" y="286"/>
                    <a:pt x="1396" y="285"/>
                  </a:cubicBezTo>
                  <a:cubicBezTo>
                    <a:pt x="1397" y="285"/>
                    <a:pt x="1397" y="284"/>
                    <a:pt x="1398" y="284"/>
                  </a:cubicBezTo>
                  <a:moveTo>
                    <a:pt x="1389" y="290"/>
                  </a:moveTo>
                  <a:cubicBezTo>
                    <a:pt x="1386" y="293"/>
                    <a:pt x="1384" y="295"/>
                    <a:pt x="1381" y="298"/>
                  </a:cubicBezTo>
                  <a:cubicBezTo>
                    <a:pt x="1382" y="297"/>
                    <a:pt x="1383" y="297"/>
                    <a:pt x="1383" y="296"/>
                  </a:cubicBezTo>
                  <a:cubicBezTo>
                    <a:pt x="1385" y="294"/>
                    <a:pt x="1387" y="292"/>
                    <a:pt x="1389" y="290"/>
                  </a:cubicBezTo>
                  <a:moveTo>
                    <a:pt x="176" y="294"/>
                  </a:moveTo>
                  <a:cubicBezTo>
                    <a:pt x="176" y="295"/>
                    <a:pt x="176" y="295"/>
                    <a:pt x="176" y="295"/>
                  </a:cubicBezTo>
                  <a:cubicBezTo>
                    <a:pt x="175" y="295"/>
                    <a:pt x="175" y="295"/>
                    <a:pt x="175" y="295"/>
                  </a:cubicBezTo>
                  <a:cubicBezTo>
                    <a:pt x="373" y="404"/>
                    <a:pt x="550" y="465"/>
                    <a:pt x="698" y="498"/>
                  </a:cubicBezTo>
                  <a:cubicBezTo>
                    <a:pt x="699" y="498"/>
                    <a:pt x="699" y="498"/>
                    <a:pt x="700" y="497"/>
                  </a:cubicBezTo>
                  <a:cubicBezTo>
                    <a:pt x="551" y="464"/>
                    <a:pt x="374" y="403"/>
                    <a:pt x="176" y="294"/>
                  </a:cubicBezTo>
                  <a:moveTo>
                    <a:pt x="1381" y="299"/>
                  </a:moveTo>
                  <a:cubicBezTo>
                    <a:pt x="1380" y="300"/>
                    <a:pt x="1379" y="300"/>
                    <a:pt x="1377" y="301"/>
                  </a:cubicBezTo>
                  <a:cubicBezTo>
                    <a:pt x="1377" y="302"/>
                    <a:pt x="1376" y="302"/>
                    <a:pt x="1375" y="303"/>
                  </a:cubicBezTo>
                  <a:cubicBezTo>
                    <a:pt x="1376" y="303"/>
                    <a:pt x="1376" y="304"/>
                    <a:pt x="1376" y="304"/>
                  </a:cubicBezTo>
                  <a:cubicBezTo>
                    <a:pt x="1377" y="303"/>
                    <a:pt x="1378" y="302"/>
                    <a:pt x="1380" y="300"/>
                  </a:cubicBezTo>
                  <a:cubicBezTo>
                    <a:pt x="1380" y="300"/>
                    <a:pt x="1381" y="299"/>
                    <a:pt x="1381" y="299"/>
                  </a:cubicBezTo>
                  <a:moveTo>
                    <a:pt x="580" y="302"/>
                  </a:moveTo>
                  <a:cubicBezTo>
                    <a:pt x="582" y="303"/>
                    <a:pt x="585" y="304"/>
                    <a:pt x="587" y="306"/>
                  </a:cubicBezTo>
                  <a:cubicBezTo>
                    <a:pt x="606" y="314"/>
                    <a:pt x="624" y="321"/>
                    <a:pt x="641" y="329"/>
                  </a:cubicBezTo>
                  <a:cubicBezTo>
                    <a:pt x="642" y="329"/>
                    <a:pt x="642" y="329"/>
                    <a:pt x="643" y="329"/>
                  </a:cubicBezTo>
                  <a:cubicBezTo>
                    <a:pt x="623" y="320"/>
                    <a:pt x="602" y="311"/>
                    <a:pt x="580" y="302"/>
                  </a:cubicBezTo>
                  <a:moveTo>
                    <a:pt x="1142" y="303"/>
                  </a:moveTo>
                  <a:cubicBezTo>
                    <a:pt x="1141" y="304"/>
                    <a:pt x="1140" y="306"/>
                    <a:pt x="1138" y="308"/>
                  </a:cubicBezTo>
                  <a:cubicBezTo>
                    <a:pt x="1138" y="309"/>
                    <a:pt x="1138" y="309"/>
                    <a:pt x="1137" y="310"/>
                  </a:cubicBezTo>
                  <a:cubicBezTo>
                    <a:pt x="1138" y="310"/>
                    <a:pt x="1138" y="310"/>
                    <a:pt x="1139" y="310"/>
                  </a:cubicBezTo>
                  <a:cubicBezTo>
                    <a:pt x="1140" y="307"/>
                    <a:pt x="1141" y="305"/>
                    <a:pt x="1142" y="303"/>
                  </a:cubicBezTo>
                  <a:moveTo>
                    <a:pt x="1375" y="304"/>
                  </a:moveTo>
                  <a:cubicBezTo>
                    <a:pt x="1375" y="304"/>
                    <a:pt x="1375" y="304"/>
                    <a:pt x="1375" y="304"/>
                  </a:cubicBezTo>
                  <a:cubicBezTo>
                    <a:pt x="1375" y="304"/>
                    <a:pt x="1375" y="305"/>
                    <a:pt x="1375" y="305"/>
                  </a:cubicBezTo>
                  <a:cubicBezTo>
                    <a:pt x="1375" y="305"/>
                    <a:pt x="1375" y="305"/>
                    <a:pt x="1375" y="305"/>
                  </a:cubicBezTo>
                  <a:cubicBezTo>
                    <a:pt x="1375" y="304"/>
                    <a:pt x="1375" y="304"/>
                    <a:pt x="1375" y="304"/>
                  </a:cubicBezTo>
                  <a:moveTo>
                    <a:pt x="1374" y="305"/>
                  </a:moveTo>
                  <a:cubicBezTo>
                    <a:pt x="1372" y="306"/>
                    <a:pt x="1371" y="308"/>
                    <a:pt x="1370" y="309"/>
                  </a:cubicBezTo>
                  <a:cubicBezTo>
                    <a:pt x="1371" y="308"/>
                    <a:pt x="1372" y="308"/>
                    <a:pt x="1373" y="307"/>
                  </a:cubicBezTo>
                  <a:cubicBezTo>
                    <a:pt x="1373" y="307"/>
                    <a:pt x="1374" y="306"/>
                    <a:pt x="1374" y="306"/>
                  </a:cubicBezTo>
                  <a:cubicBezTo>
                    <a:pt x="1374" y="306"/>
                    <a:pt x="1374" y="306"/>
                    <a:pt x="1374" y="305"/>
                  </a:cubicBezTo>
                  <a:cubicBezTo>
                    <a:pt x="1374" y="305"/>
                    <a:pt x="1374" y="305"/>
                    <a:pt x="1374" y="305"/>
                  </a:cubicBezTo>
                  <a:moveTo>
                    <a:pt x="1370" y="310"/>
                  </a:moveTo>
                  <a:cubicBezTo>
                    <a:pt x="1369" y="311"/>
                    <a:pt x="1368" y="311"/>
                    <a:pt x="1367" y="312"/>
                  </a:cubicBezTo>
                  <a:cubicBezTo>
                    <a:pt x="1367" y="312"/>
                    <a:pt x="1367" y="312"/>
                    <a:pt x="1367" y="312"/>
                  </a:cubicBezTo>
                  <a:cubicBezTo>
                    <a:pt x="1367" y="313"/>
                    <a:pt x="1367" y="313"/>
                    <a:pt x="1367" y="313"/>
                  </a:cubicBezTo>
                  <a:cubicBezTo>
                    <a:pt x="1368" y="312"/>
                    <a:pt x="1369" y="311"/>
                    <a:pt x="1370" y="310"/>
                  </a:cubicBezTo>
                  <a:moveTo>
                    <a:pt x="1138" y="311"/>
                  </a:moveTo>
                  <a:cubicBezTo>
                    <a:pt x="1138" y="311"/>
                    <a:pt x="1137" y="311"/>
                    <a:pt x="1137" y="311"/>
                  </a:cubicBezTo>
                  <a:cubicBezTo>
                    <a:pt x="1134" y="317"/>
                    <a:pt x="1130" y="323"/>
                    <a:pt x="1126" y="328"/>
                  </a:cubicBezTo>
                  <a:cubicBezTo>
                    <a:pt x="1126" y="328"/>
                    <a:pt x="1127" y="328"/>
                    <a:pt x="1127" y="328"/>
                  </a:cubicBezTo>
                  <a:cubicBezTo>
                    <a:pt x="1131" y="322"/>
                    <a:pt x="1135" y="317"/>
                    <a:pt x="1138" y="311"/>
                  </a:cubicBezTo>
                  <a:moveTo>
                    <a:pt x="1366" y="313"/>
                  </a:moveTo>
                  <a:cubicBezTo>
                    <a:pt x="1366" y="313"/>
                    <a:pt x="1365" y="314"/>
                    <a:pt x="1365" y="314"/>
                  </a:cubicBezTo>
                  <a:cubicBezTo>
                    <a:pt x="1365" y="315"/>
                    <a:pt x="1364" y="316"/>
                    <a:pt x="1364" y="317"/>
                  </a:cubicBezTo>
                  <a:cubicBezTo>
                    <a:pt x="1365" y="316"/>
                    <a:pt x="1365" y="316"/>
                    <a:pt x="1366" y="315"/>
                  </a:cubicBezTo>
                  <a:cubicBezTo>
                    <a:pt x="1366" y="315"/>
                    <a:pt x="1366" y="314"/>
                    <a:pt x="1367" y="314"/>
                  </a:cubicBezTo>
                  <a:cubicBezTo>
                    <a:pt x="1367" y="314"/>
                    <a:pt x="1366" y="313"/>
                    <a:pt x="1366" y="313"/>
                  </a:cubicBezTo>
                  <a:moveTo>
                    <a:pt x="1363" y="316"/>
                  </a:moveTo>
                  <a:cubicBezTo>
                    <a:pt x="1363" y="316"/>
                    <a:pt x="1363" y="316"/>
                    <a:pt x="1363" y="316"/>
                  </a:cubicBezTo>
                  <a:cubicBezTo>
                    <a:pt x="1363" y="317"/>
                    <a:pt x="1362" y="317"/>
                    <a:pt x="1362" y="318"/>
                  </a:cubicBezTo>
                  <a:cubicBezTo>
                    <a:pt x="1357" y="323"/>
                    <a:pt x="1354" y="328"/>
                    <a:pt x="1350" y="333"/>
                  </a:cubicBezTo>
                  <a:cubicBezTo>
                    <a:pt x="1351" y="333"/>
                    <a:pt x="1351" y="332"/>
                    <a:pt x="1352" y="332"/>
                  </a:cubicBezTo>
                  <a:cubicBezTo>
                    <a:pt x="1355" y="328"/>
                    <a:pt x="1358" y="323"/>
                    <a:pt x="1362" y="319"/>
                  </a:cubicBezTo>
                  <a:cubicBezTo>
                    <a:pt x="1363" y="318"/>
                    <a:pt x="1363" y="317"/>
                    <a:pt x="1363" y="316"/>
                  </a:cubicBezTo>
                  <a:moveTo>
                    <a:pt x="1126" y="329"/>
                  </a:moveTo>
                  <a:cubicBezTo>
                    <a:pt x="1126" y="329"/>
                    <a:pt x="1125" y="329"/>
                    <a:pt x="1125" y="329"/>
                  </a:cubicBezTo>
                  <a:cubicBezTo>
                    <a:pt x="1122" y="333"/>
                    <a:pt x="1119" y="336"/>
                    <a:pt x="1116" y="339"/>
                  </a:cubicBezTo>
                  <a:cubicBezTo>
                    <a:pt x="1116" y="339"/>
                    <a:pt x="1117" y="339"/>
                    <a:pt x="1118" y="339"/>
                  </a:cubicBezTo>
                  <a:cubicBezTo>
                    <a:pt x="1121" y="335"/>
                    <a:pt x="1124" y="332"/>
                    <a:pt x="1126" y="329"/>
                  </a:cubicBezTo>
                  <a:moveTo>
                    <a:pt x="644" y="329"/>
                  </a:moveTo>
                  <a:cubicBezTo>
                    <a:pt x="644" y="330"/>
                    <a:pt x="644" y="330"/>
                    <a:pt x="643" y="330"/>
                  </a:cubicBezTo>
                  <a:cubicBezTo>
                    <a:pt x="643" y="330"/>
                    <a:pt x="644" y="330"/>
                    <a:pt x="644" y="330"/>
                  </a:cubicBezTo>
                  <a:cubicBezTo>
                    <a:pt x="644" y="330"/>
                    <a:pt x="644" y="330"/>
                    <a:pt x="644" y="329"/>
                  </a:cubicBezTo>
                  <a:cubicBezTo>
                    <a:pt x="644" y="329"/>
                    <a:pt x="644" y="329"/>
                    <a:pt x="644" y="329"/>
                  </a:cubicBezTo>
                  <a:moveTo>
                    <a:pt x="645" y="330"/>
                  </a:moveTo>
                  <a:cubicBezTo>
                    <a:pt x="645" y="330"/>
                    <a:pt x="645" y="330"/>
                    <a:pt x="645" y="331"/>
                  </a:cubicBezTo>
                  <a:cubicBezTo>
                    <a:pt x="646" y="331"/>
                    <a:pt x="647" y="331"/>
                    <a:pt x="648" y="332"/>
                  </a:cubicBezTo>
                  <a:cubicBezTo>
                    <a:pt x="648" y="332"/>
                    <a:pt x="648" y="331"/>
                    <a:pt x="648" y="331"/>
                  </a:cubicBezTo>
                  <a:cubicBezTo>
                    <a:pt x="647" y="331"/>
                    <a:pt x="646" y="330"/>
                    <a:pt x="645" y="330"/>
                  </a:cubicBezTo>
                  <a:moveTo>
                    <a:pt x="649" y="331"/>
                  </a:moveTo>
                  <a:cubicBezTo>
                    <a:pt x="649" y="332"/>
                    <a:pt x="649" y="332"/>
                    <a:pt x="649" y="332"/>
                  </a:cubicBezTo>
                  <a:cubicBezTo>
                    <a:pt x="651" y="334"/>
                    <a:pt x="654" y="335"/>
                    <a:pt x="657" y="336"/>
                  </a:cubicBezTo>
                  <a:cubicBezTo>
                    <a:pt x="656" y="336"/>
                    <a:pt x="656" y="335"/>
                    <a:pt x="656" y="335"/>
                  </a:cubicBezTo>
                  <a:cubicBezTo>
                    <a:pt x="654" y="334"/>
                    <a:pt x="651" y="332"/>
                    <a:pt x="649" y="331"/>
                  </a:cubicBezTo>
                  <a:moveTo>
                    <a:pt x="1351" y="334"/>
                  </a:moveTo>
                  <a:cubicBezTo>
                    <a:pt x="1350" y="334"/>
                    <a:pt x="1350" y="334"/>
                    <a:pt x="1349" y="334"/>
                  </a:cubicBezTo>
                  <a:cubicBezTo>
                    <a:pt x="1347" y="338"/>
                    <a:pt x="1345" y="342"/>
                    <a:pt x="1343" y="345"/>
                  </a:cubicBezTo>
                  <a:cubicBezTo>
                    <a:pt x="1343" y="345"/>
                    <a:pt x="1343" y="345"/>
                    <a:pt x="1344" y="346"/>
                  </a:cubicBezTo>
                  <a:cubicBezTo>
                    <a:pt x="1346" y="342"/>
                    <a:pt x="1348" y="338"/>
                    <a:pt x="1351" y="334"/>
                  </a:cubicBezTo>
                  <a:moveTo>
                    <a:pt x="657" y="335"/>
                  </a:moveTo>
                  <a:cubicBezTo>
                    <a:pt x="657" y="336"/>
                    <a:pt x="658" y="336"/>
                    <a:pt x="658" y="337"/>
                  </a:cubicBezTo>
                  <a:cubicBezTo>
                    <a:pt x="663" y="339"/>
                    <a:pt x="668" y="341"/>
                    <a:pt x="673" y="344"/>
                  </a:cubicBezTo>
                  <a:cubicBezTo>
                    <a:pt x="672" y="343"/>
                    <a:pt x="672" y="342"/>
                    <a:pt x="672" y="342"/>
                  </a:cubicBezTo>
                  <a:cubicBezTo>
                    <a:pt x="667" y="340"/>
                    <a:pt x="662" y="337"/>
                    <a:pt x="657" y="335"/>
                  </a:cubicBezTo>
                  <a:moveTo>
                    <a:pt x="1116" y="340"/>
                  </a:moveTo>
                  <a:cubicBezTo>
                    <a:pt x="1115" y="340"/>
                    <a:pt x="1115" y="340"/>
                    <a:pt x="1114" y="341"/>
                  </a:cubicBezTo>
                  <a:cubicBezTo>
                    <a:pt x="1113" y="342"/>
                    <a:pt x="1111" y="343"/>
                    <a:pt x="1110" y="345"/>
                  </a:cubicBezTo>
                  <a:cubicBezTo>
                    <a:pt x="1110" y="345"/>
                    <a:pt x="1111" y="345"/>
                    <a:pt x="1111" y="344"/>
                  </a:cubicBezTo>
                  <a:cubicBezTo>
                    <a:pt x="1113" y="343"/>
                    <a:pt x="1115" y="341"/>
                    <a:pt x="1116" y="340"/>
                  </a:cubicBezTo>
                  <a:moveTo>
                    <a:pt x="673" y="343"/>
                  </a:moveTo>
                  <a:cubicBezTo>
                    <a:pt x="674" y="343"/>
                    <a:pt x="674" y="344"/>
                    <a:pt x="675" y="345"/>
                  </a:cubicBezTo>
                  <a:cubicBezTo>
                    <a:pt x="675" y="345"/>
                    <a:pt x="676" y="345"/>
                    <a:pt x="676" y="345"/>
                  </a:cubicBezTo>
                  <a:cubicBezTo>
                    <a:pt x="676" y="345"/>
                    <a:pt x="676" y="344"/>
                    <a:pt x="676" y="344"/>
                  </a:cubicBezTo>
                  <a:cubicBezTo>
                    <a:pt x="675" y="344"/>
                    <a:pt x="674" y="343"/>
                    <a:pt x="673" y="343"/>
                  </a:cubicBezTo>
                  <a:moveTo>
                    <a:pt x="677" y="345"/>
                  </a:moveTo>
                  <a:cubicBezTo>
                    <a:pt x="677" y="345"/>
                    <a:pt x="677" y="345"/>
                    <a:pt x="677" y="345"/>
                  </a:cubicBezTo>
                  <a:cubicBezTo>
                    <a:pt x="678" y="345"/>
                    <a:pt x="678" y="345"/>
                    <a:pt x="678" y="345"/>
                  </a:cubicBezTo>
                  <a:cubicBezTo>
                    <a:pt x="678" y="345"/>
                    <a:pt x="678" y="345"/>
                    <a:pt x="677" y="345"/>
                  </a:cubicBezTo>
                  <a:moveTo>
                    <a:pt x="1110" y="346"/>
                  </a:moveTo>
                  <a:cubicBezTo>
                    <a:pt x="1109" y="346"/>
                    <a:pt x="1109" y="346"/>
                    <a:pt x="1108" y="346"/>
                  </a:cubicBezTo>
                  <a:cubicBezTo>
                    <a:pt x="1107" y="347"/>
                    <a:pt x="1106" y="347"/>
                    <a:pt x="1105" y="348"/>
                  </a:cubicBezTo>
                  <a:cubicBezTo>
                    <a:pt x="1107" y="347"/>
                    <a:pt x="1108" y="347"/>
                    <a:pt x="1109" y="346"/>
                  </a:cubicBezTo>
                  <a:cubicBezTo>
                    <a:pt x="1110" y="346"/>
                    <a:pt x="1110" y="346"/>
                    <a:pt x="1110" y="346"/>
                  </a:cubicBezTo>
                  <a:moveTo>
                    <a:pt x="680" y="346"/>
                  </a:moveTo>
                  <a:cubicBezTo>
                    <a:pt x="679" y="346"/>
                    <a:pt x="679" y="346"/>
                    <a:pt x="678" y="346"/>
                  </a:cubicBezTo>
                  <a:cubicBezTo>
                    <a:pt x="683" y="348"/>
                    <a:pt x="687" y="351"/>
                    <a:pt x="692" y="353"/>
                  </a:cubicBezTo>
                  <a:cubicBezTo>
                    <a:pt x="692" y="352"/>
                    <a:pt x="692" y="352"/>
                    <a:pt x="692" y="352"/>
                  </a:cubicBezTo>
                  <a:cubicBezTo>
                    <a:pt x="688" y="350"/>
                    <a:pt x="684" y="348"/>
                    <a:pt x="680" y="346"/>
                  </a:cubicBezTo>
                  <a:moveTo>
                    <a:pt x="1342" y="346"/>
                  </a:moveTo>
                  <a:cubicBezTo>
                    <a:pt x="1342" y="346"/>
                    <a:pt x="1342" y="346"/>
                    <a:pt x="1342" y="346"/>
                  </a:cubicBezTo>
                  <a:cubicBezTo>
                    <a:pt x="1342" y="346"/>
                    <a:pt x="1343" y="346"/>
                    <a:pt x="1343" y="346"/>
                  </a:cubicBezTo>
                  <a:cubicBezTo>
                    <a:pt x="1343" y="346"/>
                    <a:pt x="1343" y="346"/>
                    <a:pt x="1342" y="346"/>
                  </a:cubicBezTo>
                  <a:moveTo>
                    <a:pt x="1343" y="347"/>
                  </a:moveTo>
                  <a:cubicBezTo>
                    <a:pt x="1342" y="347"/>
                    <a:pt x="1342" y="348"/>
                    <a:pt x="1342" y="348"/>
                  </a:cubicBezTo>
                  <a:cubicBezTo>
                    <a:pt x="1340" y="350"/>
                    <a:pt x="1339" y="353"/>
                    <a:pt x="1338" y="356"/>
                  </a:cubicBezTo>
                  <a:cubicBezTo>
                    <a:pt x="1339" y="356"/>
                    <a:pt x="1339" y="355"/>
                    <a:pt x="1339" y="355"/>
                  </a:cubicBezTo>
                  <a:cubicBezTo>
                    <a:pt x="1340" y="353"/>
                    <a:pt x="1342" y="350"/>
                    <a:pt x="1343" y="347"/>
                  </a:cubicBezTo>
                  <a:moveTo>
                    <a:pt x="1106" y="349"/>
                  </a:moveTo>
                  <a:cubicBezTo>
                    <a:pt x="1105" y="350"/>
                    <a:pt x="1103" y="350"/>
                    <a:pt x="1102" y="351"/>
                  </a:cubicBezTo>
                  <a:cubicBezTo>
                    <a:pt x="1100" y="352"/>
                    <a:pt x="1098" y="354"/>
                    <a:pt x="1096" y="355"/>
                  </a:cubicBezTo>
                  <a:cubicBezTo>
                    <a:pt x="1096" y="355"/>
                    <a:pt x="1097" y="355"/>
                    <a:pt x="1098" y="355"/>
                  </a:cubicBezTo>
                  <a:cubicBezTo>
                    <a:pt x="1101" y="353"/>
                    <a:pt x="1103" y="351"/>
                    <a:pt x="1106" y="349"/>
                  </a:cubicBezTo>
                  <a:moveTo>
                    <a:pt x="693" y="352"/>
                  </a:moveTo>
                  <a:cubicBezTo>
                    <a:pt x="693" y="353"/>
                    <a:pt x="693" y="353"/>
                    <a:pt x="692" y="353"/>
                  </a:cubicBezTo>
                  <a:cubicBezTo>
                    <a:pt x="696" y="355"/>
                    <a:pt x="699" y="356"/>
                    <a:pt x="702" y="358"/>
                  </a:cubicBezTo>
                  <a:cubicBezTo>
                    <a:pt x="701" y="357"/>
                    <a:pt x="700" y="356"/>
                    <a:pt x="699" y="355"/>
                  </a:cubicBezTo>
                  <a:cubicBezTo>
                    <a:pt x="697" y="354"/>
                    <a:pt x="695" y="353"/>
                    <a:pt x="693" y="352"/>
                  </a:cubicBezTo>
                  <a:moveTo>
                    <a:pt x="1096" y="356"/>
                  </a:moveTo>
                  <a:cubicBezTo>
                    <a:pt x="1095" y="356"/>
                    <a:pt x="1094" y="356"/>
                    <a:pt x="1094" y="356"/>
                  </a:cubicBezTo>
                  <a:cubicBezTo>
                    <a:pt x="1091" y="358"/>
                    <a:pt x="1088" y="360"/>
                    <a:pt x="1086" y="361"/>
                  </a:cubicBezTo>
                  <a:cubicBezTo>
                    <a:pt x="1087" y="361"/>
                    <a:pt x="1088" y="361"/>
                    <a:pt x="1088" y="361"/>
                  </a:cubicBezTo>
                  <a:cubicBezTo>
                    <a:pt x="1091" y="359"/>
                    <a:pt x="1094" y="358"/>
                    <a:pt x="1096" y="356"/>
                  </a:cubicBezTo>
                  <a:moveTo>
                    <a:pt x="1339" y="356"/>
                  </a:moveTo>
                  <a:cubicBezTo>
                    <a:pt x="1339" y="357"/>
                    <a:pt x="1338" y="357"/>
                    <a:pt x="1338" y="357"/>
                  </a:cubicBezTo>
                  <a:cubicBezTo>
                    <a:pt x="1338" y="357"/>
                    <a:pt x="1338" y="358"/>
                    <a:pt x="1337" y="358"/>
                  </a:cubicBezTo>
                  <a:cubicBezTo>
                    <a:pt x="1338" y="358"/>
                    <a:pt x="1338" y="358"/>
                    <a:pt x="1339" y="358"/>
                  </a:cubicBezTo>
                  <a:cubicBezTo>
                    <a:pt x="1339" y="358"/>
                    <a:pt x="1339" y="357"/>
                    <a:pt x="1339" y="356"/>
                  </a:cubicBezTo>
                  <a:moveTo>
                    <a:pt x="703" y="357"/>
                  </a:moveTo>
                  <a:cubicBezTo>
                    <a:pt x="704" y="358"/>
                    <a:pt x="705" y="359"/>
                    <a:pt x="707" y="360"/>
                  </a:cubicBezTo>
                  <a:cubicBezTo>
                    <a:pt x="710" y="362"/>
                    <a:pt x="713" y="364"/>
                    <a:pt x="716" y="365"/>
                  </a:cubicBezTo>
                  <a:cubicBezTo>
                    <a:pt x="718" y="366"/>
                    <a:pt x="720" y="367"/>
                    <a:pt x="722" y="368"/>
                  </a:cubicBezTo>
                  <a:cubicBezTo>
                    <a:pt x="716" y="364"/>
                    <a:pt x="710" y="361"/>
                    <a:pt x="703" y="357"/>
                  </a:cubicBezTo>
                  <a:moveTo>
                    <a:pt x="1338" y="359"/>
                  </a:moveTo>
                  <a:cubicBezTo>
                    <a:pt x="1338" y="359"/>
                    <a:pt x="1337" y="359"/>
                    <a:pt x="1337" y="359"/>
                  </a:cubicBezTo>
                  <a:cubicBezTo>
                    <a:pt x="1336" y="363"/>
                    <a:pt x="1335" y="367"/>
                    <a:pt x="1335" y="371"/>
                  </a:cubicBezTo>
                  <a:cubicBezTo>
                    <a:pt x="1335" y="371"/>
                    <a:pt x="1336" y="371"/>
                    <a:pt x="1336" y="370"/>
                  </a:cubicBezTo>
                  <a:cubicBezTo>
                    <a:pt x="1336" y="367"/>
                    <a:pt x="1337" y="363"/>
                    <a:pt x="1338" y="359"/>
                  </a:cubicBezTo>
                  <a:moveTo>
                    <a:pt x="1086" y="362"/>
                  </a:moveTo>
                  <a:cubicBezTo>
                    <a:pt x="1085" y="362"/>
                    <a:pt x="1084" y="362"/>
                    <a:pt x="1083" y="362"/>
                  </a:cubicBezTo>
                  <a:cubicBezTo>
                    <a:pt x="1073" y="368"/>
                    <a:pt x="1061" y="374"/>
                    <a:pt x="1048" y="378"/>
                  </a:cubicBezTo>
                  <a:cubicBezTo>
                    <a:pt x="1049" y="378"/>
                    <a:pt x="1050" y="378"/>
                    <a:pt x="1051" y="378"/>
                  </a:cubicBezTo>
                  <a:cubicBezTo>
                    <a:pt x="1064" y="373"/>
                    <a:pt x="1076" y="368"/>
                    <a:pt x="1086" y="362"/>
                  </a:cubicBezTo>
                  <a:moveTo>
                    <a:pt x="722" y="368"/>
                  </a:moveTo>
                  <a:cubicBezTo>
                    <a:pt x="726" y="371"/>
                    <a:pt x="729" y="373"/>
                    <a:pt x="733" y="375"/>
                  </a:cubicBezTo>
                  <a:cubicBezTo>
                    <a:pt x="733" y="374"/>
                    <a:pt x="734" y="374"/>
                    <a:pt x="734" y="374"/>
                  </a:cubicBezTo>
                  <a:cubicBezTo>
                    <a:pt x="732" y="373"/>
                    <a:pt x="730" y="372"/>
                    <a:pt x="728" y="371"/>
                  </a:cubicBezTo>
                  <a:cubicBezTo>
                    <a:pt x="726" y="370"/>
                    <a:pt x="724" y="369"/>
                    <a:pt x="722" y="368"/>
                  </a:cubicBezTo>
                  <a:moveTo>
                    <a:pt x="1336" y="371"/>
                  </a:moveTo>
                  <a:cubicBezTo>
                    <a:pt x="1335" y="372"/>
                    <a:pt x="1335" y="372"/>
                    <a:pt x="1335" y="372"/>
                  </a:cubicBezTo>
                  <a:cubicBezTo>
                    <a:pt x="1335" y="373"/>
                    <a:pt x="1335" y="374"/>
                    <a:pt x="1335" y="376"/>
                  </a:cubicBezTo>
                  <a:cubicBezTo>
                    <a:pt x="1335" y="380"/>
                    <a:pt x="1335" y="384"/>
                    <a:pt x="1336" y="388"/>
                  </a:cubicBezTo>
                  <a:cubicBezTo>
                    <a:pt x="1336" y="388"/>
                    <a:pt x="1337" y="388"/>
                    <a:pt x="1337" y="388"/>
                  </a:cubicBezTo>
                  <a:cubicBezTo>
                    <a:pt x="1336" y="384"/>
                    <a:pt x="1336" y="380"/>
                    <a:pt x="1336" y="376"/>
                  </a:cubicBezTo>
                  <a:cubicBezTo>
                    <a:pt x="1336" y="374"/>
                    <a:pt x="1336" y="373"/>
                    <a:pt x="1336" y="371"/>
                  </a:cubicBezTo>
                  <a:moveTo>
                    <a:pt x="736" y="375"/>
                  </a:moveTo>
                  <a:cubicBezTo>
                    <a:pt x="735" y="375"/>
                    <a:pt x="735" y="375"/>
                    <a:pt x="734" y="375"/>
                  </a:cubicBezTo>
                  <a:cubicBezTo>
                    <a:pt x="744" y="381"/>
                    <a:pt x="754" y="387"/>
                    <a:pt x="762" y="392"/>
                  </a:cubicBezTo>
                  <a:cubicBezTo>
                    <a:pt x="762" y="392"/>
                    <a:pt x="763" y="392"/>
                    <a:pt x="763" y="392"/>
                  </a:cubicBezTo>
                  <a:cubicBezTo>
                    <a:pt x="755" y="386"/>
                    <a:pt x="746" y="381"/>
                    <a:pt x="736" y="375"/>
                  </a:cubicBezTo>
                  <a:moveTo>
                    <a:pt x="1048" y="379"/>
                  </a:moveTo>
                  <a:cubicBezTo>
                    <a:pt x="1047" y="379"/>
                    <a:pt x="1045" y="380"/>
                    <a:pt x="1044" y="380"/>
                  </a:cubicBezTo>
                  <a:cubicBezTo>
                    <a:pt x="1044" y="380"/>
                    <a:pt x="1043" y="380"/>
                    <a:pt x="1043" y="380"/>
                  </a:cubicBezTo>
                  <a:cubicBezTo>
                    <a:pt x="1040" y="381"/>
                    <a:pt x="1038" y="382"/>
                    <a:pt x="1036" y="383"/>
                  </a:cubicBezTo>
                  <a:cubicBezTo>
                    <a:pt x="1038" y="382"/>
                    <a:pt x="1040" y="382"/>
                    <a:pt x="1042" y="381"/>
                  </a:cubicBezTo>
                  <a:cubicBezTo>
                    <a:pt x="1042" y="381"/>
                    <a:pt x="1043" y="381"/>
                    <a:pt x="1043" y="381"/>
                  </a:cubicBezTo>
                  <a:cubicBezTo>
                    <a:pt x="1045" y="381"/>
                    <a:pt x="1046" y="380"/>
                    <a:pt x="1048" y="379"/>
                  </a:cubicBezTo>
                  <a:moveTo>
                    <a:pt x="1036" y="383"/>
                  </a:moveTo>
                  <a:cubicBezTo>
                    <a:pt x="1036" y="384"/>
                    <a:pt x="1035" y="384"/>
                    <a:pt x="1035" y="384"/>
                  </a:cubicBezTo>
                  <a:cubicBezTo>
                    <a:pt x="1035" y="384"/>
                    <a:pt x="1035" y="384"/>
                    <a:pt x="1035" y="384"/>
                  </a:cubicBezTo>
                  <a:cubicBezTo>
                    <a:pt x="1035" y="384"/>
                    <a:pt x="1036" y="384"/>
                    <a:pt x="1036" y="383"/>
                  </a:cubicBezTo>
                  <a:moveTo>
                    <a:pt x="1032" y="384"/>
                  </a:moveTo>
                  <a:cubicBezTo>
                    <a:pt x="1031" y="384"/>
                    <a:pt x="1031" y="385"/>
                    <a:pt x="1030" y="385"/>
                  </a:cubicBezTo>
                  <a:cubicBezTo>
                    <a:pt x="1027" y="386"/>
                    <a:pt x="1023" y="387"/>
                    <a:pt x="1020" y="389"/>
                  </a:cubicBezTo>
                  <a:cubicBezTo>
                    <a:pt x="1020" y="389"/>
                    <a:pt x="1020" y="389"/>
                    <a:pt x="1020" y="389"/>
                  </a:cubicBezTo>
                  <a:cubicBezTo>
                    <a:pt x="1020" y="389"/>
                    <a:pt x="1021" y="389"/>
                    <a:pt x="1022" y="389"/>
                  </a:cubicBezTo>
                  <a:cubicBezTo>
                    <a:pt x="1026" y="387"/>
                    <a:pt x="1029" y="386"/>
                    <a:pt x="1033" y="384"/>
                  </a:cubicBezTo>
                  <a:cubicBezTo>
                    <a:pt x="1033" y="384"/>
                    <a:pt x="1032" y="384"/>
                    <a:pt x="1032" y="384"/>
                  </a:cubicBezTo>
                  <a:moveTo>
                    <a:pt x="1337" y="388"/>
                  </a:moveTo>
                  <a:cubicBezTo>
                    <a:pt x="1337" y="389"/>
                    <a:pt x="1337" y="389"/>
                    <a:pt x="1336" y="389"/>
                  </a:cubicBezTo>
                  <a:cubicBezTo>
                    <a:pt x="1336" y="389"/>
                    <a:pt x="1337" y="390"/>
                    <a:pt x="1337" y="390"/>
                  </a:cubicBezTo>
                  <a:cubicBezTo>
                    <a:pt x="1337" y="390"/>
                    <a:pt x="1337" y="390"/>
                    <a:pt x="1338" y="390"/>
                  </a:cubicBezTo>
                  <a:cubicBezTo>
                    <a:pt x="1338" y="389"/>
                    <a:pt x="1337" y="389"/>
                    <a:pt x="1337" y="388"/>
                  </a:cubicBezTo>
                  <a:moveTo>
                    <a:pt x="1018" y="390"/>
                  </a:moveTo>
                  <a:cubicBezTo>
                    <a:pt x="1016" y="390"/>
                    <a:pt x="1015" y="391"/>
                    <a:pt x="1013" y="392"/>
                  </a:cubicBezTo>
                  <a:cubicBezTo>
                    <a:pt x="1014" y="392"/>
                    <a:pt x="1014" y="392"/>
                    <a:pt x="1015" y="392"/>
                  </a:cubicBezTo>
                  <a:cubicBezTo>
                    <a:pt x="1017" y="391"/>
                    <a:pt x="1018" y="390"/>
                    <a:pt x="1020" y="390"/>
                  </a:cubicBezTo>
                  <a:cubicBezTo>
                    <a:pt x="1019" y="390"/>
                    <a:pt x="1019" y="390"/>
                    <a:pt x="1018" y="390"/>
                  </a:cubicBezTo>
                  <a:moveTo>
                    <a:pt x="1338" y="391"/>
                  </a:moveTo>
                  <a:cubicBezTo>
                    <a:pt x="1338" y="391"/>
                    <a:pt x="1337" y="391"/>
                    <a:pt x="1337" y="391"/>
                  </a:cubicBezTo>
                  <a:cubicBezTo>
                    <a:pt x="1340" y="400"/>
                    <a:pt x="1345" y="408"/>
                    <a:pt x="1353" y="417"/>
                  </a:cubicBezTo>
                  <a:cubicBezTo>
                    <a:pt x="1353" y="416"/>
                    <a:pt x="1353" y="416"/>
                    <a:pt x="1354" y="416"/>
                  </a:cubicBezTo>
                  <a:cubicBezTo>
                    <a:pt x="1346" y="408"/>
                    <a:pt x="1341" y="399"/>
                    <a:pt x="1338" y="391"/>
                  </a:cubicBezTo>
                  <a:moveTo>
                    <a:pt x="764" y="392"/>
                  </a:moveTo>
                  <a:cubicBezTo>
                    <a:pt x="764" y="393"/>
                    <a:pt x="763" y="393"/>
                    <a:pt x="763" y="393"/>
                  </a:cubicBezTo>
                  <a:cubicBezTo>
                    <a:pt x="764" y="394"/>
                    <a:pt x="766" y="395"/>
                    <a:pt x="767" y="396"/>
                  </a:cubicBezTo>
                  <a:cubicBezTo>
                    <a:pt x="770" y="397"/>
                    <a:pt x="772" y="398"/>
                    <a:pt x="774" y="399"/>
                  </a:cubicBezTo>
                  <a:cubicBezTo>
                    <a:pt x="771" y="397"/>
                    <a:pt x="768" y="395"/>
                    <a:pt x="764" y="392"/>
                  </a:cubicBezTo>
                  <a:moveTo>
                    <a:pt x="1011" y="393"/>
                  </a:moveTo>
                  <a:cubicBezTo>
                    <a:pt x="1007" y="394"/>
                    <a:pt x="1004" y="396"/>
                    <a:pt x="1001" y="397"/>
                  </a:cubicBezTo>
                  <a:cubicBezTo>
                    <a:pt x="1001" y="397"/>
                    <a:pt x="1001" y="398"/>
                    <a:pt x="1002" y="398"/>
                  </a:cubicBezTo>
                  <a:cubicBezTo>
                    <a:pt x="1005" y="396"/>
                    <a:pt x="1009" y="394"/>
                    <a:pt x="1013" y="393"/>
                  </a:cubicBezTo>
                  <a:cubicBezTo>
                    <a:pt x="1012" y="393"/>
                    <a:pt x="1011" y="393"/>
                    <a:pt x="1011" y="393"/>
                  </a:cubicBezTo>
                  <a:moveTo>
                    <a:pt x="1000" y="398"/>
                  </a:moveTo>
                  <a:cubicBezTo>
                    <a:pt x="999" y="398"/>
                    <a:pt x="999" y="398"/>
                    <a:pt x="998" y="398"/>
                  </a:cubicBezTo>
                  <a:cubicBezTo>
                    <a:pt x="995" y="400"/>
                    <a:pt x="992" y="401"/>
                    <a:pt x="989" y="403"/>
                  </a:cubicBezTo>
                  <a:cubicBezTo>
                    <a:pt x="993" y="401"/>
                    <a:pt x="997" y="400"/>
                    <a:pt x="1001" y="398"/>
                  </a:cubicBezTo>
                  <a:cubicBezTo>
                    <a:pt x="1000" y="398"/>
                    <a:pt x="1000" y="398"/>
                    <a:pt x="1000" y="398"/>
                  </a:cubicBezTo>
                  <a:moveTo>
                    <a:pt x="774" y="400"/>
                  </a:moveTo>
                  <a:cubicBezTo>
                    <a:pt x="775" y="401"/>
                    <a:pt x="777" y="403"/>
                    <a:pt x="779" y="404"/>
                  </a:cubicBezTo>
                  <a:cubicBezTo>
                    <a:pt x="780" y="404"/>
                    <a:pt x="780" y="404"/>
                    <a:pt x="780" y="404"/>
                  </a:cubicBezTo>
                  <a:cubicBezTo>
                    <a:pt x="780" y="404"/>
                    <a:pt x="780" y="403"/>
                    <a:pt x="780" y="403"/>
                  </a:cubicBezTo>
                  <a:cubicBezTo>
                    <a:pt x="778" y="402"/>
                    <a:pt x="776" y="401"/>
                    <a:pt x="774" y="400"/>
                  </a:cubicBezTo>
                  <a:moveTo>
                    <a:pt x="990" y="404"/>
                  </a:moveTo>
                  <a:cubicBezTo>
                    <a:pt x="986" y="405"/>
                    <a:pt x="983" y="407"/>
                    <a:pt x="979" y="408"/>
                  </a:cubicBezTo>
                  <a:cubicBezTo>
                    <a:pt x="980" y="408"/>
                    <a:pt x="982" y="407"/>
                    <a:pt x="983" y="407"/>
                  </a:cubicBezTo>
                  <a:cubicBezTo>
                    <a:pt x="985" y="406"/>
                    <a:pt x="987" y="405"/>
                    <a:pt x="990" y="404"/>
                  </a:cubicBezTo>
                  <a:moveTo>
                    <a:pt x="781" y="404"/>
                  </a:moveTo>
                  <a:cubicBezTo>
                    <a:pt x="781" y="405"/>
                    <a:pt x="780" y="405"/>
                    <a:pt x="780" y="405"/>
                  </a:cubicBezTo>
                  <a:cubicBezTo>
                    <a:pt x="782" y="406"/>
                    <a:pt x="784" y="408"/>
                    <a:pt x="785" y="409"/>
                  </a:cubicBezTo>
                  <a:cubicBezTo>
                    <a:pt x="786" y="409"/>
                    <a:pt x="786" y="409"/>
                    <a:pt x="787" y="409"/>
                  </a:cubicBezTo>
                  <a:cubicBezTo>
                    <a:pt x="785" y="407"/>
                    <a:pt x="783" y="406"/>
                    <a:pt x="781" y="404"/>
                  </a:cubicBezTo>
                  <a:moveTo>
                    <a:pt x="979" y="409"/>
                  </a:moveTo>
                  <a:cubicBezTo>
                    <a:pt x="978" y="409"/>
                    <a:pt x="976" y="410"/>
                    <a:pt x="975" y="410"/>
                  </a:cubicBezTo>
                  <a:cubicBezTo>
                    <a:pt x="974" y="410"/>
                    <a:pt x="974" y="411"/>
                    <a:pt x="973" y="411"/>
                  </a:cubicBezTo>
                  <a:cubicBezTo>
                    <a:pt x="973" y="411"/>
                    <a:pt x="972" y="412"/>
                    <a:pt x="972" y="412"/>
                  </a:cubicBezTo>
                  <a:cubicBezTo>
                    <a:pt x="971" y="412"/>
                    <a:pt x="970" y="413"/>
                    <a:pt x="969" y="414"/>
                  </a:cubicBezTo>
                  <a:cubicBezTo>
                    <a:pt x="969" y="414"/>
                    <a:pt x="970" y="414"/>
                    <a:pt x="971" y="414"/>
                  </a:cubicBezTo>
                  <a:cubicBezTo>
                    <a:pt x="971" y="414"/>
                    <a:pt x="971" y="413"/>
                    <a:pt x="971" y="413"/>
                  </a:cubicBezTo>
                  <a:cubicBezTo>
                    <a:pt x="972" y="413"/>
                    <a:pt x="972" y="413"/>
                    <a:pt x="972" y="413"/>
                  </a:cubicBezTo>
                  <a:cubicBezTo>
                    <a:pt x="975" y="411"/>
                    <a:pt x="977" y="410"/>
                    <a:pt x="979" y="409"/>
                  </a:cubicBezTo>
                  <a:moveTo>
                    <a:pt x="787" y="409"/>
                  </a:moveTo>
                  <a:cubicBezTo>
                    <a:pt x="787" y="409"/>
                    <a:pt x="787" y="410"/>
                    <a:pt x="786" y="410"/>
                  </a:cubicBezTo>
                  <a:cubicBezTo>
                    <a:pt x="789" y="412"/>
                    <a:pt x="791" y="414"/>
                    <a:pt x="794" y="416"/>
                  </a:cubicBezTo>
                  <a:cubicBezTo>
                    <a:pt x="795" y="416"/>
                    <a:pt x="796" y="417"/>
                    <a:pt x="797" y="418"/>
                  </a:cubicBezTo>
                  <a:cubicBezTo>
                    <a:pt x="797" y="417"/>
                    <a:pt x="797" y="417"/>
                    <a:pt x="796" y="417"/>
                  </a:cubicBezTo>
                  <a:cubicBezTo>
                    <a:pt x="794" y="414"/>
                    <a:pt x="791" y="412"/>
                    <a:pt x="787" y="409"/>
                  </a:cubicBezTo>
                  <a:moveTo>
                    <a:pt x="967" y="414"/>
                  </a:moveTo>
                  <a:cubicBezTo>
                    <a:pt x="967" y="415"/>
                    <a:pt x="967" y="415"/>
                    <a:pt x="967" y="415"/>
                  </a:cubicBezTo>
                  <a:cubicBezTo>
                    <a:pt x="965" y="416"/>
                    <a:pt x="962" y="417"/>
                    <a:pt x="960" y="418"/>
                  </a:cubicBezTo>
                  <a:cubicBezTo>
                    <a:pt x="960" y="419"/>
                    <a:pt x="959" y="419"/>
                    <a:pt x="959" y="419"/>
                  </a:cubicBezTo>
                  <a:cubicBezTo>
                    <a:pt x="959" y="419"/>
                    <a:pt x="959" y="420"/>
                    <a:pt x="960" y="420"/>
                  </a:cubicBezTo>
                  <a:cubicBezTo>
                    <a:pt x="962" y="419"/>
                    <a:pt x="964" y="417"/>
                    <a:pt x="966" y="416"/>
                  </a:cubicBezTo>
                  <a:cubicBezTo>
                    <a:pt x="967" y="416"/>
                    <a:pt x="967" y="416"/>
                    <a:pt x="968" y="415"/>
                  </a:cubicBezTo>
                  <a:cubicBezTo>
                    <a:pt x="968" y="415"/>
                    <a:pt x="968" y="415"/>
                    <a:pt x="969" y="415"/>
                  </a:cubicBezTo>
                  <a:cubicBezTo>
                    <a:pt x="968" y="415"/>
                    <a:pt x="968" y="415"/>
                    <a:pt x="967" y="414"/>
                  </a:cubicBezTo>
                  <a:moveTo>
                    <a:pt x="1354" y="417"/>
                  </a:moveTo>
                  <a:cubicBezTo>
                    <a:pt x="1354" y="417"/>
                    <a:pt x="1354" y="417"/>
                    <a:pt x="1353" y="417"/>
                  </a:cubicBezTo>
                  <a:cubicBezTo>
                    <a:pt x="1353" y="417"/>
                    <a:pt x="1353" y="417"/>
                    <a:pt x="1353" y="418"/>
                  </a:cubicBezTo>
                  <a:cubicBezTo>
                    <a:pt x="1354" y="417"/>
                    <a:pt x="1354" y="417"/>
                    <a:pt x="1354" y="417"/>
                  </a:cubicBezTo>
                  <a:cubicBezTo>
                    <a:pt x="1354" y="417"/>
                    <a:pt x="1354" y="417"/>
                    <a:pt x="1354" y="417"/>
                  </a:cubicBezTo>
                  <a:moveTo>
                    <a:pt x="1355" y="418"/>
                  </a:moveTo>
                  <a:cubicBezTo>
                    <a:pt x="1355" y="418"/>
                    <a:pt x="1354" y="418"/>
                    <a:pt x="1354" y="418"/>
                  </a:cubicBezTo>
                  <a:cubicBezTo>
                    <a:pt x="1357" y="421"/>
                    <a:pt x="1360" y="424"/>
                    <a:pt x="1363" y="427"/>
                  </a:cubicBezTo>
                  <a:cubicBezTo>
                    <a:pt x="1364" y="427"/>
                    <a:pt x="1364" y="427"/>
                    <a:pt x="1364" y="426"/>
                  </a:cubicBezTo>
                  <a:cubicBezTo>
                    <a:pt x="1361" y="424"/>
                    <a:pt x="1358" y="421"/>
                    <a:pt x="1355" y="418"/>
                  </a:cubicBezTo>
                  <a:moveTo>
                    <a:pt x="797" y="419"/>
                  </a:moveTo>
                  <a:cubicBezTo>
                    <a:pt x="797" y="419"/>
                    <a:pt x="797" y="419"/>
                    <a:pt x="797" y="419"/>
                  </a:cubicBezTo>
                  <a:cubicBezTo>
                    <a:pt x="798" y="419"/>
                    <a:pt x="798" y="420"/>
                    <a:pt x="799" y="420"/>
                  </a:cubicBezTo>
                  <a:cubicBezTo>
                    <a:pt x="800" y="421"/>
                    <a:pt x="801" y="422"/>
                    <a:pt x="802" y="423"/>
                  </a:cubicBezTo>
                  <a:cubicBezTo>
                    <a:pt x="802" y="424"/>
                    <a:pt x="802" y="424"/>
                    <a:pt x="802" y="424"/>
                  </a:cubicBezTo>
                  <a:cubicBezTo>
                    <a:pt x="803" y="424"/>
                    <a:pt x="803" y="424"/>
                    <a:pt x="804" y="424"/>
                  </a:cubicBezTo>
                  <a:cubicBezTo>
                    <a:pt x="803" y="424"/>
                    <a:pt x="803" y="423"/>
                    <a:pt x="802" y="423"/>
                  </a:cubicBezTo>
                  <a:cubicBezTo>
                    <a:pt x="802" y="422"/>
                    <a:pt x="801" y="421"/>
                    <a:pt x="800" y="421"/>
                  </a:cubicBezTo>
                  <a:cubicBezTo>
                    <a:pt x="800" y="420"/>
                    <a:pt x="800" y="420"/>
                    <a:pt x="800" y="420"/>
                  </a:cubicBezTo>
                  <a:cubicBezTo>
                    <a:pt x="799" y="420"/>
                    <a:pt x="798" y="419"/>
                    <a:pt x="797" y="419"/>
                  </a:cubicBezTo>
                  <a:moveTo>
                    <a:pt x="958" y="420"/>
                  </a:moveTo>
                  <a:cubicBezTo>
                    <a:pt x="954" y="422"/>
                    <a:pt x="950" y="424"/>
                    <a:pt x="946" y="427"/>
                  </a:cubicBezTo>
                  <a:cubicBezTo>
                    <a:pt x="945" y="427"/>
                    <a:pt x="944" y="427"/>
                    <a:pt x="944" y="428"/>
                  </a:cubicBezTo>
                  <a:cubicBezTo>
                    <a:pt x="942" y="429"/>
                    <a:pt x="939" y="431"/>
                    <a:pt x="937" y="432"/>
                  </a:cubicBezTo>
                  <a:cubicBezTo>
                    <a:pt x="936" y="433"/>
                    <a:pt x="935" y="434"/>
                    <a:pt x="933" y="434"/>
                  </a:cubicBezTo>
                  <a:cubicBezTo>
                    <a:pt x="935" y="434"/>
                    <a:pt x="936" y="433"/>
                    <a:pt x="937" y="433"/>
                  </a:cubicBezTo>
                  <a:cubicBezTo>
                    <a:pt x="939" y="432"/>
                    <a:pt x="941" y="431"/>
                    <a:pt x="943" y="430"/>
                  </a:cubicBezTo>
                  <a:cubicBezTo>
                    <a:pt x="944" y="429"/>
                    <a:pt x="944" y="429"/>
                    <a:pt x="945" y="428"/>
                  </a:cubicBezTo>
                  <a:cubicBezTo>
                    <a:pt x="949" y="426"/>
                    <a:pt x="953" y="423"/>
                    <a:pt x="958" y="421"/>
                  </a:cubicBezTo>
                  <a:cubicBezTo>
                    <a:pt x="958" y="421"/>
                    <a:pt x="958" y="420"/>
                    <a:pt x="959" y="420"/>
                  </a:cubicBezTo>
                  <a:cubicBezTo>
                    <a:pt x="958" y="420"/>
                    <a:pt x="958" y="420"/>
                    <a:pt x="958" y="420"/>
                  </a:cubicBezTo>
                  <a:moveTo>
                    <a:pt x="1515" y="424"/>
                  </a:moveTo>
                  <a:cubicBezTo>
                    <a:pt x="1506" y="424"/>
                    <a:pt x="1488" y="428"/>
                    <a:pt x="1461" y="440"/>
                  </a:cubicBezTo>
                  <a:cubicBezTo>
                    <a:pt x="1461" y="440"/>
                    <a:pt x="1461" y="440"/>
                    <a:pt x="1461" y="441"/>
                  </a:cubicBezTo>
                  <a:cubicBezTo>
                    <a:pt x="1461" y="441"/>
                    <a:pt x="1461" y="441"/>
                    <a:pt x="1461" y="441"/>
                  </a:cubicBezTo>
                  <a:cubicBezTo>
                    <a:pt x="1489" y="429"/>
                    <a:pt x="1506" y="425"/>
                    <a:pt x="1515" y="425"/>
                  </a:cubicBezTo>
                  <a:cubicBezTo>
                    <a:pt x="1522" y="425"/>
                    <a:pt x="1524" y="427"/>
                    <a:pt x="1524" y="429"/>
                  </a:cubicBezTo>
                  <a:cubicBezTo>
                    <a:pt x="1524" y="434"/>
                    <a:pt x="1516" y="443"/>
                    <a:pt x="1502" y="450"/>
                  </a:cubicBezTo>
                  <a:cubicBezTo>
                    <a:pt x="1494" y="454"/>
                    <a:pt x="1485" y="457"/>
                    <a:pt x="1474" y="459"/>
                  </a:cubicBezTo>
                  <a:cubicBezTo>
                    <a:pt x="1474" y="460"/>
                    <a:pt x="1475" y="460"/>
                    <a:pt x="1475" y="460"/>
                  </a:cubicBezTo>
                  <a:cubicBezTo>
                    <a:pt x="1504" y="454"/>
                    <a:pt x="1525" y="438"/>
                    <a:pt x="1525" y="429"/>
                  </a:cubicBezTo>
                  <a:cubicBezTo>
                    <a:pt x="1525" y="426"/>
                    <a:pt x="1522" y="424"/>
                    <a:pt x="1515" y="424"/>
                  </a:cubicBezTo>
                  <a:moveTo>
                    <a:pt x="804" y="425"/>
                  </a:moveTo>
                  <a:cubicBezTo>
                    <a:pt x="804" y="425"/>
                    <a:pt x="804" y="426"/>
                    <a:pt x="804" y="426"/>
                  </a:cubicBezTo>
                  <a:cubicBezTo>
                    <a:pt x="805" y="427"/>
                    <a:pt x="806" y="429"/>
                    <a:pt x="807" y="430"/>
                  </a:cubicBezTo>
                  <a:cubicBezTo>
                    <a:pt x="808" y="430"/>
                    <a:pt x="808" y="430"/>
                    <a:pt x="808" y="430"/>
                  </a:cubicBezTo>
                  <a:cubicBezTo>
                    <a:pt x="807" y="428"/>
                    <a:pt x="806" y="427"/>
                    <a:pt x="805" y="426"/>
                  </a:cubicBezTo>
                  <a:cubicBezTo>
                    <a:pt x="805" y="426"/>
                    <a:pt x="804" y="425"/>
                    <a:pt x="804" y="425"/>
                  </a:cubicBezTo>
                  <a:moveTo>
                    <a:pt x="1365" y="427"/>
                  </a:moveTo>
                  <a:cubicBezTo>
                    <a:pt x="1365" y="427"/>
                    <a:pt x="1364" y="427"/>
                    <a:pt x="1364" y="428"/>
                  </a:cubicBezTo>
                  <a:cubicBezTo>
                    <a:pt x="1367" y="430"/>
                    <a:pt x="1371" y="433"/>
                    <a:pt x="1374" y="435"/>
                  </a:cubicBezTo>
                  <a:cubicBezTo>
                    <a:pt x="1374" y="435"/>
                    <a:pt x="1375" y="435"/>
                    <a:pt x="1375" y="435"/>
                  </a:cubicBezTo>
                  <a:cubicBezTo>
                    <a:pt x="1371" y="432"/>
                    <a:pt x="1368" y="430"/>
                    <a:pt x="1365" y="427"/>
                  </a:cubicBezTo>
                  <a:moveTo>
                    <a:pt x="809" y="430"/>
                  </a:moveTo>
                  <a:cubicBezTo>
                    <a:pt x="809" y="431"/>
                    <a:pt x="808" y="431"/>
                    <a:pt x="808" y="431"/>
                  </a:cubicBezTo>
                  <a:cubicBezTo>
                    <a:pt x="809" y="431"/>
                    <a:pt x="809" y="432"/>
                    <a:pt x="809" y="432"/>
                  </a:cubicBezTo>
                  <a:cubicBezTo>
                    <a:pt x="810" y="433"/>
                    <a:pt x="810" y="433"/>
                    <a:pt x="811" y="433"/>
                  </a:cubicBezTo>
                  <a:cubicBezTo>
                    <a:pt x="810" y="432"/>
                    <a:pt x="810" y="431"/>
                    <a:pt x="809" y="430"/>
                  </a:cubicBezTo>
                  <a:moveTo>
                    <a:pt x="810" y="434"/>
                  </a:moveTo>
                  <a:cubicBezTo>
                    <a:pt x="811" y="435"/>
                    <a:pt x="811" y="436"/>
                    <a:pt x="812" y="436"/>
                  </a:cubicBezTo>
                  <a:cubicBezTo>
                    <a:pt x="812" y="437"/>
                    <a:pt x="813" y="437"/>
                    <a:pt x="814" y="438"/>
                  </a:cubicBezTo>
                  <a:cubicBezTo>
                    <a:pt x="813" y="437"/>
                    <a:pt x="813" y="436"/>
                    <a:pt x="812" y="435"/>
                  </a:cubicBezTo>
                  <a:cubicBezTo>
                    <a:pt x="812" y="435"/>
                    <a:pt x="811" y="434"/>
                    <a:pt x="810" y="434"/>
                  </a:cubicBezTo>
                  <a:moveTo>
                    <a:pt x="934" y="435"/>
                  </a:moveTo>
                  <a:cubicBezTo>
                    <a:pt x="932" y="436"/>
                    <a:pt x="931" y="436"/>
                    <a:pt x="930" y="436"/>
                  </a:cubicBezTo>
                  <a:cubicBezTo>
                    <a:pt x="930" y="437"/>
                    <a:pt x="929" y="437"/>
                    <a:pt x="929" y="437"/>
                  </a:cubicBezTo>
                  <a:cubicBezTo>
                    <a:pt x="928" y="437"/>
                    <a:pt x="928" y="438"/>
                    <a:pt x="927" y="438"/>
                  </a:cubicBezTo>
                  <a:cubicBezTo>
                    <a:pt x="929" y="437"/>
                    <a:pt x="931" y="437"/>
                    <a:pt x="932" y="436"/>
                  </a:cubicBezTo>
                  <a:cubicBezTo>
                    <a:pt x="933" y="436"/>
                    <a:pt x="933" y="436"/>
                    <a:pt x="934" y="435"/>
                  </a:cubicBezTo>
                  <a:cubicBezTo>
                    <a:pt x="934" y="435"/>
                    <a:pt x="934" y="435"/>
                    <a:pt x="934" y="435"/>
                  </a:cubicBezTo>
                  <a:moveTo>
                    <a:pt x="1376" y="435"/>
                  </a:moveTo>
                  <a:cubicBezTo>
                    <a:pt x="1375" y="435"/>
                    <a:pt x="1375" y="436"/>
                    <a:pt x="1375" y="436"/>
                  </a:cubicBezTo>
                  <a:cubicBezTo>
                    <a:pt x="1380" y="440"/>
                    <a:pt x="1386" y="444"/>
                    <a:pt x="1393" y="448"/>
                  </a:cubicBezTo>
                  <a:cubicBezTo>
                    <a:pt x="1393" y="447"/>
                    <a:pt x="1393" y="447"/>
                    <a:pt x="1394" y="447"/>
                  </a:cubicBezTo>
                  <a:cubicBezTo>
                    <a:pt x="1387" y="443"/>
                    <a:pt x="1381" y="439"/>
                    <a:pt x="1376" y="435"/>
                  </a:cubicBezTo>
                  <a:moveTo>
                    <a:pt x="813" y="438"/>
                  </a:moveTo>
                  <a:cubicBezTo>
                    <a:pt x="813" y="439"/>
                    <a:pt x="814" y="440"/>
                    <a:pt x="814" y="441"/>
                  </a:cubicBezTo>
                  <a:cubicBezTo>
                    <a:pt x="815" y="441"/>
                    <a:pt x="815" y="441"/>
                    <a:pt x="815" y="440"/>
                  </a:cubicBezTo>
                  <a:cubicBezTo>
                    <a:pt x="815" y="440"/>
                    <a:pt x="815" y="440"/>
                    <a:pt x="815" y="439"/>
                  </a:cubicBezTo>
                  <a:cubicBezTo>
                    <a:pt x="814" y="439"/>
                    <a:pt x="814" y="439"/>
                    <a:pt x="813" y="438"/>
                  </a:cubicBezTo>
                  <a:moveTo>
                    <a:pt x="928" y="439"/>
                  </a:moveTo>
                  <a:cubicBezTo>
                    <a:pt x="927" y="439"/>
                    <a:pt x="926" y="440"/>
                    <a:pt x="924" y="440"/>
                  </a:cubicBezTo>
                  <a:cubicBezTo>
                    <a:pt x="925" y="440"/>
                    <a:pt x="925" y="441"/>
                    <a:pt x="925" y="441"/>
                  </a:cubicBezTo>
                  <a:cubicBezTo>
                    <a:pt x="926" y="440"/>
                    <a:pt x="927" y="439"/>
                    <a:pt x="928" y="439"/>
                  </a:cubicBezTo>
                  <a:moveTo>
                    <a:pt x="924" y="441"/>
                  </a:moveTo>
                  <a:cubicBezTo>
                    <a:pt x="923" y="441"/>
                    <a:pt x="923" y="441"/>
                    <a:pt x="923" y="441"/>
                  </a:cubicBezTo>
                  <a:cubicBezTo>
                    <a:pt x="922" y="441"/>
                    <a:pt x="922" y="441"/>
                    <a:pt x="921" y="442"/>
                  </a:cubicBezTo>
                  <a:cubicBezTo>
                    <a:pt x="922" y="442"/>
                    <a:pt x="922" y="442"/>
                    <a:pt x="923" y="442"/>
                  </a:cubicBezTo>
                  <a:cubicBezTo>
                    <a:pt x="923" y="442"/>
                    <a:pt x="924" y="441"/>
                    <a:pt x="924" y="441"/>
                  </a:cubicBezTo>
                  <a:cubicBezTo>
                    <a:pt x="924" y="441"/>
                    <a:pt x="924" y="441"/>
                    <a:pt x="924" y="441"/>
                  </a:cubicBezTo>
                  <a:moveTo>
                    <a:pt x="1460" y="441"/>
                  </a:moveTo>
                  <a:cubicBezTo>
                    <a:pt x="1449" y="445"/>
                    <a:pt x="1436" y="451"/>
                    <a:pt x="1421" y="459"/>
                  </a:cubicBezTo>
                  <a:cubicBezTo>
                    <a:pt x="1413" y="456"/>
                    <a:pt x="1404" y="453"/>
                    <a:pt x="1396" y="448"/>
                  </a:cubicBezTo>
                  <a:cubicBezTo>
                    <a:pt x="1395" y="448"/>
                    <a:pt x="1395" y="448"/>
                    <a:pt x="1395" y="448"/>
                  </a:cubicBezTo>
                  <a:cubicBezTo>
                    <a:pt x="1394" y="448"/>
                    <a:pt x="1394" y="448"/>
                    <a:pt x="1394" y="448"/>
                  </a:cubicBezTo>
                  <a:cubicBezTo>
                    <a:pt x="1394" y="448"/>
                    <a:pt x="1395" y="449"/>
                    <a:pt x="1395" y="449"/>
                  </a:cubicBezTo>
                  <a:cubicBezTo>
                    <a:pt x="1403" y="454"/>
                    <a:pt x="1412" y="457"/>
                    <a:pt x="1420" y="459"/>
                  </a:cubicBezTo>
                  <a:cubicBezTo>
                    <a:pt x="1409" y="465"/>
                    <a:pt x="1397" y="471"/>
                    <a:pt x="1385" y="478"/>
                  </a:cubicBezTo>
                  <a:cubicBezTo>
                    <a:pt x="1384" y="478"/>
                    <a:pt x="1384" y="478"/>
                    <a:pt x="1384" y="479"/>
                  </a:cubicBezTo>
                  <a:cubicBezTo>
                    <a:pt x="1382" y="479"/>
                    <a:pt x="1381" y="480"/>
                    <a:pt x="1380" y="481"/>
                  </a:cubicBezTo>
                  <a:cubicBezTo>
                    <a:pt x="1380" y="481"/>
                    <a:pt x="1381" y="481"/>
                    <a:pt x="1381" y="481"/>
                  </a:cubicBezTo>
                  <a:cubicBezTo>
                    <a:pt x="1382" y="481"/>
                    <a:pt x="1383" y="480"/>
                    <a:pt x="1385" y="479"/>
                  </a:cubicBezTo>
                  <a:cubicBezTo>
                    <a:pt x="1385" y="479"/>
                    <a:pt x="1385" y="479"/>
                    <a:pt x="1386" y="479"/>
                  </a:cubicBezTo>
                  <a:cubicBezTo>
                    <a:pt x="1399" y="471"/>
                    <a:pt x="1410" y="465"/>
                    <a:pt x="1421" y="460"/>
                  </a:cubicBezTo>
                  <a:cubicBezTo>
                    <a:pt x="1431" y="462"/>
                    <a:pt x="1440" y="463"/>
                    <a:pt x="1449" y="463"/>
                  </a:cubicBezTo>
                  <a:cubicBezTo>
                    <a:pt x="1457" y="463"/>
                    <a:pt x="1466" y="462"/>
                    <a:pt x="1474" y="461"/>
                  </a:cubicBezTo>
                  <a:cubicBezTo>
                    <a:pt x="1473" y="460"/>
                    <a:pt x="1473" y="460"/>
                    <a:pt x="1473" y="460"/>
                  </a:cubicBezTo>
                  <a:cubicBezTo>
                    <a:pt x="1465" y="461"/>
                    <a:pt x="1457" y="462"/>
                    <a:pt x="1449" y="462"/>
                  </a:cubicBezTo>
                  <a:cubicBezTo>
                    <a:pt x="1440" y="462"/>
                    <a:pt x="1432" y="461"/>
                    <a:pt x="1423" y="459"/>
                  </a:cubicBezTo>
                  <a:cubicBezTo>
                    <a:pt x="1437" y="452"/>
                    <a:pt x="1449" y="446"/>
                    <a:pt x="1460" y="442"/>
                  </a:cubicBezTo>
                  <a:cubicBezTo>
                    <a:pt x="1460" y="441"/>
                    <a:pt x="1460" y="441"/>
                    <a:pt x="1460" y="441"/>
                  </a:cubicBezTo>
                  <a:cubicBezTo>
                    <a:pt x="1460" y="441"/>
                    <a:pt x="1460" y="441"/>
                    <a:pt x="1460" y="441"/>
                  </a:cubicBezTo>
                  <a:moveTo>
                    <a:pt x="816" y="442"/>
                  </a:moveTo>
                  <a:cubicBezTo>
                    <a:pt x="816" y="442"/>
                    <a:pt x="815" y="442"/>
                    <a:pt x="815" y="442"/>
                  </a:cubicBezTo>
                  <a:cubicBezTo>
                    <a:pt x="815" y="443"/>
                    <a:pt x="816" y="443"/>
                    <a:pt x="816" y="443"/>
                  </a:cubicBezTo>
                  <a:cubicBezTo>
                    <a:pt x="816" y="443"/>
                    <a:pt x="816" y="442"/>
                    <a:pt x="816" y="442"/>
                  </a:cubicBezTo>
                  <a:moveTo>
                    <a:pt x="920" y="443"/>
                  </a:moveTo>
                  <a:cubicBezTo>
                    <a:pt x="913" y="447"/>
                    <a:pt x="905" y="452"/>
                    <a:pt x="899" y="457"/>
                  </a:cubicBezTo>
                  <a:cubicBezTo>
                    <a:pt x="900" y="456"/>
                    <a:pt x="902" y="455"/>
                    <a:pt x="903" y="455"/>
                  </a:cubicBezTo>
                  <a:cubicBezTo>
                    <a:pt x="909" y="451"/>
                    <a:pt x="915" y="447"/>
                    <a:pt x="921" y="443"/>
                  </a:cubicBezTo>
                  <a:cubicBezTo>
                    <a:pt x="921" y="443"/>
                    <a:pt x="921" y="443"/>
                    <a:pt x="922" y="443"/>
                  </a:cubicBezTo>
                  <a:cubicBezTo>
                    <a:pt x="921" y="443"/>
                    <a:pt x="920" y="443"/>
                    <a:pt x="920" y="443"/>
                  </a:cubicBezTo>
                  <a:moveTo>
                    <a:pt x="815" y="444"/>
                  </a:moveTo>
                  <a:cubicBezTo>
                    <a:pt x="816" y="445"/>
                    <a:pt x="816" y="447"/>
                    <a:pt x="817" y="448"/>
                  </a:cubicBezTo>
                  <a:cubicBezTo>
                    <a:pt x="817" y="449"/>
                    <a:pt x="817" y="449"/>
                    <a:pt x="818" y="449"/>
                  </a:cubicBezTo>
                  <a:cubicBezTo>
                    <a:pt x="818" y="448"/>
                    <a:pt x="817" y="446"/>
                    <a:pt x="817" y="444"/>
                  </a:cubicBezTo>
                  <a:cubicBezTo>
                    <a:pt x="816" y="444"/>
                    <a:pt x="816" y="444"/>
                    <a:pt x="815" y="444"/>
                  </a:cubicBezTo>
                  <a:moveTo>
                    <a:pt x="817" y="450"/>
                  </a:moveTo>
                  <a:cubicBezTo>
                    <a:pt x="817" y="451"/>
                    <a:pt x="817" y="451"/>
                    <a:pt x="817" y="452"/>
                  </a:cubicBezTo>
                  <a:cubicBezTo>
                    <a:pt x="817" y="452"/>
                    <a:pt x="817" y="452"/>
                    <a:pt x="817" y="452"/>
                  </a:cubicBezTo>
                  <a:cubicBezTo>
                    <a:pt x="817" y="452"/>
                    <a:pt x="818" y="452"/>
                    <a:pt x="818" y="451"/>
                  </a:cubicBezTo>
                  <a:cubicBezTo>
                    <a:pt x="818" y="451"/>
                    <a:pt x="818" y="451"/>
                    <a:pt x="818" y="451"/>
                  </a:cubicBezTo>
                  <a:cubicBezTo>
                    <a:pt x="818" y="451"/>
                    <a:pt x="818" y="450"/>
                    <a:pt x="817" y="450"/>
                  </a:cubicBezTo>
                  <a:cubicBezTo>
                    <a:pt x="817" y="450"/>
                    <a:pt x="817" y="450"/>
                    <a:pt x="817" y="450"/>
                  </a:cubicBezTo>
                  <a:moveTo>
                    <a:pt x="818" y="453"/>
                  </a:moveTo>
                  <a:cubicBezTo>
                    <a:pt x="818" y="453"/>
                    <a:pt x="818" y="453"/>
                    <a:pt x="817" y="453"/>
                  </a:cubicBezTo>
                  <a:cubicBezTo>
                    <a:pt x="818" y="453"/>
                    <a:pt x="818" y="453"/>
                    <a:pt x="818" y="453"/>
                  </a:cubicBezTo>
                  <a:cubicBezTo>
                    <a:pt x="818" y="453"/>
                    <a:pt x="818" y="453"/>
                    <a:pt x="818" y="453"/>
                  </a:cubicBezTo>
                  <a:moveTo>
                    <a:pt x="817" y="455"/>
                  </a:moveTo>
                  <a:cubicBezTo>
                    <a:pt x="817" y="455"/>
                    <a:pt x="817" y="455"/>
                    <a:pt x="817" y="455"/>
                  </a:cubicBezTo>
                  <a:cubicBezTo>
                    <a:pt x="817" y="455"/>
                    <a:pt x="817" y="455"/>
                    <a:pt x="817" y="456"/>
                  </a:cubicBezTo>
                  <a:cubicBezTo>
                    <a:pt x="817" y="456"/>
                    <a:pt x="817" y="456"/>
                    <a:pt x="817" y="456"/>
                  </a:cubicBezTo>
                  <a:cubicBezTo>
                    <a:pt x="818" y="456"/>
                    <a:pt x="818" y="456"/>
                    <a:pt x="818" y="456"/>
                  </a:cubicBezTo>
                  <a:cubicBezTo>
                    <a:pt x="817" y="455"/>
                    <a:pt x="817" y="455"/>
                    <a:pt x="817" y="455"/>
                  </a:cubicBezTo>
                  <a:cubicBezTo>
                    <a:pt x="817" y="455"/>
                    <a:pt x="817" y="455"/>
                    <a:pt x="817" y="455"/>
                  </a:cubicBezTo>
                  <a:moveTo>
                    <a:pt x="816" y="457"/>
                  </a:moveTo>
                  <a:cubicBezTo>
                    <a:pt x="816" y="457"/>
                    <a:pt x="816" y="458"/>
                    <a:pt x="816" y="459"/>
                  </a:cubicBezTo>
                  <a:cubicBezTo>
                    <a:pt x="816" y="459"/>
                    <a:pt x="816" y="459"/>
                    <a:pt x="817" y="459"/>
                  </a:cubicBezTo>
                  <a:cubicBezTo>
                    <a:pt x="817" y="459"/>
                    <a:pt x="817" y="459"/>
                    <a:pt x="817" y="459"/>
                  </a:cubicBezTo>
                  <a:cubicBezTo>
                    <a:pt x="817" y="458"/>
                    <a:pt x="817" y="458"/>
                    <a:pt x="817" y="457"/>
                  </a:cubicBezTo>
                  <a:cubicBezTo>
                    <a:pt x="817" y="457"/>
                    <a:pt x="817" y="457"/>
                    <a:pt x="817" y="457"/>
                  </a:cubicBezTo>
                  <a:cubicBezTo>
                    <a:pt x="817" y="457"/>
                    <a:pt x="817" y="457"/>
                    <a:pt x="816" y="457"/>
                  </a:cubicBezTo>
                  <a:moveTo>
                    <a:pt x="899" y="457"/>
                  </a:moveTo>
                  <a:cubicBezTo>
                    <a:pt x="898" y="458"/>
                    <a:pt x="896" y="459"/>
                    <a:pt x="895" y="459"/>
                  </a:cubicBezTo>
                  <a:cubicBezTo>
                    <a:pt x="893" y="461"/>
                    <a:pt x="891" y="462"/>
                    <a:pt x="889" y="463"/>
                  </a:cubicBezTo>
                  <a:cubicBezTo>
                    <a:pt x="890" y="463"/>
                    <a:pt x="890" y="463"/>
                    <a:pt x="890" y="463"/>
                  </a:cubicBezTo>
                  <a:cubicBezTo>
                    <a:pt x="890" y="463"/>
                    <a:pt x="890" y="463"/>
                    <a:pt x="890" y="463"/>
                  </a:cubicBezTo>
                  <a:cubicBezTo>
                    <a:pt x="893" y="461"/>
                    <a:pt x="896" y="459"/>
                    <a:pt x="899" y="457"/>
                  </a:cubicBezTo>
                  <a:moveTo>
                    <a:pt x="816" y="460"/>
                  </a:moveTo>
                  <a:cubicBezTo>
                    <a:pt x="816" y="460"/>
                    <a:pt x="815" y="461"/>
                    <a:pt x="815" y="461"/>
                  </a:cubicBezTo>
                  <a:cubicBezTo>
                    <a:pt x="815" y="461"/>
                    <a:pt x="815" y="461"/>
                    <a:pt x="815" y="461"/>
                  </a:cubicBezTo>
                  <a:cubicBezTo>
                    <a:pt x="815" y="461"/>
                    <a:pt x="815" y="461"/>
                    <a:pt x="816" y="461"/>
                  </a:cubicBezTo>
                  <a:cubicBezTo>
                    <a:pt x="816" y="461"/>
                    <a:pt x="816" y="461"/>
                    <a:pt x="816" y="461"/>
                  </a:cubicBezTo>
                  <a:cubicBezTo>
                    <a:pt x="816" y="460"/>
                    <a:pt x="816" y="460"/>
                    <a:pt x="816" y="460"/>
                  </a:cubicBezTo>
                  <a:moveTo>
                    <a:pt x="814" y="462"/>
                  </a:moveTo>
                  <a:cubicBezTo>
                    <a:pt x="814" y="463"/>
                    <a:pt x="814" y="463"/>
                    <a:pt x="814" y="464"/>
                  </a:cubicBezTo>
                  <a:cubicBezTo>
                    <a:pt x="814" y="464"/>
                    <a:pt x="815" y="463"/>
                    <a:pt x="815" y="463"/>
                  </a:cubicBezTo>
                  <a:cubicBezTo>
                    <a:pt x="815" y="463"/>
                    <a:pt x="815" y="463"/>
                    <a:pt x="815" y="462"/>
                  </a:cubicBezTo>
                  <a:cubicBezTo>
                    <a:pt x="815" y="462"/>
                    <a:pt x="815" y="462"/>
                    <a:pt x="814" y="462"/>
                  </a:cubicBezTo>
                  <a:moveTo>
                    <a:pt x="888" y="463"/>
                  </a:moveTo>
                  <a:cubicBezTo>
                    <a:pt x="888" y="464"/>
                    <a:pt x="887" y="464"/>
                    <a:pt x="886" y="465"/>
                  </a:cubicBezTo>
                  <a:cubicBezTo>
                    <a:pt x="887" y="465"/>
                    <a:pt x="888" y="464"/>
                    <a:pt x="889" y="464"/>
                  </a:cubicBezTo>
                  <a:cubicBezTo>
                    <a:pt x="889" y="464"/>
                    <a:pt x="889" y="464"/>
                    <a:pt x="888" y="463"/>
                  </a:cubicBezTo>
                  <a:moveTo>
                    <a:pt x="814" y="466"/>
                  </a:moveTo>
                  <a:cubicBezTo>
                    <a:pt x="814" y="466"/>
                    <a:pt x="813" y="466"/>
                    <a:pt x="813" y="466"/>
                  </a:cubicBezTo>
                  <a:cubicBezTo>
                    <a:pt x="812" y="468"/>
                    <a:pt x="811" y="470"/>
                    <a:pt x="811" y="472"/>
                  </a:cubicBezTo>
                  <a:cubicBezTo>
                    <a:pt x="811" y="472"/>
                    <a:pt x="812" y="472"/>
                    <a:pt x="812" y="472"/>
                  </a:cubicBezTo>
                  <a:cubicBezTo>
                    <a:pt x="813" y="470"/>
                    <a:pt x="813" y="468"/>
                    <a:pt x="814" y="466"/>
                  </a:cubicBezTo>
                  <a:moveTo>
                    <a:pt x="887" y="466"/>
                  </a:moveTo>
                  <a:cubicBezTo>
                    <a:pt x="886" y="466"/>
                    <a:pt x="886" y="466"/>
                    <a:pt x="886" y="466"/>
                  </a:cubicBezTo>
                  <a:cubicBezTo>
                    <a:pt x="886" y="466"/>
                    <a:pt x="886" y="466"/>
                    <a:pt x="886" y="466"/>
                  </a:cubicBezTo>
                  <a:cubicBezTo>
                    <a:pt x="886" y="466"/>
                    <a:pt x="886" y="466"/>
                    <a:pt x="887" y="466"/>
                  </a:cubicBezTo>
                  <a:moveTo>
                    <a:pt x="883" y="467"/>
                  </a:moveTo>
                  <a:cubicBezTo>
                    <a:pt x="883" y="467"/>
                    <a:pt x="883" y="467"/>
                    <a:pt x="882" y="468"/>
                  </a:cubicBezTo>
                  <a:cubicBezTo>
                    <a:pt x="882" y="468"/>
                    <a:pt x="881" y="468"/>
                    <a:pt x="881" y="469"/>
                  </a:cubicBezTo>
                  <a:cubicBezTo>
                    <a:pt x="881" y="469"/>
                    <a:pt x="882" y="469"/>
                    <a:pt x="882" y="469"/>
                  </a:cubicBezTo>
                  <a:cubicBezTo>
                    <a:pt x="883" y="469"/>
                    <a:pt x="883" y="468"/>
                    <a:pt x="884" y="468"/>
                  </a:cubicBezTo>
                  <a:cubicBezTo>
                    <a:pt x="883" y="468"/>
                    <a:pt x="883" y="467"/>
                    <a:pt x="883" y="467"/>
                  </a:cubicBezTo>
                  <a:moveTo>
                    <a:pt x="879" y="470"/>
                  </a:moveTo>
                  <a:cubicBezTo>
                    <a:pt x="879" y="470"/>
                    <a:pt x="879" y="470"/>
                    <a:pt x="879" y="470"/>
                  </a:cubicBezTo>
                  <a:cubicBezTo>
                    <a:pt x="879" y="470"/>
                    <a:pt x="880" y="470"/>
                    <a:pt x="880" y="470"/>
                  </a:cubicBezTo>
                  <a:cubicBezTo>
                    <a:pt x="880" y="470"/>
                    <a:pt x="881" y="470"/>
                    <a:pt x="881" y="470"/>
                  </a:cubicBezTo>
                  <a:cubicBezTo>
                    <a:pt x="880" y="470"/>
                    <a:pt x="880" y="470"/>
                    <a:pt x="879" y="470"/>
                  </a:cubicBezTo>
                  <a:moveTo>
                    <a:pt x="878" y="470"/>
                  </a:moveTo>
                  <a:cubicBezTo>
                    <a:pt x="877" y="471"/>
                    <a:pt x="877" y="471"/>
                    <a:pt x="876" y="472"/>
                  </a:cubicBezTo>
                  <a:cubicBezTo>
                    <a:pt x="876" y="472"/>
                    <a:pt x="877" y="472"/>
                    <a:pt x="877" y="472"/>
                  </a:cubicBezTo>
                  <a:cubicBezTo>
                    <a:pt x="878" y="472"/>
                    <a:pt x="879" y="471"/>
                    <a:pt x="879" y="471"/>
                  </a:cubicBezTo>
                  <a:cubicBezTo>
                    <a:pt x="879" y="471"/>
                    <a:pt x="878" y="471"/>
                    <a:pt x="878" y="470"/>
                  </a:cubicBezTo>
                  <a:moveTo>
                    <a:pt x="811" y="473"/>
                  </a:moveTo>
                  <a:cubicBezTo>
                    <a:pt x="811" y="473"/>
                    <a:pt x="811" y="473"/>
                    <a:pt x="812" y="473"/>
                  </a:cubicBezTo>
                  <a:cubicBezTo>
                    <a:pt x="812" y="473"/>
                    <a:pt x="812" y="473"/>
                    <a:pt x="812" y="473"/>
                  </a:cubicBezTo>
                  <a:cubicBezTo>
                    <a:pt x="811" y="473"/>
                    <a:pt x="811" y="473"/>
                    <a:pt x="811" y="473"/>
                  </a:cubicBezTo>
                  <a:moveTo>
                    <a:pt x="874" y="473"/>
                  </a:moveTo>
                  <a:cubicBezTo>
                    <a:pt x="874" y="473"/>
                    <a:pt x="874" y="473"/>
                    <a:pt x="874" y="473"/>
                  </a:cubicBezTo>
                  <a:cubicBezTo>
                    <a:pt x="874" y="473"/>
                    <a:pt x="874" y="473"/>
                    <a:pt x="873" y="474"/>
                  </a:cubicBezTo>
                  <a:cubicBezTo>
                    <a:pt x="874" y="474"/>
                    <a:pt x="874" y="474"/>
                    <a:pt x="874" y="474"/>
                  </a:cubicBezTo>
                  <a:cubicBezTo>
                    <a:pt x="874" y="474"/>
                    <a:pt x="874" y="474"/>
                    <a:pt x="875" y="474"/>
                  </a:cubicBezTo>
                  <a:cubicBezTo>
                    <a:pt x="875" y="474"/>
                    <a:pt x="875" y="474"/>
                    <a:pt x="875" y="474"/>
                  </a:cubicBezTo>
                  <a:cubicBezTo>
                    <a:pt x="875" y="474"/>
                    <a:pt x="875" y="473"/>
                    <a:pt x="876" y="473"/>
                  </a:cubicBezTo>
                  <a:cubicBezTo>
                    <a:pt x="875" y="473"/>
                    <a:pt x="875" y="473"/>
                    <a:pt x="874" y="473"/>
                  </a:cubicBezTo>
                  <a:moveTo>
                    <a:pt x="810" y="473"/>
                  </a:moveTo>
                  <a:cubicBezTo>
                    <a:pt x="810" y="474"/>
                    <a:pt x="810" y="474"/>
                    <a:pt x="810" y="475"/>
                  </a:cubicBezTo>
                  <a:cubicBezTo>
                    <a:pt x="809" y="476"/>
                    <a:pt x="809" y="478"/>
                    <a:pt x="809" y="479"/>
                  </a:cubicBezTo>
                  <a:cubicBezTo>
                    <a:pt x="809" y="479"/>
                    <a:pt x="809" y="479"/>
                    <a:pt x="810" y="478"/>
                  </a:cubicBezTo>
                  <a:cubicBezTo>
                    <a:pt x="810" y="478"/>
                    <a:pt x="810" y="477"/>
                    <a:pt x="810" y="476"/>
                  </a:cubicBezTo>
                  <a:cubicBezTo>
                    <a:pt x="810" y="476"/>
                    <a:pt x="811" y="475"/>
                    <a:pt x="811" y="475"/>
                  </a:cubicBezTo>
                  <a:cubicBezTo>
                    <a:pt x="811" y="474"/>
                    <a:pt x="811" y="474"/>
                    <a:pt x="811" y="474"/>
                  </a:cubicBezTo>
                  <a:cubicBezTo>
                    <a:pt x="811" y="474"/>
                    <a:pt x="811" y="473"/>
                    <a:pt x="810" y="473"/>
                  </a:cubicBezTo>
                  <a:moveTo>
                    <a:pt x="872" y="474"/>
                  </a:moveTo>
                  <a:cubicBezTo>
                    <a:pt x="872" y="474"/>
                    <a:pt x="872" y="475"/>
                    <a:pt x="872" y="475"/>
                  </a:cubicBezTo>
                  <a:cubicBezTo>
                    <a:pt x="871" y="475"/>
                    <a:pt x="871" y="475"/>
                    <a:pt x="871" y="475"/>
                  </a:cubicBezTo>
                  <a:cubicBezTo>
                    <a:pt x="870" y="476"/>
                    <a:pt x="870" y="476"/>
                    <a:pt x="869" y="476"/>
                  </a:cubicBezTo>
                  <a:cubicBezTo>
                    <a:pt x="869" y="476"/>
                    <a:pt x="869" y="476"/>
                    <a:pt x="869" y="476"/>
                  </a:cubicBezTo>
                  <a:cubicBezTo>
                    <a:pt x="869" y="476"/>
                    <a:pt x="869" y="476"/>
                    <a:pt x="869" y="477"/>
                  </a:cubicBezTo>
                  <a:cubicBezTo>
                    <a:pt x="871" y="476"/>
                    <a:pt x="872" y="475"/>
                    <a:pt x="873" y="475"/>
                  </a:cubicBezTo>
                  <a:cubicBezTo>
                    <a:pt x="873" y="475"/>
                    <a:pt x="873" y="475"/>
                    <a:pt x="873" y="475"/>
                  </a:cubicBezTo>
                  <a:cubicBezTo>
                    <a:pt x="873" y="475"/>
                    <a:pt x="873" y="474"/>
                    <a:pt x="872" y="474"/>
                  </a:cubicBezTo>
                  <a:moveTo>
                    <a:pt x="869" y="478"/>
                  </a:moveTo>
                  <a:cubicBezTo>
                    <a:pt x="868" y="478"/>
                    <a:pt x="866" y="479"/>
                    <a:pt x="864" y="480"/>
                  </a:cubicBezTo>
                  <a:cubicBezTo>
                    <a:pt x="862" y="481"/>
                    <a:pt x="860" y="483"/>
                    <a:pt x="858" y="484"/>
                  </a:cubicBezTo>
                  <a:cubicBezTo>
                    <a:pt x="857" y="484"/>
                    <a:pt x="857" y="484"/>
                    <a:pt x="857" y="484"/>
                  </a:cubicBezTo>
                  <a:cubicBezTo>
                    <a:pt x="855" y="486"/>
                    <a:pt x="853" y="487"/>
                    <a:pt x="850" y="489"/>
                  </a:cubicBezTo>
                  <a:cubicBezTo>
                    <a:pt x="851" y="489"/>
                    <a:pt x="851" y="489"/>
                    <a:pt x="852" y="489"/>
                  </a:cubicBezTo>
                  <a:cubicBezTo>
                    <a:pt x="854" y="488"/>
                    <a:pt x="856" y="486"/>
                    <a:pt x="858" y="485"/>
                  </a:cubicBezTo>
                  <a:cubicBezTo>
                    <a:pt x="858" y="485"/>
                    <a:pt x="858" y="485"/>
                    <a:pt x="859" y="484"/>
                  </a:cubicBezTo>
                  <a:cubicBezTo>
                    <a:pt x="862" y="483"/>
                    <a:pt x="864" y="481"/>
                    <a:pt x="867" y="479"/>
                  </a:cubicBezTo>
                  <a:cubicBezTo>
                    <a:pt x="868" y="478"/>
                    <a:pt x="868" y="478"/>
                    <a:pt x="868" y="478"/>
                  </a:cubicBezTo>
                  <a:cubicBezTo>
                    <a:pt x="869" y="478"/>
                    <a:pt x="869" y="478"/>
                    <a:pt x="869" y="478"/>
                  </a:cubicBezTo>
                  <a:moveTo>
                    <a:pt x="809" y="480"/>
                  </a:moveTo>
                  <a:cubicBezTo>
                    <a:pt x="809" y="480"/>
                    <a:pt x="809" y="480"/>
                    <a:pt x="808" y="480"/>
                  </a:cubicBezTo>
                  <a:cubicBezTo>
                    <a:pt x="808" y="481"/>
                    <a:pt x="808" y="481"/>
                    <a:pt x="808" y="482"/>
                  </a:cubicBezTo>
                  <a:cubicBezTo>
                    <a:pt x="808" y="482"/>
                    <a:pt x="808" y="482"/>
                    <a:pt x="808" y="482"/>
                  </a:cubicBezTo>
                  <a:cubicBezTo>
                    <a:pt x="808" y="481"/>
                    <a:pt x="809" y="481"/>
                    <a:pt x="809" y="481"/>
                  </a:cubicBezTo>
                  <a:cubicBezTo>
                    <a:pt x="809" y="481"/>
                    <a:pt x="809" y="480"/>
                    <a:pt x="809" y="480"/>
                  </a:cubicBezTo>
                  <a:moveTo>
                    <a:pt x="1379" y="481"/>
                  </a:moveTo>
                  <a:cubicBezTo>
                    <a:pt x="1371" y="486"/>
                    <a:pt x="1362" y="491"/>
                    <a:pt x="1353" y="496"/>
                  </a:cubicBezTo>
                  <a:cubicBezTo>
                    <a:pt x="1353" y="496"/>
                    <a:pt x="1352" y="496"/>
                    <a:pt x="1352" y="497"/>
                  </a:cubicBezTo>
                  <a:cubicBezTo>
                    <a:pt x="1345" y="500"/>
                    <a:pt x="1338" y="505"/>
                    <a:pt x="1331" y="509"/>
                  </a:cubicBezTo>
                  <a:cubicBezTo>
                    <a:pt x="1328" y="511"/>
                    <a:pt x="1326" y="512"/>
                    <a:pt x="1323" y="513"/>
                  </a:cubicBezTo>
                  <a:cubicBezTo>
                    <a:pt x="1323" y="514"/>
                    <a:pt x="1323" y="514"/>
                    <a:pt x="1322" y="514"/>
                  </a:cubicBezTo>
                  <a:cubicBezTo>
                    <a:pt x="1318" y="517"/>
                    <a:pt x="1313" y="520"/>
                    <a:pt x="1309" y="522"/>
                  </a:cubicBezTo>
                  <a:cubicBezTo>
                    <a:pt x="1309" y="522"/>
                    <a:pt x="1309" y="523"/>
                    <a:pt x="1309" y="523"/>
                  </a:cubicBezTo>
                  <a:cubicBezTo>
                    <a:pt x="1314" y="520"/>
                    <a:pt x="1319" y="518"/>
                    <a:pt x="1323" y="515"/>
                  </a:cubicBezTo>
                  <a:cubicBezTo>
                    <a:pt x="1324" y="515"/>
                    <a:pt x="1324" y="514"/>
                    <a:pt x="1324" y="514"/>
                  </a:cubicBezTo>
                  <a:cubicBezTo>
                    <a:pt x="1327" y="513"/>
                    <a:pt x="1329" y="511"/>
                    <a:pt x="1331" y="510"/>
                  </a:cubicBezTo>
                  <a:cubicBezTo>
                    <a:pt x="1339" y="505"/>
                    <a:pt x="1346" y="501"/>
                    <a:pt x="1353" y="497"/>
                  </a:cubicBezTo>
                  <a:cubicBezTo>
                    <a:pt x="1353" y="497"/>
                    <a:pt x="1354" y="497"/>
                    <a:pt x="1354" y="497"/>
                  </a:cubicBezTo>
                  <a:cubicBezTo>
                    <a:pt x="1363" y="491"/>
                    <a:pt x="1372" y="486"/>
                    <a:pt x="1380" y="482"/>
                  </a:cubicBezTo>
                  <a:cubicBezTo>
                    <a:pt x="1380" y="482"/>
                    <a:pt x="1379" y="481"/>
                    <a:pt x="1379" y="481"/>
                  </a:cubicBezTo>
                  <a:moveTo>
                    <a:pt x="808" y="483"/>
                  </a:moveTo>
                  <a:cubicBezTo>
                    <a:pt x="808" y="483"/>
                    <a:pt x="808" y="483"/>
                    <a:pt x="807" y="483"/>
                  </a:cubicBezTo>
                  <a:cubicBezTo>
                    <a:pt x="807" y="484"/>
                    <a:pt x="807" y="485"/>
                    <a:pt x="807" y="486"/>
                  </a:cubicBezTo>
                  <a:cubicBezTo>
                    <a:pt x="807" y="486"/>
                    <a:pt x="807" y="486"/>
                    <a:pt x="807" y="486"/>
                  </a:cubicBezTo>
                  <a:cubicBezTo>
                    <a:pt x="807" y="486"/>
                    <a:pt x="808" y="486"/>
                    <a:pt x="808" y="485"/>
                  </a:cubicBezTo>
                  <a:cubicBezTo>
                    <a:pt x="808" y="485"/>
                    <a:pt x="808" y="484"/>
                    <a:pt x="808" y="483"/>
                  </a:cubicBezTo>
                  <a:moveTo>
                    <a:pt x="807" y="487"/>
                  </a:moveTo>
                  <a:cubicBezTo>
                    <a:pt x="807" y="487"/>
                    <a:pt x="807" y="488"/>
                    <a:pt x="806" y="488"/>
                  </a:cubicBezTo>
                  <a:cubicBezTo>
                    <a:pt x="806" y="488"/>
                    <a:pt x="806" y="489"/>
                    <a:pt x="806" y="489"/>
                  </a:cubicBezTo>
                  <a:cubicBezTo>
                    <a:pt x="806" y="489"/>
                    <a:pt x="807" y="489"/>
                    <a:pt x="807" y="489"/>
                  </a:cubicBezTo>
                  <a:cubicBezTo>
                    <a:pt x="807" y="488"/>
                    <a:pt x="807" y="488"/>
                    <a:pt x="807" y="487"/>
                  </a:cubicBezTo>
                  <a:moveTo>
                    <a:pt x="849" y="489"/>
                  </a:moveTo>
                  <a:cubicBezTo>
                    <a:pt x="849" y="489"/>
                    <a:pt x="849" y="489"/>
                    <a:pt x="849" y="489"/>
                  </a:cubicBezTo>
                  <a:cubicBezTo>
                    <a:pt x="849" y="490"/>
                    <a:pt x="850" y="490"/>
                    <a:pt x="850" y="490"/>
                  </a:cubicBezTo>
                  <a:cubicBezTo>
                    <a:pt x="850" y="490"/>
                    <a:pt x="850" y="490"/>
                    <a:pt x="851" y="490"/>
                  </a:cubicBezTo>
                  <a:cubicBezTo>
                    <a:pt x="850" y="490"/>
                    <a:pt x="850" y="490"/>
                    <a:pt x="849" y="489"/>
                  </a:cubicBezTo>
                  <a:moveTo>
                    <a:pt x="848" y="490"/>
                  </a:moveTo>
                  <a:cubicBezTo>
                    <a:pt x="846" y="491"/>
                    <a:pt x="845" y="492"/>
                    <a:pt x="843" y="493"/>
                  </a:cubicBezTo>
                  <a:cubicBezTo>
                    <a:pt x="843" y="493"/>
                    <a:pt x="843" y="494"/>
                    <a:pt x="842" y="494"/>
                  </a:cubicBezTo>
                  <a:cubicBezTo>
                    <a:pt x="842" y="494"/>
                    <a:pt x="841" y="494"/>
                    <a:pt x="841" y="495"/>
                  </a:cubicBezTo>
                  <a:cubicBezTo>
                    <a:pt x="843" y="494"/>
                    <a:pt x="845" y="493"/>
                    <a:pt x="847" y="492"/>
                  </a:cubicBezTo>
                  <a:cubicBezTo>
                    <a:pt x="848" y="491"/>
                    <a:pt x="849" y="491"/>
                    <a:pt x="849" y="491"/>
                  </a:cubicBezTo>
                  <a:cubicBezTo>
                    <a:pt x="849" y="490"/>
                    <a:pt x="848" y="490"/>
                    <a:pt x="848" y="490"/>
                  </a:cubicBezTo>
                  <a:moveTo>
                    <a:pt x="807" y="490"/>
                  </a:moveTo>
                  <a:cubicBezTo>
                    <a:pt x="806" y="490"/>
                    <a:pt x="806" y="490"/>
                    <a:pt x="806" y="491"/>
                  </a:cubicBezTo>
                  <a:cubicBezTo>
                    <a:pt x="805" y="493"/>
                    <a:pt x="805" y="495"/>
                    <a:pt x="805" y="497"/>
                  </a:cubicBezTo>
                  <a:cubicBezTo>
                    <a:pt x="805" y="497"/>
                    <a:pt x="805" y="497"/>
                    <a:pt x="805" y="497"/>
                  </a:cubicBezTo>
                  <a:cubicBezTo>
                    <a:pt x="805" y="497"/>
                    <a:pt x="806" y="497"/>
                    <a:pt x="806" y="497"/>
                  </a:cubicBezTo>
                  <a:cubicBezTo>
                    <a:pt x="806" y="495"/>
                    <a:pt x="806" y="493"/>
                    <a:pt x="807" y="490"/>
                  </a:cubicBezTo>
                  <a:moveTo>
                    <a:pt x="841" y="496"/>
                  </a:moveTo>
                  <a:cubicBezTo>
                    <a:pt x="837" y="497"/>
                    <a:pt x="834" y="499"/>
                    <a:pt x="830" y="501"/>
                  </a:cubicBezTo>
                  <a:cubicBezTo>
                    <a:pt x="830" y="501"/>
                    <a:pt x="829" y="501"/>
                    <a:pt x="829" y="501"/>
                  </a:cubicBezTo>
                  <a:cubicBezTo>
                    <a:pt x="829" y="501"/>
                    <a:pt x="828" y="502"/>
                    <a:pt x="828" y="502"/>
                  </a:cubicBezTo>
                  <a:cubicBezTo>
                    <a:pt x="826" y="503"/>
                    <a:pt x="824" y="503"/>
                    <a:pt x="823" y="504"/>
                  </a:cubicBezTo>
                  <a:cubicBezTo>
                    <a:pt x="821" y="505"/>
                    <a:pt x="820" y="505"/>
                    <a:pt x="819" y="506"/>
                  </a:cubicBezTo>
                  <a:cubicBezTo>
                    <a:pt x="819" y="506"/>
                    <a:pt x="820" y="506"/>
                    <a:pt x="820" y="506"/>
                  </a:cubicBezTo>
                  <a:cubicBezTo>
                    <a:pt x="823" y="505"/>
                    <a:pt x="826" y="504"/>
                    <a:pt x="829" y="502"/>
                  </a:cubicBezTo>
                  <a:cubicBezTo>
                    <a:pt x="830" y="502"/>
                    <a:pt x="830" y="502"/>
                    <a:pt x="831" y="501"/>
                  </a:cubicBezTo>
                  <a:cubicBezTo>
                    <a:pt x="834" y="500"/>
                    <a:pt x="837" y="498"/>
                    <a:pt x="841" y="496"/>
                  </a:cubicBezTo>
                  <a:moveTo>
                    <a:pt x="701" y="498"/>
                  </a:moveTo>
                  <a:cubicBezTo>
                    <a:pt x="701" y="498"/>
                    <a:pt x="700" y="498"/>
                    <a:pt x="700" y="498"/>
                  </a:cubicBezTo>
                  <a:cubicBezTo>
                    <a:pt x="705" y="500"/>
                    <a:pt x="710" y="501"/>
                    <a:pt x="715" y="502"/>
                  </a:cubicBezTo>
                  <a:cubicBezTo>
                    <a:pt x="716" y="502"/>
                    <a:pt x="716" y="501"/>
                    <a:pt x="717" y="501"/>
                  </a:cubicBezTo>
                  <a:cubicBezTo>
                    <a:pt x="712" y="500"/>
                    <a:pt x="706" y="499"/>
                    <a:pt x="701" y="498"/>
                  </a:cubicBezTo>
                  <a:moveTo>
                    <a:pt x="806" y="498"/>
                  </a:moveTo>
                  <a:cubicBezTo>
                    <a:pt x="806" y="498"/>
                    <a:pt x="805" y="498"/>
                    <a:pt x="805" y="498"/>
                  </a:cubicBezTo>
                  <a:cubicBezTo>
                    <a:pt x="805" y="498"/>
                    <a:pt x="805" y="498"/>
                    <a:pt x="805" y="499"/>
                  </a:cubicBezTo>
                  <a:cubicBezTo>
                    <a:pt x="805" y="498"/>
                    <a:pt x="806" y="498"/>
                    <a:pt x="806" y="498"/>
                  </a:cubicBezTo>
                  <a:cubicBezTo>
                    <a:pt x="806" y="498"/>
                    <a:pt x="806" y="498"/>
                    <a:pt x="806" y="498"/>
                  </a:cubicBezTo>
                  <a:moveTo>
                    <a:pt x="806" y="499"/>
                  </a:moveTo>
                  <a:cubicBezTo>
                    <a:pt x="806" y="499"/>
                    <a:pt x="806" y="499"/>
                    <a:pt x="805" y="500"/>
                  </a:cubicBezTo>
                  <a:cubicBezTo>
                    <a:pt x="805" y="500"/>
                    <a:pt x="805" y="501"/>
                    <a:pt x="806" y="502"/>
                  </a:cubicBezTo>
                  <a:cubicBezTo>
                    <a:pt x="806" y="501"/>
                    <a:pt x="806" y="501"/>
                    <a:pt x="806" y="501"/>
                  </a:cubicBezTo>
                  <a:cubicBezTo>
                    <a:pt x="806" y="500"/>
                    <a:pt x="806" y="500"/>
                    <a:pt x="806" y="499"/>
                  </a:cubicBezTo>
                  <a:moveTo>
                    <a:pt x="718" y="501"/>
                  </a:moveTo>
                  <a:cubicBezTo>
                    <a:pt x="718" y="502"/>
                    <a:pt x="717" y="502"/>
                    <a:pt x="717" y="502"/>
                  </a:cubicBezTo>
                  <a:cubicBezTo>
                    <a:pt x="718" y="502"/>
                    <a:pt x="718" y="503"/>
                    <a:pt x="719" y="503"/>
                  </a:cubicBezTo>
                  <a:cubicBezTo>
                    <a:pt x="719" y="502"/>
                    <a:pt x="719" y="502"/>
                    <a:pt x="719" y="502"/>
                  </a:cubicBezTo>
                  <a:cubicBezTo>
                    <a:pt x="718" y="502"/>
                    <a:pt x="718" y="502"/>
                    <a:pt x="718" y="501"/>
                  </a:cubicBezTo>
                  <a:moveTo>
                    <a:pt x="720" y="502"/>
                  </a:moveTo>
                  <a:cubicBezTo>
                    <a:pt x="720" y="502"/>
                    <a:pt x="720" y="503"/>
                    <a:pt x="720" y="503"/>
                  </a:cubicBezTo>
                  <a:cubicBezTo>
                    <a:pt x="722" y="503"/>
                    <a:pt x="724" y="504"/>
                    <a:pt x="726" y="504"/>
                  </a:cubicBezTo>
                  <a:cubicBezTo>
                    <a:pt x="726" y="504"/>
                    <a:pt x="726" y="504"/>
                    <a:pt x="726" y="503"/>
                  </a:cubicBezTo>
                  <a:cubicBezTo>
                    <a:pt x="724" y="503"/>
                    <a:pt x="722" y="502"/>
                    <a:pt x="720" y="502"/>
                  </a:cubicBezTo>
                  <a:moveTo>
                    <a:pt x="807" y="502"/>
                  </a:moveTo>
                  <a:cubicBezTo>
                    <a:pt x="806" y="502"/>
                    <a:pt x="806" y="502"/>
                    <a:pt x="806" y="503"/>
                  </a:cubicBezTo>
                  <a:cubicBezTo>
                    <a:pt x="806" y="503"/>
                    <a:pt x="806" y="503"/>
                    <a:pt x="806" y="504"/>
                  </a:cubicBezTo>
                  <a:cubicBezTo>
                    <a:pt x="807" y="504"/>
                    <a:pt x="807" y="504"/>
                    <a:pt x="807" y="504"/>
                  </a:cubicBezTo>
                  <a:cubicBezTo>
                    <a:pt x="807" y="504"/>
                    <a:pt x="808" y="504"/>
                    <a:pt x="808" y="504"/>
                  </a:cubicBezTo>
                  <a:cubicBezTo>
                    <a:pt x="807" y="503"/>
                    <a:pt x="807" y="503"/>
                    <a:pt x="807" y="502"/>
                  </a:cubicBezTo>
                  <a:moveTo>
                    <a:pt x="728" y="504"/>
                  </a:moveTo>
                  <a:cubicBezTo>
                    <a:pt x="729" y="504"/>
                    <a:pt x="729" y="505"/>
                    <a:pt x="730" y="505"/>
                  </a:cubicBezTo>
                  <a:cubicBezTo>
                    <a:pt x="730" y="505"/>
                    <a:pt x="731" y="505"/>
                    <a:pt x="731" y="505"/>
                  </a:cubicBezTo>
                  <a:cubicBezTo>
                    <a:pt x="732" y="505"/>
                    <a:pt x="732" y="505"/>
                    <a:pt x="733" y="505"/>
                  </a:cubicBezTo>
                  <a:cubicBezTo>
                    <a:pt x="731" y="504"/>
                    <a:pt x="730" y="504"/>
                    <a:pt x="728" y="504"/>
                  </a:cubicBezTo>
                  <a:moveTo>
                    <a:pt x="727" y="504"/>
                  </a:moveTo>
                  <a:cubicBezTo>
                    <a:pt x="727" y="504"/>
                    <a:pt x="727" y="504"/>
                    <a:pt x="727" y="504"/>
                  </a:cubicBezTo>
                  <a:cubicBezTo>
                    <a:pt x="727" y="504"/>
                    <a:pt x="728" y="504"/>
                    <a:pt x="728" y="505"/>
                  </a:cubicBezTo>
                  <a:cubicBezTo>
                    <a:pt x="728" y="504"/>
                    <a:pt x="727" y="504"/>
                    <a:pt x="727" y="504"/>
                  </a:cubicBezTo>
                  <a:moveTo>
                    <a:pt x="734" y="505"/>
                  </a:moveTo>
                  <a:cubicBezTo>
                    <a:pt x="734" y="505"/>
                    <a:pt x="733" y="505"/>
                    <a:pt x="733" y="506"/>
                  </a:cubicBezTo>
                  <a:cubicBezTo>
                    <a:pt x="736" y="506"/>
                    <a:pt x="738" y="507"/>
                    <a:pt x="741" y="507"/>
                  </a:cubicBezTo>
                  <a:cubicBezTo>
                    <a:pt x="741" y="507"/>
                    <a:pt x="741" y="507"/>
                    <a:pt x="742" y="507"/>
                  </a:cubicBezTo>
                  <a:cubicBezTo>
                    <a:pt x="742" y="507"/>
                    <a:pt x="742" y="507"/>
                    <a:pt x="742" y="506"/>
                  </a:cubicBezTo>
                  <a:cubicBezTo>
                    <a:pt x="742" y="506"/>
                    <a:pt x="741" y="506"/>
                    <a:pt x="741" y="506"/>
                  </a:cubicBezTo>
                  <a:cubicBezTo>
                    <a:pt x="738" y="506"/>
                    <a:pt x="736" y="505"/>
                    <a:pt x="734" y="505"/>
                  </a:cubicBezTo>
                  <a:moveTo>
                    <a:pt x="808" y="505"/>
                  </a:moveTo>
                  <a:cubicBezTo>
                    <a:pt x="808" y="505"/>
                    <a:pt x="807" y="505"/>
                    <a:pt x="807" y="505"/>
                  </a:cubicBezTo>
                  <a:cubicBezTo>
                    <a:pt x="809" y="507"/>
                    <a:pt x="811" y="507"/>
                    <a:pt x="813" y="507"/>
                  </a:cubicBezTo>
                  <a:cubicBezTo>
                    <a:pt x="813" y="507"/>
                    <a:pt x="813" y="507"/>
                    <a:pt x="813" y="507"/>
                  </a:cubicBezTo>
                  <a:cubicBezTo>
                    <a:pt x="814" y="507"/>
                    <a:pt x="815" y="507"/>
                    <a:pt x="815" y="506"/>
                  </a:cubicBezTo>
                  <a:cubicBezTo>
                    <a:pt x="815" y="506"/>
                    <a:pt x="815" y="506"/>
                    <a:pt x="815" y="506"/>
                  </a:cubicBezTo>
                  <a:cubicBezTo>
                    <a:pt x="814" y="506"/>
                    <a:pt x="814" y="506"/>
                    <a:pt x="813" y="506"/>
                  </a:cubicBezTo>
                  <a:cubicBezTo>
                    <a:pt x="813" y="506"/>
                    <a:pt x="813" y="506"/>
                    <a:pt x="813" y="506"/>
                  </a:cubicBezTo>
                  <a:cubicBezTo>
                    <a:pt x="811" y="506"/>
                    <a:pt x="810" y="506"/>
                    <a:pt x="809" y="505"/>
                  </a:cubicBezTo>
                  <a:cubicBezTo>
                    <a:pt x="808" y="505"/>
                    <a:pt x="808" y="505"/>
                    <a:pt x="808" y="505"/>
                  </a:cubicBezTo>
                  <a:moveTo>
                    <a:pt x="817" y="507"/>
                  </a:moveTo>
                  <a:cubicBezTo>
                    <a:pt x="817" y="507"/>
                    <a:pt x="817" y="507"/>
                    <a:pt x="816" y="507"/>
                  </a:cubicBezTo>
                  <a:cubicBezTo>
                    <a:pt x="817" y="507"/>
                    <a:pt x="817" y="507"/>
                    <a:pt x="818" y="507"/>
                  </a:cubicBezTo>
                  <a:cubicBezTo>
                    <a:pt x="818" y="507"/>
                    <a:pt x="817" y="507"/>
                    <a:pt x="817" y="507"/>
                  </a:cubicBezTo>
                  <a:moveTo>
                    <a:pt x="743" y="507"/>
                  </a:moveTo>
                  <a:cubicBezTo>
                    <a:pt x="743" y="507"/>
                    <a:pt x="743" y="507"/>
                    <a:pt x="743" y="508"/>
                  </a:cubicBezTo>
                  <a:cubicBezTo>
                    <a:pt x="744" y="508"/>
                    <a:pt x="746" y="508"/>
                    <a:pt x="748" y="509"/>
                  </a:cubicBezTo>
                  <a:cubicBezTo>
                    <a:pt x="749" y="508"/>
                    <a:pt x="749" y="508"/>
                    <a:pt x="749" y="508"/>
                  </a:cubicBezTo>
                  <a:cubicBezTo>
                    <a:pt x="747" y="507"/>
                    <a:pt x="745" y="507"/>
                    <a:pt x="743" y="507"/>
                  </a:cubicBezTo>
                  <a:moveTo>
                    <a:pt x="751" y="508"/>
                  </a:moveTo>
                  <a:cubicBezTo>
                    <a:pt x="751" y="508"/>
                    <a:pt x="750" y="509"/>
                    <a:pt x="750" y="509"/>
                  </a:cubicBezTo>
                  <a:cubicBezTo>
                    <a:pt x="753" y="510"/>
                    <a:pt x="757" y="510"/>
                    <a:pt x="761" y="511"/>
                  </a:cubicBezTo>
                  <a:cubicBezTo>
                    <a:pt x="762" y="511"/>
                    <a:pt x="762" y="511"/>
                    <a:pt x="763" y="510"/>
                  </a:cubicBezTo>
                  <a:cubicBezTo>
                    <a:pt x="763" y="510"/>
                    <a:pt x="763" y="510"/>
                    <a:pt x="763" y="510"/>
                  </a:cubicBezTo>
                  <a:cubicBezTo>
                    <a:pt x="759" y="510"/>
                    <a:pt x="755" y="509"/>
                    <a:pt x="751" y="508"/>
                  </a:cubicBezTo>
                  <a:moveTo>
                    <a:pt x="764" y="511"/>
                  </a:moveTo>
                  <a:cubicBezTo>
                    <a:pt x="763" y="511"/>
                    <a:pt x="763" y="511"/>
                    <a:pt x="763" y="511"/>
                  </a:cubicBezTo>
                  <a:cubicBezTo>
                    <a:pt x="763" y="511"/>
                    <a:pt x="763" y="511"/>
                    <a:pt x="763" y="511"/>
                  </a:cubicBezTo>
                  <a:cubicBezTo>
                    <a:pt x="763" y="512"/>
                    <a:pt x="764" y="512"/>
                    <a:pt x="765" y="512"/>
                  </a:cubicBezTo>
                  <a:cubicBezTo>
                    <a:pt x="765" y="512"/>
                    <a:pt x="765" y="512"/>
                    <a:pt x="766" y="512"/>
                  </a:cubicBezTo>
                  <a:cubicBezTo>
                    <a:pt x="765" y="512"/>
                    <a:pt x="764" y="511"/>
                    <a:pt x="764" y="511"/>
                  </a:cubicBezTo>
                  <a:moveTo>
                    <a:pt x="766" y="511"/>
                  </a:moveTo>
                  <a:cubicBezTo>
                    <a:pt x="767" y="512"/>
                    <a:pt x="768" y="512"/>
                    <a:pt x="769" y="513"/>
                  </a:cubicBezTo>
                  <a:cubicBezTo>
                    <a:pt x="770" y="513"/>
                    <a:pt x="771" y="513"/>
                    <a:pt x="772" y="513"/>
                  </a:cubicBezTo>
                  <a:cubicBezTo>
                    <a:pt x="773" y="513"/>
                    <a:pt x="773" y="513"/>
                    <a:pt x="774" y="512"/>
                  </a:cubicBezTo>
                  <a:cubicBezTo>
                    <a:pt x="771" y="512"/>
                    <a:pt x="769" y="511"/>
                    <a:pt x="766" y="511"/>
                  </a:cubicBezTo>
                  <a:moveTo>
                    <a:pt x="776" y="513"/>
                  </a:moveTo>
                  <a:cubicBezTo>
                    <a:pt x="775" y="513"/>
                    <a:pt x="775" y="513"/>
                    <a:pt x="774" y="513"/>
                  </a:cubicBezTo>
                  <a:cubicBezTo>
                    <a:pt x="777" y="514"/>
                    <a:pt x="781" y="515"/>
                    <a:pt x="784" y="515"/>
                  </a:cubicBezTo>
                  <a:cubicBezTo>
                    <a:pt x="784" y="515"/>
                    <a:pt x="785" y="515"/>
                    <a:pt x="785" y="514"/>
                  </a:cubicBezTo>
                  <a:cubicBezTo>
                    <a:pt x="785" y="514"/>
                    <a:pt x="784" y="514"/>
                    <a:pt x="784" y="514"/>
                  </a:cubicBezTo>
                  <a:cubicBezTo>
                    <a:pt x="781" y="514"/>
                    <a:pt x="778" y="513"/>
                    <a:pt x="776" y="513"/>
                  </a:cubicBezTo>
                  <a:moveTo>
                    <a:pt x="787" y="515"/>
                  </a:moveTo>
                  <a:cubicBezTo>
                    <a:pt x="787" y="515"/>
                    <a:pt x="786" y="515"/>
                    <a:pt x="786" y="516"/>
                  </a:cubicBezTo>
                  <a:cubicBezTo>
                    <a:pt x="789" y="516"/>
                    <a:pt x="791" y="516"/>
                    <a:pt x="794" y="517"/>
                  </a:cubicBezTo>
                  <a:cubicBezTo>
                    <a:pt x="794" y="517"/>
                    <a:pt x="795" y="516"/>
                    <a:pt x="795" y="516"/>
                  </a:cubicBezTo>
                  <a:cubicBezTo>
                    <a:pt x="793" y="516"/>
                    <a:pt x="791" y="515"/>
                    <a:pt x="790" y="515"/>
                  </a:cubicBezTo>
                  <a:cubicBezTo>
                    <a:pt x="789" y="515"/>
                    <a:pt x="788" y="515"/>
                    <a:pt x="787" y="515"/>
                  </a:cubicBezTo>
                  <a:moveTo>
                    <a:pt x="797" y="516"/>
                  </a:moveTo>
                  <a:cubicBezTo>
                    <a:pt x="797" y="517"/>
                    <a:pt x="796" y="517"/>
                    <a:pt x="796" y="517"/>
                  </a:cubicBezTo>
                  <a:cubicBezTo>
                    <a:pt x="797" y="517"/>
                    <a:pt x="798" y="518"/>
                    <a:pt x="799" y="518"/>
                  </a:cubicBezTo>
                  <a:cubicBezTo>
                    <a:pt x="800" y="518"/>
                    <a:pt x="801" y="518"/>
                    <a:pt x="802" y="518"/>
                  </a:cubicBezTo>
                  <a:cubicBezTo>
                    <a:pt x="803" y="518"/>
                    <a:pt x="803" y="518"/>
                    <a:pt x="804" y="517"/>
                  </a:cubicBezTo>
                  <a:cubicBezTo>
                    <a:pt x="802" y="517"/>
                    <a:pt x="801" y="517"/>
                    <a:pt x="799" y="517"/>
                  </a:cubicBezTo>
                  <a:cubicBezTo>
                    <a:pt x="799" y="517"/>
                    <a:pt x="798" y="517"/>
                    <a:pt x="797" y="516"/>
                  </a:cubicBezTo>
                  <a:moveTo>
                    <a:pt x="806" y="518"/>
                  </a:moveTo>
                  <a:cubicBezTo>
                    <a:pt x="805" y="518"/>
                    <a:pt x="805" y="518"/>
                    <a:pt x="804" y="519"/>
                  </a:cubicBezTo>
                  <a:cubicBezTo>
                    <a:pt x="805" y="519"/>
                    <a:pt x="806" y="519"/>
                    <a:pt x="808" y="519"/>
                  </a:cubicBezTo>
                  <a:cubicBezTo>
                    <a:pt x="808" y="519"/>
                    <a:pt x="809" y="519"/>
                    <a:pt x="809" y="518"/>
                  </a:cubicBezTo>
                  <a:cubicBezTo>
                    <a:pt x="808" y="518"/>
                    <a:pt x="807" y="518"/>
                    <a:pt x="806" y="518"/>
                  </a:cubicBezTo>
                  <a:moveTo>
                    <a:pt x="810" y="519"/>
                  </a:moveTo>
                  <a:cubicBezTo>
                    <a:pt x="810" y="519"/>
                    <a:pt x="810" y="519"/>
                    <a:pt x="809" y="519"/>
                  </a:cubicBezTo>
                  <a:cubicBezTo>
                    <a:pt x="810" y="519"/>
                    <a:pt x="810" y="519"/>
                    <a:pt x="810" y="520"/>
                  </a:cubicBezTo>
                  <a:cubicBezTo>
                    <a:pt x="811" y="519"/>
                    <a:pt x="811" y="519"/>
                    <a:pt x="812" y="519"/>
                  </a:cubicBezTo>
                  <a:cubicBezTo>
                    <a:pt x="811" y="519"/>
                    <a:pt x="811" y="519"/>
                    <a:pt x="810" y="519"/>
                  </a:cubicBezTo>
                  <a:moveTo>
                    <a:pt x="813" y="519"/>
                  </a:moveTo>
                  <a:cubicBezTo>
                    <a:pt x="813" y="519"/>
                    <a:pt x="812" y="519"/>
                    <a:pt x="812" y="520"/>
                  </a:cubicBezTo>
                  <a:cubicBezTo>
                    <a:pt x="820" y="521"/>
                    <a:pt x="829" y="522"/>
                    <a:pt x="837" y="523"/>
                  </a:cubicBezTo>
                  <a:cubicBezTo>
                    <a:pt x="836" y="523"/>
                    <a:pt x="834" y="522"/>
                    <a:pt x="833" y="522"/>
                  </a:cubicBezTo>
                  <a:cubicBezTo>
                    <a:pt x="827" y="521"/>
                    <a:pt x="820" y="520"/>
                    <a:pt x="813" y="519"/>
                  </a:cubicBezTo>
                  <a:moveTo>
                    <a:pt x="837" y="522"/>
                  </a:moveTo>
                  <a:cubicBezTo>
                    <a:pt x="838" y="523"/>
                    <a:pt x="839" y="523"/>
                    <a:pt x="841" y="524"/>
                  </a:cubicBezTo>
                  <a:cubicBezTo>
                    <a:pt x="868" y="528"/>
                    <a:pt x="894" y="530"/>
                    <a:pt x="919" y="532"/>
                  </a:cubicBezTo>
                  <a:cubicBezTo>
                    <a:pt x="933" y="533"/>
                    <a:pt x="947" y="534"/>
                    <a:pt x="961" y="535"/>
                  </a:cubicBezTo>
                  <a:cubicBezTo>
                    <a:pt x="962" y="535"/>
                    <a:pt x="963" y="535"/>
                    <a:pt x="965" y="535"/>
                  </a:cubicBezTo>
                  <a:cubicBezTo>
                    <a:pt x="964" y="535"/>
                    <a:pt x="963" y="535"/>
                    <a:pt x="962" y="534"/>
                  </a:cubicBezTo>
                  <a:cubicBezTo>
                    <a:pt x="938" y="533"/>
                    <a:pt x="912" y="531"/>
                    <a:pt x="884" y="528"/>
                  </a:cubicBezTo>
                  <a:cubicBezTo>
                    <a:pt x="869" y="526"/>
                    <a:pt x="853" y="525"/>
                    <a:pt x="837" y="522"/>
                  </a:cubicBezTo>
                  <a:moveTo>
                    <a:pt x="1308" y="523"/>
                  </a:moveTo>
                  <a:cubicBezTo>
                    <a:pt x="1302" y="526"/>
                    <a:pt x="1295" y="530"/>
                    <a:pt x="1290" y="533"/>
                  </a:cubicBezTo>
                  <a:cubicBezTo>
                    <a:pt x="1289" y="533"/>
                    <a:pt x="1289" y="534"/>
                    <a:pt x="1289" y="534"/>
                  </a:cubicBezTo>
                  <a:cubicBezTo>
                    <a:pt x="1274" y="542"/>
                    <a:pt x="1261" y="550"/>
                    <a:pt x="1248" y="556"/>
                  </a:cubicBezTo>
                  <a:cubicBezTo>
                    <a:pt x="1248" y="557"/>
                    <a:pt x="1248" y="557"/>
                    <a:pt x="1247" y="557"/>
                  </a:cubicBezTo>
                  <a:cubicBezTo>
                    <a:pt x="1244" y="559"/>
                    <a:pt x="1240" y="561"/>
                    <a:pt x="1236" y="563"/>
                  </a:cubicBezTo>
                  <a:cubicBezTo>
                    <a:pt x="1237" y="563"/>
                    <a:pt x="1238" y="563"/>
                    <a:pt x="1239" y="562"/>
                  </a:cubicBezTo>
                  <a:cubicBezTo>
                    <a:pt x="1242" y="561"/>
                    <a:pt x="1245" y="559"/>
                    <a:pt x="1248" y="558"/>
                  </a:cubicBezTo>
                  <a:cubicBezTo>
                    <a:pt x="1248" y="558"/>
                    <a:pt x="1249" y="557"/>
                    <a:pt x="1249" y="557"/>
                  </a:cubicBezTo>
                  <a:cubicBezTo>
                    <a:pt x="1261" y="551"/>
                    <a:pt x="1275" y="543"/>
                    <a:pt x="1289" y="535"/>
                  </a:cubicBezTo>
                  <a:cubicBezTo>
                    <a:pt x="1290" y="534"/>
                    <a:pt x="1290" y="534"/>
                    <a:pt x="1290" y="534"/>
                  </a:cubicBezTo>
                  <a:cubicBezTo>
                    <a:pt x="1296" y="531"/>
                    <a:pt x="1302" y="527"/>
                    <a:pt x="1308" y="524"/>
                  </a:cubicBezTo>
                  <a:cubicBezTo>
                    <a:pt x="1308" y="523"/>
                    <a:pt x="1308" y="523"/>
                    <a:pt x="1308" y="523"/>
                  </a:cubicBezTo>
                  <a:moveTo>
                    <a:pt x="1166" y="528"/>
                  </a:moveTo>
                  <a:cubicBezTo>
                    <a:pt x="1163" y="528"/>
                    <a:pt x="1157" y="529"/>
                    <a:pt x="1148" y="530"/>
                  </a:cubicBezTo>
                  <a:cubicBezTo>
                    <a:pt x="1147" y="530"/>
                    <a:pt x="1146" y="530"/>
                    <a:pt x="1145" y="530"/>
                  </a:cubicBezTo>
                  <a:cubicBezTo>
                    <a:pt x="1127" y="532"/>
                    <a:pt x="1103" y="534"/>
                    <a:pt x="1075" y="535"/>
                  </a:cubicBezTo>
                  <a:cubicBezTo>
                    <a:pt x="1076" y="535"/>
                    <a:pt x="1077" y="536"/>
                    <a:pt x="1077" y="536"/>
                  </a:cubicBezTo>
                  <a:cubicBezTo>
                    <a:pt x="1080" y="536"/>
                    <a:pt x="1082" y="536"/>
                    <a:pt x="1085" y="535"/>
                  </a:cubicBezTo>
                  <a:cubicBezTo>
                    <a:pt x="1085" y="535"/>
                    <a:pt x="1086" y="535"/>
                    <a:pt x="1087" y="535"/>
                  </a:cubicBezTo>
                  <a:cubicBezTo>
                    <a:pt x="1100" y="535"/>
                    <a:pt x="1111" y="534"/>
                    <a:pt x="1122" y="533"/>
                  </a:cubicBezTo>
                  <a:cubicBezTo>
                    <a:pt x="1123" y="533"/>
                    <a:pt x="1124" y="533"/>
                    <a:pt x="1125" y="533"/>
                  </a:cubicBezTo>
                  <a:cubicBezTo>
                    <a:pt x="1126" y="533"/>
                    <a:pt x="1126" y="533"/>
                    <a:pt x="1127" y="533"/>
                  </a:cubicBezTo>
                  <a:cubicBezTo>
                    <a:pt x="1134" y="532"/>
                    <a:pt x="1141" y="531"/>
                    <a:pt x="1146" y="531"/>
                  </a:cubicBezTo>
                  <a:cubicBezTo>
                    <a:pt x="1147" y="531"/>
                    <a:pt x="1147" y="531"/>
                    <a:pt x="1147" y="531"/>
                  </a:cubicBezTo>
                  <a:cubicBezTo>
                    <a:pt x="1156" y="530"/>
                    <a:pt x="1163" y="529"/>
                    <a:pt x="1166" y="529"/>
                  </a:cubicBezTo>
                  <a:cubicBezTo>
                    <a:pt x="1167" y="529"/>
                    <a:pt x="1168" y="529"/>
                    <a:pt x="1168" y="530"/>
                  </a:cubicBezTo>
                  <a:cubicBezTo>
                    <a:pt x="1168" y="530"/>
                    <a:pt x="1168" y="530"/>
                    <a:pt x="1168" y="530"/>
                  </a:cubicBezTo>
                  <a:cubicBezTo>
                    <a:pt x="1168" y="530"/>
                    <a:pt x="1168" y="530"/>
                    <a:pt x="1168" y="530"/>
                  </a:cubicBezTo>
                  <a:cubicBezTo>
                    <a:pt x="1167" y="531"/>
                    <a:pt x="1164" y="532"/>
                    <a:pt x="1158" y="535"/>
                  </a:cubicBezTo>
                  <a:cubicBezTo>
                    <a:pt x="1158" y="535"/>
                    <a:pt x="1158" y="535"/>
                    <a:pt x="1158" y="535"/>
                  </a:cubicBezTo>
                  <a:cubicBezTo>
                    <a:pt x="1158" y="536"/>
                    <a:pt x="1158" y="536"/>
                    <a:pt x="1158" y="536"/>
                  </a:cubicBezTo>
                  <a:cubicBezTo>
                    <a:pt x="1158" y="536"/>
                    <a:pt x="1158" y="536"/>
                    <a:pt x="1158" y="536"/>
                  </a:cubicBezTo>
                  <a:cubicBezTo>
                    <a:pt x="1158" y="537"/>
                    <a:pt x="1155" y="542"/>
                    <a:pt x="1151" y="549"/>
                  </a:cubicBezTo>
                  <a:cubicBezTo>
                    <a:pt x="1150" y="549"/>
                    <a:pt x="1150" y="550"/>
                    <a:pt x="1150" y="550"/>
                  </a:cubicBezTo>
                  <a:cubicBezTo>
                    <a:pt x="1150" y="550"/>
                    <a:pt x="1150" y="550"/>
                    <a:pt x="1150" y="550"/>
                  </a:cubicBezTo>
                  <a:cubicBezTo>
                    <a:pt x="1150" y="551"/>
                    <a:pt x="1150" y="551"/>
                    <a:pt x="1151" y="551"/>
                  </a:cubicBezTo>
                  <a:cubicBezTo>
                    <a:pt x="1151" y="550"/>
                    <a:pt x="1151" y="550"/>
                    <a:pt x="1151" y="550"/>
                  </a:cubicBezTo>
                  <a:cubicBezTo>
                    <a:pt x="1156" y="543"/>
                    <a:pt x="1159" y="538"/>
                    <a:pt x="1159" y="536"/>
                  </a:cubicBezTo>
                  <a:cubicBezTo>
                    <a:pt x="1159" y="535"/>
                    <a:pt x="1159" y="535"/>
                    <a:pt x="1159" y="535"/>
                  </a:cubicBezTo>
                  <a:cubicBezTo>
                    <a:pt x="1166" y="532"/>
                    <a:pt x="1169" y="531"/>
                    <a:pt x="1169" y="530"/>
                  </a:cubicBezTo>
                  <a:cubicBezTo>
                    <a:pt x="1169" y="528"/>
                    <a:pt x="1168" y="529"/>
                    <a:pt x="1166" y="528"/>
                  </a:cubicBezTo>
                  <a:moveTo>
                    <a:pt x="966" y="535"/>
                  </a:moveTo>
                  <a:cubicBezTo>
                    <a:pt x="966" y="535"/>
                    <a:pt x="967" y="535"/>
                    <a:pt x="968" y="535"/>
                  </a:cubicBezTo>
                  <a:cubicBezTo>
                    <a:pt x="975" y="536"/>
                    <a:pt x="982" y="536"/>
                    <a:pt x="989" y="536"/>
                  </a:cubicBezTo>
                  <a:cubicBezTo>
                    <a:pt x="994" y="536"/>
                    <a:pt x="999" y="536"/>
                    <a:pt x="1004" y="537"/>
                  </a:cubicBezTo>
                  <a:cubicBezTo>
                    <a:pt x="1009" y="537"/>
                    <a:pt x="1013" y="537"/>
                    <a:pt x="1018" y="537"/>
                  </a:cubicBezTo>
                  <a:cubicBezTo>
                    <a:pt x="1017" y="536"/>
                    <a:pt x="1017" y="536"/>
                    <a:pt x="1016" y="536"/>
                  </a:cubicBezTo>
                  <a:cubicBezTo>
                    <a:pt x="1000" y="536"/>
                    <a:pt x="983" y="535"/>
                    <a:pt x="966" y="535"/>
                  </a:cubicBezTo>
                  <a:moveTo>
                    <a:pt x="1072" y="535"/>
                  </a:moveTo>
                  <a:cubicBezTo>
                    <a:pt x="1069" y="535"/>
                    <a:pt x="1066" y="535"/>
                    <a:pt x="1063" y="536"/>
                  </a:cubicBezTo>
                  <a:cubicBezTo>
                    <a:pt x="1063" y="536"/>
                    <a:pt x="1064" y="536"/>
                    <a:pt x="1064" y="536"/>
                  </a:cubicBezTo>
                  <a:cubicBezTo>
                    <a:pt x="1068" y="536"/>
                    <a:pt x="1071" y="536"/>
                    <a:pt x="1074" y="536"/>
                  </a:cubicBezTo>
                  <a:cubicBezTo>
                    <a:pt x="1073" y="536"/>
                    <a:pt x="1072" y="535"/>
                    <a:pt x="1072" y="535"/>
                  </a:cubicBezTo>
                  <a:moveTo>
                    <a:pt x="1060" y="536"/>
                  </a:moveTo>
                  <a:cubicBezTo>
                    <a:pt x="1060" y="536"/>
                    <a:pt x="1060" y="536"/>
                    <a:pt x="1059" y="536"/>
                  </a:cubicBezTo>
                  <a:cubicBezTo>
                    <a:pt x="1060" y="536"/>
                    <a:pt x="1061" y="536"/>
                    <a:pt x="1061" y="536"/>
                  </a:cubicBezTo>
                  <a:cubicBezTo>
                    <a:pt x="1061" y="536"/>
                    <a:pt x="1062" y="536"/>
                    <a:pt x="1062" y="536"/>
                  </a:cubicBezTo>
                  <a:cubicBezTo>
                    <a:pt x="1061" y="536"/>
                    <a:pt x="1061" y="536"/>
                    <a:pt x="1060" y="536"/>
                  </a:cubicBezTo>
                  <a:moveTo>
                    <a:pt x="1052" y="536"/>
                  </a:moveTo>
                  <a:cubicBezTo>
                    <a:pt x="1044" y="536"/>
                    <a:pt x="1036" y="536"/>
                    <a:pt x="1027" y="536"/>
                  </a:cubicBezTo>
                  <a:cubicBezTo>
                    <a:pt x="1025" y="536"/>
                    <a:pt x="1022" y="536"/>
                    <a:pt x="1019" y="536"/>
                  </a:cubicBezTo>
                  <a:cubicBezTo>
                    <a:pt x="1020" y="536"/>
                    <a:pt x="1020" y="537"/>
                    <a:pt x="1021" y="537"/>
                  </a:cubicBezTo>
                  <a:cubicBezTo>
                    <a:pt x="1023" y="537"/>
                    <a:pt x="1025" y="537"/>
                    <a:pt x="1027" y="537"/>
                  </a:cubicBezTo>
                  <a:cubicBezTo>
                    <a:pt x="1033" y="537"/>
                    <a:pt x="1038" y="537"/>
                    <a:pt x="1044" y="537"/>
                  </a:cubicBezTo>
                  <a:cubicBezTo>
                    <a:pt x="1045" y="537"/>
                    <a:pt x="1045" y="537"/>
                    <a:pt x="1046" y="537"/>
                  </a:cubicBezTo>
                  <a:cubicBezTo>
                    <a:pt x="1049" y="537"/>
                    <a:pt x="1051" y="537"/>
                    <a:pt x="1054" y="536"/>
                  </a:cubicBezTo>
                  <a:cubicBezTo>
                    <a:pt x="1054" y="536"/>
                    <a:pt x="1053" y="536"/>
                    <a:pt x="1052" y="536"/>
                  </a:cubicBezTo>
                  <a:moveTo>
                    <a:pt x="1149" y="551"/>
                  </a:moveTo>
                  <a:cubicBezTo>
                    <a:pt x="1147" y="554"/>
                    <a:pt x="1145" y="557"/>
                    <a:pt x="1143" y="560"/>
                  </a:cubicBezTo>
                  <a:cubicBezTo>
                    <a:pt x="1144" y="560"/>
                    <a:pt x="1144" y="560"/>
                    <a:pt x="1144" y="561"/>
                  </a:cubicBezTo>
                  <a:cubicBezTo>
                    <a:pt x="1146" y="557"/>
                    <a:pt x="1148" y="554"/>
                    <a:pt x="1150" y="552"/>
                  </a:cubicBezTo>
                  <a:cubicBezTo>
                    <a:pt x="1150" y="551"/>
                    <a:pt x="1149" y="551"/>
                    <a:pt x="1149" y="551"/>
                  </a:cubicBezTo>
                  <a:moveTo>
                    <a:pt x="1143" y="561"/>
                  </a:moveTo>
                  <a:cubicBezTo>
                    <a:pt x="1142" y="562"/>
                    <a:pt x="1141" y="563"/>
                    <a:pt x="1141" y="564"/>
                  </a:cubicBezTo>
                  <a:cubicBezTo>
                    <a:pt x="1141" y="564"/>
                    <a:pt x="1141" y="565"/>
                    <a:pt x="1142" y="565"/>
                  </a:cubicBezTo>
                  <a:cubicBezTo>
                    <a:pt x="1142" y="564"/>
                    <a:pt x="1143" y="563"/>
                    <a:pt x="1144" y="561"/>
                  </a:cubicBezTo>
                  <a:cubicBezTo>
                    <a:pt x="1143" y="561"/>
                    <a:pt x="1143" y="561"/>
                    <a:pt x="1143" y="561"/>
                  </a:cubicBezTo>
                  <a:moveTo>
                    <a:pt x="1237" y="564"/>
                  </a:moveTo>
                  <a:cubicBezTo>
                    <a:pt x="1236" y="564"/>
                    <a:pt x="1235" y="564"/>
                    <a:pt x="1234" y="564"/>
                  </a:cubicBezTo>
                  <a:cubicBezTo>
                    <a:pt x="1225" y="569"/>
                    <a:pt x="1218" y="573"/>
                    <a:pt x="1211" y="576"/>
                  </a:cubicBezTo>
                  <a:cubicBezTo>
                    <a:pt x="1211" y="576"/>
                    <a:pt x="1212" y="576"/>
                    <a:pt x="1212" y="576"/>
                  </a:cubicBezTo>
                  <a:cubicBezTo>
                    <a:pt x="1220" y="573"/>
                    <a:pt x="1228" y="569"/>
                    <a:pt x="1237" y="564"/>
                  </a:cubicBezTo>
                  <a:moveTo>
                    <a:pt x="1140" y="565"/>
                  </a:moveTo>
                  <a:cubicBezTo>
                    <a:pt x="1140" y="565"/>
                    <a:pt x="1140" y="565"/>
                    <a:pt x="1140" y="565"/>
                  </a:cubicBezTo>
                  <a:cubicBezTo>
                    <a:pt x="1141" y="565"/>
                    <a:pt x="1141" y="565"/>
                    <a:pt x="1141" y="566"/>
                  </a:cubicBezTo>
                  <a:cubicBezTo>
                    <a:pt x="1141" y="566"/>
                    <a:pt x="1141" y="566"/>
                    <a:pt x="1141" y="566"/>
                  </a:cubicBezTo>
                  <a:cubicBezTo>
                    <a:pt x="1141" y="565"/>
                    <a:pt x="1141" y="565"/>
                    <a:pt x="1140" y="565"/>
                  </a:cubicBezTo>
                  <a:moveTo>
                    <a:pt x="1139" y="567"/>
                  </a:moveTo>
                  <a:cubicBezTo>
                    <a:pt x="1138" y="569"/>
                    <a:pt x="1136" y="572"/>
                    <a:pt x="1135" y="575"/>
                  </a:cubicBezTo>
                  <a:cubicBezTo>
                    <a:pt x="1135" y="575"/>
                    <a:pt x="1135" y="575"/>
                    <a:pt x="1136" y="575"/>
                  </a:cubicBezTo>
                  <a:cubicBezTo>
                    <a:pt x="1137" y="572"/>
                    <a:pt x="1139" y="570"/>
                    <a:pt x="1140" y="567"/>
                  </a:cubicBezTo>
                  <a:cubicBezTo>
                    <a:pt x="1140" y="567"/>
                    <a:pt x="1140" y="567"/>
                    <a:pt x="1139" y="567"/>
                  </a:cubicBezTo>
                  <a:moveTo>
                    <a:pt x="1134" y="576"/>
                  </a:moveTo>
                  <a:cubicBezTo>
                    <a:pt x="1133" y="579"/>
                    <a:pt x="1131" y="583"/>
                    <a:pt x="1130" y="586"/>
                  </a:cubicBezTo>
                  <a:cubicBezTo>
                    <a:pt x="1131" y="586"/>
                    <a:pt x="1131" y="586"/>
                    <a:pt x="1131" y="586"/>
                  </a:cubicBezTo>
                  <a:cubicBezTo>
                    <a:pt x="1132" y="583"/>
                    <a:pt x="1134" y="579"/>
                    <a:pt x="1135" y="576"/>
                  </a:cubicBezTo>
                  <a:cubicBezTo>
                    <a:pt x="1135" y="576"/>
                    <a:pt x="1135" y="576"/>
                    <a:pt x="1134" y="576"/>
                  </a:cubicBezTo>
                  <a:moveTo>
                    <a:pt x="1209" y="577"/>
                  </a:moveTo>
                  <a:cubicBezTo>
                    <a:pt x="1209" y="577"/>
                    <a:pt x="1209" y="577"/>
                    <a:pt x="1209" y="577"/>
                  </a:cubicBezTo>
                  <a:cubicBezTo>
                    <a:pt x="1208" y="577"/>
                    <a:pt x="1208" y="577"/>
                    <a:pt x="1208" y="577"/>
                  </a:cubicBezTo>
                  <a:cubicBezTo>
                    <a:pt x="1205" y="579"/>
                    <a:pt x="1202" y="580"/>
                    <a:pt x="1199" y="582"/>
                  </a:cubicBezTo>
                  <a:cubicBezTo>
                    <a:pt x="1201" y="581"/>
                    <a:pt x="1202" y="581"/>
                    <a:pt x="1204" y="580"/>
                  </a:cubicBezTo>
                  <a:cubicBezTo>
                    <a:pt x="1205" y="580"/>
                    <a:pt x="1207" y="579"/>
                    <a:pt x="1208" y="578"/>
                  </a:cubicBezTo>
                  <a:cubicBezTo>
                    <a:pt x="1209" y="578"/>
                    <a:pt x="1209" y="578"/>
                    <a:pt x="1209" y="578"/>
                  </a:cubicBezTo>
                  <a:cubicBezTo>
                    <a:pt x="1210" y="578"/>
                    <a:pt x="1210" y="577"/>
                    <a:pt x="1211" y="577"/>
                  </a:cubicBezTo>
                  <a:cubicBezTo>
                    <a:pt x="1210" y="577"/>
                    <a:pt x="1210" y="577"/>
                    <a:pt x="1209" y="577"/>
                  </a:cubicBezTo>
                  <a:moveTo>
                    <a:pt x="1198" y="583"/>
                  </a:moveTo>
                  <a:cubicBezTo>
                    <a:pt x="1197" y="583"/>
                    <a:pt x="1196" y="583"/>
                    <a:pt x="1194" y="584"/>
                  </a:cubicBezTo>
                  <a:cubicBezTo>
                    <a:pt x="1194" y="584"/>
                    <a:pt x="1194" y="584"/>
                    <a:pt x="1194" y="584"/>
                  </a:cubicBezTo>
                  <a:cubicBezTo>
                    <a:pt x="1194" y="584"/>
                    <a:pt x="1195" y="584"/>
                    <a:pt x="1195" y="584"/>
                  </a:cubicBezTo>
                  <a:cubicBezTo>
                    <a:pt x="1196" y="584"/>
                    <a:pt x="1197" y="583"/>
                    <a:pt x="1199" y="583"/>
                  </a:cubicBezTo>
                  <a:cubicBezTo>
                    <a:pt x="1198" y="583"/>
                    <a:pt x="1198" y="583"/>
                    <a:pt x="1198" y="583"/>
                  </a:cubicBezTo>
                  <a:moveTo>
                    <a:pt x="1191" y="585"/>
                  </a:moveTo>
                  <a:cubicBezTo>
                    <a:pt x="1189" y="586"/>
                    <a:pt x="1186" y="587"/>
                    <a:pt x="1184" y="589"/>
                  </a:cubicBezTo>
                  <a:cubicBezTo>
                    <a:pt x="1184" y="589"/>
                    <a:pt x="1185" y="589"/>
                    <a:pt x="1185" y="589"/>
                  </a:cubicBezTo>
                  <a:cubicBezTo>
                    <a:pt x="1188" y="588"/>
                    <a:pt x="1190" y="587"/>
                    <a:pt x="1193" y="586"/>
                  </a:cubicBezTo>
                  <a:cubicBezTo>
                    <a:pt x="1192" y="585"/>
                    <a:pt x="1192" y="585"/>
                    <a:pt x="1191" y="585"/>
                  </a:cubicBezTo>
                  <a:moveTo>
                    <a:pt x="1130" y="587"/>
                  </a:moveTo>
                  <a:cubicBezTo>
                    <a:pt x="1130" y="587"/>
                    <a:pt x="1130" y="587"/>
                    <a:pt x="1130" y="588"/>
                  </a:cubicBezTo>
                  <a:cubicBezTo>
                    <a:pt x="1130" y="587"/>
                    <a:pt x="1130" y="587"/>
                    <a:pt x="1131" y="587"/>
                  </a:cubicBezTo>
                  <a:cubicBezTo>
                    <a:pt x="1131" y="587"/>
                    <a:pt x="1131" y="587"/>
                    <a:pt x="1131" y="587"/>
                  </a:cubicBezTo>
                  <a:cubicBezTo>
                    <a:pt x="1131" y="587"/>
                    <a:pt x="1130" y="587"/>
                    <a:pt x="1130" y="587"/>
                  </a:cubicBezTo>
                  <a:moveTo>
                    <a:pt x="1131" y="588"/>
                  </a:moveTo>
                  <a:cubicBezTo>
                    <a:pt x="1130" y="588"/>
                    <a:pt x="1130" y="589"/>
                    <a:pt x="1130" y="589"/>
                  </a:cubicBezTo>
                  <a:cubicBezTo>
                    <a:pt x="1129" y="590"/>
                    <a:pt x="1129" y="591"/>
                    <a:pt x="1129" y="592"/>
                  </a:cubicBezTo>
                  <a:cubicBezTo>
                    <a:pt x="1129" y="596"/>
                    <a:pt x="1130" y="598"/>
                    <a:pt x="1133" y="600"/>
                  </a:cubicBezTo>
                  <a:cubicBezTo>
                    <a:pt x="1133" y="600"/>
                    <a:pt x="1134" y="600"/>
                    <a:pt x="1134" y="600"/>
                  </a:cubicBezTo>
                  <a:cubicBezTo>
                    <a:pt x="1131" y="598"/>
                    <a:pt x="1130" y="596"/>
                    <a:pt x="1130" y="592"/>
                  </a:cubicBezTo>
                  <a:cubicBezTo>
                    <a:pt x="1130" y="591"/>
                    <a:pt x="1130" y="590"/>
                    <a:pt x="1131" y="588"/>
                  </a:cubicBezTo>
                  <a:moveTo>
                    <a:pt x="1182" y="589"/>
                  </a:moveTo>
                  <a:cubicBezTo>
                    <a:pt x="1178" y="591"/>
                    <a:pt x="1174" y="593"/>
                    <a:pt x="1170" y="594"/>
                  </a:cubicBezTo>
                  <a:cubicBezTo>
                    <a:pt x="1170" y="594"/>
                    <a:pt x="1171" y="594"/>
                    <a:pt x="1172" y="594"/>
                  </a:cubicBezTo>
                  <a:cubicBezTo>
                    <a:pt x="1175" y="593"/>
                    <a:pt x="1179" y="591"/>
                    <a:pt x="1184" y="590"/>
                  </a:cubicBezTo>
                  <a:cubicBezTo>
                    <a:pt x="1183" y="589"/>
                    <a:pt x="1183" y="589"/>
                    <a:pt x="1182" y="589"/>
                  </a:cubicBezTo>
                  <a:moveTo>
                    <a:pt x="1168" y="595"/>
                  </a:moveTo>
                  <a:cubicBezTo>
                    <a:pt x="1156" y="599"/>
                    <a:pt x="1147" y="601"/>
                    <a:pt x="1141" y="601"/>
                  </a:cubicBezTo>
                  <a:cubicBezTo>
                    <a:pt x="1139" y="601"/>
                    <a:pt x="1137" y="601"/>
                    <a:pt x="1136" y="600"/>
                  </a:cubicBezTo>
                  <a:cubicBezTo>
                    <a:pt x="1135" y="600"/>
                    <a:pt x="1135" y="601"/>
                    <a:pt x="1134" y="601"/>
                  </a:cubicBezTo>
                  <a:cubicBezTo>
                    <a:pt x="1136" y="602"/>
                    <a:pt x="1138" y="602"/>
                    <a:pt x="1141" y="602"/>
                  </a:cubicBezTo>
                  <a:cubicBezTo>
                    <a:pt x="1147" y="602"/>
                    <a:pt x="1156" y="600"/>
                    <a:pt x="1169" y="595"/>
                  </a:cubicBezTo>
                  <a:cubicBezTo>
                    <a:pt x="1169" y="595"/>
                    <a:pt x="1170" y="595"/>
                    <a:pt x="1170" y="595"/>
                  </a:cubicBezTo>
                  <a:cubicBezTo>
                    <a:pt x="1169" y="595"/>
                    <a:pt x="1169" y="595"/>
                    <a:pt x="1168" y="595"/>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41" name="Freeform 70"/>
            <p:cNvSpPr>
              <a:spLocks noEditPoints="1"/>
            </p:cNvSpPr>
            <p:nvPr userDrawn="1"/>
          </p:nvSpPr>
          <p:spPr bwMode="auto">
            <a:xfrm>
              <a:off x="759" y="4214"/>
              <a:ext cx="2952" cy="1118"/>
            </a:xfrm>
            <a:custGeom>
              <a:avLst/>
              <a:gdLst>
                <a:gd name="T0" fmla="*/ 2147483646 w 1456"/>
                <a:gd name="T1" fmla="*/ 2147483646 h 552"/>
                <a:gd name="T2" fmla="*/ 2147483646 w 1456"/>
                <a:gd name="T3" fmla="*/ 2147483646 h 552"/>
                <a:gd name="T4" fmla="*/ 2147483646 w 1456"/>
                <a:gd name="T5" fmla="*/ 2147483646 h 552"/>
                <a:gd name="T6" fmla="*/ 2147483646 w 1456"/>
                <a:gd name="T7" fmla="*/ 2147483646 h 552"/>
                <a:gd name="T8" fmla="*/ 2147483646 w 1456"/>
                <a:gd name="T9" fmla="*/ 2147483646 h 552"/>
                <a:gd name="T10" fmla="*/ 2147483646 w 1456"/>
                <a:gd name="T11" fmla="*/ 2147483646 h 552"/>
                <a:gd name="T12" fmla="*/ 2147483646 w 1456"/>
                <a:gd name="T13" fmla="*/ 2147483646 h 552"/>
                <a:gd name="T14" fmla="*/ 2147483646 w 1456"/>
                <a:gd name="T15" fmla="*/ 2147483646 h 552"/>
                <a:gd name="T16" fmla="*/ 2147483646 w 1456"/>
                <a:gd name="T17" fmla="*/ 2147483646 h 552"/>
                <a:gd name="T18" fmla="*/ 2147483646 w 1456"/>
                <a:gd name="T19" fmla="*/ 2147483646 h 552"/>
                <a:gd name="T20" fmla="*/ 2147483646 w 1456"/>
                <a:gd name="T21" fmla="*/ 2147483646 h 552"/>
                <a:gd name="T22" fmla="*/ 2147483646 w 1456"/>
                <a:gd name="T23" fmla="*/ 2147483646 h 552"/>
                <a:gd name="T24" fmla="*/ 2147483646 w 1456"/>
                <a:gd name="T25" fmla="*/ 2147483646 h 552"/>
                <a:gd name="T26" fmla="*/ 2147483646 w 1456"/>
                <a:gd name="T27" fmla="*/ 2147483646 h 552"/>
                <a:gd name="T28" fmla="*/ 2147483646 w 1456"/>
                <a:gd name="T29" fmla="*/ 2147483646 h 552"/>
                <a:gd name="T30" fmla="*/ 2147483646 w 1456"/>
                <a:gd name="T31" fmla="*/ 2147483646 h 552"/>
                <a:gd name="T32" fmla="*/ 2147483646 w 1456"/>
                <a:gd name="T33" fmla="*/ 2147483646 h 552"/>
                <a:gd name="T34" fmla="*/ 2147483646 w 1456"/>
                <a:gd name="T35" fmla="*/ 2147483646 h 552"/>
                <a:gd name="T36" fmla="*/ 2147483646 w 1456"/>
                <a:gd name="T37" fmla="*/ 2147483646 h 552"/>
                <a:gd name="T38" fmla="*/ 2147483646 w 1456"/>
                <a:gd name="T39" fmla="*/ 2147483646 h 552"/>
                <a:gd name="T40" fmla="*/ 2147483646 w 1456"/>
                <a:gd name="T41" fmla="*/ 2147483646 h 552"/>
                <a:gd name="T42" fmla="*/ 2147483646 w 1456"/>
                <a:gd name="T43" fmla="*/ 2147483646 h 552"/>
                <a:gd name="T44" fmla="*/ 2147483646 w 1456"/>
                <a:gd name="T45" fmla="*/ 2147483646 h 552"/>
                <a:gd name="T46" fmla="*/ 2147483646 w 1456"/>
                <a:gd name="T47" fmla="*/ 2147483646 h 552"/>
                <a:gd name="T48" fmla="*/ 2147483646 w 1456"/>
                <a:gd name="T49" fmla="*/ 2147483646 h 552"/>
                <a:gd name="T50" fmla="*/ 2147483646 w 1456"/>
                <a:gd name="T51" fmla="*/ 2147483646 h 552"/>
                <a:gd name="T52" fmla="*/ 2147483646 w 1456"/>
                <a:gd name="T53" fmla="*/ 2147483646 h 552"/>
                <a:gd name="T54" fmla="*/ 2147483646 w 1456"/>
                <a:gd name="T55" fmla="*/ 2147483646 h 552"/>
                <a:gd name="T56" fmla="*/ 2147483646 w 1456"/>
                <a:gd name="T57" fmla="*/ 2147483646 h 552"/>
                <a:gd name="T58" fmla="*/ 2147483646 w 1456"/>
                <a:gd name="T59" fmla="*/ 2147483646 h 552"/>
                <a:gd name="T60" fmla="*/ 2147483646 w 1456"/>
                <a:gd name="T61" fmla="*/ 2147483646 h 552"/>
                <a:gd name="T62" fmla="*/ 2147483646 w 1456"/>
                <a:gd name="T63" fmla="*/ 2147483646 h 552"/>
                <a:gd name="T64" fmla="*/ 2147483646 w 1456"/>
                <a:gd name="T65" fmla="*/ 2147483646 h 552"/>
                <a:gd name="T66" fmla="*/ 2147483646 w 1456"/>
                <a:gd name="T67" fmla="*/ 2147483646 h 552"/>
                <a:gd name="T68" fmla="*/ 2147483646 w 1456"/>
                <a:gd name="T69" fmla="*/ 2147483646 h 552"/>
                <a:gd name="T70" fmla="*/ 2147483646 w 1456"/>
                <a:gd name="T71" fmla="*/ 2147483646 h 552"/>
                <a:gd name="T72" fmla="*/ 2147483646 w 1456"/>
                <a:gd name="T73" fmla="*/ 2147483646 h 552"/>
                <a:gd name="T74" fmla="*/ 2147483646 w 1456"/>
                <a:gd name="T75" fmla="*/ 2147483646 h 552"/>
                <a:gd name="T76" fmla="*/ 2147483646 w 1456"/>
                <a:gd name="T77" fmla="*/ 2147483646 h 552"/>
                <a:gd name="T78" fmla="*/ 2147483646 w 1456"/>
                <a:gd name="T79" fmla="*/ 2147483646 h 552"/>
                <a:gd name="T80" fmla="*/ 2147483646 w 1456"/>
                <a:gd name="T81" fmla="*/ 2147483646 h 552"/>
                <a:gd name="T82" fmla="*/ 2147483646 w 1456"/>
                <a:gd name="T83" fmla="*/ 2147483646 h 552"/>
                <a:gd name="T84" fmla="*/ 2147483646 w 1456"/>
                <a:gd name="T85" fmla="*/ 2147483646 h 552"/>
                <a:gd name="T86" fmla="*/ 2147483646 w 1456"/>
                <a:gd name="T87" fmla="*/ 2147483646 h 552"/>
                <a:gd name="T88" fmla="*/ 2147483646 w 1456"/>
                <a:gd name="T89" fmla="*/ 2147483646 h 552"/>
                <a:gd name="T90" fmla="*/ 2147483646 w 1456"/>
                <a:gd name="T91" fmla="*/ 2147483646 h 552"/>
                <a:gd name="T92" fmla="*/ 2147483646 w 1456"/>
                <a:gd name="T93" fmla="*/ 2147483646 h 552"/>
                <a:gd name="T94" fmla="*/ 2147483646 w 1456"/>
                <a:gd name="T95" fmla="*/ 2147483646 h 552"/>
                <a:gd name="T96" fmla="*/ 2147483646 w 1456"/>
                <a:gd name="T97" fmla="*/ 2147483646 h 552"/>
                <a:gd name="T98" fmla="*/ 2147483646 w 1456"/>
                <a:gd name="T99" fmla="*/ 2147483646 h 552"/>
                <a:gd name="T100" fmla="*/ 2147483646 w 1456"/>
                <a:gd name="T101" fmla="*/ 2147483646 h 552"/>
                <a:gd name="T102" fmla="*/ 2147483646 w 1456"/>
                <a:gd name="T103" fmla="*/ 2147483646 h 552"/>
                <a:gd name="T104" fmla="*/ 2147483646 w 1456"/>
                <a:gd name="T105" fmla="*/ 2147483646 h 552"/>
                <a:gd name="T106" fmla="*/ 2147483646 w 1456"/>
                <a:gd name="T107" fmla="*/ 2147483646 h 552"/>
                <a:gd name="T108" fmla="*/ 2147483646 w 1456"/>
                <a:gd name="T109" fmla="*/ 2147483646 h 552"/>
                <a:gd name="T110" fmla="*/ 2147483646 w 1456"/>
                <a:gd name="T111" fmla="*/ 2147483646 h 552"/>
                <a:gd name="T112" fmla="*/ 2147483646 w 1456"/>
                <a:gd name="T113" fmla="*/ 2147483646 h 552"/>
                <a:gd name="T114" fmla="*/ 2147483646 w 1456"/>
                <a:gd name="T115" fmla="*/ 2147483646 h 552"/>
                <a:gd name="T116" fmla="*/ 2147483646 w 1456"/>
                <a:gd name="T117" fmla="*/ 2147483646 h 552"/>
                <a:gd name="T118" fmla="*/ 2147483646 w 1456"/>
                <a:gd name="T119" fmla="*/ 2147483646 h 552"/>
                <a:gd name="T120" fmla="*/ 2147483646 w 1456"/>
                <a:gd name="T121" fmla="*/ 2147483646 h 5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56" h="552">
                  <a:moveTo>
                    <a:pt x="1104" y="0"/>
                  </a:moveTo>
                  <a:cubicBezTo>
                    <a:pt x="1095" y="0"/>
                    <a:pt x="1086" y="0"/>
                    <a:pt x="1078" y="1"/>
                  </a:cubicBezTo>
                  <a:cubicBezTo>
                    <a:pt x="1078" y="1"/>
                    <a:pt x="1078" y="2"/>
                    <a:pt x="1078" y="2"/>
                  </a:cubicBezTo>
                  <a:cubicBezTo>
                    <a:pt x="1086" y="1"/>
                    <a:pt x="1095" y="1"/>
                    <a:pt x="1104" y="1"/>
                  </a:cubicBezTo>
                  <a:cubicBezTo>
                    <a:pt x="1108" y="1"/>
                    <a:pt x="1113" y="1"/>
                    <a:pt x="1118" y="1"/>
                  </a:cubicBezTo>
                  <a:cubicBezTo>
                    <a:pt x="1117" y="1"/>
                    <a:pt x="1117" y="0"/>
                    <a:pt x="1117" y="0"/>
                  </a:cubicBezTo>
                  <a:cubicBezTo>
                    <a:pt x="1117" y="0"/>
                    <a:pt x="1116" y="0"/>
                    <a:pt x="1115" y="0"/>
                  </a:cubicBezTo>
                  <a:cubicBezTo>
                    <a:pt x="1111" y="0"/>
                    <a:pt x="1107" y="0"/>
                    <a:pt x="1104" y="0"/>
                  </a:cubicBezTo>
                  <a:moveTo>
                    <a:pt x="1118" y="0"/>
                  </a:moveTo>
                  <a:cubicBezTo>
                    <a:pt x="1118" y="0"/>
                    <a:pt x="1118" y="1"/>
                    <a:pt x="1119" y="1"/>
                  </a:cubicBezTo>
                  <a:cubicBezTo>
                    <a:pt x="1120" y="1"/>
                    <a:pt x="1121" y="1"/>
                    <a:pt x="1122" y="1"/>
                  </a:cubicBezTo>
                  <a:cubicBezTo>
                    <a:pt x="1131" y="2"/>
                    <a:pt x="1140" y="2"/>
                    <a:pt x="1150" y="4"/>
                  </a:cubicBezTo>
                  <a:cubicBezTo>
                    <a:pt x="1151" y="4"/>
                    <a:pt x="1152" y="4"/>
                    <a:pt x="1153" y="4"/>
                  </a:cubicBezTo>
                  <a:cubicBezTo>
                    <a:pt x="1154" y="4"/>
                    <a:pt x="1155" y="4"/>
                    <a:pt x="1156" y="4"/>
                  </a:cubicBezTo>
                  <a:cubicBezTo>
                    <a:pt x="1159" y="5"/>
                    <a:pt x="1162" y="5"/>
                    <a:pt x="1166" y="6"/>
                  </a:cubicBezTo>
                  <a:cubicBezTo>
                    <a:pt x="1167" y="6"/>
                    <a:pt x="1169" y="6"/>
                    <a:pt x="1170" y="6"/>
                  </a:cubicBezTo>
                  <a:cubicBezTo>
                    <a:pt x="1173" y="7"/>
                    <a:pt x="1176" y="7"/>
                    <a:pt x="1179" y="8"/>
                  </a:cubicBezTo>
                  <a:cubicBezTo>
                    <a:pt x="1179" y="8"/>
                    <a:pt x="1179" y="7"/>
                    <a:pt x="1179" y="7"/>
                  </a:cubicBezTo>
                  <a:cubicBezTo>
                    <a:pt x="1176" y="6"/>
                    <a:pt x="1174" y="6"/>
                    <a:pt x="1171" y="6"/>
                  </a:cubicBezTo>
                  <a:cubicBezTo>
                    <a:pt x="1164" y="4"/>
                    <a:pt x="1156" y="3"/>
                    <a:pt x="1149" y="3"/>
                  </a:cubicBezTo>
                  <a:cubicBezTo>
                    <a:pt x="1148" y="2"/>
                    <a:pt x="1148" y="2"/>
                    <a:pt x="1147" y="2"/>
                  </a:cubicBezTo>
                  <a:cubicBezTo>
                    <a:pt x="1146" y="2"/>
                    <a:pt x="1146" y="2"/>
                    <a:pt x="1145" y="2"/>
                  </a:cubicBezTo>
                  <a:cubicBezTo>
                    <a:pt x="1136" y="1"/>
                    <a:pt x="1127" y="0"/>
                    <a:pt x="1118" y="0"/>
                  </a:cubicBezTo>
                  <a:moveTo>
                    <a:pt x="1077" y="1"/>
                  </a:moveTo>
                  <a:cubicBezTo>
                    <a:pt x="1073" y="2"/>
                    <a:pt x="1068" y="2"/>
                    <a:pt x="1064" y="3"/>
                  </a:cubicBezTo>
                  <a:cubicBezTo>
                    <a:pt x="1064" y="3"/>
                    <a:pt x="1065" y="4"/>
                    <a:pt x="1065" y="4"/>
                  </a:cubicBezTo>
                  <a:cubicBezTo>
                    <a:pt x="1065" y="4"/>
                    <a:pt x="1065" y="4"/>
                    <a:pt x="1066" y="4"/>
                  </a:cubicBezTo>
                  <a:cubicBezTo>
                    <a:pt x="1069" y="3"/>
                    <a:pt x="1073" y="2"/>
                    <a:pt x="1077" y="2"/>
                  </a:cubicBezTo>
                  <a:cubicBezTo>
                    <a:pt x="1077" y="2"/>
                    <a:pt x="1077" y="1"/>
                    <a:pt x="1077" y="1"/>
                  </a:cubicBezTo>
                  <a:moveTo>
                    <a:pt x="1063" y="3"/>
                  </a:moveTo>
                  <a:cubicBezTo>
                    <a:pt x="1063" y="3"/>
                    <a:pt x="1062" y="3"/>
                    <a:pt x="1061" y="3"/>
                  </a:cubicBezTo>
                  <a:cubicBezTo>
                    <a:pt x="1058" y="4"/>
                    <a:pt x="1055" y="5"/>
                    <a:pt x="1052" y="6"/>
                  </a:cubicBezTo>
                  <a:cubicBezTo>
                    <a:pt x="1052" y="6"/>
                    <a:pt x="1052" y="6"/>
                    <a:pt x="1052" y="6"/>
                  </a:cubicBezTo>
                  <a:cubicBezTo>
                    <a:pt x="1051" y="6"/>
                    <a:pt x="1051" y="7"/>
                    <a:pt x="1051" y="7"/>
                  </a:cubicBezTo>
                  <a:cubicBezTo>
                    <a:pt x="1055" y="6"/>
                    <a:pt x="1059" y="5"/>
                    <a:pt x="1063" y="4"/>
                  </a:cubicBezTo>
                  <a:cubicBezTo>
                    <a:pt x="1064" y="4"/>
                    <a:pt x="1064" y="4"/>
                    <a:pt x="1064" y="4"/>
                  </a:cubicBezTo>
                  <a:cubicBezTo>
                    <a:pt x="1064" y="4"/>
                    <a:pt x="1063" y="3"/>
                    <a:pt x="1063" y="3"/>
                  </a:cubicBezTo>
                  <a:moveTo>
                    <a:pt x="1051" y="7"/>
                  </a:moveTo>
                  <a:cubicBezTo>
                    <a:pt x="1050" y="7"/>
                    <a:pt x="1049" y="8"/>
                    <a:pt x="1048" y="8"/>
                  </a:cubicBezTo>
                  <a:cubicBezTo>
                    <a:pt x="1049" y="8"/>
                    <a:pt x="1050" y="8"/>
                    <a:pt x="1050" y="7"/>
                  </a:cubicBezTo>
                  <a:cubicBezTo>
                    <a:pt x="1050" y="7"/>
                    <a:pt x="1050" y="7"/>
                    <a:pt x="1051" y="7"/>
                  </a:cubicBezTo>
                  <a:moveTo>
                    <a:pt x="1180" y="7"/>
                  </a:moveTo>
                  <a:cubicBezTo>
                    <a:pt x="1180" y="7"/>
                    <a:pt x="1180" y="8"/>
                    <a:pt x="1180" y="8"/>
                  </a:cubicBezTo>
                  <a:cubicBezTo>
                    <a:pt x="1185" y="9"/>
                    <a:pt x="1190" y="10"/>
                    <a:pt x="1196" y="11"/>
                  </a:cubicBezTo>
                  <a:cubicBezTo>
                    <a:pt x="1208" y="14"/>
                    <a:pt x="1221" y="17"/>
                    <a:pt x="1233" y="20"/>
                  </a:cubicBezTo>
                  <a:cubicBezTo>
                    <a:pt x="1233" y="20"/>
                    <a:pt x="1233" y="19"/>
                    <a:pt x="1233" y="19"/>
                  </a:cubicBezTo>
                  <a:cubicBezTo>
                    <a:pt x="1215" y="14"/>
                    <a:pt x="1197" y="10"/>
                    <a:pt x="1180" y="7"/>
                  </a:cubicBezTo>
                  <a:moveTo>
                    <a:pt x="1048" y="7"/>
                  </a:moveTo>
                  <a:cubicBezTo>
                    <a:pt x="1047" y="8"/>
                    <a:pt x="1046" y="8"/>
                    <a:pt x="1044" y="8"/>
                  </a:cubicBezTo>
                  <a:cubicBezTo>
                    <a:pt x="1044" y="9"/>
                    <a:pt x="1044" y="9"/>
                    <a:pt x="1044" y="10"/>
                  </a:cubicBezTo>
                  <a:cubicBezTo>
                    <a:pt x="1044" y="10"/>
                    <a:pt x="1044" y="10"/>
                    <a:pt x="1044" y="10"/>
                  </a:cubicBezTo>
                  <a:cubicBezTo>
                    <a:pt x="1045" y="9"/>
                    <a:pt x="1047" y="8"/>
                    <a:pt x="1048" y="7"/>
                  </a:cubicBezTo>
                  <a:moveTo>
                    <a:pt x="1043" y="9"/>
                  </a:moveTo>
                  <a:cubicBezTo>
                    <a:pt x="1040" y="10"/>
                    <a:pt x="1037" y="12"/>
                    <a:pt x="1034" y="13"/>
                  </a:cubicBezTo>
                  <a:cubicBezTo>
                    <a:pt x="1034" y="14"/>
                    <a:pt x="1033" y="14"/>
                    <a:pt x="1033" y="14"/>
                  </a:cubicBezTo>
                  <a:cubicBezTo>
                    <a:pt x="1027" y="18"/>
                    <a:pt x="1022" y="22"/>
                    <a:pt x="1018" y="28"/>
                  </a:cubicBezTo>
                  <a:cubicBezTo>
                    <a:pt x="1018" y="28"/>
                    <a:pt x="1018" y="28"/>
                    <a:pt x="1018" y="29"/>
                  </a:cubicBezTo>
                  <a:cubicBezTo>
                    <a:pt x="1014" y="34"/>
                    <a:pt x="1013" y="41"/>
                    <a:pt x="1013" y="48"/>
                  </a:cubicBezTo>
                  <a:cubicBezTo>
                    <a:pt x="1013" y="56"/>
                    <a:pt x="1015" y="65"/>
                    <a:pt x="1019" y="75"/>
                  </a:cubicBezTo>
                  <a:cubicBezTo>
                    <a:pt x="1031" y="102"/>
                    <a:pt x="1040" y="128"/>
                    <a:pt x="1047" y="151"/>
                  </a:cubicBezTo>
                  <a:cubicBezTo>
                    <a:pt x="1047" y="151"/>
                    <a:pt x="1047" y="151"/>
                    <a:pt x="1048" y="150"/>
                  </a:cubicBezTo>
                  <a:cubicBezTo>
                    <a:pt x="1041" y="127"/>
                    <a:pt x="1032" y="102"/>
                    <a:pt x="1020" y="74"/>
                  </a:cubicBezTo>
                  <a:cubicBezTo>
                    <a:pt x="1016" y="64"/>
                    <a:pt x="1014" y="56"/>
                    <a:pt x="1014" y="48"/>
                  </a:cubicBezTo>
                  <a:cubicBezTo>
                    <a:pt x="1014" y="41"/>
                    <a:pt x="1015" y="34"/>
                    <a:pt x="1019" y="29"/>
                  </a:cubicBezTo>
                  <a:cubicBezTo>
                    <a:pt x="1019" y="29"/>
                    <a:pt x="1019" y="28"/>
                    <a:pt x="1019" y="28"/>
                  </a:cubicBezTo>
                  <a:cubicBezTo>
                    <a:pt x="1023" y="23"/>
                    <a:pt x="1028" y="18"/>
                    <a:pt x="1034" y="14"/>
                  </a:cubicBezTo>
                  <a:cubicBezTo>
                    <a:pt x="1034" y="14"/>
                    <a:pt x="1035" y="14"/>
                    <a:pt x="1035" y="14"/>
                  </a:cubicBezTo>
                  <a:cubicBezTo>
                    <a:pt x="1037" y="12"/>
                    <a:pt x="1040" y="11"/>
                    <a:pt x="1042" y="10"/>
                  </a:cubicBezTo>
                  <a:cubicBezTo>
                    <a:pt x="1043" y="10"/>
                    <a:pt x="1043" y="9"/>
                    <a:pt x="1043" y="9"/>
                  </a:cubicBezTo>
                  <a:moveTo>
                    <a:pt x="1234" y="19"/>
                  </a:moveTo>
                  <a:cubicBezTo>
                    <a:pt x="1234" y="20"/>
                    <a:pt x="1234" y="20"/>
                    <a:pt x="1234" y="20"/>
                  </a:cubicBezTo>
                  <a:cubicBezTo>
                    <a:pt x="1250" y="25"/>
                    <a:pt x="1266" y="29"/>
                    <a:pt x="1281" y="35"/>
                  </a:cubicBezTo>
                  <a:cubicBezTo>
                    <a:pt x="1281" y="34"/>
                    <a:pt x="1281" y="34"/>
                    <a:pt x="1281" y="34"/>
                  </a:cubicBezTo>
                  <a:cubicBezTo>
                    <a:pt x="1266" y="28"/>
                    <a:pt x="1250" y="24"/>
                    <a:pt x="1234" y="19"/>
                  </a:cubicBezTo>
                  <a:moveTo>
                    <a:pt x="1282" y="34"/>
                  </a:moveTo>
                  <a:cubicBezTo>
                    <a:pt x="1282" y="34"/>
                    <a:pt x="1282" y="35"/>
                    <a:pt x="1282" y="35"/>
                  </a:cubicBezTo>
                  <a:cubicBezTo>
                    <a:pt x="1283" y="35"/>
                    <a:pt x="1284" y="36"/>
                    <a:pt x="1286" y="36"/>
                  </a:cubicBezTo>
                  <a:cubicBezTo>
                    <a:pt x="1286" y="36"/>
                    <a:pt x="1287" y="36"/>
                    <a:pt x="1288" y="36"/>
                  </a:cubicBezTo>
                  <a:cubicBezTo>
                    <a:pt x="1286" y="35"/>
                    <a:pt x="1284" y="35"/>
                    <a:pt x="1282" y="34"/>
                  </a:cubicBezTo>
                  <a:moveTo>
                    <a:pt x="1289" y="37"/>
                  </a:moveTo>
                  <a:cubicBezTo>
                    <a:pt x="1289" y="37"/>
                    <a:pt x="1288" y="37"/>
                    <a:pt x="1287" y="37"/>
                  </a:cubicBezTo>
                  <a:cubicBezTo>
                    <a:pt x="1292" y="39"/>
                    <a:pt x="1296" y="40"/>
                    <a:pt x="1300" y="42"/>
                  </a:cubicBezTo>
                  <a:cubicBezTo>
                    <a:pt x="1300" y="42"/>
                    <a:pt x="1301" y="41"/>
                    <a:pt x="1301" y="41"/>
                  </a:cubicBezTo>
                  <a:cubicBezTo>
                    <a:pt x="1297" y="40"/>
                    <a:pt x="1293" y="38"/>
                    <a:pt x="1289" y="37"/>
                  </a:cubicBezTo>
                  <a:moveTo>
                    <a:pt x="1302" y="41"/>
                  </a:moveTo>
                  <a:cubicBezTo>
                    <a:pt x="1302" y="42"/>
                    <a:pt x="1301" y="42"/>
                    <a:pt x="1301" y="42"/>
                  </a:cubicBezTo>
                  <a:cubicBezTo>
                    <a:pt x="1305" y="44"/>
                    <a:pt x="1309" y="46"/>
                    <a:pt x="1314" y="47"/>
                  </a:cubicBezTo>
                  <a:cubicBezTo>
                    <a:pt x="1316" y="48"/>
                    <a:pt x="1319" y="50"/>
                    <a:pt x="1322" y="51"/>
                  </a:cubicBezTo>
                  <a:cubicBezTo>
                    <a:pt x="1322" y="50"/>
                    <a:pt x="1322" y="50"/>
                    <a:pt x="1322" y="50"/>
                  </a:cubicBezTo>
                  <a:cubicBezTo>
                    <a:pt x="1316" y="47"/>
                    <a:pt x="1309" y="44"/>
                    <a:pt x="1302" y="41"/>
                  </a:cubicBezTo>
                  <a:moveTo>
                    <a:pt x="1323" y="50"/>
                  </a:moveTo>
                  <a:cubicBezTo>
                    <a:pt x="1323" y="51"/>
                    <a:pt x="1323" y="51"/>
                    <a:pt x="1323" y="51"/>
                  </a:cubicBezTo>
                  <a:cubicBezTo>
                    <a:pt x="1323" y="51"/>
                    <a:pt x="1324" y="52"/>
                    <a:pt x="1324" y="52"/>
                  </a:cubicBezTo>
                  <a:cubicBezTo>
                    <a:pt x="1325" y="52"/>
                    <a:pt x="1326" y="52"/>
                    <a:pt x="1326" y="52"/>
                  </a:cubicBezTo>
                  <a:cubicBezTo>
                    <a:pt x="1325" y="51"/>
                    <a:pt x="1324" y="51"/>
                    <a:pt x="1323" y="50"/>
                  </a:cubicBezTo>
                  <a:moveTo>
                    <a:pt x="1328" y="53"/>
                  </a:moveTo>
                  <a:cubicBezTo>
                    <a:pt x="1328" y="53"/>
                    <a:pt x="1327" y="53"/>
                    <a:pt x="1326" y="53"/>
                  </a:cubicBezTo>
                  <a:cubicBezTo>
                    <a:pt x="1329" y="54"/>
                    <a:pt x="1332" y="55"/>
                    <a:pt x="1335" y="57"/>
                  </a:cubicBezTo>
                  <a:cubicBezTo>
                    <a:pt x="1335" y="56"/>
                    <a:pt x="1335" y="56"/>
                    <a:pt x="1335" y="56"/>
                  </a:cubicBezTo>
                  <a:cubicBezTo>
                    <a:pt x="1333" y="55"/>
                    <a:pt x="1331" y="54"/>
                    <a:pt x="1328" y="53"/>
                  </a:cubicBezTo>
                  <a:moveTo>
                    <a:pt x="1336" y="56"/>
                  </a:moveTo>
                  <a:cubicBezTo>
                    <a:pt x="1336" y="57"/>
                    <a:pt x="1336" y="57"/>
                    <a:pt x="1336" y="57"/>
                  </a:cubicBezTo>
                  <a:cubicBezTo>
                    <a:pt x="1336" y="57"/>
                    <a:pt x="1336" y="57"/>
                    <a:pt x="1336" y="57"/>
                  </a:cubicBezTo>
                  <a:cubicBezTo>
                    <a:pt x="1336" y="57"/>
                    <a:pt x="1336" y="57"/>
                    <a:pt x="1336" y="56"/>
                  </a:cubicBezTo>
                  <a:cubicBezTo>
                    <a:pt x="1336" y="56"/>
                    <a:pt x="1336" y="56"/>
                    <a:pt x="1336" y="56"/>
                  </a:cubicBezTo>
                  <a:moveTo>
                    <a:pt x="1338" y="57"/>
                  </a:moveTo>
                  <a:cubicBezTo>
                    <a:pt x="1338" y="57"/>
                    <a:pt x="1338" y="58"/>
                    <a:pt x="1337" y="58"/>
                  </a:cubicBezTo>
                  <a:cubicBezTo>
                    <a:pt x="1344" y="61"/>
                    <a:pt x="1350" y="64"/>
                    <a:pt x="1356" y="68"/>
                  </a:cubicBezTo>
                  <a:cubicBezTo>
                    <a:pt x="1356" y="67"/>
                    <a:pt x="1356" y="67"/>
                    <a:pt x="1357" y="67"/>
                  </a:cubicBezTo>
                  <a:cubicBezTo>
                    <a:pt x="1351" y="63"/>
                    <a:pt x="1345" y="60"/>
                    <a:pt x="1338" y="57"/>
                  </a:cubicBezTo>
                  <a:moveTo>
                    <a:pt x="1358" y="67"/>
                  </a:moveTo>
                  <a:cubicBezTo>
                    <a:pt x="1357" y="67"/>
                    <a:pt x="1357" y="68"/>
                    <a:pt x="1357" y="68"/>
                  </a:cubicBezTo>
                  <a:cubicBezTo>
                    <a:pt x="1361" y="70"/>
                    <a:pt x="1366" y="73"/>
                    <a:pt x="1370" y="75"/>
                  </a:cubicBezTo>
                  <a:cubicBezTo>
                    <a:pt x="1370" y="75"/>
                    <a:pt x="1370" y="75"/>
                    <a:pt x="1371" y="75"/>
                  </a:cubicBezTo>
                  <a:cubicBezTo>
                    <a:pt x="1366" y="72"/>
                    <a:pt x="1362" y="70"/>
                    <a:pt x="1358" y="67"/>
                  </a:cubicBezTo>
                  <a:moveTo>
                    <a:pt x="1371" y="75"/>
                  </a:moveTo>
                  <a:cubicBezTo>
                    <a:pt x="1371" y="76"/>
                    <a:pt x="1371" y="76"/>
                    <a:pt x="1371" y="76"/>
                  </a:cubicBezTo>
                  <a:cubicBezTo>
                    <a:pt x="1372" y="77"/>
                    <a:pt x="1373" y="77"/>
                    <a:pt x="1374" y="78"/>
                  </a:cubicBezTo>
                  <a:cubicBezTo>
                    <a:pt x="1375" y="78"/>
                    <a:pt x="1375" y="78"/>
                    <a:pt x="1376" y="78"/>
                  </a:cubicBezTo>
                  <a:cubicBezTo>
                    <a:pt x="1374" y="77"/>
                    <a:pt x="1373" y="76"/>
                    <a:pt x="1371" y="75"/>
                  </a:cubicBezTo>
                  <a:moveTo>
                    <a:pt x="1376" y="79"/>
                  </a:moveTo>
                  <a:cubicBezTo>
                    <a:pt x="1376" y="79"/>
                    <a:pt x="1376" y="79"/>
                    <a:pt x="1376" y="79"/>
                  </a:cubicBezTo>
                  <a:cubicBezTo>
                    <a:pt x="1376" y="79"/>
                    <a:pt x="1376" y="79"/>
                    <a:pt x="1376" y="79"/>
                  </a:cubicBezTo>
                  <a:cubicBezTo>
                    <a:pt x="1376" y="79"/>
                    <a:pt x="1376" y="79"/>
                    <a:pt x="1376" y="79"/>
                  </a:cubicBezTo>
                  <a:moveTo>
                    <a:pt x="1377" y="79"/>
                  </a:moveTo>
                  <a:cubicBezTo>
                    <a:pt x="1377" y="79"/>
                    <a:pt x="1377" y="80"/>
                    <a:pt x="1377" y="80"/>
                  </a:cubicBezTo>
                  <a:cubicBezTo>
                    <a:pt x="1379" y="82"/>
                    <a:pt x="1382" y="83"/>
                    <a:pt x="1384" y="85"/>
                  </a:cubicBezTo>
                  <a:cubicBezTo>
                    <a:pt x="1384" y="84"/>
                    <a:pt x="1384" y="84"/>
                    <a:pt x="1384" y="84"/>
                  </a:cubicBezTo>
                  <a:cubicBezTo>
                    <a:pt x="1382" y="82"/>
                    <a:pt x="1380" y="81"/>
                    <a:pt x="1377" y="79"/>
                  </a:cubicBezTo>
                  <a:cubicBezTo>
                    <a:pt x="1377" y="79"/>
                    <a:pt x="1377" y="79"/>
                    <a:pt x="1377" y="79"/>
                  </a:cubicBezTo>
                  <a:moveTo>
                    <a:pt x="1385" y="84"/>
                  </a:moveTo>
                  <a:cubicBezTo>
                    <a:pt x="1385" y="85"/>
                    <a:pt x="1385" y="85"/>
                    <a:pt x="1385" y="85"/>
                  </a:cubicBezTo>
                  <a:cubicBezTo>
                    <a:pt x="1385" y="85"/>
                    <a:pt x="1385" y="85"/>
                    <a:pt x="1385" y="85"/>
                  </a:cubicBezTo>
                  <a:cubicBezTo>
                    <a:pt x="1390" y="89"/>
                    <a:pt x="1395" y="93"/>
                    <a:pt x="1399" y="96"/>
                  </a:cubicBezTo>
                  <a:cubicBezTo>
                    <a:pt x="1399" y="96"/>
                    <a:pt x="1400" y="96"/>
                    <a:pt x="1400" y="95"/>
                  </a:cubicBezTo>
                  <a:cubicBezTo>
                    <a:pt x="1395" y="92"/>
                    <a:pt x="1391" y="88"/>
                    <a:pt x="1385" y="84"/>
                  </a:cubicBezTo>
                  <a:moveTo>
                    <a:pt x="1401" y="96"/>
                  </a:moveTo>
                  <a:cubicBezTo>
                    <a:pt x="1400" y="96"/>
                    <a:pt x="1400" y="97"/>
                    <a:pt x="1400" y="97"/>
                  </a:cubicBezTo>
                  <a:cubicBezTo>
                    <a:pt x="1402" y="99"/>
                    <a:pt x="1404" y="100"/>
                    <a:pt x="1405" y="102"/>
                  </a:cubicBezTo>
                  <a:cubicBezTo>
                    <a:pt x="1406" y="102"/>
                    <a:pt x="1406" y="101"/>
                    <a:pt x="1406" y="101"/>
                  </a:cubicBezTo>
                  <a:cubicBezTo>
                    <a:pt x="1404" y="99"/>
                    <a:pt x="1403" y="98"/>
                    <a:pt x="1401" y="96"/>
                  </a:cubicBezTo>
                  <a:moveTo>
                    <a:pt x="1407" y="102"/>
                  </a:moveTo>
                  <a:cubicBezTo>
                    <a:pt x="1407" y="102"/>
                    <a:pt x="1406" y="102"/>
                    <a:pt x="1406" y="102"/>
                  </a:cubicBezTo>
                  <a:cubicBezTo>
                    <a:pt x="1408" y="104"/>
                    <a:pt x="1410" y="106"/>
                    <a:pt x="1412" y="108"/>
                  </a:cubicBezTo>
                  <a:cubicBezTo>
                    <a:pt x="1412" y="108"/>
                    <a:pt x="1412" y="108"/>
                    <a:pt x="1413" y="108"/>
                  </a:cubicBezTo>
                  <a:cubicBezTo>
                    <a:pt x="1411" y="106"/>
                    <a:pt x="1409" y="104"/>
                    <a:pt x="1407" y="102"/>
                  </a:cubicBezTo>
                  <a:moveTo>
                    <a:pt x="1413" y="108"/>
                  </a:moveTo>
                  <a:cubicBezTo>
                    <a:pt x="1413" y="109"/>
                    <a:pt x="1413" y="109"/>
                    <a:pt x="1413" y="109"/>
                  </a:cubicBezTo>
                  <a:cubicBezTo>
                    <a:pt x="1414" y="110"/>
                    <a:pt x="1415" y="112"/>
                    <a:pt x="1416" y="113"/>
                  </a:cubicBezTo>
                  <a:cubicBezTo>
                    <a:pt x="1416" y="113"/>
                    <a:pt x="1416" y="113"/>
                    <a:pt x="1416" y="113"/>
                  </a:cubicBezTo>
                  <a:cubicBezTo>
                    <a:pt x="1417" y="113"/>
                    <a:pt x="1417" y="113"/>
                    <a:pt x="1417" y="112"/>
                  </a:cubicBezTo>
                  <a:cubicBezTo>
                    <a:pt x="1416" y="111"/>
                    <a:pt x="1414" y="110"/>
                    <a:pt x="1413" y="108"/>
                  </a:cubicBezTo>
                  <a:moveTo>
                    <a:pt x="1418" y="114"/>
                  </a:moveTo>
                  <a:cubicBezTo>
                    <a:pt x="1418" y="114"/>
                    <a:pt x="1418" y="115"/>
                    <a:pt x="1418" y="115"/>
                  </a:cubicBezTo>
                  <a:cubicBezTo>
                    <a:pt x="1418" y="116"/>
                    <a:pt x="1419" y="117"/>
                    <a:pt x="1420" y="118"/>
                  </a:cubicBezTo>
                  <a:cubicBezTo>
                    <a:pt x="1420" y="118"/>
                    <a:pt x="1420" y="118"/>
                    <a:pt x="1421" y="117"/>
                  </a:cubicBezTo>
                  <a:cubicBezTo>
                    <a:pt x="1420" y="116"/>
                    <a:pt x="1419" y="115"/>
                    <a:pt x="1418" y="114"/>
                  </a:cubicBezTo>
                  <a:moveTo>
                    <a:pt x="1421" y="118"/>
                  </a:moveTo>
                  <a:cubicBezTo>
                    <a:pt x="1421" y="118"/>
                    <a:pt x="1421" y="119"/>
                    <a:pt x="1420" y="119"/>
                  </a:cubicBezTo>
                  <a:cubicBezTo>
                    <a:pt x="1423" y="122"/>
                    <a:pt x="1424" y="125"/>
                    <a:pt x="1426" y="128"/>
                  </a:cubicBezTo>
                  <a:cubicBezTo>
                    <a:pt x="1426" y="127"/>
                    <a:pt x="1426" y="127"/>
                    <a:pt x="1426" y="126"/>
                  </a:cubicBezTo>
                  <a:cubicBezTo>
                    <a:pt x="1425" y="123"/>
                    <a:pt x="1423" y="121"/>
                    <a:pt x="1421" y="118"/>
                  </a:cubicBezTo>
                  <a:moveTo>
                    <a:pt x="1427" y="128"/>
                  </a:moveTo>
                  <a:cubicBezTo>
                    <a:pt x="1427" y="128"/>
                    <a:pt x="1427" y="128"/>
                    <a:pt x="1427" y="128"/>
                  </a:cubicBezTo>
                  <a:cubicBezTo>
                    <a:pt x="1427" y="129"/>
                    <a:pt x="1427" y="129"/>
                    <a:pt x="1427" y="129"/>
                  </a:cubicBezTo>
                  <a:cubicBezTo>
                    <a:pt x="1427" y="129"/>
                    <a:pt x="1427" y="129"/>
                    <a:pt x="1427" y="129"/>
                  </a:cubicBezTo>
                  <a:cubicBezTo>
                    <a:pt x="1427" y="129"/>
                    <a:pt x="1427" y="128"/>
                    <a:pt x="1427" y="128"/>
                  </a:cubicBezTo>
                  <a:moveTo>
                    <a:pt x="1428" y="130"/>
                  </a:moveTo>
                  <a:cubicBezTo>
                    <a:pt x="1428" y="130"/>
                    <a:pt x="1427" y="131"/>
                    <a:pt x="1427" y="131"/>
                  </a:cubicBezTo>
                  <a:cubicBezTo>
                    <a:pt x="1428" y="132"/>
                    <a:pt x="1428" y="133"/>
                    <a:pt x="1428" y="134"/>
                  </a:cubicBezTo>
                  <a:cubicBezTo>
                    <a:pt x="1428" y="134"/>
                    <a:pt x="1429" y="134"/>
                    <a:pt x="1429" y="133"/>
                  </a:cubicBezTo>
                  <a:cubicBezTo>
                    <a:pt x="1429" y="133"/>
                    <a:pt x="1429" y="133"/>
                    <a:pt x="1429" y="133"/>
                  </a:cubicBezTo>
                  <a:cubicBezTo>
                    <a:pt x="1429" y="132"/>
                    <a:pt x="1428" y="131"/>
                    <a:pt x="1428" y="130"/>
                  </a:cubicBezTo>
                  <a:moveTo>
                    <a:pt x="1430" y="135"/>
                  </a:moveTo>
                  <a:cubicBezTo>
                    <a:pt x="1430" y="135"/>
                    <a:pt x="1429" y="135"/>
                    <a:pt x="1429" y="136"/>
                  </a:cubicBezTo>
                  <a:cubicBezTo>
                    <a:pt x="1429" y="136"/>
                    <a:pt x="1429" y="136"/>
                    <a:pt x="1429" y="136"/>
                  </a:cubicBezTo>
                  <a:cubicBezTo>
                    <a:pt x="1429" y="136"/>
                    <a:pt x="1430" y="135"/>
                    <a:pt x="1430" y="135"/>
                  </a:cubicBezTo>
                  <a:cubicBezTo>
                    <a:pt x="1430" y="135"/>
                    <a:pt x="1430" y="135"/>
                    <a:pt x="1430" y="135"/>
                  </a:cubicBezTo>
                  <a:moveTo>
                    <a:pt x="1430" y="136"/>
                  </a:moveTo>
                  <a:cubicBezTo>
                    <a:pt x="1430" y="136"/>
                    <a:pt x="1430" y="137"/>
                    <a:pt x="1429" y="137"/>
                  </a:cubicBezTo>
                  <a:cubicBezTo>
                    <a:pt x="1430" y="138"/>
                    <a:pt x="1430" y="139"/>
                    <a:pt x="1430" y="140"/>
                  </a:cubicBezTo>
                  <a:cubicBezTo>
                    <a:pt x="1430" y="139"/>
                    <a:pt x="1430" y="139"/>
                    <a:pt x="1431" y="138"/>
                  </a:cubicBezTo>
                  <a:cubicBezTo>
                    <a:pt x="1431" y="138"/>
                    <a:pt x="1430" y="137"/>
                    <a:pt x="1430" y="136"/>
                  </a:cubicBezTo>
                  <a:moveTo>
                    <a:pt x="1431" y="140"/>
                  </a:moveTo>
                  <a:cubicBezTo>
                    <a:pt x="1431" y="140"/>
                    <a:pt x="1431" y="140"/>
                    <a:pt x="1431" y="141"/>
                  </a:cubicBezTo>
                  <a:cubicBezTo>
                    <a:pt x="1431" y="141"/>
                    <a:pt x="1431" y="141"/>
                    <a:pt x="1430" y="141"/>
                  </a:cubicBezTo>
                  <a:cubicBezTo>
                    <a:pt x="1431" y="141"/>
                    <a:pt x="1431" y="140"/>
                    <a:pt x="1431" y="140"/>
                  </a:cubicBezTo>
                  <a:moveTo>
                    <a:pt x="1432" y="142"/>
                  </a:moveTo>
                  <a:cubicBezTo>
                    <a:pt x="1431" y="143"/>
                    <a:pt x="1431" y="143"/>
                    <a:pt x="1431" y="143"/>
                  </a:cubicBezTo>
                  <a:cubicBezTo>
                    <a:pt x="1431" y="143"/>
                    <a:pt x="1431" y="143"/>
                    <a:pt x="1431" y="144"/>
                  </a:cubicBezTo>
                  <a:cubicBezTo>
                    <a:pt x="1431" y="145"/>
                    <a:pt x="1431" y="147"/>
                    <a:pt x="1431" y="148"/>
                  </a:cubicBezTo>
                  <a:cubicBezTo>
                    <a:pt x="1431" y="148"/>
                    <a:pt x="1431" y="149"/>
                    <a:pt x="1431" y="149"/>
                  </a:cubicBezTo>
                  <a:cubicBezTo>
                    <a:pt x="1431" y="151"/>
                    <a:pt x="1431" y="153"/>
                    <a:pt x="1430" y="155"/>
                  </a:cubicBezTo>
                  <a:cubicBezTo>
                    <a:pt x="1431" y="155"/>
                    <a:pt x="1431" y="154"/>
                    <a:pt x="1432" y="154"/>
                  </a:cubicBezTo>
                  <a:cubicBezTo>
                    <a:pt x="1432" y="154"/>
                    <a:pt x="1432" y="154"/>
                    <a:pt x="1432" y="154"/>
                  </a:cubicBezTo>
                  <a:cubicBezTo>
                    <a:pt x="1432" y="152"/>
                    <a:pt x="1432" y="151"/>
                    <a:pt x="1432" y="149"/>
                  </a:cubicBezTo>
                  <a:cubicBezTo>
                    <a:pt x="1432" y="149"/>
                    <a:pt x="1432" y="148"/>
                    <a:pt x="1432" y="148"/>
                  </a:cubicBezTo>
                  <a:cubicBezTo>
                    <a:pt x="1432" y="146"/>
                    <a:pt x="1432" y="144"/>
                    <a:pt x="1432" y="142"/>
                  </a:cubicBezTo>
                  <a:moveTo>
                    <a:pt x="1048" y="152"/>
                  </a:moveTo>
                  <a:cubicBezTo>
                    <a:pt x="1048" y="152"/>
                    <a:pt x="1047" y="152"/>
                    <a:pt x="1047" y="153"/>
                  </a:cubicBezTo>
                  <a:cubicBezTo>
                    <a:pt x="1048" y="156"/>
                    <a:pt x="1049" y="159"/>
                    <a:pt x="1050" y="163"/>
                  </a:cubicBezTo>
                  <a:cubicBezTo>
                    <a:pt x="1050" y="162"/>
                    <a:pt x="1050" y="162"/>
                    <a:pt x="1051" y="162"/>
                  </a:cubicBezTo>
                  <a:cubicBezTo>
                    <a:pt x="1050" y="158"/>
                    <a:pt x="1049" y="155"/>
                    <a:pt x="1048" y="152"/>
                  </a:cubicBezTo>
                  <a:moveTo>
                    <a:pt x="1431" y="155"/>
                  </a:moveTo>
                  <a:cubicBezTo>
                    <a:pt x="1431" y="156"/>
                    <a:pt x="1431" y="156"/>
                    <a:pt x="1430" y="156"/>
                  </a:cubicBezTo>
                  <a:cubicBezTo>
                    <a:pt x="1430" y="157"/>
                    <a:pt x="1430" y="158"/>
                    <a:pt x="1430" y="158"/>
                  </a:cubicBezTo>
                  <a:cubicBezTo>
                    <a:pt x="1430" y="158"/>
                    <a:pt x="1430" y="158"/>
                    <a:pt x="1431" y="158"/>
                  </a:cubicBezTo>
                  <a:cubicBezTo>
                    <a:pt x="1431" y="157"/>
                    <a:pt x="1431" y="156"/>
                    <a:pt x="1431" y="155"/>
                  </a:cubicBezTo>
                  <a:moveTo>
                    <a:pt x="1430" y="159"/>
                  </a:moveTo>
                  <a:cubicBezTo>
                    <a:pt x="1430" y="159"/>
                    <a:pt x="1430" y="159"/>
                    <a:pt x="1429" y="159"/>
                  </a:cubicBezTo>
                  <a:cubicBezTo>
                    <a:pt x="1428" y="165"/>
                    <a:pt x="1425" y="170"/>
                    <a:pt x="1420" y="176"/>
                  </a:cubicBezTo>
                  <a:cubicBezTo>
                    <a:pt x="1421" y="176"/>
                    <a:pt x="1421" y="176"/>
                    <a:pt x="1422" y="176"/>
                  </a:cubicBezTo>
                  <a:cubicBezTo>
                    <a:pt x="1426" y="170"/>
                    <a:pt x="1429" y="165"/>
                    <a:pt x="1430" y="159"/>
                  </a:cubicBezTo>
                  <a:moveTo>
                    <a:pt x="1051" y="163"/>
                  </a:moveTo>
                  <a:cubicBezTo>
                    <a:pt x="1051" y="163"/>
                    <a:pt x="1050" y="164"/>
                    <a:pt x="1050" y="164"/>
                  </a:cubicBezTo>
                  <a:cubicBezTo>
                    <a:pt x="1051" y="167"/>
                    <a:pt x="1052" y="170"/>
                    <a:pt x="1052" y="172"/>
                  </a:cubicBezTo>
                  <a:cubicBezTo>
                    <a:pt x="1052" y="172"/>
                    <a:pt x="1053" y="172"/>
                    <a:pt x="1053" y="171"/>
                  </a:cubicBezTo>
                  <a:cubicBezTo>
                    <a:pt x="1052" y="169"/>
                    <a:pt x="1052" y="166"/>
                    <a:pt x="1051" y="163"/>
                  </a:cubicBezTo>
                  <a:moveTo>
                    <a:pt x="1053" y="173"/>
                  </a:moveTo>
                  <a:cubicBezTo>
                    <a:pt x="1053" y="173"/>
                    <a:pt x="1053" y="173"/>
                    <a:pt x="1052" y="173"/>
                  </a:cubicBezTo>
                  <a:cubicBezTo>
                    <a:pt x="1054" y="179"/>
                    <a:pt x="1055" y="185"/>
                    <a:pt x="1056" y="191"/>
                  </a:cubicBezTo>
                  <a:cubicBezTo>
                    <a:pt x="1056" y="191"/>
                    <a:pt x="1056" y="190"/>
                    <a:pt x="1057" y="190"/>
                  </a:cubicBezTo>
                  <a:cubicBezTo>
                    <a:pt x="1056" y="184"/>
                    <a:pt x="1055" y="178"/>
                    <a:pt x="1053" y="173"/>
                  </a:cubicBezTo>
                  <a:moveTo>
                    <a:pt x="1420" y="177"/>
                  </a:moveTo>
                  <a:cubicBezTo>
                    <a:pt x="1419" y="178"/>
                    <a:pt x="1418" y="179"/>
                    <a:pt x="1416" y="180"/>
                  </a:cubicBezTo>
                  <a:cubicBezTo>
                    <a:pt x="1416" y="181"/>
                    <a:pt x="1415" y="182"/>
                    <a:pt x="1414" y="183"/>
                  </a:cubicBezTo>
                  <a:cubicBezTo>
                    <a:pt x="1411" y="186"/>
                    <a:pt x="1407" y="189"/>
                    <a:pt x="1403" y="191"/>
                  </a:cubicBezTo>
                  <a:cubicBezTo>
                    <a:pt x="1399" y="194"/>
                    <a:pt x="1395" y="197"/>
                    <a:pt x="1392" y="200"/>
                  </a:cubicBezTo>
                  <a:cubicBezTo>
                    <a:pt x="1391" y="201"/>
                    <a:pt x="1391" y="201"/>
                    <a:pt x="1390" y="202"/>
                  </a:cubicBezTo>
                  <a:cubicBezTo>
                    <a:pt x="1390" y="202"/>
                    <a:pt x="1390" y="202"/>
                    <a:pt x="1390" y="203"/>
                  </a:cubicBezTo>
                  <a:cubicBezTo>
                    <a:pt x="1394" y="199"/>
                    <a:pt x="1399" y="196"/>
                    <a:pt x="1404" y="192"/>
                  </a:cubicBezTo>
                  <a:cubicBezTo>
                    <a:pt x="1407" y="190"/>
                    <a:pt x="1409" y="189"/>
                    <a:pt x="1411" y="187"/>
                  </a:cubicBezTo>
                  <a:cubicBezTo>
                    <a:pt x="1412" y="186"/>
                    <a:pt x="1413" y="185"/>
                    <a:pt x="1414" y="184"/>
                  </a:cubicBezTo>
                  <a:cubicBezTo>
                    <a:pt x="1417" y="181"/>
                    <a:pt x="1419" y="179"/>
                    <a:pt x="1421" y="177"/>
                  </a:cubicBezTo>
                  <a:cubicBezTo>
                    <a:pt x="1420" y="177"/>
                    <a:pt x="1420" y="177"/>
                    <a:pt x="1420" y="177"/>
                  </a:cubicBezTo>
                  <a:moveTo>
                    <a:pt x="1057" y="191"/>
                  </a:moveTo>
                  <a:cubicBezTo>
                    <a:pt x="1057" y="192"/>
                    <a:pt x="1056" y="192"/>
                    <a:pt x="1056" y="193"/>
                  </a:cubicBezTo>
                  <a:cubicBezTo>
                    <a:pt x="1057" y="197"/>
                    <a:pt x="1057" y="201"/>
                    <a:pt x="1058" y="205"/>
                  </a:cubicBezTo>
                  <a:cubicBezTo>
                    <a:pt x="1058" y="205"/>
                    <a:pt x="1059" y="205"/>
                    <a:pt x="1059" y="205"/>
                  </a:cubicBezTo>
                  <a:cubicBezTo>
                    <a:pt x="1058" y="200"/>
                    <a:pt x="1058" y="196"/>
                    <a:pt x="1057" y="191"/>
                  </a:cubicBezTo>
                  <a:moveTo>
                    <a:pt x="29" y="191"/>
                  </a:moveTo>
                  <a:cubicBezTo>
                    <a:pt x="11" y="191"/>
                    <a:pt x="0" y="195"/>
                    <a:pt x="0" y="203"/>
                  </a:cubicBezTo>
                  <a:cubicBezTo>
                    <a:pt x="0" y="221"/>
                    <a:pt x="45" y="256"/>
                    <a:pt x="158" y="317"/>
                  </a:cubicBezTo>
                  <a:cubicBezTo>
                    <a:pt x="159" y="317"/>
                    <a:pt x="159" y="317"/>
                    <a:pt x="159" y="317"/>
                  </a:cubicBezTo>
                  <a:cubicBezTo>
                    <a:pt x="159" y="317"/>
                    <a:pt x="159" y="317"/>
                    <a:pt x="159" y="317"/>
                  </a:cubicBezTo>
                  <a:cubicBezTo>
                    <a:pt x="46" y="255"/>
                    <a:pt x="1" y="219"/>
                    <a:pt x="1" y="203"/>
                  </a:cubicBezTo>
                  <a:cubicBezTo>
                    <a:pt x="1" y="196"/>
                    <a:pt x="11" y="192"/>
                    <a:pt x="29" y="192"/>
                  </a:cubicBezTo>
                  <a:cubicBezTo>
                    <a:pt x="29" y="192"/>
                    <a:pt x="29" y="192"/>
                    <a:pt x="29" y="192"/>
                  </a:cubicBezTo>
                  <a:cubicBezTo>
                    <a:pt x="88" y="192"/>
                    <a:pt x="229" y="229"/>
                    <a:pt x="368" y="278"/>
                  </a:cubicBezTo>
                  <a:cubicBezTo>
                    <a:pt x="368" y="277"/>
                    <a:pt x="367" y="277"/>
                    <a:pt x="367" y="276"/>
                  </a:cubicBezTo>
                  <a:cubicBezTo>
                    <a:pt x="228" y="228"/>
                    <a:pt x="88" y="191"/>
                    <a:pt x="29" y="191"/>
                  </a:cubicBezTo>
                  <a:moveTo>
                    <a:pt x="1388" y="203"/>
                  </a:moveTo>
                  <a:cubicBezTo>
                    <a:pt x="1387" y="204"/>
                    <a:pt x="1387" y="205"/>
                    <a:pt x="1386" y="205"/>
                  </a:cubicBezTo>
                  <a:cubicBezTo>
                    <a:pt x="1386" y="205"/>
                    <a:pt x="1387" y="205"/>
                    <a:pt x="1387" y="205"/>
                  </a:cubicBezTo>
                  <a:cubicBezTo>
                    <a:pt x="1387" y="204"/>
                    <a:pt x="1388" y="204"/>
                    <a:pt x="1388" y="203"/>
                  </a:cubicBezTo>
                  <a:moveTo>
                    <a:pt x="1386" y="205"/>
                  </a:moveTo>
                  <a:cubicBezTo>
                    <a:pt x="1385" y="205"/>
                    <a:pt x="1385" y="205"/>
                    <a:pt x="1385" y="205"/>
                  </a:cubicBezTo>
                  <a:cubicBezTo>
                    <a:pt x="1385" y="205"/>
                    <a:pt x="1385" y="205"/>
                    <a:pt x="1385" y="205"/>
                  </a:cubicBezTo>
                  <a:cubicBezTo>
                    <a:pt x="1385" y="205"/>
                    <a:pt x="1386" y="205"/>
                    <a:pt x="1386" y="205"/>
                  </a:cubicBezTo>
                  <a:moveTo>
                    <a:pt x="1384" y="206"/>
                  </a:moveTo>
                  <a:cubicBezTo>
                    <a:pt x="1384" y="206"/>
                    <a:pt x="1384" y="206"/>
                    <a:pt x="1384" y="206"/>
                  </a:cubicBezTo>
                  <a:cubicBezTo>
                    <a:pt x="1383" y="206"/>
                    <a:pt x="1383" y="207"/>
                    <a:pt x="1382" y="207"/>
                  </a:cubicBezTo>
                  <a:cubicBezTo>
                    <a:pt x="1381" y="208"/>
                    <a:pt x="1380" y="209"/>
                    <a:pt x="1379" y="210"/>
                  </a:cubicBezTo>
                  <a:cubicBezTo>
                    <a:pt x="1379" y="210"/>
                    <a:pt x="1379" y="210"/>
                    <a:pt x="1379" y="210"/>
                  </a:cubicBezTo>
                  <a:cubicBezTo>
                    <a:pt x="1380" y="210"/>
                    <a:pt x="1381" y="209"/>
                    <a:pt x="1382" y="208"/>
                  </a:cubicBezTo>
                  <a:cubicBezTo>
                    <a:pt x="1383" y="207"/>
                    <a:pt x="1384" y="207"/>
                    <a:pt x="1385" y="206"/>
                  </a:cubicBezTo>
                  <a:cubicBezTo>
                    <a:pt x="1384" y="206"/>
                    <a:pt x="1384" y="206"/>
                    <a:pt x="1384" y="206"/>
                  </a:cubicBezTo>
                  <a:moveTo>
                    <a:pt x="1059" y="206"/>
                  </a:moveTo>
                  <a:cubicBezTo>
                    <a:pt x="1059" y="206"/>
                    <a:pt x="1058" y="206"/>
                    <a:pt x="1058" y="206"/>
                  </a:cubicBezTo>
                  <a:cubicBezTo>
                    <a:pt x="1058" y="210"/>
                    <a:pt x="1059" y="214"/>
                    <a:pt x="1059" y="218"/>
                  </a:cubicBezTo>
                  <a:cubicBezTo>
                    <a:pt x="1059" y="217"/>
                    <a:pt x="1060" y="217"/>
                    <a:pt x="1060" y="216"/>
                  </a:cubicBezTo>
                  <a:cubicBezTo>
                    <a:pt x="1060" y="213"/>
                    <a:pt x="1059" y="209"/>
                    <a:pt x="1059" y="206"/>
                  </a:cubicBezTo>
                  <a:moveTo>
                    <a:pt x="1379" y="211"/>
                  </a:moveTo>
                  <a:cubicBezTo>
                    <a:pt x="1378" y="211"/>
                    <a:pt x="1378" y="212"/>
                    <a:pt x="1378" y="212"/>
                  </a:cubicBezTo>
                  <a:cubicBezTo>
                    <a:pt x="1378" y="212"/>
                    <a:pt x="1378" y="211"/>
                    <a:pt x="1379" y="211"/>
                  </a:cubicBezTo>
                  <a:cubicBezTo>
                    <a:pt x="1379" y="211"/>
                    <a:pt x="1379" y="211"/>
                    <a:pt x="1379" y="211"/>
                  </a:cubicBezTo>
                  <a:moveTo>
                    <a:pt x="1377" y="211"/>
                  </a:moveTo>
                  <a:cubicBezTo>
                    <a:pt x="1376" y="212"/>
                    <a:pt x="1374" y="213"/>
                    <a:pt x="1373" y="214"/>
                  </a:cubicBezTo>
                  <a:cubicBezTo>
                    <a:pt x="1373" y="214"/>
                    <a:pt x="1372" y="215"/>
                    <a:pt x="1371" y="215"/>
                  </a:cubicBezTo>
                  <a:cubicBezTo>
                    <a:pt x="1369" y="217"/>
                    <a:pt x="1367" y="218"/>
                    <a:pt x="1365" y="220"/>
                  </a:cubicBezTo>
                  <a:cubicBezTo>
                    <a:pt x="1365" y="220"/>
                    <a:pt x="1364" y="221"/>
                    <a:pt x="1364" y="221"/>
                  </a:cubicBezTo>
                  <a:cubicBezTo>
                    <a:pt x="1363" y="222"/>
                    <a:pt x="1362" y="223"/>
                    <a:pt x="1361" y="223"/>
                  </a:cubicBezTo>
                  <a:cubicBezTo>
                    <a:pt x="1356" y="228"/>
                    <a:pt x="1350" y="232"/>
                    <a:pt x="1344" y="237"/>
                  </a:cubicBezTo>
                  <a:cubicBezTo>
                    <a:pt x="1344" y="237"/>
                    <a:pt x="1344" y="237"/>
                    <a:pt x="1344" y="237"/>
                  </a:cubicBezTo>
                  <a:cubicBezTo>
                    <a:pt x="1345" y="237"/>
                    <a:pt x="1345" y="237"/>
                    <a:pt x="1345" y="237"/>
                  </a:cubicBezTo>
                  <a:cubicBezTo>
                    <a:pt x="1347" y="235"/>
                    <a:pt x="1349" y="234"/>
                    <a:pt x="1352" y="232"/>
                  </a:cubicBezTo>
                  <a:cubicBezTo>
                    <a:pt x="1352" y="232"/>
                    <a:pt x="1352" y="231"/>
                    <a:pt x="1352" y="231"/>
                  </a:cubicBezTo>
                  <a:cubicBezTo>
                    <a:pt x="1353" y="231"/>
                    <a:pt x="1354" y="230"/>
                    <a:pt x="1354" y="230"/>
                  </a:cubicBezTo>
                  <a:cubicBezTo>
                    <a:pt x="1357" y="227"/>
                    <a:pt x="1361" y="225"/>
                    <a:pt x="1365" y="222"/>
                  </a:cubicBezTo>
                  <a:cubicBezTo>
                    <a:pt x="1365" y="222"/>
                    <a:pt x="1365" y="221"/>
                    <a:pt x="1365" y="221"/>
                  </a:cubicBezTo>
                  <a:cubicBezTo>
                    <a:pt x="1367" y="220"/>
                    <a:pt x="1369" y="219"/>
                    <a:pt x="1370" y="217"/>
                  </a:cubicBezTo>
                  <a:cubicBezTo>
                    <a:pt x="1370" y="217"/>
                    <a:pt x="1371" y="217"/>
                    <a:pt x="1371" y="217"/>
                  </a:cubicBezTo>
                  <a:cubicBezTo>
                    <a:pt x="1373" y="215"/>
                    <a:pt x="1375" y="213"/>
                    <a:pt x="1377" y="211"/>
                  </a:cubicBezTo>
                  <a:moveTo>
                    <a:pt x="1060" y="218"/>
                  </a:moveTo>
                  <a:cubicBezTo>
                    <a:pt x="1060" y="219"/>
                    <a:pt x="1060" y="220"/>
                    <a:pt x="1059" y="220"/>
                  </a:cubicBezTo>
                  <a:cubicBezTo>
                    <a:pt x="1059" y="222"/>
                    <a:pt x="1059" y="224"/>
                    <a:pt x="1060" y="226"/>
                  </a:cubicBezTo>
                  <a:cubicBezTo>
                    <a:pt x="1060" y="226"/>
                    <a:pt x="1060" y="225"/>
                    <a:pt x="1061" y="225"/>
                  </a:cubicBezTo>
                  <a:cubicBezTo>
                    <a:pt x="1060" y="223"/>
                    <a:pt x="1060" y="221"/>
                    <a:pt x="1060" y="218"/>
                  </a:cubicBezTo>
                  <a:moveTo>
                    <a:pt x="1061" y="226"/>
                  </a:moveTo>
                  <a:cubicBezTo>
                    <a:pt x="1060" y="226"/>
                    <a:pt x="1060" y="227"/>
                    <a:pt x="1060" y="227"/>
                  </a:cubicBezTo>
                  <a:cubicBezTo>
                    <a:pt x="1060" y="229"/>
                    <a:pt x="1060" y="231"/>
                    <a:pt x="1060" y="233"/>
                  </a:cubicBezTo>
                  <a:cubicBezTo>
                    <a:pt x="1060" y="234"/>
                    <a:pt x="1060" y="235"/>
                    <a:pt x="1060" y="235"/>
                  </a:cubicBezTo>
                  <a:cubicBezTo>
                    <a:pt x="1060" y="235"/>
                    <a:pt x="1060" y="235"/>
                    <a:pt x="1061" y="235"/>
                  </a:cubicBezTo>
                  <a:cubicBezTo>
                    <a:pt x="1061" y="235"/>
                    <a:pt x="1061" y="235"/>
                    <a:pt x="1061" y="235"/>
                  </a:cubicBezTo>
                  <a:cubicBezTo>
                    <a:pt x="1061" y="235"/>
                    <a:pt x="1061" y="234"/>
                    <a:pt x="1061" y="233"/>
                  </a:cubicBezTo>
                  <a:cubicBezTo>
                    <a:pt x="1061" y="231"/>
                    <a:pt x="1061" y="229"/>
                    <a:pt x="1061" y="226"/>
                  </a:cubicBezTo>
                  <a:moveTo>
                    <a:pt x="1060" y="236"/>
                  </a:moveTo>
                  <a:cubicBezTo>
                    <a:pt x="1060" y="237"/>
                    <a:pt x="1060" y="237"/>
                    <a:pt x="1060" y="238"/>
                  </a:cubicBezTo>
                  <a:cubicBezTo>
                    <a:pt x="1060" y="237"/>
                    <a:pt x="1060" y="237"/>
                    <a:pt x="1060" y="237"/>
                  </a:cubicBezTo>
                  <a:cubicBezTo>
                    <a:pt x="1060" y="237"/>
                    <a:pt x="1060" y="237"/>
                    <a:pt x="1060" y="236"/>
                  </a:cubicBezTo>
                  <a:cubicBezTo>
                    <a:pt x="1060" y="236"/>
                    <a:pt x="1060" y="236"/>
                    <a:pt x="1060" y="236"/>
                  </a:cubicBezTo>
                  <a:moveTo>
                    <a:pt x="1343" y="238"/>
                  </a:moveTo>
                  <a:cubicBezTo>
                    <a:pt x="1341" y="240"/>
                    <a:pt x="1338" y="242"/>
                    <a:pt x="1335" y="244"/>
                  </a:cubicBezTo>
                  <a:cubicBezTo>
                    <a:pt x="1334" y="245"/>
                    <a:pt x="1332" y="247"/>
                    <a:pt x="1330" y="248"/>
                  </a:cubicBezTo>
                  <a:cubicBezTo>
                    <a:pt x="1329" y="249"/>
                    <a:pt x="1327" y="250"/>
                    <a:pt x="1326" y="251"/>
                  </a:cubicBezTo>
                  <a:cubicBezTo>
                    <a:pt x="1326" y="252"/>
                    <a:pt x="1325" y="252"/>
                    <a:pt x="1325" y="253"/>
                  </a:cubicBezTo>
                  <a:cubicBezTo>
                    <a:pt x="1325" y="253"/>
                    <a:pt x="1325" y="254"/>
                    <a:pt x="1325" y="254"/>
                  </a:cubicBezTo>
                  <a:cubicBezTo>
                    <a:pt x="1327" y="252"/>
                    <a:pt x="1329" y="251"/>
                    <a:pt x="1330" y="249"/>
                  </a:cubicBezTo>
                  <a:cubicBezTo>
                    <a:pt x="1332" y="248"/>
                    <a:pt x="1333" y="247"/>
                    <a:pt x="1334" y="246"/>
                  </a:cubicBezTo>
                  <a:cubicBezTo>
                    <a:pt x="1337" y="243"/>
                    <a:pt x="1341" y="241"/>
                    <a:pt x="1344" y="238"/>
                  </a:cubicBezTo>
                  <a:cubicBezTo>
                    <a:pt x="1344" y="238"/>
                    <a:pt x="1344" y="238"/>
                    <a:pt x="1344" y="238"/>
                  </a:cubicBezTo>
                  <a:cubicBezTo>
                    <a:pt x="1344" y="238"/>
                    <a:pt x="1343" y="238"/>
                    <a:pt x="1343" y="238"/>
                  </a:cubicBezTo>
                  <a:moveTo>
                    <a:pt x="1061" y="239"/>
                  </a:moveTo>
                  <a:cubicBezTo>
                    <a:pt x="1060" y="239"/>
                    <a:pt x="1060" y="240"/>
                    <a:pt x="1060" y="241"/>
                  </a:cubicBezTo>
                  <a:cubicBezTo>
                    <a:pt x="1060" y="241"/>
                    <a:pt x="1060" y="241"/>
                    <a:pt x="1061" y="241"/>
                  </a:cubicBezTo>
                  <a:cubicBezTo>
                    <a:pt x="1061" y="240"/>
                    <a:pt x="1061" y="239"/>
                    <a:pt x="1061" y="239"/>
                  </a:cubicBezTo>
                  <a:moveTo>
                    <a:pt x="1060" y="242"/>
                  </a:moveTo>
                  <a:cubicBezTo>
                    <a:pt x="1060" y="242"/>
                    <a:pt x="1060" y="242"/>
                    <a:pt x="1059" y="242"/>
                  </a:cubicBezTo>
                  <a:cubicBezTo>
                    <a:pt x="1059" y="242"/>
                    <a:pt x="1059" y="243"/>
                    <a:pt x="1059" y="243"/>
                  </a:cubicBezTo>
                  <a:cubicBezTo>
                    <a:pt x="1060" y="243"/>
                    <a:pt x="1060" y="243"/>
                    <a:pt x="1060" y="243"/>
                  </a:cubicBezTo>
                  <a:cubicBezTo>
                    <a:pt x="1060" y="243"/>
                    <a:pt x="1060" y="242"/>
                    <a:pt x="1060" y="242"/>
                  </a:cubicBezTo>
                  <a:moveTo>
                    <a:pt x="1060" y="245"/>
                  </a:moveTo>
                  <a:cubicBezTo>
                    <a:pt x="1060" y="245"/>
                    <a:pt x="1060" y="245"/>
                    <a:pt x="1059" y="245"/>
                  </a:cubicBezTo>
                  <a:cubicBezTo>
                    <a:pt x="1059" y="248"/>
                    <a:pt x="1059" y="251"/>
                    <a:pt x="1059" y="253"/>
                  </a:cubicBezTo>
                  <a:cubicBezTo>
                    <a:pt x="1059" y="253"/>
                    <a:pt x="1059" y="253"/>
                    <a:pt x="1060" y="253"/>
                  </a:cubicBezTo>
                  <a:cubicBezTo>
                    <a:pt x="1060" y="251"/>
                    <a:pt x="1060" y="248"/>
                    <a:pt x="1060" y="245"/>
                  </a:cubicBezTo>
                  <a:moveTo>
                    <a:pt x="1324" y="253"/>
                  </a:moveTo>
                  <a:cubicBezTo>
                    <a:pt x="1320" y="257"/>
                    <a:pt x="1316" y="261"/>
                    <a:pt x="1312" y="264"/>
                  </a:cubicBezTo>
                  <a:cubicBezTo>
                    <a:pt x="1314" y="263"/>
                    <a:pt x="1316" y="261"/>
                    <a:pt x="1319" y="259"/>
                  </a:cubicBezTo>
                  <a:cubicBezTo>
                    <a:pt x="1320" y="258"/>
                    <a:pt x="1322" y="256"/>
                    <a:pt x="1324" y="255"/>
                  </a:cubicBezTo>
                  <a:cubicBezTo>
                    <a:pt x="1324" y="254"/>
                    <a:pt x="1324" y="254"/>
                    <a:pt x="1324" y="253"/>
                  </a:cubicBezTo>
                  <a:moveTo>
                    <a:pt x="1060" y="254"/>
                  </a:moveTo>
                  <a:cubicBezTo>
                    <a:pt x="1059" y="254"/>
                    <a:pt x="1059" y="254"/>
                    <a:pt x="1059" y="254"/>
                  </a:cubicBezTo>
                  <a:cubicBezTo>
                    <a:pt x="1058" y="257"/>
                    <a:pt x="1058" y="260"/>
                    <a:pt x="1057" y="263"/>
                  </a:cubicBezTo>
                  <a:cubicBezTo>
                    <a:pt x="1058" y="261"/>
                    <a:pt x="1059" y="258"/>
                    <a:pt x="1059" y="255"/>
                  </a:cubicBezTo>
                  <a:cubicBezTo>
                    <a:pt x="1059" y="255"/>
                    <a:pt x="1060" y="255"/>
                    <a:pt x="1060" y="254"/>
                  </a:cubicBezTo>
                  <a:moveTo>
                    <a:pt x="1058" y="263"/>
                  </a:moveTo>
                  <a:cubicBezTo>
                    <a:pt x="1058" y="265"/>
                    <a:pt x="1057" y="267"/>
                    <a:pt x="1057" y="269"/>
                  </a:cubicBezTo>
                  <a:cubicBezTo>
                    <a:pt x="1057" y="269"/>
                    <a:pt x="1057" y="269"/>
                    <a:pt x="1057" y="270"/>
                  </a:cubicBezTo>
                  <a:cubicBezTo>
                    <a:pt x="1058" y="268"/>
                    <a:pt x="1058" y="265"/>
                    <a:pt x="1058" y="263"/>
                  </a:cubicBezTo>
                  <a:moveTo>
                    <a:pt x="1312" y="265"/>
                  </a:moveTo>
                  <a:cubicBezTo>
                    <a:pt x="1310" y="266"/>
                    <a:pt x="1308" y="268"/>
                    <a:pt x="1306" y="269"/>
                  </a:cubicBezTo>
                  <a:cubicBezTo>
                    <a:pt x="1305" y="270"/>
                    <a:pt x="1304" y="271"/>
                    <a:pt x="1303" y="272"/>
                  </a:cubicBezTo>
                  <a:cubicBezTo>
                    <a:pt x="1304" y="272"/>
                    <a:pt x="1304" y="272"/>
                    <a:pt x="1304" y="273"/>
                  </a:cubicBezTo>
                  <a:cubicBezTo>
                    <a:pt x="1307" y="270"/>
                    <a:pt x="1309" y="268"/>
                    <a:pt x="1312" y="265"/>
                  </a:cubicBezTo>
                  <a:moveTo>
                    <a:pt x="1056" y="270"/>
                  </a:moveTo>
                  <a:cubicBezTo>
                    <a:pt x="1056" y="270"/>
                    <a:pt x="1056" y="270"/>
                    <a:pt x="1056" y="270"/>
                  </a:cubicBezTo>
                  <a:cubicBezTo>
                    <a:pt x="1056" y="270"/>
                    <a:pt x="1056" y="270"/>
                    <a:pt x="1056" y="270"/>
                  </a:cubicBezTo>
                  <a:cubicBezTo>
                    <a:pt x="1056" y="270"/>
                    <a:pt x="1056" y="270"/>
                    <a:pt x="1056" y="270"/>
                  </a:cubicBezTo>
                  <a:moveTo>
                    <a:pt x="1057" y="271"/>
                  </a:moveTo>
                  <a:cubicBezTo>
                    <a:pt x="1056" y="271"/>
                    <a:pt x="1056" y="271"/>
                    <a:pt x="1056" y="271"/>
                  </a:cubicBezTo>
                  <a:cubicBezTo>
                    <a:pt x="1053" y="283"/>
                    <a:pt x="1049" y="294"/>
                    <a:pt x="1044" y="304"/>
                  </a:cubicBezTo>
                  <a:cubicBezTo>
                    <a:pt x="1044" y="304"/>
                    <a:pt x="1044" y="304"/>
                    <a:pt x="1045" y="304"/>
                  </a:cubicBezTo>
                  <a:cubicBezTo>
                    <a:pt x="1050" y="294"/>
                    <a:pt x="1054" y="283"/>
                    <a:pt x="1057" y="271"/>
                  </a:cubicBezTo>
                  <a:close/>
                  <a:moveTo>
                    <a:pt x="1303" y="273"/>
                  </a:moveTo>
                  <a:cubicBezTo>
                    <a:pt x="1302" y="273"/>
                    <a:pt x="1301" y="274"/>
                    <a:pt x="1300" y="275"/>
                  </a:cubicBezTo>
                  <a:cubicBezTo>
                    <a:pt x="1301" y="275"/>
                    <a:pt x="1301" y="275"/>
                    <a:pt x="1301" y="275"/>
                  </a:cubicBezTo>
                  <a:cubicBezTo>
                    <a:pt x="1302" y="275"/>
                    <a:pt x="1302" y="274"/>
                    <a:pt x="1303" y="274"/>
                  </a:cubicBezTo>
                  <a:cubicBezTo>
                    <a:pt x="1303" y="274"/>
                    <a:pt x="1303" y="274"/>
                    <a:pt x="1303" y="273"/>
                  </a:cubicBezTo>
                  <a:cubicBezTo>
                    <a:pt x="1303" y="273"/>
                    <a:pt x="1303" y="273"/>
                    <a:pt x="1303" y="273"/>
                  </a:cubicBezTo>
                  <a:moveTo>
                    <a:pt x="1300" y="275"/>
                  </a:moveTo>
                  <a:cubicBezTo>
                    <a:pt x="1298" y="277"/>
                    <a:pt x="1297" y="278"/>
                    <a:pt x="1295" y="280"/>
                  </a:cubicBezTo>
                  <a:cubicBezTo>
                    <a:pt x="1297" y="279"/>
                    <a:pt x="1298" y="278"/>
                    <a:pt x="1300" y="277"/>
                  </a:cubicBezTo>
                  <a:cubicBezTo>
                    <a:pt x="1300" y="277"/>
                    <a:pt x="1300" y="276"/>
                    <a:pt x="1301" y="276"/>
                  </a:cubicBezTo>
                  <a:cubicBezTo>
                    <a:pt x="1300" y="276"/>
                    <a:pt x="1300" y="276"/>
                    <a:pt x="1300" y="275"/>
                  </a:cubicBezTo>
                  <a:moveTo>
                    <a:pt x="368" y="277"/>
                  </a:moveTo>
                  <a:cubicBezTo>
                    <a:pt x="369" y="277"/>
                    <a:pt x="369" y="278"/>
                    <a:pt x="370" y="278"/>
                  </a:cubicBezTo>
                  <a:cubicBezTo>
                    <a:pt x="389" y="285"/>
                    <a:pt x="407" y="291"/>
                    <a:pt x="426" y="298"/>
                  </a:cubicBezTo>
                  <a:cubicBezTo>
                    <a:pt x="458" y="310"/>
                    <a:pt x="490" y="323"/>
                    <a:pt x="520" y="335"/>
                  </a:cubicBezTo>
                  <a:cubicBezTo>
                    <a:pt x="520" y="335"/>
                    <a:pt x="521" y="335"/>
                    <a:pt x="521" y="335"/>
                  </a:cubicBezTo>
                  <a:cubicBezTo>
                    <a:pt x="491" y="322"/>
                    <a:pt x="459" y="310"/>
                    <a:pt x="426" y="297"/>
                  </a:cubicBezTo>
                  <a:cubicBezTo>
                    <a:pt x="407" y="290"/>
                    <a:pt x="388" y="283"/>
                    <a:pt x="368" y="277"/>
                  </a:cubicBezTo>
                  <a:moveTo>
                    <a:pt x="1296" y="281"/>
                  </a:moveTo>
                  <a:cubicBezTo>
                    <a:pt x="1295" y="281"/>
                    <a:pt x="1293" y="282"/>
                    <a:pt x="1292" y="283"/>
                  </a:cubicBezTo>
                  <a:cubicBezTo>
                    <a:pt x="1292" y="284"/>
                    <a:pt x="1291" y="284"/>
                    <a:pt x="1291" y="285"/>
                  </a:cubicBezTo>
                  <a:cubicBezTo>
                    <a:pt x="1291" y="285"/>
                    <a:pt x="1290" y="285"/>
                    <a:pt x="1290" y="285"/>
                  </a:cubicBezTo>
                  <a:cubicBezTo>
                    <a:pt x="1288" y="287"/>
                    <a:pt x="1286" y="289"/>
                    <a:pt x="1284" y="291"/>
                  </a:cubicBezTo>
                  <a:cubicBezTo>
                    <a:pt x="1286" y="290"/>
                    <a:pt x="1287" y="290"/>
                    <a:pt x="1288" y="289"/>
                  </a:cubicBezTo>
                  <a:cubicBezTo>
                    <a:pt x="1289" y="288"/>
                    <a:pt x="1290" y="287"/>
                    <a:pt x="1291" y="285"/>
                  </a:cubicBezTo>
                  <a:cubicBezTo>
                    <a:pt x="1293" y="284"/>
                    <a:pt x="1294" y="282"/>
                    <a:pt x="1296" y="281"/>
                  </a:cubicBezTo>
                  <a:moveTo>
                    <a:pt x="1285" y="292"/>
                  </a:moveTo>
                  <a:cubicBezTo>
                    <a:pt x="1284" y="293"/>
                    <a:pt x="1283" y="293"/>
                    <a:pt x="1282" y="294"/>
                  </a:cubicBezTo>
                  <a:cubicBezTo>
                    <a:pt x="1282" y="294"/>
                    <a:pt x="1281" y="295"/>
                    <a:pt x="1281" y="295"/>
                  </a:cubicBezTo>
                  <a:cubicBezTo>
                    <a:pt x="1280" y="297"/>
                    <a:pt x="1278" y="298"/>
                    <a:pt x="1277" y="299"/>
                  </a:cubicBezTo>
                  <a:cubicBezTo>
                    <a:pt x="1277" y="300"/>
                    <a:pt x="1277" y="300"/>
                    <a:pt x="1277" y="300"/>
                  </a:cubicBezTo>
                  <a:cubicBezTo>
                    <a:pt x="1278" y="300"/>
                    <a:pt x="1278" y="299"/>
                    <a:pt x="1279" y="299"/>
                  </a:cubicBezTo>
                  <a:cubicBezTo>
                    <a:pt x="1281" y="297"/>
                    <a:pt x="1283" y="294"/>
                    <a:pt x="1285" y="292"/>
                  </a:cubicBezTo>
                  <a:moveTo>
                    <a:pt x="1276" y="300"/>
                  </a:moveTo>
                  <a:cubicBezTo>
                    <a:pt x="1276" y="300"/>
                    <a:pt x="1276" y="301"/>
                    <a:pt x="1276" y="301"/>
                  </a:cubicBezTo>
                  <a:cubicBezTo>
                    <a:pt x="1276" y="301"/>
                    <a:pt x="1276" y="301"/>
                    <a:pt x="1277" y="300"/>
                  </a:cubicBezTo>
                  <a:cubicBezTo>
                    <a:pt x="1277" y="300"/>
                    <a:pt x="1276" y="300"/>
                    <a:pt x="1276" y="300"/>
                  </a:cubicBezTo>
                  <a:moveTo>
                    <a:pt x="1277" y="302"/>
                  </a:moveTo>
                  <a:cubicBezTo>
                    <a:pt x="1277" y="302"/>
                    <a:pt x="1277" y="302"/>
                    <a:pt x="1276" y="302"/>
                  </a:cubicBezTo>
                  <a:cubicBezTo>
                    <a:pt x="1276" y="302"/>
                    <a:pt x="1276" y="302"/>
                    <a:pt x="1276" y="302"/>
                  </a:cubicBezTo>
                  <a:cubicBezTo>
                    <a:pt x="1277" y="302"/>
                    <a:pt x="1277" y="302"/>
                    <a:pt x="1277" y="302"/>
                  </a:cubicBezTo>
                  <a:moveTo>
                    <a:pt x="1276" y="302"/>
                  </a:moveTo>
                  <a:cubicBezTo>
                    <a:pt x="1275" y="303"/>
                    <a:pt x="1275" y="303"/>
                    <a:pt x="1274" y="303"/>
                  </a:cubicBezTo>
                  <a:cubicBezTo>
                    <a:pt x="1273" y="305"/>
                    <a:pt x="1272" y="307"/>
                    <a:pt x="1270" y="308"/>
                  </a:cubicBezTo>
                  <a:cubicBezTo>
                    <a:pt x="1270" y="308"/>
                    <a:pt x="1270" y="309"/>
                    <a:pt x="1270" y="309"/>
                  </a:cubicBezTo>
                  <a:cubicBezTo>
                    <a:pt x="1270" y="309"/>
                    <a:pt x="1270" y="309"/>
                    <a:pt x="1271" y="309"/>
                  </a:cubicBezTo>
                  <a:cubicBezTo>
                    <a:pt x="1271" y="309"/>
                    <a:pt x="1271" y="309"/>
                    <a:pt x="1271" y="309"/>
                  </a:cubicBezTo>
                  <a:cubicBezTo>
                    <a:pt x="1271" y="308"/>
                    <a:pt x="1272" y="308"/>
                    <a:pt x="1272" y="307"/>
                  </a:cubicBezTo>
                  <a:cubicBezTo>
                    <a:pt x="1273" y="306"/>
                    <a:pt x="1275" y="304"/>
                    <a:pt x="1276" y="303"/>
                  </a:cubicBezTo>
                  <a:cubicBezTo>
                    <a:pt x="1276" y="303"/>
                    <a:pt x="1276" y="302"/>
                    <a:pt x="1276" y="302"/>
                  </a:cubicBezTo>
                  <a:moveTo>
                    <a:pt x="1044" y="305"/>
                  </a:moveTo>
                  <a:cubicBezTo>
                    <a:pt x="1044" y="305"/>
                    <a:pt x="1043" y="305"/>
                    <a:pt x="1043" y="305"/>
                  </a:cubicBezTo>
                  <a:cubicBezTo>
                    <a:pt x="1040" y="311"/>
                    <a:pt x="1036" y="317"/>
                    <a:pt x="1032" y="323"/>
                  </a:cubicBezTo>
                  <a:cubicBezTo>
                    <a:pt x="1032" y="323"/>
                    <a:pt x="1033" y="323"/>
                    <a:pt x="1033" y="322"/>
                  </a:cubicBezTo>
                  <a:cubicBezTo>
                    <a:pt x="1037" y="317"/>
                    <a:pt x="1041" y="311"/>
                    <a:pt x="1044" y="305"/>
                  </a:cubicBezTo>
                  <a:moveTo>
                    <a:pt x="1269" y="310"/>
                  </a:moveTo>
                  <a:cubicBezTo>
                    <a:pt x="1269" y="310"/>
                    <a:pt x="1269" y="310"/>
                    <a:pt x="1269" y="310"/>
                  </a:cubicBezTo>
                  <a:cubicBezTo>
                    <a:pt x="1267" y="313"/>
                    <a:pt x="1265" y="316"/>
                    <a:pt x="1263" y="319"/>
                  </a:cubicBezTo>
                  <a:cubicBezTo>
                    <a:pt x="1263" y="320"/>
                    <a:pt x="1263" y="320"/>
                    <a:pt x="1263" y="321"/>
                  </a:cubicBezTo>
                  <a:cubicBezTo>
                    <a:pt x="1265" y="318"/>
                    <a:pt x="1267" y="314"/>
                    <a:pt x="1270" y="310"/>
                  </a:cubicBezTo>
                  <a:cubicBezTo>
                    <a:pt x="1270" y="310"/>
                    <a:pt x="1269" y="310"/>
                    <a:pt x="1269" y="310"/>
                  </a:cubicBezTo>
                  <a:moveTo>
                    <a:pt x="159" y="317"/>
                  </a:moveTo>
                  <a:cubicBezTo>
                    <a:pt x="159" y="317"/>
                    <a:pt x="159" y="317"/>
                    <a:pt x="159" y="317"/>
                  </a:cubicBezTo>
                  <a:cubicBezTo>
                    <a:pt x="158" y="317"/>
                    <a:pt x="158" y="317"/>
                    <a:pt x="158" y="317"/>
                  </a:cubicBezTo>
                  <a:cubicBezTo>
                    <a:pt x="323" y="407"/>
                    <a:pt x="473" y="460"/>
                    <a:pt x="603" y="491"/>
                  </a:cubicBezTo>
                  <a:cubicBezTo>
                    <a:pt x="603" y="491"/>
                    <a:pt x="604" y="491"/>
                    <a:pt x="604" y="491"/>
                  </a:cubicBezTo>
                  <a:cubicBezTo>
                    <a:pt x="474" y="460"/>
                    <a:pt x="323" y="406"/>
                    <a:pt x="159" y="317"/>
                  </a:cubicBezTo>
                  <a:moveTo>
                    <a:pt x="1262" y="321"/>
                  </a:moveTo>
                  <a:cubicBezTo>
                    <a:pt x="1261" y="322"/>
                    <a:pt x="1260" y="324"/>
                    <a:pt x="1259" y="325"/>
                  </a:cubicBezTo>
                  <a:cubicBezTo>
                    <a:pt x="1260" y="325"/>
                    <a:pt x="1260" y="325"/>
                    <a:pt x="1261" y="325"/>
                  </a:cubicBezTo>
                  <a:cubicBezTo>
                    <a:pt x="1261" y="324"/>
                    <a:pt x="1261" y="324"/>
                    <a:pt x="1261" y="324"/>
                  </a:cubicBezTo>
                  <a:cubicBezTo>
                    <a:pt x="1261" y="323"/>
                    <a:pt x="1262" y="322"/>
                    <a:pt x="1262" y="321"/>
                  </a:cubicBezTo>
                  <a:moveTo>
                    <a:pt x="1032" y="323"/>
                  </a:moveTo>
                  <a:cubicBezTo>
                    <a:pt x="1032" y="324"/>
                    <a:pt x="1031" y="324"/>
                    <a:pt x="1031" y="324"/>
                  </a:cubicBezTo>
                  <a:cubicBezTo>
                    <a:pt x="1029" y="327"/>
                    <a:pt x="1026" y="329"/>
                    <a:pt x="1023" y="332"/>
                  </a:cubicBezTo>
                  <a:cubicBezTo>
                    <a:pt x="1024" y="332"/>
                    <a:pt x="1025" y="332"/>
                    <a:pt x="1025" y="332"/>
                  </a:cubicBezTo>
                  <a:cubicBezTo>
                    <a:pt x="1028" y="329"/>
                    <a:pt x="1030" y="326"/>
                    <a:pt x="1032" y="323"/>
                  </a:cubicBezTo>
                  <a:moveTo>
                    <a:pt x="1260" y="326"/>
                  </a:moveTo>
                  <a:cubicBezTo>
                    <a:pt x="1260" y="326"/>
                    <a:pt x="1259" y="326"/>
                    <a:pt x="1259" y="326"/>
                  </a:cubicBezTo>
                  <a:cubicBezTo>
                    <a:pt x="1257" y="331"/>
                    <a:pt x="1255" y="334"/>
                    <a:pt x="1254" y="338"/>
                  </a:cubicBezTo>
                  <a:cubicBezTo>
                    <a:pt x="1254" y="338"/>
                    <a:pt x="1254" y="338"/>
                    <a:pt x="1255" y="338"/>
                  </a:cubicBezTo>
                  <a:cubicBezTo>
                    <a:pt x="1256" y="334"/>
                    <a:pt x="1258" y="330"/>
                    <a:pt x="1260" y="326"/>
                  </a:cubicBezTo>
                  <a:moveTo>
                    <a:pt x="1024" y="333"/>
                  </a:moveTo>
                  <a:cubicBezTo>
                    <a:pt x="1023" y="333"/>
                    <a:pt x="1023" y="333"/>
                    <a:pt x="1022" y="334"/>
                  </a:cubicBezTo>
                  <a:cubicBezTo>
                    <a:pt x="1021" y="335"/>
                    <a:pt x="1020" y="336"/>
                    <a:pt x="1018" y="337"/>
                  </a:cubicBezTo>
                  <a:cubicBezTo>
                    <a:pt x="1019" y="337"/>
                    <a:pt x="1020" y="336"/>
                    <a:pt x="1021" y="336"/>
                  </a:cubicBezTo>
                  <a:cubicBezTo>
                    <a:pt x="1022" y="335"/>
                    <a:pt x="1023" y="334"/>
                    <a:pt x="1024" y="333"/>
                  </a:cubicBezTo>
                  <a:moveTo>
                    <a:pt x="522" y="335"/>
                  </a:moveTo>
                  <a:cubicBezTo>
                    <a:pt x="522" y="335"/>
                    <a:pt x="522" y="335"/>
                    <a:pt x="521" y="336"/>
                  </a:cubicBezTo>
                  <a:cubicBezTo>
                    <a:pt x="522" y="336"/>
                    <a:pt x="524" y="337"/>
                    <a:pt x="525" y="337"/>
                  </a:cubicBezTo>
                  <a:cubicBezTo>
                    <a:pt x="525" y="337"/>
                    <a:pt x="526" y="337"/>
                    <a:pt x="526" y="337"/>
                  </a:cubicBezTo>
                  <a:cubicBezTo>
                    <a:pt x="525" y="336"/>
                    <a:pt x="523" y="336"/>
                    <a:pt x="522" y="335"/>
                  </a:cubicBezTo>
                  <a:moveTo>
                    <a:pt x="527" y="337"/>
                  </a:moveTo>
                  <a:cubicBezTo>
                    <a:pt x="526" y="337"/>
                    <a:pt x="526" y="337"/>
                    <a:pt x="526" y="338"/>
                  </a:cubicBezTo>
                  <a:cubicBezTo>
                    <a:pt x="528" y="339"/>
                    <a:pt x="530" y="339"/>
                    <a:pt x="532" y="340"/>
                  </a:cubicBezTo>
                  <a:cubicBezTo>
                    <a:pt x="532" y="340"/>
                    <a:pt x="532" y="340"/>
                    <a:pt x="532" y="339"/>
                  </a:cubicBezTo>
                  <a:cubicBezTo>
                    <a:pt x="530" y="339"/>
                    <a:pt x="528" y="338"/>
                    <a:pt x="527" y="337"/>
                  </a:cubicBezTo>
                  <a:moveTo>
                    <a:pt x="1019" y="338"/>
                  </a:moveTo>
                  <a:cubicBezTo>
                    <a:pt x="1018" y="338"/>
                    <a:pt x="1018" y="339"/>
                    <a:pt x="1017" y="339"/>
                  </a:cubicBezTo>
                  <a:cubicBezTo>
                    <a:pt x="1018" y="339"/>
                    <a:pt x="1018" y="339"/>
                    <a:pt x="1018" y="339"/>
                  </a:cubicBezTo>
                  <a:cubicBezTo>
                    <a:pt x="1018" y="339"/>
                    <a:pt x="1019" y="338"/>
                    <a:pt x="1019" y="338"/>
                  </a:cubicBezTo>
                  <a:moveTo>
                    <a:pt x="1254" y="339"/>
                  </a:moveTo>
                  <a:cubicBezTo>
                    <a:pt x="1254" y="339"/>
                    <a:pt x="1254" y="339"/>
                    <a:pt x="1253" y="340"/>
                  </a:cubicBezTo>
                  <a:cubicBezTo>
                    <a:pt x="1253" y="340"/>
                    <a:pt x="1253" y="341"/>
                    <a:pt x="1252" y="342"/>
                  </a:cubicBezTo>
                  <a:cubicBezTo>
                    <a:pt x="1253" y="343"/>
                    <a:pt x="1253" y="343"/>
                    <a:pt x="1253" y="343"/>
                  </a:cubicBezTo>
                  <a:cubicBezTo>
                    <a:pt x="1254" y="341"/>
                    <a:pt x="1254" y="340"/>
                    <a:pt x="1254" y="339"/>
                  </a:cubicBezTo>
                  <a:moveTo>
                    <a:pt x="533" y="340"/>
                  </a:moveTo>
                  <a:cubicBezTo>
                    <a:pt x="533" y="340"/>
                    <a:pt x="533" y="340"/>
                    <a:pt x="533" y="341"/>
                  </a:cubicBezTo>
                  <a:cubicBezTo>
                    <a:pt x="536" y="342"/>
                    <a:pt x="539" y="343"/>
                    <a:pt x="541" y="344"/>
                  </a:cubicBezTo>
                  <a:cubicBezTo>
                    <a:pt x="541" y="344"/>
                    <a:pt x="541" y="344"/>
                    <a:pt x="541" y="343"/>
                  </a:cubicBezTo>
                  <a:cubicBezTo>
                    <a:pt x="538" y="342"/>
                    <a:pt x="536" y="341"/>
                    <a:pt x="533" y="340"/>
                  </a:cubicBezTo>
                  <a:moveTo>
                    <a:pt x="1017" y="340"/>
                  </a:moveTo>
                  <a:cubicBezTo>
                    <a:pt x="1016" y="340"/>
                    <a:pt x="1016" y="340"/>
                    <a:pt x="1015" y="340"/>
                  </a:cubicBezTo>
                  <a:cubicBezTo>
                    <a:pt x="1012" y="343"/>
                    <a:pt x="1008" y="346"/>
                    <a:pt x="1004" y="349"/>
                  </a:cubicBezTo>
                  <a:cubicBezTo>
                    <a:pt x="1004" y="349"/>
                    <a:pt x="1005" y="349"/>
                    <a:pt x="1006" y="349"/>
                  </a:cubicBezTo>
                  <a:cubicBezTo>
                    <a:pt x="1010" y="346"/>
                    <a:pt x="1013" y="343"/>
                    <a:pt x="1017" y="340"/>
                  </a:cubicBezTo>
                  <a:moveTo>
                    <a:pt x="1252" y="343"/>
                  </a:moveTo>
                  <a:cubicBezTo>
                    <a:pt x="1252" y="345"/>
                    <a:pt x="1251" y="346"/>
                    <a:pt x="1251" y="347"/>
                  </a:cubicBezTo>
                  <a:cubicBezTo>
                    <a:pt x="1252" y="347"/>
                    <a:pt x="1252" y="347"/>
                    <a:pt x="1252" y="347"/>
                  </a:cubicBezTo>
                  <a:cubicBezTo>
                    <a:pt x="1253" y="346"/>
                    <a:pt x="1253" y="345"/>
                    <a:pt x="1253" y="344"/>
                  </a:cubicBezTo>
                  <a:cubicBezTo>
                    <a:pt x="1253" y="344"/>
                    <a:pt x="1252" y="343"/>
                    <a:pt x="1252" y="343"/>
                  </a:cubicBezTo>
                  <a:moveTo>
                    <a:pt x="542" y="344"/>
                  </a:moveTo>
                  <a:cubicBezTo>
                    <a:pt x="542" y="344"/>
                    <a:pt x="542" y="344"/>
                    <a:pt x="543" y="345"/>
                  </a:cubicBezTo>
                  <a:cubicBezTo>
                    <a:pt x="546" y="346"/>
                    <a:pt x="550" y="348"/>
                    <a:pt x="553" y="350"/>
                  </a:cubicBezTo>
                  <a:cubicBezTo>
                    <a:pt x="554" y="349"/>
                    <a:pt x="554" y="349"/>
                    <a:pt x="555" y="349"/>
                  </a:cubicBezTo>
                  <a:cubicBezTo>
                    <a:pt x="551" y="347"/>
                    <a:pt x="546" y="345"/>
                    <a:pt x="542" y="344"/>
                  </a:cubicBezTo>
                  <a:moveTo>
                    <a:pt x="1252" y="348"/>
                  </a:moveTo>
                  <a:cubicBezTo>
                    <a:pt x="1252" y="348"/>
                    <a:pt x="1251" y="348"/>
                    <a:pt x="1251" y="349"/>
                  </a:cubicBezTo>
                  <a:cubicBezTo>
                    <a:pt x="1251" y="349"/>
                    <a:pt x="1251" y="349"/>
                    <a:pt x="1251" y="350"/>
                  </a:cubicBezTo>
                  <a:cubicBezTo>
                    <a:pt x="1251" y="350"/>
                    <a:pt x="1252" y="350"/>
                    <a:pt x="1252" y="349"/>
                  </a:cubicBezTo>
                  <a:cubicBezTo>
                    <a:pt x="1252" y="349"/>
                    <a:pt x="1252" y="349"/>
                    <a:pt x="1252" y="348"/>
                  </a:cubicBezTo>
                  <a:moveTo>
                    <a:pt x="556" y="350"/>
                  </a:moveTo>
                  <a:cubicBezTo>
                    <a:pt x="555" y="350"/>
                    <a:pt x="555" y="350"/>
                    <a:pt x="555" y="350"/>
                  </a:cubicBezTo>
                  <a:cubicBezTo>
                    <a:pt x="555" y="350"/>
                    <a:pt x="556" y="351"/>
                    <a:pt x="557" y="351"/>
                  </a:cubicBezTo>
                  <a:cubicBezTo>
                    <a:pt x="557" y="351"/>
                    <a:pt x="556" y="350"/>
                    <a:pt x="556" y="350"/>
                  </a:cubicBezTo>
                  <a:moveTo>
                    <a:pt x="558" y="350"/>
                  </a:moveTo>
                  <a:cubicBezTo>
                    <a:pt x="558" y="351"/>
                    <a:pt x="558" y="351"/>
                    <a:pt x="559" y="352"/>
                  </a:cubicBezTo>
                  <a:cubicBezTo>
                    <a:pt x="567" y="356"/>
                    <a:pt x="575" y="359"/>
                    <a:pt x="583" y="363"/>
                  </a:cubicBezTo>
                  <a:cubicBezTo>
                    <a:pt x="582" y="362"/>
                    <a:pt x="581" y="361"/>
                    <a:pt x="580" y="361"/>
                  </a:cubicBezTo>
                  <a:cubicBezTo>
                    <a:pt x="573" y="357"/>
                    <a:pt x="565" y="354"/>
                    <a:pt x="558" y="350"/>
                  </a:cubicBezTo>
                  <a:moveTo>
                    <a:pt x="1004" y="350"/>
                  </a:moveTo>
                  <a:cubicBezTo>
                    <a:pt x="1003" y="350"/>
                    <a:pt x="1003" y="350"/>
                    <a:pt x="1002" y="351"/>
                  </a:cubicBezTo>
                  <a:cubicBezTo>
                    <a:pt x="1000" y="352"/>
                    <a:pt x="998" y="353"/>
                    <a:pt x="995" y="355"/>
                  </a:cubicBezTo>
                  <a:cubicBezTo>
                    <a:pt x="996" y="355"/>
                    <a:pt x="997" y="355"/>
                    <a:pt x="998" y="355"/>
                  </a:cubicBezTo>
                  <a:cubicBezTo>
                    <a:pt x="1000" y="353"/>
                    <a:pt x="1002" y="352"/>
                    <a:pt x="1004" y="350"/>
                  </a:cubicBezTo>
                  <a:moveTo>
                    <a:pt x="1252" y="351"/>
                  </a:moveTo>
                  <a:cubicBezTo>
                    <a:pt x="1251" y="351"/>
                    <a:pt x="1251" y="351"/>
                    <a:pt x="1251" y="351"/>
                  </a:cubicBezTo>
                  <a:cubicBezTo>
                    <a:pt x="1251" y="353"/>
                    <a:pt x="1251" y="354"/>
                    <a:pt x="1250" y="356"/>
                  </a:cubicBezTo>
                  <a:cubicBezTo>
                    <a:pt x="1251" y="358"/>
                    <a:pt x="1251" y="360"/>
                    <a:pt x="1251" y="361"/>
                  </a:cubicBezTo>
                  <a:cubicBezTo>
                    <a:pt x="1251" y="361"/>
                    <a:pt x="1251" y="361"/>
                    <a:pt x="1252" y="361"/>
                  </a:cubicBezTo>
                  <a:cubicBezTo>
                    <a:pt x="1252" y="359"/>
                    <a:pt x="1252" y="358"/>
                    <a:pt x="1252" y="356"/>
                  </a:cubicBezTo>
                  <a:cubicBezTo>
                    <a:pt x="1252" y="354"/>
                    <a:pt x="1252" y="352"/>
                    <a:pt x="1252" y="351"/>
                  </a:cubicBezTo>
                  <a:moveTo>
                    <a:pt x="996" y="356"/>
                  </a:moveTo>
                  <a:cubicBezTo>
                    <a:pt x="995" y="356"/>
                    <a:pt x="994" y="356"/>
                    <a:pt x="993" y="356"/>
                  </a:cubicBezTo>
                  <a:cubicBezTo>
                    <a:pt x="983" y="362"/>
                    <a:pt x="972" y="368"/>
                    <a:pt x="960" y="373"/>
                  </a:cubicBezTo>
                  <a:cubicBezTo>
                    <a:pt x="961" y="373"/>
                    <a:pt x="962" y="373"/>
                    <a:pt x="963" y="373"/>
                  </a:cubicBezTo>
                  <a:cubicBezTo>
                    <a:pt x="963" y="373"/>
                    <a:pt x="963" y="373"/>
                    <a:pt x="963" y="373"/>
                  </a:cubicBezTo>
                  <a:cubicBezTo>
                    <a:pt x="975" y="368"/>
                    <a:pt x="986" y="362"/>
                    <a:pt x="996" y="356"/>
                  </a:cubicBezTo>
                  <a:moveTo>
                    <a:pt x="1446" y="362"/>
                  </a:moveTo>
                  <a:cubicBezTo>
                    <a:pt x="1441" y="362"/>
                    <a:pt x="1434" y="364"/>
                    <a:pt x="1424" y="367"/>
                  </a:cubicBezTo>
                  <a:cubicBezTo>
                    <a:pt x="1423" y="368"/>
                    <a:pt x="1421" y="369"/>
                    <a:pt x="1420" y="370"/>
                  </a:cubicBezTo>
                  <a:cubicBezTo>
                    <a:pt x="1432" y="365"/>
                    <a:pt x="1440" y="363"/>
                    <a:pt x="1446" y="363"/>
                  </a:cubicBezTo>
                  <a:cubicBezTo>
                    <a:pt x="1452" y="363"/>
                    <a:pt x="1455" y="365"/>
                    <a:pt x="1455" y="369"/>
                  </a:cubicBezTo>
                  <a:cubicBezTo>
                    <a:pt x="1455" y="377"/>
                    <a:pt x="1442" y="393"/>
                    <a:pt x="1423" y="406"/>
                  </a:cubicBezTo>
                  <a:cubicBezTo>
                    <a:pt x="1406" y="417"/>
                    <a:pt x="1384" y="427"/>
                    <a:pt x="1360" y="429"/>
                  </a:cubicBezTo>
                  <a:cubicBezTo>
                    <a:pt x="1360" y="429"/>
                    <a:pt x="1360" y="430"/>
                    <a:pt x="1360" y="430"/>
                  </a:cubicBezTo>
                  <a:cubicBezTo>
                    <a:pt x="1411" y="426"/>
                    <a:pt x="1456" y="386"/>
                    <a:pt x="1456" y="369"/>
                  </a:cubicBezTo>
                  <a:cubicBezTo>
                    <a:pt x="1456" y="365"/>
                    <a:pt x="1453" y="362"/>
                    <a:pt x="1446" y="362"/>
                  </a:cubicBezTo>
                  <a:moveTo>
                    <a:pt x="584" y="362"/>
                  </a:moveTo>
                  <a:cubicBezTo>
                    <a:pt x="584" y="363"/>
                    <a:pt x="585" y="363"/>
                    <a:pt x="585" y="364"/>
                  </a:cubicBezTo>
                  <a:cubicBezTo>
                    <a:pt x="585" y="363"/>
                    <a:pt x="585" y="363"/>
                    <a:pt x="586" y="363"/>
                  </a:cubicBezTo>
                  <a:cubicBezTo>
                    <a:pt x="585" y="363"/>
                    <a:pt x="584" y="362"/>
                    <a:pt x="584" y="362"/>
                  </a:cubicBezTo>
                  <a:moveTo>
                    <a:pt x="1252" y="362"/>
                  </a:moveTo>
                  <a:cubicBezTo>
                    <a:pt x="1252" y="362"/>
                    <a:pt x="1251" y="362"/>
                    <a:pt x="1251" y="362"/>
                  </a:cubicBezTo>
                  <a:cubicBezTo>
                    <a:pt x="1252" y="367"/>
                    <a:pt x="1253" y="372"/>
                    <a:pt x="1256" y="377"/>
                  </a:cubicBezTo>
                  <a:cubicBezTo>
                    <a:pt x="1256" y="377"/>
                    <a:pt x="1256" y="377"/>
                    <a:pt x="1257" y="377"/>
                  </a:cubicBezTo>
                  <a:cubicBezTo>
                    <a:pt x="1254" y="372"/>
                    <a:pt x="1253" y="367"/>
                    <a:pt x="1252" y="362"/>
                  </a:cubicBezTo>
                  <a:moveTo>
                    <a:pt x="586" y="363"/>
                  </a:moveTo>
                  <a:cubicBezTo>
                    <a:pt x="586" y="364"/>
                    <a:pt x="586" y="364"/>
                    <a:pt x="586" y="364"/>
                  </a:cubicBezTo>
                  <a:cubicBezTo>
                    <a:pt x="586" y="364"/>
                    <a:pt x="587" y="365"/>
                    <a:pt x="587" y="365"/>
                  </a:cubicBezTo>
                  <a:cubicBezTo>
                    <a:pt x="588" y="365"/>
                    <a:pt x="590" y="366"/>
                    <a:pt x="591" y="367"/>
                  </a:cubicBezTo>
                  <a:cubicBezTo>
                    <a:pt x="591" y="366"/>
                    <a:pt x="590" y="366"/>
                    <a:pt x="590" y="365"/>
                  </a:cubicBezTo>
                  <a:cubicBezTo>
                    <a:pt x="589" y="364"/>
                    <a:pt x="587" y="364"/>
                    <a:pt x="586" y="363"/>
                  </a:cubicBezTo>
                  <a:moveTo>
                    <a:pt x="592" y="366"/>
                  </a:moveTo>
                  <a:cubicBezTo>
                    <a:pt x="592" y="367"/>
                    <a:pt x="593" y="367"/>
                    <a:pt x="593" y="368"/>
                  </a:cubicBezTo>
                  <a:cubicBezTo>
                    <a:pt x="600" y="371"/>
                    <a:pt x="606" y="374"/>
                    <a:pt x="613" y="377"/>
                  </a:cubicBezTo>
                  <a:cubicBezTo>
                    <a:pt x="613" y="377"/>
                    <a:pt x="614" y="377"/>
                    <a:pt x="614" y="377"/>
                  </a:cubicBezTo>
                  <a:cubicBezTo>
                    <a:pt x="607" y="373"/>
                    <a:pt x="599" y="370"/>
                    <a:pt x="592" y="366"/>
                  </a:cubicBezTo>
                  <a:moveTo>
                    <a:pt x="1420" y="369"/>
                  </a:moveTo>
                  <a:cubicBezTo>
                    <a:pt x="1414" y="371"/>
                    <a:pt x="1407" y="374"/>
                    <a:pt x="1400" y="377"/>
                  </a:cubicBezTo>
                  <a:cubicBezTo>
                    <a:pt x="1399" y="378"/>
                    <a:pt x="1398" y="379"/>
                    <a:pt x="1397" y="380"/>
                  </a:cubicBezTo>
                  <a:cubicBezTo>
                    <a:pt x="1403" y="377"/>
                    <a:pt x="1409" y="374"/>
                    <a:pt x="1414" y="372"/>
                  </a:cubicBezTo>
                  <a:cubicBezTo>
                    <a:pt x="1416" y="371"/>
                    <a:pt x="1418" y="370"/>
                    <a:pt x="1420" y="369"/>
                  </a:cubicBezTo>
                  <a:moveTo>
                    <a:pt x="959" y="374"/>
                  </a:moveTo>
                  <a:cubicBezTo>
                    <a:pt x="957" y="375"/>
                    <a:pt x="955" y="375"/>
                    <a:pt x="953" y="375"/>
                  </a:cubicBezTo>
                  <a:cubicBezTo>
                    <a:pt x="949" y="377"/>
                    <a:pt x="945" y="378"/>
                    <a:pt x="940" y="380"/>
                  </a:cubicBezTo>
                  <a:cubicBezTo>
                    <a:pt x="941" y="380"/>
                    <a:pt x="942" y="380"/>
                    <a:pt x="942" y="380"/>
                  </a:cubicBezTo>
                  <a:cubicBezTo>
                    <a:pt x="948" y="378"/>
                    <a:pt x="954" y="376"/>
                    <a:pt x="959" y="374"/>
                  </a:cubicBezTo>
                  <a:moveTo>
                    <a:pt x="615" y="377"/>
                  </a:moveTo>
                  <a:cubicBezTo>
                    <a:pt x="615" y="378"/>
                    <a:pt x="614" y="378"/>
                    <a:pt x="614" y="378"/>
                  </a:cubicBezTo>
                  <a:cubicBezTo>
                    <a:pt x="615" y="378"/>
                    <a:pt x="616" y="379"/>
                    <a:pt x="617" y="379"/>
                  </a:cubicBezTo>
                  <a:cubicBezTo>
                    <a:pt x="617" y="379"/>
                    <a:pt x="617" y="379"/>
                    <a:pt x="618" y="379"/>
                  </a:cubicBezTo>
                  <a:cubicBezTo>
                    <a:pt x="617" y="378"/>
                    <a:pt x="616" y="378"/>
                    <a:pt x="615" y="377"/>
                  </a:cubicBezTo>
                  <a:moveTo>
                    <a:pt x="1257" y="377"/>
                  </a:moveTo>
                  <a:cubicBezTo>
                    <a:pt x="1257" y="378"/>
                    <a:pt x="1256" y="378"/>
                    <a:pt x="1256" y="378"/>
                  </a:cubicBezTo>
                  <a:cubicBezTo>
                    <a:pt x="1256" y="378"/>
                    <a:pt x="1256" y="378"/>
                    <a:pt x="1256" y="378"/>
                  </a:cubicBezTo>
                  <a:cubicBezTo>
                    <a:pt x="1257" y="378"/>
                    <a:pt x="1257" y="378"/>
                    <a:pt x="1257" y="378"/>
                  </a:cubicBezTo>
                  <a:cubicBezTo>
                    <a:pt x="1257" y="378"/>
                    <a:pt x="1257" y="378"/>
                    <a:pt x="1257" y="377"/>
                  </a:cubicBezTo>
                  <a:moveTo>
                    <a:pt x="1258" y="379"/>
                  </a:moveTo>
                  <a:cubicBezTo>
                    <a:pt x="1257" y="379"/>
                    <a:pt x="1257" y="379"/>
                    <a:pt x="1257" y="379"/>
                  </a:cubicBezTo>
                  <a:cubicBezTo>
                    <a:pt x="1261" y="386"/>
                    <a:pt x="1267" y="393"/>
                    <a:pt x="1276" y="400"/>
                  </a:cubicBezTo>
                  <a:cubicBezTo>
                    <a:pt x="1276" y="400"/>
                    <a:pt x="1276" y="400"/>
                    <a:pt x="1277" y="399"/>
                  </a:cubicBezTo>
                  <a:cubicBezTo>
                    <a:pt x="1268" y="393"/>
                    <a:pt x="1262" y="386"/>
                    <a:pt x="1258" y="379"/>
                  </a:cubicBezTo>
                  <a:moveTo>
                    <a:pt x="619" y="379"/>
                  </a:moveTo>
                  <a:cubicBezTo>
                    <a:pt x="618" y="379"/>
                    <a:pt x="618" y="379"/>
                    <a:pt x="618" y="380"/>
                  </a:cubicBezTo>
                  <a:cubicBezTo>
                    <a:pt x="626" y="384"/>
                    <a:pt x="634" y="388"/>
                    <a:pt x="641" y="392"/>
                  </a:cubicBezTo>
                  <a:cubicBezTo>
                    <a:pt x="643" y="393"/>
                    <a:pt x="645" y="394"/>
                    <a:pt x="646" y="395"/>
                  </a:cubicBezTo>
                  <a:cubicBezTo>
                    <a:pt x="646" y="395"/>
                    <a:pt x="646" y="395"/>
                    <a:pt x="646" y="395"/>
                  </a:cubicBezTo>
                  <a:cubicBezTo>
                    <a:pt x="641" y="392"/>
                    <a:pt x="637" y="389"/>
                    <a:pt x="633" y="386"/>
                  </a:cubicBezTo>
                  <a:cubicBezTo>
                    <a:pt x="628" y="384"/>
                    <a:pt x="623" y="381"/>
                    <a:pt x="619" y="379"/>
                  </a:cubicBezTo>
                  <a:moveTo>
                    <a:pt x="1396" y="380"/>
                  </a:moveTo>
                  <a:cubicBezTo>
                    <a:pt x="1392" y="381"/>
                    <a:pt x="1388" y="384"/>
                    <a:pt x="1384" y="386"/>
                  </a:cubicBezTo>
                  <a:cubicBezTo>
                    <a:pt x="1386" y="385"/>
                    <a:pt x="1388" y="385"/>
                    <a:pt x="1390" y="384"/>
                  </a:cubicBezTo>
                  <a:cubicBezTo>
                    <a:pt x="1391" y="383"/>
                    <a:pt x="1392" y="383"/>
                    <a:pt x="1393" y="382"/>
                  </a:cubicBezTo>
                  <a:cubicBezTo>
                    <a:pt x="1394" y="381"/>
                    <a:pt x="1395" y="380"/>
                    <a:pt x="1396" y="380"/>
                  </a:cubicBezTo>
                  <a:moveTo>
                    <a:pt x="938" y="380"/>
                  </a:moveTo>
                  <a:cubicBezTo>
                    <a:pt x="938" y="381"/>
                    <a:pt x="937" y="381"/>
                    <a:pt x="937" y="381"/>
                  </a:cubicBezTo>
                  <a:cubicBezTo>
                    <a:pt x="933" y="382"/>
                    <a:pt x="930" y="383"/>
                    <a:pt x="927" y="384"/>
                  </a:cubicBezTo>
                  <a:cubicBezTo>
                    <a:pt x="927" y="384"/>
                    <a:pt x="928" y="384"/>
                    <a:pt x="929" y="384"/>
                  </a:cubicBezTo>
                  <a:cubicBezTo>
                    <a:pt x="932" y="384"/>
                    <a:pt x="935" y="383"/>
                    <a:pt x="937" y="382"/>
                  </a:cubicBezTo>
                  <a:cubicBezTo>
                    <a:pt x="938" y="382"/>
                    <a:pt x="939" y="381"/>
                    <a:pt x="940" y="381"/>
                  </a:cubicBezTo>
                  <a:cubicBezTo>
                    <a:pt x="940" y="381"/>
                    <a:pt x="939" y="381"/>
                    <a:pt x="938" y="380"/>
                  </a:cubicBezTo>
                  <a:moveTo>
                    <a:pt x="924" y="385"/>
                  </a:moveTo>
                  <a:cubicBezTo>
                    <a:pt x="922" y="386"/>
                    <a:pt x="921" y="386"/>
                    <a:pt x="919" y="387"/>
                  </a:cubicBezTo>
                  <a:cubicBezTo>
                    <a:pt x="920" y="387"/>
                    <a:pt x="921" y="387"/>
                    <a:pt x="922" y="387"/>
                  </a:cubicBezTo>
                  <a:cubicBezTo>
                    <a:pt x="923" y="386"/>
                    <a:pt x="925" y="386"/>
                    <a:pt x="927" y="385"/>
                  </a:cubicBezTo>
                  <a:cubicBezTo>
                    <a:pt x="926" y="385"/>
                    <a:pt x="925" y="385"/>
                    <a:pt x="924" y="385"/>
                  </a:cubicBezTo>
                  <a:moveTo>
                    <a:pt x="1384" y="387"/>
                  </a:moveTo>
                  <a:cubicBezTo>
                    <a:pt x="1383" y="387"/>
                    <a:pt x="1381" y="388"/>
                    <a:pt x="1380" y="388"/>
                  </a:cubicBezTo>
                  <a:cubicBezTo>
                    <a:pt x="1363" y="397"/>
                    <a:pt x="1344" y="409"/>
                    <a:pt x="1321" y="424"/>
                  </a:cubicBezTo>
                  <a:cubicBezTo>
                    <a:pt x="1318" y="423"/>
                    <a:pt x="1316" y="422"/>
                    <a:pt x="1313" y="421"/>
                  </a:cubicBezTo>
                  <a:cubicBezTo>
                    <a:pt x="1308" y="419"/>
                    <a:pt x="1303" y="416"/>
                    <a:pt x="1298" y="413"/>
                  </a:cubicBezTo>
                  <a:cubicBezTo>
                    <a:pt x="1298" y="414"/>
                    <a:pt x="1298" y="414"/>
                    <a:pt x="1297" y="414"/>
                  </a:cubicBezTo>
                  <a:cubicBezTo>
                    <a:pt x="1302" y="417"/>
                    <a:pt x="1307" y="419"/>
                    <a:pt x="1313" y="422"/>
                  </a:cubicBezTo>
                  <a:cubicBezTo>
                    <a:pt x="1315" y="423"/>
                    <a:pt x="1317" y="424"/>
                    <a:pt x="1320" y="425"/>
                  </a:cubicBezTo>
                  <a:cubicBezTo>
                    <a:pt x="1313" y="430"/>
                    <a:pt x="1305" y="435"/>
                    <a:pt x="1297" y="440"/>
                  </a:cubicBezTo>
                  <a:cubicBezTo>
                    <a:pt x="1297" y="441"/>
                    <a:pt x="1296" y="441"/>
                    <a:pt x="1295" y="442"/>
                  </a:cubicBezTo>
                  <a:cubicBezTo>
                    <a:pt x="1294" y="442"/>
                    <a:pt x="1294" y="442"/>
                    <a:pt x="1294" y="443"/>
                  </a:cubicBezTo>
                  <a:cubicBezTo>
                    <a:pt x="1285" y="449"/>
                    <a:pt x="1277" y="454"/>
                    <a:pt x="1269" y="460"/>
                  </a:cubicBezTo>
                  <a:cubicBezTo>
                    <a:pt x="1269" y="460"/>
                    <a:pt x="1269" y="460"/>
                    <a:pt x="1269" y="460"/>
                  </a:cubicBezTo>
                  <a:cubicBezTo>
                    <a:pt x="1277" y="455"/>
                    <a:pt x="1286" y="449"/>
                    <a:pt x="1295" y="443"/>
                  </a:cubicBezTo>
                  <a:cubicBezTo>
                    <a:pt x="1295" y="443"/>
                    <a:pt x="1295" y="443"/>
                    <a:pt x="1296" y="443"/>
                  </a:cubicBezTo>
                  <a:cubicBezTo>
                    <a:pt x="1296" y="442"/>
                    <a:pt x="1297" y="441"/>
                    <a:pt x="1298" y="441"/>
                  </a:cubicBezTo>
                  <a:cubicBezTo>
                    <a:pt x="1306" y="435"/>
                    <a:pt x="1314" y="430"/>
                    <a:pt x="1321" y="425"/>
                  </a:cubicBezTo>
                  <a:cubicBezTo>
                    <a:pt x="1331" y="429"/>
                    <a:pt x="1341" y="430"/>
                    <a:pt x="1351" y="430"/>
                  </a:cubicBezTo>
                  <a:cubicBezTo>
                    <a:pt x="1354" y="430"/>
                    <a:pt x="1357" y="430"/>
                    <a:pt x="1359" y="430"/>
                  </a:cubicBezTo>
                  <a:cubicBezTo>
                    <a:pt x="1359" y="430"/>
                    <a:pt x="1359" y="430"/>
                    <a:pt x="1359" y="429"/>
                  </a:cubicBezTo>
                  <a:cubicBezTo>
                    <a:pt x="1356" y="429"/>
                    <a:pt x="1354" y="429"/>
                    <a:pt x="1351" y="429"/>
                  </a:cubicBezTo>
                  <a:cubicBezTo>
                    <a:pt x="1342" y="429"/>
                    <a:pt x="1332" y="428"/>
                    <a:pt x="1322" y="425"/>
                  </a:cubicBezTo>
                  <a:cubicBezTo>
                    <a:pt x="1347" y="409"/>
                    <a:pt x="1367" y="396"/>
                    <a:pt x="1384" y="387"/>
                  </a:cubicBezTo>
                  <a:moveTo>
                    <a:pt x="916" y="388"/>
                  </a:moveTo>
                  <a:cubicBezTo>
                    <a:pt x="912" y="389"/>
                    <a:pt x="907" y="391"/>
                    <a:pt x="903" y="393"/>
                  </a:cubicBezTo>
                  <a:cubicBezTo>
                    <a:pt x="903" y="393"/>
                    <a:pt x="903" y="393"/>
                    <a:pt x="904" y="394"/>
                  </a:cubicBezTo>
                  <a:cubicBezTo>
                    <a:pt x="909" y="392"/>
                    <a:pt x="914" y="390"/>
                    <a:pt x="919" y="388"/>
                  </a:cubicBezTo>
                  <a:cubicBezTo>
                    <a:pt x="918" y="388"/>
                    <a:pt x="917" y="388"/>
                    <a:pt x="916" y="388"/>
                  </a:cubicBezTo>
                  <a:moveTo>
                    <a:pt x="902" y="393"/>
                  </a:moveTo>
                  <a:cubicBezTo>
                    <a:pt x="898" y="395"/>
                    <a:pt x="894" y="396"/>
                    <a:pt x="890" y="398"/>
                  </a:cubicBezTo>
                  <a:cubicBezTo>
                    <a:pt x="885" y="400"/>
                    <a:pt x="880" y="402"/>
                    <a:pt x="875" y="404"/>
                  </a:cubicBezTo>
                  <a:cubicBezTo>
                    <a:pt x="875" y="404"/>
                    <a:pt x="874" y="404"/>
                    <a:pt x="874" y="404"/>
                  </a:cubicBezTo>
                  <a:cubicBezTo>
                    <a:pt x="876" y="404"/>
                    <a:pt x="878" y="404"/>
                    <a:pt x="880" y="403"/>
                  </a:cubicBezTo>
                  <a:cubicBezTo>
                    <a:pt x="884" y="402"/>
                    <a:pt x="887" y="400"/>
                    <a:pt x="891" y="399"/>
                  </a:cubicBezTo>
                  <a:cubicBezTo>
                    <a:pt x="895" y="397"/>
                    <a:pt x="899" y="395"/>
                    <a:pt x="903" y="394"/>
                  </a:cubicBezTo>
                  <a:cubicBezTo>
                    <a:pt x="902" y="394"/>
                    <a:pt x="902" y="393"/>
                    <a:pt x="902" y="393"/>
                  </a:cubicBezTo>
                  <a:moveTo>
                    <a:pt x="1277" y="400"/>
                  </a:moveTo>
                  <a:cubicBezTo>
                    <a:pt x="1277" y="400"/>
                    <a:pt x="1277" y="400"/>
                    <a:pt x="1276" y="401"/>
                  </a:cubicBezTo>
                  <a:cubicBezTo>
                    <a:pt x="1277" y="401"/>
                    <a:pt x="1277" y="401"/>
                    <a:pt x="1277" y="401"/>
                  </a:cubicBezTo>
                  <a:cubicBezTo>
                    <a:pt x="1277" y="401"/>
                    <a:pt x="1278" y="401"/>
                    <a:pt x="1278" y="400"/>
                  </a:cubicBezTo>
                  <a:cubicBezTo>
                    <a:pt x="1278" y="400"/>
                    <a:pt x="1278" y="400"/>
                    <a:pt x="1277" y="400"/>
                  </a:cubicBezTo>
                  <a:moveTo>
                    <a:pt x="1279" y="401"/>
                  </a:moveTo>
                  <a:cubicBezTo>
                    <a:pt x="1279" y="401"/>
                    <a:pt x="1278" y="401"/>
                    <a:pt x="1278" y="402"/>
                  </a:cubicBezTo>
                  <a:cubicBezTo>
                    <a:pt x="1280" y="403"/>
                    <a:pt x="1281" y="404"/>
                    <a:pt x="1283" y="406"/>
                  </a:cubicBezTo>
                  <a:cubicBezTo>
                    <a:pt x="1284" y="405"/>
                    <a:pt x="1284" y="405"/>
                    <a:pt x="1284" y="405"/>
                  </a:cubicBezTo>
                  <a:cubicBezTo>
                    <a:pt x="1282" y="404"/>
                    <a:pt x="1281" y="402"/>
                    <a:pt x="1279" y="401"/>
                  </a:cubicBezTo>
                  <a:moveTo>
                    <a:pt x="657" y="401"/>
                  </a:moveTo>
                  <a:cubicBezTo>
                    <a:pt x="659" y="403"/>
                    <a:pt x="662" y="404"/>
                    <a:pt x="664" y="405"/>
                  </a:cubicBezTo>
                  <a:cubicBezTo>
                    <a:pt x="664" y="405"/>
                    <a:pt x="664" y="405"/>
                    <a:pt x="664" y="405"/>
                  </a:cubicBezTo>
                  <a:cubicBezTo>
                    <a:pt x="662" y="404"/>
                    <a:pt x="660" y="402"/>
                    <a:pt x="657" y="401"/>
                  </a:cubicBezTo>
                  <a:moveTo>
                    <a:pt x="665" y="405"/>
                  </a:moveTo>
                  <a:cubicBezTo>
                    <a:pt x="665" y="406"/>
                    <a:pt x="665" y="406"/>
                    <a:pt x="665" y="406"/>
                  </a:cubicBezTo>
                  <a:cubicBezTo>
                    <a:pt x="667" y="407"/>
                    <a:pt x="669" y="408"/>
                    <a:pt x="671" y="410"/>
                  </a:cubicBezTo>
                  <a:cubicBezTo>
                    <a:pt x="672" y="410"/>
                    <a:pt x="672" y="410"/>
                    <a:pt x="673" y="409"/>
                  </a:cubicBezTo>
                  <a:cubicBezTo>
                    <a:pt x="673" y="409"/>
                    <a:pt x="672" y="409"/>
                    <a:pt x="672" y="409"/>
                  </a:cubicBezTo>
                  <a:cubicBezTo>
                    <a:pt x="670" y="408"/>
                    <a:pt x="668" y="407"/>
                    <a:pt x="666" y="406"/>
                  </a:cubicBezTo>
                  <a:cubicBezTo>
                    <a:pt x="666" y="405"/>
                    <a:pt x="665" y="405"/>
                    <a:pt x="665" y="405"/>
                  </a:cubicBezTo>
                  <a:moveTo>
                    <a:pt x="1285" y="405"/>
                  </a:moveTo>
                  <a:cubicBezTo>
                    <a:pt x="1285" y="406"/>
                    <a:pt x="1284" y="406"/>
                    <a:pt x="1284" y="406"/>
                  </a:cubicBezTo>
                  <a:cubicBezTo>
                    <a:pt x="1288" y="409"/>
                    <a:pt x="1292" y="411"/>
                    <a:pt x="1296" y="414"/>
                  </a:cubicBezTo>
                  <a:cubicBezTo>
                    <a:pt x="1297" y="413"/>
                    <a:pt x="1297" y="413"/>
                    <a:pt x="1297" y="413"/>
                  </a:cubicBezTo>
                  <a:cubicBezTo>
                    <a:pt x="1293" y="410"/>
                    <a:pt x="1289" y="408"/>
                    <a:pt x="1285" y="405"/>
                  </a:cubicBezTo>
                  <a:moveTo>
                    <a:pt x="874" y="405"/>
                  </a:moveTo>
                  <a:cubicBezTo>
                    <a:pt x="872" y="406"/>
                    <a:pt x="871" y="406"/>
                    <a:pt x="869" y="407"/>
                  </a:cubicBezTo>
                  <a:cubicBezTo>
                    <a:pt x="868" y="407"/>
                    <a:pt x="866" y="408"/>
                    <a:pt x="865" y="408"/>
                  </a:cubicBezTo>
                  <a:cubicBezTo>
                    <a:pt x="866" y="408"/>
                    <a:pt x="867" y="408"/>
                    <a:pt x="868" y="408"/>
                  </a:cubicBezTo>
                  <a:cubicBezTo>
                    <a:pt x="868" y="408"/>
                    <a:pt x="868" y="408"/>
                    <a:pt x="868" y="408"/>
                  </a:cubicBezTo>
                  <a:cubicBezTo>
                    <a:pt x="869" y="408"/>
                    <a:pt x="869" y="408"/>
                    <a:pt x="870" y="407"/>
                  </a:cubicBezTo>
                  <a:cubicBezTo>
                    <a:pt x="871" y="407"/>
                    <a:pt x="872" y="407"/>
                    <a:pt x="873" y="406"/>
                  </a:cubicBezTo>
                  <a:cubicBezTo>
                    <a:pt x="873" y="406"/>
                    <a:pt x="874" y="406"/>
                    <a:pt x="874" y="405"/>
                  </a:cubicBezTo>
                  <a:moveTo>
                    <a:pt x="863" y="409"/>
                  </a:moveTo>
                  <a:cubicBezTo>
                    <a:pt x="863" y="409"/>
                    <a:pt x="863" y="409"/>
                    <a:pt x="863" y="409"/>
                  </a:cubicBezTo>
                  <a:cubicBezTo>
                    <a:pt x="863" y="410"/>
                    <a:pt x="862" y="410"/>
                    <a:pt x="862" y="410"/>
                  </a:cubicBezTo>
                  <a:cubicBezTo>
                    <a:pt x="861" y="410"/>
                    <a:pt x="861" y="411"/>
                    <a:pt x="860" y="411"/>
                  </a:cubicBezTo>
                  <a:cubicBezTo>
                    <a:pt x="859" y="411"/>
                    <a:pt x="858" y="412"/>
                    <a:pt x="857" y="412"/>
                  </a:cubicBezTo>
                  <a:cubicBezTo>
                    <a:pt x="857" y="412"/>
                    <a:pt x="857" y="413"/>
                    <a:pt x="858" y="413"/>
                  </a:cubicBezTo>
                  <a:cubicBezTo>
                    <a:pt x="859" y="412"/>
                    <a:pt x="860" y="412"/>
                    <a:pt x="861" y="411"/>
                  </a:cubicBezTo>
                  <a:cubicBezTo>
                    <a:pt x="861" y="411"/>
                    <a:pt x="862" y="411"/>
                    <a:pt x="862" y="411"/>
                  </a:cubicBezTo>
                  <a:cubicBezTo>
                    <a:pt x="863" y="410"/>
                    <a:pt x="864" y="410"/>
                    <a:pt x="866" y="409"/>
                  </a:cubicBezTo>
                  <a:cubicBezTo>
                    <a:pt x="865" y="409"/>
                    <a:pt x="864" y="409"/>
                    <a:pt x="863" y="409"/>
                  </a:cubicBezTo>
                  <a:moveTo>
                    <a:pt x="674" y="410"/>
                  </a:moveTo>
                  <a:cubicBezTo>
                    <a:pt x="673" y="410"/>
                    <a:pt x="673" y="410"/>
                    <a:pt x="672" y="411"/>
                  </a:cubicBezTo>
                  <a:cubicBezTo>
                    <a:pt x="674" y="411"/>
                    <a:pt x="675" y="412"/>
                    <a:pt x="676" y="413"/>
                  </a:cubicBezTo>
                  <a:cubicBezTo>
                    <a:pt x="677" y="413"/>
                    <a:pt x="678" y="413"/>
                    <a:pt x="679" y="413"/>
                  </a:cubicBezTo>
                  <a:cubicBezTo>
                    <a:pt x="677" y="412"/>
                    <a:pt x="675" y="411"/>
                    <a:pt x="674" y="410"/>
                  </a:cubicBezTo>
                  <a:moveTo>
                    <a:pt x="856" y="413"/>
                  </a:moveTo>
                  <a:cubicBezTo>
                    <a:pt x="856" y="413"/>
                    <a:pt x="855" y="413"/>
                    <a:pt x="855" y="413"/>
                  </a:cubicBezTo>
                  <a:cubicBezTo>
                    <a:pt x="854" y="414"/>
                    <a:pt x="852" y="415"/>
                    <a:pt x="850" y="415"/>
                  </a:cubicBezTo>
                  <a:cubicBezTo>
                    <a:pt x="850" y="416"/>
                    <a:pt x="849" y="416"/>
                    <a:pt x="849" y="416"/>
                  </a:cubicBezTo>
                  <a:cubicBezTo>
                    <a:pt x="848" y="416"/>
                    <a:pt x="847" y="417"/>
                    <a:pt x="847" y="417"/>
                  </a:cubicBezTo>
                  <a:cubicBezTo>
                    <a:pt x="846" y="417"/>
                    <a:pt x="845" y="418"/>
                    <a:pt x="844" y="418"/>
                  </a:cubicBezTo>
                  <a:cubicBezTo>
                    <a:pt x="844" y="418"/>
                    <a:pt x="844" y="418"/>
                    <a:pt x="843" y="419"/>
                  </a:cubicBezTo>
                  <a:cubicBezTo>
                    <a:pt x="843" y="419"/>
                    <a:pt x="842" y="419"/>
                    <a:pt x="841" y="420"/>
                  </a:cubicBezTo>
                  <a:cubicBezTo>
                    <a:pt x="834" y="423"/>
                    <a:pt x="827" y="427"/>
                    <a:pt x="820" y="430"/>
                  </a:cubicBezTo>
                  <a:cubicBezTo>
                    <a:pt x="820" y="430"/>
                    <a:pt x="820" y="431"/>
                    <a:pt x="821" y="431"/>
                  </a:cubicBezTo>
                  <a:cubicBezTo>
                    <a:pt x="827" y="428"/>
                    <a:pt x="834" y="424"/>
                    <a:pt x="840" y="421"/>
                  </a:cubicBezTo>
                  <a:cubicBezTo>
                    <a:pt x="841" y="421"/>
                    <a:pt x="841" y="421"/>
                    <a:pt x="842" y="421"/>
                  </a:cubicBezTo>
                  <a:cubicBezTo>
                    <a:pt x="843" y="420"/>
                    <a:pt x="844" y="420"/>
                    <a:pt x="845" y="419"/>
                  </a:cubicBezTo>
                  <a:cubicBezTo>
                    <a:pt x="846" y="419"/>
                    <a:pt x="847" y="418"/>
                    <a:pt x="848" y="418"/>
                  </a:cubicBezTo>
                  <a:cubicBezTo>
                    <a:pt x="848" y="417"/>
                    <a:pt x="849" y="417"/>
                    <a:pt x="850" y="417"/>
                  </a:cubicBezTo>
                  <a:cubicBezTo>
                    <a:pt x="850" y="417"/>
                    <a:pt x="850" y="416"/>
                    <a:pt x="851" y="416"/>
                  </a:cubicBezTo>
                  <a:cubicBezTo>
                    <a:pt x="852" y="415"/>
                    <a:pt x="854" y="415"/>
                    <a:pt x="856" y="414"/>
                  </a:cubicBezTo>
                  <a:cubicBezTo>
                    <a:pt x="856" y="414"/>
                    <a:pt x="856" y="414"/>
                    <a:pt x="857" y="413"/>
                  </a:cubicBezTo>
                  <a:cubicBezTo>
                    <a:pt x="856" y="413"/>
                    <a:pt x="856" y="413"/>
                    <a:pt x="856" y="413"/>
                  </a:cubicBezTo>
                  <a:moveTo>
                    <a:pt x="678" y="414"/>
                  </a:moveTo>
                  <a:cubicBezTo>
                    <a:pt x="683" y="418"/>
                    <a:pt x="688" y="421"/>
                    <a:pt x="692" y="424"/>
                  </a:cubicBezTo>
                  <a:cubicBezTo>
                    <a:pt x="693" y="424"/>
                    <a:pt x="693" y="424"/>
                    <a:pt x="693" y="424"/>
                  </a:cubicBezTo>
                  <a:cubicBezTo>
                    <a:pt x="690" y="421"/>
                    <a:pt x="686" y="418"/>
                    <a:pt x="681" y="415"/>
                  </a:cubicBezTo>
                  <a:cubicBezTo>
                    <a:pt x="680" y="415"/>
                    <a:pt x="679" y="415"/>
                    <a:pt x="678" y="414"/>
                  </a:cubicBezTo>
                  <a:moveTo>
                    <a:pt x="694" y="425"/>
                  </a:moveTo>
                  <a:cubicBezTo>
                    <a:pt x="694" y="425"/>
                    <a:pt x="694" y="425"/>
                    <a:pt x="693" y="425"/>
                  </a:cubicBezTo>
                  <a:cubicBezTo>
                    <a:pt x="695" y="426"/>
                    <a:pt x="697" y="428"/>
                    <a:pt x="699" y="429"/>
                  </a:cubicBezTo>
                  <a:cubicBezTo>
                    <a:pt x="699" y="429"/>
                    <a:pt x="699" y="429"/>
                    <a:pt x="700" y="429"/>
                  </a:cubicBezTo>
                  <a:cubicBezTo>
                    <a:pt x="698" y="427"/>
                    <a:pt x="696" y="426"/>
                    <a:pt x="694" y="425"/>
                  </a:cubicBezTo>
                  <a:moveTo>
                    <a:pt x="700" y="429"/>
                  </a:moveTo>
                  <a:cubicBezTo>
                    <a:pt x="700" y="430"/>
                    <a:pt x="700" y="430"/>
                    <a:pt x="700" y="430"/>
                  </a:cubicBezTo>
                  <a:cubicBezTo>
                    <a:pt x="701" y="430"/>
                    <a:pt x="702" y="431"/>
                    <a:pt x="703" y="431"/>
                  </a:cubicBezTo>
                  <a:cubicBezTo>
                    <a:pt x="702" y="431"/>
                    <a:pt x="701" y="430"/>
                    <a:pt x="700" y="429"/>
                  </a:cubicBezTo>
                  <a:moveTo>
                    <a:pt x="819" y="431"/>
                  </a:moveTo>
                  <a:cubicBezTo>
                    <a:pt x="816" y="432"/>
                    <a:pt x="812" y="434"/>
                    <a:pt x="809" y="436"/>
                  </a:cubicBezTo>
                  <a:cubicBezTo>
                    <a:pt x="810" y="436"/>
                    <a:pt x="811" y="436"/>
                    <a:pt x="811" y="436"/>
                  </a:cubicBezTo>
                  <a:cubicBezTo>
                    <a:pt x="814" y="434"/>
                    <a:pt x="817" y="433"/>
                    <a:pt x="820" y="431"/>
                  </a:cubicBezTo>
                  <a:cubicBezTo>
                    <a:pt x="819" y="431"/>
                    <a:pt x="819" y="431"/>
                    <a:pt x="819" y="431"/>
                  </a:cubicBezTo>
                  <a:moveTo>
                    <a:pt x="704" y="433"/>
                  </a:moveTo>
                  <a:cubicBezTo>
                    <a:pt x="705" y="434"/>
                    <a:pt x="706" y="434"/>
                    <a:pt x="707" y="435"/>
                  </a:cubicBezTo>
                  <a:cubicBezTo>
                    <a:pt x="706" y="435"/>
                    <a:pt x="706" y="435"/>
                    <a:pt x="706" y="434"/>
                  </a:cubicBezTo>
                  <a:cubicBezTo>
                    <a:pt x="706" y="434"/>
                    <a:pt x="706" y="434"/>
                    <a:pt x="706" y="434"/>
                  </a:cubicBezTo>
                  <a:cubicBezTo>
                    <a:pt x="706" y="434"/>
                    <a:pt x="705" y="434"/>
                    <a:pt x="705" y="434"/>
                  </a:cubicBezTo>
                  <a:cubicBezTo>
                    <a:pt x="705" y="433"/>
                    <a:pt x="704" y="433"/>
                    <a:pt x="704" y="433"/>
                  </a:cubicBezTo>
                  <a:moveTo>
                    <a:pt x="706" y="436"/>
                  </a:moveTo>
                  <a:cubicBezTo>
                    <a:pt x="707" y="436"/>
                    <a:pt x="707" y="437"/>
                    <a:pt x="707" y="437"/>
                  </a:cubicBezTo>
                  <a:cubicBezTo>
                    <a:pt x="708" y="437"/>
                    <a:pt x="708" y="438"/>
                    <a:pt x="709" y="438"/>
                  </a:cubicBezTo>
                  <a:cubicBezTo>
                    <a:pt x="709" y="438"/>
                    <a:pt x="709" y="438"/>
                    <a:pt x="709" y="438"/>
                  </a:cubicBezTo>
                  <a:cubicBezTo>
                    <a:pt x="708" y="437"/>
                    <a:pt x="707" y="437"/>
                    <a:pt x="706" y="436"/>
                  </a:cubicBezTo>
                  <a:moveTo>
                    <a:pt x="808" y="436"/>
                  </a:moveTo>
                  <a:cubicBezTo>
                    <a:pt x="806" y="437"/>
                    <a:pt x="804" y="438"/>
                    <a:pt x="802" y="440"/>
                  </a:cubicBezTo>
                  <a:cubicBezTo>
                    <a:pt x="804" y="439"/>
                    <a:pt x="806" y="438"/>
                    <a:pt x="808" y="438"/>
                  </a:cubicBezTo>
                  <a:cubicBezTo>
                    <a:pt x="808" y="437"/>
                    <a:pt x="809" y="437"/>
                    <a:pt x="810" y="437"/>
                  </a:cubicBezTo>
                  <a:cubicBezTo>
                    <a:pt x="809" y="437"/>
                    <a:pt x="808" y="437"/>
                    <a:pt x="808" y="436"/>
                  </a:cubicBezTo>
                  <a:moveTo>
                    <a:pt x="711" y="439"/>
                  </a:moveTo>
                  <a:cubicBezTo>
                    <a:pt x="711" y="440"/>
                    <a:pt x="711" y="440"/>
                    <a:pt x="710" y="440"/>
                  </a:cubicBezTo>
                  <a:cubicBezTo>
                    <a:pt x="711" y="440"/>
                    <a:pt x="711" y="441"/>
                    <a:pt x="712" y="441"/>
                  </a:cubicBezTo>
                  <a:cubicBezTo>
                    <a:pt x="712" y="442"/>
                    <a:pt x="713" y="442"/>
                    <a:pt x="714" y="442"/>
                  </a:cubicBezTo>
                  <a:cubicBezTo>
                    <a:pt x="713" y="441"/>
                    <a:pt x="712" y="440"/>
                    <a:pt x="711" y="439"/>
                  </a:cubicBezTo>
                  <a:close/>
                  <a:moveTo>
                    <a:pt x="802" y="441"/>
                  </a:moveTo>
                  <a:cubicBezTo>
                    <a:pt x="800" y="441"/>
                    <a:pt x="798" y="442"/>
                    <a:pt x="796" y="443"/>
                  </a:cubicBezTo>
                  <a:cubicBezTo>
                    <a:pt x="791" y="445"/>
                    <a:pt x="785" y="448"/>
                    <a:pt x="780" y="451"/>
                  </a:cubicBezTo>
                  <a:cubicBezTo>
                    <a:pt x="780" y="452"/>
                    <a:pt x="780" y="452"/>
                    <a:pt x="780" y="452"/>
                  </a:cubicBezTo>
                  <a:cubicBezTo>
                    <a:pt x="781" y="452"/>
                    <a:pt x="782" y="451"/>
                    <a:pt x="783" y="451"/>
                  </a:cubicBezTo>
                  <a:cubicBezTo>
                    <a:pt x="789" y="448"/>
                    <a:pt x="795" y="444"/>
                    <a:pt x="802" y="441"/>
                  </a:cubicBezTo>
                  <a:moveTo>
                    <a:pt x="713" y="443"/>
                  </a:moveTo>
                  <a:cubicBezTo>
                    <a:pt x="714" y="444"/>
                    <a:pt x="715" y="445"/>
                    <a:pt x="716" y="447"/>
                  </a:cubicBezTo>
                  <a:cubicBezTo>
                    <a:pt x="716" y="447"/>
                    <a:pt x="717" y="447"/>
                    <a:pt x="717" y="447"/>
                  </a:cubicBezTo>
                  <a:cubicBezTo>
                    <a:pt x="717" y="447"/>
                    <a:pt x="717" y="447"/>
                    <a:pt x="717" y="447"/>
                  </a:cubicBezTo>
                  <a:cubicBezTo>
                    <a:pt x="717" y="446"/>
                    <a:pt x="716" y="445"/>
                    <a:pt x="715" y="444"/>
                  </a:cubicBezTo>
                  <a:cubicBezTo>
                    <a:pt x="714" y="444"/>
                    <a:pt x="714" y="443"/>
                    <a:pt x="713" y="443"/>
                  </a:cubicBezTo>
                  <a:moveTo>
                    <a:pt x="718" y="450"/>
                  </a:moveTo>
                  <a:cubicBezTo>
                    <a:pt x="718" y="450"/>
                    <a:pt x="718" y="450"/>
                    <a:pt x="719" y="451"/>
                  </a:cubicBezTo>
                  <a:cubicBezTo>
                    <a:pt x="719" y="451"/>
                    <a:pt x="719" y="451"/>
                    <a:pt x="719" y="451"/>
                  </a:cubicBezTo>
                  <a:cubicBezTo>
                    <a:pt x="719" y="451"/>
                    <a:pt x="719" y="451"/>
                    <a:pt x="720" y="451"/>
                  </a:cubicBezTo>
                  <a:cubicBezTo>
                    <a:pt x="720" y="451"/>
                    <a:pt x="719" y="450"/>
                    <a:pt x="719" y="450"/>
                  </a:cubicBezTo>
                  <a:cubicBezTo>
                    <a:pt x="719" y="450"/>
                    <a:pt x="718" y="450"/>
                    <a:pt x="718" y="450"/>
                  </a:cubicBezTo>
                  <a:moveTo>
                    <a:pt x="779" y="452"/>
                  </a:moveTo>
                  <a:cubicBezTo>
                    <a:pt x="779" y="452"/>
                    <a:pt x="778" y="452"/>
                    <a:pt x="778" y="452"/>
                  </a:cubicBezTo>
                  <a:cubicBezTo>
                    <a:pt x="778" y="452"/>
                    <a:pt x="778" y="452"/>
                    <a:pt x="779" y="452"/>
                  </a:cubicBezTo>
                  <a:cubicBezTo>
                    <a:pt x="779" y="452"/>
                    <a:pt x="779" y="452"/>
                    <a:pt x="779" y="452"/>
                  </a:cubicBezTo>
                  <a:moveTo>
                    <a:pt x="720" y="452"/>
                  </a:moveTo>
                  <a:cubicBezTo>
                    <a:pt x="720" y="452"/>
                    <a:pt x="720" y="453"/>
                    <a:pt x="720" y="453"/>
                  </a:cubicBezTo>
                  <a:cubicBezTo>
                    <a:pt x="720" y="453"/>
                    <a:pt x="720" y="453"/>
                    <a:pt x="721" y="453"/>
                  </a:cubicBezTo>
                  <a:cubicBezTo>
                    <a:pt x="721" y="453"/>
                    <a:pt x="721" y="453"/>
                    <a:pt x="721" y="453"/>
                  </a:cubicBezTo>
                  <a:cubicBezTo>
                    <a:pt x="720" y="452"/>
                    <a:pt x="720" y="452"/>
                    <a:pt x="720" y="452"/>
                  </a:cubicBezTo>
                  <a:moveTo>
                    <a:pt x="777" y="453"/>
                  </a:moveTo>
                  <a:cubicBezTo>
                    <a:pt x="776" y="453"/>
                    <a:pt x="775" y="454"/>
                    <a:pt x="774" y="455"/>
                  </a:cubicBezTo>
                  <a:cubicBezTo>
                    <a:pt x="775" y="454"/>
                    <a:pt x="776" y="454"/>
                    <a:pt x="778" y="453"/>
                  </a:cubicBezTo>
                  <a:cubicBezTo>
                    <a:pt x="777" y="453"/>
                    <a:pt x="777" y="453"/>
                    <a:pt x="777" y="453"/>
                  </a:cubicBezTo>
                  <a:moveTo>
                    <a:pt x="721" y="454"/>
                  </a:moveTo>
                  <a:cubicBezTo>
                    <a:pt x="721" y="454"/>
                    <a:pt x="721" y="454"/>
                    <a:pt x="721" y="454"/>
                  </a:cubicBezTo>
                  <a:cubicBezTo>
                    <a:pt x="721" y="454"/>
                    <a:pt x="721" y="454"/>
                    <a:pt x="721" y="455"/>
                  </a:cubicBezTo>
                  <a:cubicBezTo>
                    <a:pt x="721" y="455"/>
                    <a:pt x="721" y="455"/>
                    <a:pt x="721" y="455"/>
                  </a:cubicBezTo>
                  <a:cubicBezTo>
                    <a:pt x="721" y="454"/>
                    <a:pt x="721" y="454"/>
                    <a:pt x="721" y="454"/>
                  </a:cubicBezTo>
                  <a:moveTo>
                    <a:pt x="775" y="455"/>
                  </a:moveTo>
                  <a:cubicBezTo>
                    <a:pt x="774" y="456"/>
                    <a:pt x="773" y="456"/>
                    <a:pt x="772" y="456"/>
                  </a:cubicBezTo>
                  <a:cubicBezTo>
                    <a:pt x="773" y="456"/>
                    <a:pt x="773" y="456"/>
                    <a:pt x="773" y="456"/>
                  </a:cubicBezTo>
                  <a:cubicBezTo>
                    <a:pt x="773" y="456"/>
                    <a:pt x="774" y="456"/>
                    <a:pt x="775" y="455"/>
                  </a:cubicBezTo>
                  <a:moveTo>
                    <a:pt x="721" y="455"/>
                  </a:moveTo>
                  <a:cubicBezTo>
                    <a:pt x="721" y="456"/>
                    <a:pt x="721" y="456"/>
                    <a:pt x="721" y="456"/>
                  </a:cubicBezTo>
                  <a:cubicBezTo>
                    <a:pt x="721" y="456"/>
                    <a:pt x="721" y="456"/>
                    <a:pt x="721" y="456"/>
                  </a:cubicBezTo>
                  <a:cubicBezTo>
                    <a:pt x="721" y="456"/>
                    <a:pt x="721" y="456"/>
                    <a:pt x="721" y="456"/>
                  </a:cubicBezTo>
                  <a:cubicBezTo>
                    <a:pt x="721" y="455"/>
                    <a:pt x="721" y="455"/>
                    <a:pt x="721" y="455"/>
                  </a:cubicBezTo>
                  <a:moveTo>
                    <a:pt x="722" y="456"/>
                  </a:moveTo>
                  <a:cubicBezTo>
                    <a:pt x="721" y="457"/>
                    <a:pt x="721" y="457"/>
                    <a:pt x="721" y="457"/>
                  </a:cubicBezTo>
                  <a:cubicBezTo>
                    <a:pt x="721" y="457"/>
                    <a:pt x="721" y="457"/>
                    <a:pt x="721" y="457"/>
                  </a:cubicBezTo>
                  <a:cubicBezTo>
                    <a:pt x="721" y="457"/>
                    <a:pt x="722" y="457"/>
                    <a:pt x="722" y="457"/>
                  </a:cubicBezTo>
                  <a:cubicBezTo>
                    <a:pt x="722" y="457"/>
                    <a:pt x="722" y="456"/>
                    <a:pt x="722" y="456"/>
                  </a:cubicBezTo>
                  <a:moveTo>
                    <a:pt x="771" y="457"/>
                  </a:moveTo>
                  <a:cubicBezTo>
                    <a:pt x="770" y="457"/>
                    <a:pt x="769" y="458"/>
                    <a:pt x="767" y="458"/>
                  </a:cubicBezTo>
                  <a:cubicBezTo>
                    <a:pt x="768" y="458"/>
                    <a:pt x="769" y="458"/>
                    <a:pt x="770" y="458"/>
                  </a:cubicBezTo>
                  <a:cubicBezTo>
                    <a:pt x="771" y="458"/>
                    <a:pt x="771" y="457"/>
                    <a:pt x="772" y="457"/>
                  </a:cubicBezTo>
                  <a:cubicBezTo>
                    <a:pt x="772" y="457"/>
                    <a:pt x="771" y="457"/>
                    <a:pt x="771" y="457"/>
                  </a:cubicBezTo>
                  <a:moveTo>
                    <a:pt x="721" y="458"/>
                  </a:moveTo>
                  <a:cubicBezTo>
                    <a:pt x="722" y="459"/>
                    <a:pt x="722" y="461"/>
                    <a:pt x="722" y="462"/>
                  </a:cubicBezTo>
                  <a:cubicBezTo>
                    <a:pt x="722" y="463"/>
                    <a:pt x="722" y="463"/>
                    <a:pt x="722" y="464"/>
                  </a:cubicBezTo>
                  <a:cubicBezTo>
                    <a:pt x="722" y="465"/>
                    <a:pt x="722" y="465"/>
                    <a:pt x="722" y="466"/>
                  </a:cubicBezTo>
                  <a:cubicBezTo>
                    <a:pt x="721" y="466"/>
                    <a:pt x="721" y="467"/>
                    <a:pt x="721" y="467"/>
                  </a:cubicBezTo>
                  <a:cubicBezTo>
                    <a:pt x="721" y="467"/>
                    <a:pt x="722" y="467"/>
                    <a:pt x="722" y="467"/>
                  </a:cubicBezTo>
                  <a:cubicBezTo>
                    <a:pt x="722" y="467"/>
                    <a:pt x="722" y="467"/>
                    <a:pt x="722" y="467"/>
                  </a:cubicBezTo>
                  <a:cubicBezTo>
                    <a:pt x="722" y="466"/>
                    <a:pt x="722" y="466"/>
                    <a:pt x="723" y="465"/>
                  </a:cubicBezTo>
                  <a:cubicBezTo>
                    <a:pt x="723" y="464"/>
                    <a:pt x="723" y="463"/>
                    <a:pt x="723" y="462"/>
                  </a:cubicBezTo>
                  <a:cubicBezTo>
                    <a:pt x="723" y="461"/>
                    <a:pt x="723" y="459"/>
                    <a:pt x="723" y="458"/>
                  </a:cubicBezTo>
                  <a:cubicBezTo>
                    <a:pt x="722" y="458"/>
                    <a:pt x="722" y="458"/>
                    <a:pt x="721" y="458"/>
                  </a:cubicBezTo>
                  <a:moveTo>
                    <a:pt x="767" y="459"/>
                  </a:moveTo>
                  <a:cubicBezTo>
                    <a:pt x="767" y="459"/>
                    <a:pt x="767" y="459"/>
                    <a:pt x="767" y="459"/>
                  </a:cubicBezTo>
                  <a:cubicBezTo>
                    <a:pt x="767" y="460"/>
                    <a:pt x="767" y="460"/>
                    <a:pt x="767" y="460"/>
                  </a:cubicBezTo>
                  <a:cubicBezTo>
                    <a:pt x="767" y="460"/>
                    <a:pt x="767" y="459"/>
                    <a:pt x="767" y="459"/>
                  </a:cubicBezTo>
                  <a:cubicBezTo>
                    <a:pt x="767" y="459"/>
                    <a:pt x="767" y="459"/>
                    <a:pt x="767" y="459"/>
                  </a:cubicBezTo>
                  <a:moveTo>
                    <a:pt x="765" y="460"/>
                  </a:moveTo>
                  <a:cubicBezTo>
                    <a:pt x="765" y="460"/>
                    <a:pt x="765" y="460"/>
                    <a:pt x="765" y="460"/>
                  </a:cubicBezTo>
                  <a:cubicBezTo>
                    <a:pt x="765" y="460"/>
                    <a:pt x="765" y="460"/>
                    <a:pt x="764" y="460"/>
                  </a:cubicBezTo>
                  <a:cubicBezTo>
                    <a:pt x="764" y="460"/>
                    <a:pt x="764" y="460"/>
                    <a:pt x="763" y="461"/>
                  </a:cubicBezTo>
                  <a:cubicBezTo>
                    <a:pt x="763" y="461"/>
                    <a:pt x="763" y="461"/>
                    <a:pt x="762" y="461"/>
                  </a:cubicBezTo>
                  <a:cubicBezTo>
                    <a:pt x="762" y="461"/>
                    <a:pt x="762" y="461"/>
                    <a:pt x="762" y="461"/>
                  </a:cubicBezTo>
                  <a:cubicBezTo>
                    <a:pt x="763" y="461"/>
                    <a:pt x="763" y="461"/>
                    <a:pt x="764" y="461"/>
                  </a:cubicBezTo>
                  <a:cubicBezTo>
                    <a:pt x="764" y="461"/>
                    <a:pt x="764" y="461"/>
                    <a:pt x="764" y="461"/>
                  </a:cubicBezTo>
                  <a:cubicBezTo>
                    <a:pt x="764" y="461"/>
                    <a:pt x="765" y="461"/>
                    <a:pt x="765" y="461"/>
                  </a:cubicBezTo>
                  <a:cubicBezTo>
                    <a:pt x="766" y="460"/>
                    <a:pt x="766" y="460"/>
                    <a:pt x="766" y="460"/>
                  </a:cubicBezTo>
                  <a:cubicBezTo>
                    <a:pt x="766" y="460"/>
                    <a:pt x="765" y="460"/>
                    <a:pt x="765" y="460"/>
                  </a:cubicBezTo>
                  <a:moveTo>
                    <a:pt x="1268" y="460"/>
                  </a:moveTo>
                  <a:cubicBezTo>
                    <a:pt x="1267" y="461"/>
                    <a:pt x="1267" y="461"/>
                    <a:pt x="1266" y="461"/>
                  </a:cubicBezTo>
                  <a:cubicBezTo>
                    <a:pt x="1266" y="462"/>
                    <a:pt x="1266" y="462"/>
                    <a:pt x="1265" y="462"/>
                  </a:cubicBezTo>
                  <a:cubicBezTo>
                    <a:pt x="1256" y="468"/>
                    <a:pt x="1247" y="474"/>
                    <a:pt x="1239" y="480"/>
                  </a:cubicBezTo>
                  <a:cubicBezTo>
                    <a:pt x="1238" y="480"/>
                    <a:pt x="1238" y="480"/>
                    <a:pt x="1238" y="480"/>
                  </a:cubicBezTo>
                  <a:cubicBezTo>
                    <a:pt x="1228" y="487"/>
                    <a:pt x="1220" y="492"/>
                    <a:pt x="1211" y="498"/>
                  </a:cubicBezTo>
                  <a:cubicBezTo>
                    <a:pt x="1211" y="498"/>
                    <a:pt x="1211" y="498"/>
                    <a:pt x="1211" y="498"/>
                  </a:cubicBezTo>
                  <a:cubicBezTo>
                    <a:pt x="1207" y="500"/>
                    <a:pt x="1204" y="502"/>
                    <a:pt x="1201" y="504"/>
                  </a:cubicBezTo>
                  <a:cubicBezTo>
                    <a:pt x="1201" y="505"/>
                    <a:pt x="1201" y="505"/>
                    <a:pt x="1201" y="505"/>
                  </a:cubicBezTo>
                  <a:cubicBezTo>
                    <a:pt x="1205" y="503"/>
                    <a:pt x="1208" y="501"/>
                    <a:pt x="1211" y="499"/>
                  </a:cubicBezTo>
                  <a:cubicBezTo>
                    <a:pt x="1212" y="499"/>
                    <a:pt x="1212" y="498"/>
                    <a:pt x="1212" y="498"/>
                  </a:cubicBezTo>
                  <a:cubicBezTo>
                    <a:pt x="1220" y="493"/>
                    <a:pt x="1229" y="487"/>
                    <a:pt x="1239" y="481"/>
                  </a:cubicBezTo>
                  <a:cubicBezTo>
                    <a:pt x="1239" y="481"/>
                    <a:pt x="1239" y="481"/>
                    <a:pt x="1239" y="480"/>
                  </a:cubicBezTo>
                  <a:cubicBezTo>
                    <a:pt x="1248" y="475"/>
                    <a:pt x="1257" y="469"/>
                    <a:pt x="1266" y="463"/>
                  </a:cubicBezTo>
                  <a:cubicBezTo>
                    <a:pt x="1266" y="462"/>
                    <a:pt x="1267" y="462"/>
                    <a:pt x="1267" y="462"/>
                  </a:cubicBezTo>
                  <a:cubicBezTo>
                    <a:pt x="1268" y="462"/>
                    <a:pt x="1268" y="461"/>
                    <a:pt x="1268" y="461"/>
                  </a:cubicBezTo>
                  <a:cubicBezTo>
                    <a:pt x="1268" y="461"/>
                    <a:pt x="1268" y="461"/>
                    <a:pt x="1268" y="460"/>
                  </a:cubicBezTo>
                  <a:moveTo>
                    <a:pt x="760" y="462"/>
                  </a:moveTo>
                  <a:cubicBezTo>
                    <a:pt x="760" y="462"/>
                    <a:pt x="760" y="462"/>
                    <a:pt x="760" y="462"/>
                  </a:cubicBezTo>
                  <a:cubicBezTo>
                    <a:pt x="761" y="462"/>
                    <a:pt x="761" y="463"/>
                    <a:pt x="761" y="463"/>
                  </a:cubicBezTo>
                  <a:cubicBezTo>
                    <a:pt x="762" y="463"/>
                    <a:pt x="762" y="463"/>
                    <a:pt x="762" y="463"/>
                  </a:cubicBezTo>
                  <a:cubicBezTo>
                    <a:pt x="761" y="462"/>
                    <a:pt x="761" y="462"/>
                    <a:pt x="760" y="462"/>
                  </a:cubicBezTo>
                  <a:moveTo>
                    <a:pt x="759" y="463"/>
                  </a:moveTo>
                  <a:cubicBezTo>
                    <a:pt x="759" y="463"/>
                    <a:pt x="759" y="463"/>
                    <a:pt x="759" y="463"/>
                  </a:cubicBezTo>
                  <a:cubicBezTo>
                    <a:pt x="759" y="463"/>
                    <a:pt x="760" y="463"/>
                    <a:pt x="760" y="464"/>
                  </a:cubicBezTo>
                  <a:cubicBezTo>
                    <a:pt x="760" y="464"/>
                    <a:pt x="760" y="463"/>
                    <a:pt x="760" y="463"/>
                  </a:cubicBezTo>
                  <a:cubicBezTo>
                    <a:pt x="760" y="463"/>
                    <a:pt x="759" y="463"/>
                    <a:pt x="759" y="463"/>
                  </a:cubicBezTo>
                  <a:moveTo>
                    <a:pt x="757" y="464"/>
                  </a:moveTo>
                  <a:cubicBezTo>
                    <a:pt x="756" y="464"/>
                    <a:pt x="756" y="465"/>
                    <a:pt x="755" y="465"/>
                  </a:cubicBezTo>
                  <a:cubicBezTo>
                    <a:pt x="756" y="465"/>
                    <a:pt x="756" y="465"/>
                    <a:pt x="757" y="466"/>
                  </a:cubicBezTo>
                  <a:cubicBezTo>
                    <a:pt x="757" y="465"/>
                    <a:pt x="758" y="465"/>
                    <a:pt x="758" y="465"/>
                  </a:cubicBezTo>
                  <a:cubicBezTo>
                    <a:pt x="758" y="465"/>
                    <a:pt x="758" y="465"/>
                    <a:pt x="758" y="465"/>
                  </a:cubicBezTo>
                  <a:cubicBezTo>
                    <a:pt x="758" y="464"/>
                    <a:pt x="757" y="464"/>
                    <a:pt x="757" y="464"/>
                  </a:cubicBezTo>
                  <a:moveTo>
                    <a:pt x="754" y="466"/>
                  </a:moveTo>
                  <a:cubicBezTo>
                    <a:pt x="752" y="467"/>
                    <a:pt x="750" y="468"/>
                    <a:pt x="747" y="470"/>
                  </a:cubicBezTo>
                  <a:cubicBezTo>
                    <a:pt x="747" y="470"/>
                    <a:pt x="747" y="470"/>
                    <a:pt x="746" y="470"/>
                  </a:cubicBezTo>
                  <a:cubicBezTo>
                    <a:pt x="742" y="473"/>
                    <a:pt x="738" y="475"/>
                    <a:pt x="734" y="477"/>
                  </a:cubicBezTo>
                  <a:cubicBezTo>
                    <a:pt x="734" y="478"/>
                    <a:pt x="735" y="478"/>
                    <a:pt x="735" y="478"/>
                  </a:cubicBezTo>
                  <a:cubicBezTo>
                    <a:pt x="739" y="476"/>
                    <a:pt x="743" y="473"/>
                    <a:pt x="747" y="471"/>
                  </a:cubicBezTo>
                  <a:cubicBezTo>
                    <a:pt x="747" y="471"/>
                    <a:pt x="748" y="471"/>
                    <a:pt x="748" y="470"/>
                  </a:cubicBezTo>
                  <a:cubicBezTo>
                    <a:pt x="750" y="469"/>
                    <a:pt x="753" y="468"/>
                    <a:pt x="756" y="466"/>
                  </a:cubicBezTo>
                  <a:cubicBezTo>
                    <a:pt x="755" y="466"/>
                    <a:pt x="755" y="466"/>
                    <a:pt x="754" y="466"/>
                  </a:cubicBezTo>
                  <a:moveTo>
                    <a:pt x="721" y="468"/>
                  </a:moveTo>
                  <a:cubicBezTo>
                    <a:pt x="721" y="468"/>
                    <a:pt x="720" y="469"/>
                    <a:pt x="720" y="469"/>
                  </a:cubicBezTo>
                  <a:cubicBezTo>
                    <a:pt x="721" y="469"/>
                    <a:pt x="721" y="469"/>
                    <a:pt x="722" y="468"/>
                  </a:cubicBezTo>
                  <a:cubicBezTo>
                    <a:pt x="722" y="468"/>
                    <a:pt x="722" y="468"/>
                    <a:pt x="722" y="468"/>
                  </a:cubicBezTo>
                  <a:cubicBezTo>
                    <a:pt x="721" y="468"/>
                    <a:pt x="721" y="468"/>
                    <a:pt x="721" y="468"/>
                  </a:cubicBezTo>
                  <a:moveTo>
                    <a:pt x="721" y="470"/>
                  </a:moveTo>
                  <a:cubicBezTo>
                    <a:pt x="720" y="470"/>
                    <a:pt x="720" y="470"/>
                    <a:pt x="719" y="470"/>
                  </a:cubicBezTo>
                  <a:cubicBezTo>
                    <a:pt x="719" y="471"/>
                    <a:pt x="719" y="471"/>
                    <a:pt x="719" y="471"/>
                  </a:cubicBezTo>
                  <a:cubicBezTo>
                    <a:pt x="719" y="471"/>
                    <a:pt x="720" y="471"/>
                    <a:pt x="720" y="471"/>
                  </a:cubicBezTo>
                  <a:cubicBezTo>
                    <a:pt x="720" y="471"/>
                    <a:pt x="721" y="470"/>
                    <a:pt x="721" y="470"/>
                  </a:cubicBezTo>
                  <a:moveTo>
                    <a:pt x="718" y="472"/>
                  </a:moveTo>
                  <a:cubicBezTo>
                    <a:pt x="718" y="472"/>
                    <a:pt x="718" y="472"/>
                    <a:pt x="718" y="472"/>
                  </a:cubicBezTo>
                  <a:cubicBezTo>
                    <a:pt x="718" y="472"/>
                    <a:pt x="719" y="472"/>
                    <a:pt x="719" y="472"/>
                  </a:cubicBezTo>
                  <a:cubicBezTo>
                    <a:pt x="719" y="472"/>
                    <a:pt x="719" y="472"/>
                    <a:pt x="718" y="472"/>
                  </a:cubicBezTo>
                  <a:moveTo>
                    <a:pt x="719" y="473"/>
                  </a:moveTo>
                  <a:cubicBezTo>
                    <a:pt x="718" y="473"/>
                    <a:pt x="717" y="474"/>
                    <a:pt x="716" y="474"/>
                  </a:cubicBezTo>
                  <a:cubicBezTo>
                    <a:pt x="716" y="474"/>
                    <a:pt x="716" y="474"/>
                    <a:pt x="716" y="475"/>
                  </a:cubicBezTo>
                  <a:cubicBezTo>
                    <a:pt x="715" y="475"/>
                    <a:pt x="714" y="476"/>
                    <a:pt x="714" y="476"/>
                  </a:cubicBezTo>
                  <a:cubicBezTo>
                    <a:pt x="713" y="476"/>
                    <a:pt x="713" y="477"/>
                    <a:pt x="713" y="477"/>
                  </a:cubicBezTo>
                  <a:cubicBezTo>
                    <a:pt x="713" y="477"/>
                    <a:pt x="713" y="477"/>
                    <a:pt x="713" y="477"/>
                  </a:cubicBezTo>
                  <a:cubicBezTo>
                    <a:pt x="713" y="477"/>
                    <a:pt x="714" y="477"/>
                    <a:pt x="714" y="477"/>
                  </a:cubicBezTo>
                  <a:cubicBezTo>
                    <a:pt x="715" y="476"/>
                    <a:pt x="716" y="476"/>
                    <a:pt x="716" y="475"/>
                  </a:cubicBezTo>
                  <a:cubicBezTo>
                    <a:pt x="717" y="475"/>
                    <a:pt x="718" y="474"/>
                    <a:pt x="719" y="473"/>
                  </a:cubicBezTo>
                  <a:moveTo>
                    <a:pt x="733" y="478"/>
                  </a:moveTo>
                  <a:cubicBezTo>
                    <a:pt x="733" y="478"/>
                    <a:pt x="732" y="478"/>
                    <a:pt x="732" y="478"/>
                  </a:cubicBezTo>
                  <a:cubicBezTo>
                    <a:pt x="732" y="479"/>
                    <a:pt x="732" y="479"/>
                    <a:pt x="731" y="479"/>
                  </a:cubicBezTo>
                  <a:cubicBezTo>
                    <a:pt x="731" y="479"/>
                    <a:pt x="730" y="480"/>
                    <a:pt x="729" y="480"/>
                  </a:cubicBezTo>
                  <a:cubicBezTo>
                    <a:pt x="730" y="480"/>
                    <a:pt x="730" y="480"/>
                    <a:pt x="731" y="480"/>
                  </a:cubicBezTo>
                  <a:cubicBezTo>
                    <a:pt x="731" y="480"/>
                    <a:pt x="732" y="480"/>
                    <a:pt x="732" y="480"/>
                  </a:cubicBezTo>
                  <a:cubicBezTo>
                    <a:pt x="732" y="479"/>
                    <a:pt x="733" y="479"/>
                    <a:pt x="733" y="479"/>
                  </a:cubicBezTo>
                  <a:cubicBezTo>
                    <a:pt x="733" y="479"/>
                    <a:pt x="734" y="479"/>
                    <a:pt x="734" y="479"/>
                  </a:cubicBezTo>
                  <a:cubicBezTo>
                    <a:pt x="734" y="478"/>
                    <a:pt x="733" y="478"/>
                    <a:pt x="733" y="478"/>
                  </a:cubicBezTo>
                  <a:moveTo>
                    <a:pt x="711" y="478"/>
                  </a:moveTo>
                  <a:cubicBezTo>
                    <a:pt x="710" y="479"/>
                    <a:pt x="710" y="480"/>
                    <a:pt x="709" y="480"/>
                  </a:cubicBezTo>
                  <a:cubicBezTo>
                    <a:pt x="709" y="481"/>
                    <a:pt x="708" y="481"/>
                    <a:pt x="708" y="481"/>
                  </a:cubicBezTo>
                  <a:cubicBezTo>
                    <a:pt x="709" y="481"/>
                    <a:pt x="710" y="481"/>
                    <a:pt x="710" y="480"/>
                  </a:cubicBezTo>
                  <a:cubicBezTo>
                    <a:pt x="711" y="480"/>
                    <a:pt x="712" y="479"/>
                    <a:pt x="713" y="478"/>
                  </a:cubicBezTo>
                  <a:cubicBezTo>
                    <a:pt x="712" y="478"/>
                    <a:pt x="712" y="478"/>
                    <a:pt x="711" y="478"/>
                  </a:cubicBezTo>
                  <a:moveTo>
                    <a:pt x="728" y="481"/>
                  </a:moveTo>
                  <a:cubicBezTo>
                    <a:pt x="724" y="483"/>
                    <a:pt x="721" y="485"/>
                    <a:pt x="718" y="486"/>
                  </a:cubicBezTo>
                  <a:cubicBezTo>
                    <a:pt x="718" y="487"/>
                    <a:pt x="718" y="487"/>
                    <a:pt x="718" y="487"/>
                  </a:cubicBezTo>
                  <a:cubicBezTo>
                    <a:pt x="721" y="485"/>
                    <a:pt x="724" y="484"/>
                    <a:pt x="727" y="483"/>
                  </a:cubicBezTo>
                  <a:cubicBezTo>
                    <a:pt x="728" y="482"/>
                    <a:pt x="728" y="482"/>
                    <a:pt x="729" y="481"/>
                  </a:cubicBezTo>
                  <a:cubicBezTo>
                    <a:pt x="729" y="481"/>
                    <a:pt x="728" y="481"/>
                    <a:pt x="728" y="481"/>
                  </a:cubicBezTo>
                  <a:moveTo>
                    <a:pt x="709" y="482"/>
                  </a:moveTo>
                  <a:cubicBezTo>
                    <a:pt x="708" y="482"/>
                    <a:pt x="707" y="482"/>
                    <a:pt x="707" y="482"/>
                  </a:cubicBezTo>
                  <a:cubicBezTo>
                    <a:pt x="705" y="483"/>
                    <a:pt x="704" y="485"/>
                    <a:pt x="702" y="486"/>
                  </a:cubicBezTo>
                  <a:cubicBezTo>
                    <a:pt x="703" y="486"/>
                    <a:pt x="704" y="485"/>
                    <a:pt x="705" y="485"/>
                  </a:cubicBezTo>
                  <a:cubicBezTo>
                    <a:pt x="706" y="484"/>
                    <a:pt x="706" y="484"/>
                    <a:pt x="707" y="483"/>
                  </a:cubicBezTo>
                  <a:cubicBezTo>
                    <a:pt x="708" y="483"/>
                    <a:pt x="708" y="482"/>
                    <a:pt x="708" y="482"/>
                  </a:cubicBezTo>
                  <a:cubicBezTo>
                    <a:pt x="708" y="482"/>
                    <a:pt x="709" y="482"/>
                    <a:pt x="709" y="482"/>
                  </a:cubicBezTo>
                  <a:moveTo>
                    <a:pt x="718" y="488"/>
                  </a:moveTo>
                  <a:cubicBezTo>
                    <a:pt x="715" y="489"/>
                    <a:pt x="712" y="491"/>
                    <a:pt x="708" y="492"/>
                  </a:cubicBezTo>
                  <a:cubicBezTo>
                    <a:pt x="708" y="493"/>
                    <a:pt x="707" y="493"/>
                    <a:pt x="707" y="493"/>
                  </a:cubicBezTo>
                  <a:cubicBezTo>
                    <a:pt x="707" y="493"/>
                    <a:pt x="706" y="493"/>
                    <a:pt x="706" y="494"/>
                  </a:cubicBezTo>
                  <a:cubicBezTo>
                    <a:pt x="704" y="495"/>
                    <a:pt x="702" y="496"/>
                    <a:pt x="699" y="497"/>
                  </a:cubicBezTo>
                  <a:cubicBezTo>
                    <a:pt x="700" y="497"/>
                    <a:pt x="700" y="498"/>
                    <a:pt x="701" y="498"/>
                  </a:cubicBezTo>
                  <a:cubicBezTo>
                    <a:pt x="703" y="497"/>
                    <a:pt x="704" y="496"/>
                    <a:pt x="706" y="495"/>
                  </a:cubicBezTo>
                  <a:cubicBezTo>
                    <a:pt x="707" y="494"/>
                    <a:pt x="707" y="494"/>
                    <a:pt x="707" y="494"/>
                  </a:cubicBezTo>
                  <a:cubicBezTo>
                    <a:pt x="710" y="492"/>
                    <a:pt x="714" y="490"/>
                    <a:pt x="718" y="488"/>
                  </a:cubicBezTo>
                  <a:cubicBezTo>
                    <a:pt x="718" y="488"/>
                    <a:pt x="718" y="488"/>
                    <a:pt x="718" y="488"/>
                  </a:cubicBezTo>
                  <a:moveTo>
                    <a:pt x="702" y="488"/>
                  </a:moveTo>
                  <a:cubicBezTo>
                    <a:pt x="701" y="488"/>
                    <a:pt x="700" y="489"/>
                    <a:pt x="699" y="489"/>
                  </a:cubicBezTo>
                  <a:cubicBezTo>
                    <a:pt x="696" y="492"/>
                    <a:pt x="693" y="494"/>
                    <a:pt x="691" y="496"/>
                  </a:cubicBezTo>
                  <a:cubicBezTo>
                    <a:pt x="692" y="496"/>
                    <a:pt x="692" y="496"/>
                    <a:pt x="693" y="496"/>
                  </a:cubicBezTo>
                  <a:cubicBezTo>
                    <a:pt x="695" y="494"/>
                    <a:pt x="698" y="491"/>
                    <a:pt x="702" y="488"/>
                  </a:cubicBezTo>
                  <a:moveTo>
                    <a:pt x="606" y="491"/>
                  </a:moveTo>
                  <a:cubicBezTo>
                    <a:pt x="605" y="491"/>
                    <a:pt x="605" y="491"/>
                    <a:pt x="604" y="492"/>
                  </a:cubicBezTo>
                  <a:cubicBezTo>
                    <a:pt x="609" y="493"/>
                    <a:pt x="614" y="494"/>
                    <a:pt x="619" y="495"/>
                  </a:cubicBezTo>
                  <a:cubicBezTo>
                    <a:pt x="619" y="495"/>
                    <a:pt x="619" y="494"/>
                    <a:pt x="619" y="494"/>
                  </a:cubicBezTo>
                  <a:cubicBezTo>
                    <a:pt x="615" y="493"/>
                    <a:pt x="610" y="492"/>
                    <a:pt x="606" y="491"/>
                  </a:cubicBezTo>
                  <a:moveTo>
                    <a:pt x="620" y="494"/>
                  </a:moveTo>
                  <a:cubicBezTo>
                    <a:pt x="620" y="494"/>
                    <a:pt x="620" y="495"/>
                    <a:pt x="620" y="495"/>
                  </a:cubicBezTo>
                  <a:cubicBezTo>
                    <a:pt x="620" y="495"/>
                    <a:pt x="621" y="495"/>
                    <a:pt x="621" y="494"/>
                  </a:cubicBezTo>
                  <a:cubicBezTo>
                    <a:pt x="621" y="494"/>
                    <a:pt x="620" y="494"/>
                    <a:pt x="620" y="494"/>
                  </a:cubicBezTo>
                  <a:moveTo>
                    <a:pt x="622" y="495"/>
                  </a:moveTo>
                  <a:cubicBezTo>
                    <a:pt x="622" y="495"/>
                    <a:pt x="622" y="495"/>
                    <a:pt x="621" y="495"/>
                  </a:cubicBezTo>
                  <a:cubicBezTo>
                    <a:pt x="623" y="496"/>
                    <a:pt x="624" y="496"/>
                    <a:pt x="626" y="496"/>
                  </a:cubicBezTo>
                  <a:cubicBezTo>
                    <a:pt x="625" y="496"/>
                    <a:pt x="625" y="496"/>
                    <a:pt x="624" y="495"/>
                  </a:cubicBezTo>
                  <a:cubicBezTo>
                    <a:pt x="624" y="495"/>
                    <a:pt x="623" y="495"/>
                    <a:pt x="622" y="495"/>
                  </a:cubicBezTo>
                  <a:moveTo>
                    <a:pt x="626" y="496"/>
                  </a:moveTo>
                  <a:cubicBezTo>
                    <a:pt x="627" y="496"/>
                    <a:pt x="627" y="496"/>
                    <a:pt x="628" y="497"/>
                  </a:cubicBezTo>
                  <a:cubicBezTo>
                    <a:pt x="628" y="497"/>
                    <a:pt x="628" y="497"/>
                    <a:pt x="628" y="497"/>
                  </a:cubicBezTo>
                  <a:cubicBezTo>
                    <a:pt x="628" y="497"/>
                    <a:pt x="628" y="496"/>
                    <a:pt x="628" y="496"/>
                  </a:cubicBezTo>
                  <a:cubicBezTo>
                    <a:pt x="627" y="496"/>
                    <a:pt x="627" y="496"/>
                    <a:pt x="626" y="496"/>
                  </a:cubicBezTo>
                  <a:moveTo>
                    <a:pt x="629" y="496"/>
                  </a:moveTo>
                  <a:cubicBezTo>
                    <a:pt x="629" y="497"/>
                    <a:pt x="629" y="497"/>
                    <a:pt x="629" y="497"/>
                  </a:cubicBezTo>
                  <a:cubicBezTo>
                    <a:pt x="631" y="498"/>
                    <a:pt x="633" y="498"/>
                    <a:pt x="635" y="499"/>
                  </a:cubicBezTo>
                  <a:cubicBezTo>
                    <a:pt x="636" y="498"/>
                    <a:pt x="636" y="498"/>
                    <a:pt x="637" y="498"/>
                  </a:cubicBezTo>
                  <a:cubicBezTo>
                    <a:pt x="634" y="497"/>
                    <a:pt x="632" y="497"/>
                    <a:pt x="629" y="496"/>
                  </a:cubicBezTo>
                  <a:moveTo>
                    <a:pt x="690" y="497"/>
                  </a:moveTo>
                  <a:cubicBezTo>
                    <a:pt x="687" y="499"/>
                    <a:pt x="686" y="501"/>
                    <a:pt x="684" y="503"/>
                  </a:cubicBezTo>
                  <a:cubicBezTo>
                    <a:pt x="685" y="502"/>
                    <a:pt x="686" y="502"/>
                    <a:pt x="687" y="501"/>
                  </a:cubicBezTo>
                  <a:cubicBezTo>
                    <a:pt x="688" y="500"/>
                    <a:pt x="689" y="499"/>
                    <a:pt x="691" y="497"/>
                  </a:cubicBezTo>
                  <a:cubicBezTo>
                    <a:pt x="691" y="497"/>
                    <a:pt x="690" y="497"/>
                    <a:pt x="690" y="497"/>
                  </a:cubicBezTo>
                  <a:moveTo>
                    <a:pt x="698" y="498"/>
                  </a:moveTo>
                  <a:cubicBezTo>
                    <a:pt x="698" y="498"/>
                    <a:pt x="697" y="499"/>
                    <a:pt x="697" y="499"/>
                  </a:cubicBezTo>
                  <a:cubicBezTo>
                    <a:pt x="697" y="499"/>
                    <a:pt x="697" y="499"/>
                    <a:pt x="698" y="500"/>
                  </a:cubicBezTo>
                  <a:cubicBezTo>
                    <a:pt x="698" y="499"/>
                    <a:pt x="699" y="499"/>
                    <a:pt x="700" y="498"/>
                  </a:cubicBezTo>
                  <a:cubicBezTo>
                    <a:pt x="699" y="498"/>
                    <a:pt x="699" y="498"/>
                    <a:pt x="698" y="498"/>
                  </a:cubicBezTo>
                  <a:moveTo>
                    <a:pt x="638" y="498"/>
                  </a:moveTo>
                  <a:cubicBezTo>
                    <a:pt x="638" y="498"/>
                    <a:pt x="637" y="499"/>
                    <a:pt x="637" y="499"/>
                  </a:cubicBezTo>
                  <a:cubicBezTo>
                    <a:pt x="639" y="499"/>
                    <a:pt x="642" y="500"/>
                    <a:pt x="644" y="500"/>
                  </a:cubicBezTo>
                  <a:cubicBezTo>
                    <a:pt x="644" y="500"/>
                    <a:pt x="645" y="500"/>
                    <a:pt x="645" y="500"/>
                  </a:cubicBezTo>
                  <a:cubicBezTo>
                    <a:pt x="643" y="499"/>
                    <a:pt x="641" y="499"/>
                    <a:pt x="638" y="498"/>
                  </a:cubicBezTo>
                  <a:moveTo>
                    <a:pt x="695" y="500"/>
                  </a:moveTo>
                  <a:cubicBezTo>
                    <a:pt x="689" y="503"/>
                    <a:pt x="685" y="505"/>
                    <a:pt x="684" y="505"/>
                  </a:cubicBezTo>
                  <a:cubicBezTo>
                    <a:pt x="684" y="505"/>
                    <a:pt x="684" y="504"/>
                    <a:pt x="685" y="503"/>
                  </a:cubicBezTo>
                  <a:cubicBezTo>
                    <a:pt x="684" y="504"/>
                    <a:pt x="684" y="504"/>
                    <a:pt x="683" y="504"/>
                  </a:cubicBezTo>
                  <a:cubicBezTo>
                    <a:pt x="683" y="505"/>
                    <a:pt x="683" y="505"/>
                    <a:pt x="683" y="505"/>
                  </a:cubicBezTo>
                  <a:cubicBezTo>
                    <a:pt x="683" y="506"/>
                    <a:pt x="684" y="506"/>
                    <a:pt x="684" y="506"/>
                  </a:cubicBezTo>
                  <a:cubicBezTo>
                    <a:pt x="685" y="506"/>
                    <a:pt x="690" y="504"/>
                    <a:pt x="697" y="500"/>
                  </a:cubicBezTo>
                  <a:cubicBezTo>
                    <a:pt x="696" y="500"/>
                    <a:pt x="696" y="500"/>
                    <a:pt x="695" y="500"/>
                  </a:cubicBezTo>
                  <a:moveTo>
                    <a:pt x="646" y="500"/>
                  </a:moveTo>
                  <a:cubicBezTo>
                    <a:pt x="646" y="500"/>
                    <a:pt x="645" y="500"/>
                    <a:pt x="645" y="501"/>
                  </a:cubicBezTo>
                  <a:cubicBezTo>
                    <a:pt x="647" y="501"/>
                    <a:pt x="650" y="502"/>
                    <a:pt x="652" y="502"/>
                  </a:cubicBezTo>
                  <a:cubicBezTo>
                    <a:pt x="652" y="502"/>
                    <a:pt x="653" y="502"/>
                    <a:pt x="653" y="501"/>
                  </a:cubicBezTo>
                  <a:cubicBezTo>
                    <a:pt x="651" y="501"/>
                    <a:pt x="648" y="500"/>
                    <a:pt x="646" y="500"/>
                  </a:cubicBezTo>
                  <a:moveTo>
                    <a:pt x="655" y="502"/>
                  </a:moveTo>
                  <a:cubicBezTo>
                    <a:pt x="654" y="502"/>
                    <a:pt x="654" y="502"/>
                    <a:pt x="654" y="502"/>
                  </a:cubicBezTo>
                  <a:cubicBezTo>
                    <a:pt x="656" y="503"/>
                    <a:pt x="659" y="503"/>
                    <a:pt x="661" y="504"/>
                  </a:cubicBezTo>
                  <a:cubicBezTo>
                    <a:pt x="660" y="503"/>
                    <a:pt x="659" y="503"/>
                    <a:pt x="658" y="502"/>
                  </a:cubicBezTo>
                  <a:cubicBezTo>
                    <a:pt x="657" y="502"/>
                    <a:pt x="656" y="502"/>
                    <a:pt x="655" y="502"/>
                  </a:cubicBezTo>
                  <a:moveTo>
                    <a:pt x="662" y="503"/>
                  </a:moveTo>
                  <a:cubicBezTo>
                    <a:pt x="663" y="504"/>
                    <a:pt x="663" y="504"/>
                    <a:pt x="664" y="505"/>
                  </a:cubicBezTo>
                  <a:cubicBezTo>
                    <a:pt x="664" y="505"/>
                    <a:pt x="664" y="505"/>
                    <a:pt x="665" y="505"/>
                  </a:cubicBezTo>
                  <a:cubicBezTo>
                    <a:pt x="665" y="504"/>
                    <a:pt x="665" y="504"/>
                    <a:pt x="666" y="504"/>
                  </a:cubicBezTo>
                  <a:cubicBezTo>
                    <a:pt x="664" y="504"/>
                    <a:pt x="663" y="503"/>
                    <a:pt x="662" y="503"/>
                  </a:cubicBezTo>
                  <a:moveTo>
                    <a:pt x="668" y="504"/>
                  </a:moveTo>
                  <a:cubicBezTo>
                    <a:pt x="668" y="505"/>
                    <a:pt x="667" y="505"/>
                    <a:pt x="667" y="505"/>
                  </a:cubicBezTo>
                  <a:cubicBezTo>
                    <a:pt x="670" y="506"/>
                    <a:pt x="673" y="506"/>
                    <a:pt x="676" y="507"/>
                  </a:cubicBezTo>
                  <a:cubicBezTo>
                    <a:pt x="677" y="507"/>
                    <a:pt x="677" y="506"/>
                    <a:pt x="678" y="506"/>
                  </a:cubicBezTo>
                  <a:cubicBezTo>
                    <a:pt x="674" y="505"/>
                    <a:pt x="671" y="505"/>
                    <a:pt x="668" y="504"/>
                  </a:cubicBezTo>
                  <a:moveTo>
                    <a:pt x="1200" y="505"/>
                  </a:moveTo>
                  <a:cubicBezTo>
                    <a:pt x="1193" y="509"/>
                    <a:pt x="1186" y="514"/>
                    <a:pt x="1180" y="517"/>
                  </a:cubicBezTo>
                  <a:cubicBezTo>
                    <a:pt x="1179" y="518"/>
                    <a:pt x="1179" y="518"/>
                    <a:pt x="1179" y="518"/>
                  </a:cubicBezTo>
                  <a:cubicBezTo>
                    <a:pt x="1163" y="528"/>
                    <a:pt x="1150" y="535"/>
                    <a:pt x="1140" y="540"/>
                  </a:cubicBezTo>
                  <a:cubicBezTo>
                    <a:pt x="1139" y="540"/>
                    <a:pt x="1139" y="540"/>
                    <a:pt x="1139" y="540"/>
                  </a:cubicBezTo>
                  <a:cubicBezTo>
                    <a:pt x="1124" y="548"/>
                    <a:pt x="1114" y="551"/>
                    <a:pt x="1109" y="551"/>
                  </a:cubicBezTo>
                  <a:cubicBezTo>
                    <a:pt x="1109" y="551"/>
                    <a:pt x="1109" y="551"/>
                    <a:pt x="1109" y="551"/>
                  </a:cubicBezTo>
                  <a:cubicBezTo>
                    <a:pt x="1105" y="551"/>
                    <a:pt x="1103" y="549"/>
                    <a:pt x="1102" y="547"/>
                  </a:cubicBezTo>
                  <a:cubicBezTo>
                    <a:pt x="1102" y="548"/>
                    <a:pt x="1101" y="548"/>
                    <a:pt x="1101" y="548"/>
                  </a:cubicBezTo>
                  <a:cubicBezTo>
                    <a:pt x="1102" y="550"/>
                    <a:pt x="1105" y="552"/>
                    <a:pt x="1109" y="552"/>
                  </a:cubicBezTo>
                  <a:cubicBezTo>
                    <a:pt x="1114" y="552"/>
                    <a:pt x="1124" y="549"/>
                    <a:pt x="1139" y="541"/>
                  </a:cubicBezTo>
                  <a:cubicBezTo>
                    <a:pt x="1140" y="541"/>
                    <a:pt x="1140" y="541"/>
                    <a:pt x="1140" y="541"/>
                  </a:cubicBezTo>
                  <a:cubicBezTo>
                    <a:pt x="1151" y="536"/>
                    <a:pt x="1163" y="528"/>
                    <a:pt x="1179" y="519"/>
                  </a:cubicBezTo>
                  <a:cubicBezTo>
                    <a:pt x="1180" y="519"/>
                    <a:pt x="1180" y="518"/>
                    <a:pt x="1180" y="518"/>
                  </a:cubicBezTo>
                  <a:cubicBezTo>
                    <a:pt x="1187" y="514"/>
                    <a:pt x="1193" y="510"/>
                    <a:pt x="1200" y="506"/>
                  </a:cubicBezTo>
                  <a:cubicBezTo>
                    <a:pt x="1200" y="505"/>
                    <a:pt x="1200" y="505"/>
                    <a:pt x="1200" y="505"/>
                  </a:cubicBezTo>
                  <a:moveTo>
                    <a:pt x="679" y="506"/>
                  </a:moveTo>
                  <a:cubicBezTo>
                    <a:pt x="679" y="507"/>
                    <a:pt x="678" y="507"/>
                    <a:pt x="678" y="507"/>
                  </a:cubicBezTo>
                  <a:cubicBezTo>
                    <a:pt x="681" y="508"/>
                    <a:pt x="684" y="508"/>
                    <a:pt x="687" y="509"/>
                  </a:cubicBezTo>
                  <a:cubicBezTo>
                    <a:pt x="687" y="509"/>
                    <a:pt x="688" y="508"/>
                    <a:pt x="688" y="508"/>
                  </a:cubicBezTo>
                  <a:cubicBezTo>
                    <a:pt x="685" y="507"/>
                    <a:pt x="682" y="507"/>
                    <a:pt x="679" y="506"/>
                  </a:cubicBezTo>
                  <a:moveTo>
                    <a:pt x="691" y="509"/>
                  </a:moveTo>
                  <a:cubicBezTo>
                    <a:pt x="690" y="509"/>
                    <a:pt x="690" y="509"/>
                    <a:pt x="689" y="509"/>
                  </a:cubicBezTo>
                  <a:cubicBezTo>
                    <a:pt x="692" y="510"/>
                    <a:pt x="695" y="510"/>
                    <a:pt x="697" y="511"/>
                  </a:cubicBezTo>
                  <a:cubicBezTo>
                    <a:pt x="698" y="510"/>
                    <a:pt x="698" y="510"/>
                    <a:pt x="699" y="510"/>
                  </a:cubicBezTo>
                  <a:cubicBezTo>
                    <a:pt x="696" y="509"/>
                    <a:pt x="694" y="509"/>
                    <a:pt x="691" y="509"/>
                  </a:cubicBezTo>
                  <a:moveTo>
                    <a:pt x="701" y="510"/>
                  </a:moveTo>
                  <a:cubicBezTo>
                    <a:pt x="700" y="510"/>
                    <a:pt x="700" y="511"/>
                    <a:pt x="699" y="511"/>
                  </a:cubicBezTo>
                  <a:cubicBezTo>
                    <a:pt x="701" y="511"/>
                    <a:pt x="703" y="512"/>
                    <a:pt x="706" y="512"/>
                  </a:cubicBezTo>
                  <a:cubicBezTo>
                    <a:pt x="706" y="512"/>
                    <a:pt x="707" y="512"/>
                    <a:pt x="707" y="511"/>
                  </a:cubicBezTo>
                  <a:cubicBezTo>
                    <a:pt x="705" y="511"/>
                    <a:pt x="703" y="511"/>
                    <a:pt x="701" y="510"/>
                  </a:cubicBezTo>
                  <a:moveTo>
                    <a:pt x="709" y="512"/>
                  </a:moveTo>
                  <a:cubicBezTo>
                    <a:pt x="708" y="512"/>
                    <a:pt x="708" y="512"/>
                    <a:pt x="707" y="512"/>
                  </a:cubicBezTo>
                  <a:cubicBezTo>
                    <a:pt x="708" y="512"/>
                    <a:pt x="708" y="512"/>
                    <a:pt x="708" y="512"/>
                  </a:cubicBezTo>
                  <a:cubicBezTo>
                    <a:pt x="709" y="513"/>
                    <a:pt x="710" y="513"/>
                    <a:pt x="711" y="513"/>
                  </a:cubicBezTo>
                  <a:cubicBezTo>
                    <a:pt x="711" y="513"/>
                    <a:pt x="711" y="512"/>
                    <a:pt x="712" y="512"/>
                  </a:cubicBezTo>
                  <a:cubicBezTo>
                    <a:pt x="711" y="512"/>
                    <a:pt x="710" y="512"/>
                    <a:pt x="709" y="512"/>
                  </a:cubicBezTo>
                  <a:moveTo>
                    <a:pt x="713" y="512"/>
                  </a:moveTo>
                  <a:cubicBezTo>
                    <a:pt x="713" y="513"/>
                    <a:pt x="713" y="513"/>
                    <a:pt x="712" y="513"/>
                  </a:cubicBezTo>
                  <a:cubicBezTo>
                    <a:pt x="713" y="513"/>
                    <a:pt x="713" y="513"/>
                    <a:pt x="713" y="513"/>
                  </a:cubicBezTo>
                  <a:cubicBezTo>
                    <a:pt x="714" y="513"/>
                    <a:pt x="714" y="513"/>
                    <a:pt x="715" y="513"/>
                  </a:cubicBezTo>
                  <a:cubicBezTo>
                    <a:pt x="714" y="512"/>
                    <a:pt x="714" y="512"/>
                    <a:pt x="713" y="512"/>
                  </a:cubicBezTo>
                  <a:moveTo>
                    <a:pt x="717" y="513"/>
                  </a:moveTo>
                  <a:cubicBezTo>
                    <a:pt x="716" y="513"/>
                    <a:pt x="716" y="513"/>
                    <a:pt x="715" y="514"/>
                  </a:cubicBezTo>
                  <a:cubicBezTo>
                    <a:pt x="715" y="514"/>
                    <a:pt x="716" y="514"/>
                    <a:pt x="716" y="514"/>
                  </a:cubicBezTo>
                  <a:cubicBezTo>
                    <a:pt x="722" y="515"/>
                    <a:pt x="727" y="516"/>
                    <a:pt x="733" y="516"/>
                  </a:cubicBezTo>
                  <a:cubicBezTo>
                    <a:pt x="732" y="516"/>
                    <a:pt x="730" y="515"/>
                    <a:pt x="729" y="515"/>
                  </a:cubicBezTo>
                  <a:cubicBezTo>
                    <a:pt x="725" y="514"/>
                    <a:pt x="721" y="513"/>
                    <a:pt x="717" y="513"/>
                  </a:cubicBezTo>
                  <a:moveTo>
                    <a:pt x="733" y="515"/>
                  </a:moveTo>
                  <a:cubicBezTo>
                    <a:pt x="734" y="516"/>
                    <a:pt x="736" y="516"/>
                    <a:pt x="737" y="517"/>
                  </a:cubicBezTo>
                  <a:cubicBezTo>
                    <a:pt x="739" y="517"/>
                    <a:pt x="742" y="518"/>
                    <a:pt x="744" y="518"/>
                  </a:cubicBezTo>
                  <a:cubicBezTo>
                    <a:pt x="758" y="520"/>
                    <a:pt x="772" y="522"/>
                    <a:pt x="785" y="523"/>
                  </a:cubicBezTo>
                  <a:cubicBezTo>
                    <a:pt x="813" y="526"/>
                    <a:pt x="839" y="528"/>
                    <a:pt x="863" y="529"/>
                  </a:cubicBezTo>
                  <a:cubicBezTo>
                    <a:pt x="862" y="529"/>
                    <a:pt x="861" y="529"/>
                    <a:pt x="860" y="528"/>
                  </a:cubicBezTo>
                  <a:cubicBezTo>
                    <a:pt x="834" y="527"/>
                    <a:pt x="805" y="524"/>
                    <a:pt x="775" y="521"/>
                  </a:cubicBezTo>
                  <a:cubicBezTo>
                    <a:pt x="765" y="520"/>
                    <a:pt x="755" y="518"/>
                    <a:pt x="744" y="517"/>
                  </a:cubicBezTo>
                  <a:cubicBezTo>
                    <a:pt x="744" y="517"/>
                    <a:pt x="743" y="517"/>
                    <a:pt x="743" y="517"/>
                  </a:cubicBezTo>
                  <a:cubicBezTo>
                    <a:pt x="739" y="516"/>
                    <a:pt x="736" y="516"/>
                    <a:pt x="733" y="515"/>
                  </a:cubicBezTo>
                  <a:moveTo>
                    <a:pt x="1097" y="518"/>
                  </a:moveTo>
                  <a:cubicBezTo>
                    <a:pt x="1095" y="518"/>
                    <a:pt x="1090" y="519"/>
                    <a:pt x="1081" y="520"/>
                  </a:cubicBezTo>
                  <a:cubicBezTo>
                    <a:pt x="1081" y="520"/>
                    <a:pt x="1081" y="520"/>
                    <a:pt x="1080" y="520"/>
                  </a:cubicBezTo>
                  <a:cubicBezTo>
                    <a:pt x="1072" y="521"/>
                    <a:pt x="1061" y="522"/>
                    <a:pt x="1048" y="524"/>
                  </a:cubicBezTo>
                  <a:cubicBezTo>
                    <a:pt x="1048" y="524"/>
                    <a:pt x="1048" y="524"/>
                    <a:pt x="1047" y="524"/>
                  </a:cubicBezTo>
                  <a:cubicBezTo>
                    <a:pt x="1042" y="525"/>
                    <a:pt x="1035" y="525"/>
                    <a:pt x="1029" y="526"/>
                  </a:cubicBezTo>
                  <a:cubicBezTo>
                    <a:pt x="1028" y="526"/>
                    <a:pt x="1028" y="526"/>
                    <a:pt x="1028" y="526"/>
                  </a:cubicBezTo>
                  <a:cubicBezTo>
                    <a:pt x="1016" y="527"/>
                    <a:pt x="1003" y="528"/>
                    <a:pt x="989" y="529"/>
                  </a:cubicBezTo>
                  <a:cubicBezTo>
                    <a:pt x="989" y="529"/>
                    <a:pt x="988" y="529"/>
                    <a:pt x="988" y="529"/>
                  </a:cubicBezTo>
                  <a:cubicBezTo>
                    <a:pt x="983" y="529"/>
                    <a:pt x="978" y="529"/>
                    <a:pt x="973" y="529"/>
                  </a:cubicBezTo>
                  <a:cubicBezTo>
                    <a:pt x="974" y="530"/>
                    <a:pt x="975" y="530"/>
                    <a:pt x="976" y="530"/>
                  </a:cubicBezTo>
                  <a:cubicBezTo>
                    <a:pt x="1004" y="529"/>
                    <a:pt x="1028" y="527"/>
                    <a:pt x="1046" y="525"/>
                  </a:cubicBezTo>
                  <a:cubicBezTo>
                    <a:pt x="1047" y="525"/>
                    <a:pt x="1048" y="525"/>
                    <a:pt x="1049" y="525"/>
                  </a:cubicBezTo>
                  <a:cubicBezTo>
                    <a:pt x="1062" y="523"/>
                    <a:pt x="1073" y="522"/>
                    <a:pt x="1081" y="521"/>
                  </a:cubicBezTo>
                  <a:cubicBezTo>
                    <a:pt x="1081" y="521"/>
                    <a:pt x="1081" y="521"/>
                    <a:pt x="1082" y="521"/>
                  </a:cubicBezTo>
                  <a:cubicBezTo>
                    <a:pt x="1090" y="520"/>
                    <a:pt x="1095" y="519"/>
                    <a:pt x="1097" y="519"/>
                  </a:cubicBezTo>
                  <a:cubicBezTo>
                    <a:pt x="1098" y="519"/>
                    <a:pt x="1098" y="519"/>
                    <a:pt x="1098" y="519"/>
                  </a:cubicBezTo>
                  <a:cubicBezTo>
                    <a:pt x="1098" y="520"/>
                    <a:pt x="1095" y="521"/>
                    <a:pt x="1092" y="522"/>
                  </a:cubicBezTo>
                  <a:cubicBezTo>
                    <a:pt x="1092" y="523"/>
                    <a:pt x="1092" y="523"/>
                    <a:pt x="1092" y="523"/>
                  </a:cubicBezTo>
                  <a:cubicBezTo>
                    <a:pt x="1093" y="523"/>
                    <a:pt x="1093" y="523"/>
                    <a:pt x="1094" y="523"/>
                  </a:cubicBezTo>
                  <a:cubicBezTo>
                    <a:pt x="1100" y="523"/>
                    <a:pt x="1101" y="527"/>
                    <a:pt x="1101" y="531"/>
                  </a:cubicBezTo>
                  <a:cubicBezTo>
                    <a:pt x="1101" y="535"/>
                    <a:pt x="1100" y="538"/>
                    <a:pt x="1100" y="542"/>
                  </a:cubicBezTo>
                  <a:cubicBezTo>
                    <a:pt x="1100" y="544"/>
                    <a:pt x="1100" y="545"/>
                    <a:pt x="1101" y="547"/>
                  </a:cubicBezTo>
                  <a:cubicBezTo>
                    <a:pt x="1101" y="547"/>
                    <a:pt x="1101" y="547"/>
                    <a:pt x="1102" y="547"/>
                  </a:cubicBezTo>
                  <a:cubicBezTo>
                    <a:pt x="1101" y="545"/>
                    <a:pt x="1101" y="544"/>
                    <a:pt x="1101" y="542"/>
                  </a:cubicBezTo>
                  <a:cubicBezTo>
                    <a:pt x="1101" y="538"/>
                    <a:pt x="1102" y="535"/>
                    <a:pt x="1102" y="531"/>
                  </a:cubicBezTo>
                  <a:cubicBezTo>
                    <a:pt x="1102" y="527"/>
                    <a:pt x="1100" y="522"/>
                    <a:pt x="1095" y="522"/>
                  </a:cubicBezTo>
                  <a:cubicBezTo>
                    <a:pt x="1098" y="521"/>
                    <a:pt x="1099" y="520"/>
                    <a:pt x="1099" y="519"/>
                  </a:cubicBezTo>
                  <a:cubicBezTo>
                    <a:pt x="1099" y="518"/>
                    <a:pt x="1098" y="518"/>
                    <a:pt x="1097" y="518"/>
                  </a:cubicBezTo>
                  <a:moveTo>
                    <a:pt x="863" y="528"/>
                  </a:moveTo>
                  <a:cubicBezTo>
                    <a:pt x="864" y="529"/>
                    <a:pt x="866" y="529"/>
                    <a:pt x="867" y="530"/>
                  </a:cubicBezTo>
                  <a:cubicBezTo>
                    <a:pt x="884" y="530"/>
                    <a:pt x="901" y="531"/>
                    <a:pt x="917" y="531"/>
                  </a:cubicBezTo>
                  <a:cubicBezTo>
                    <a:pt x="916" y="531"/>
                    <a:pt x="915" y="530"/>
                    <a:pt x="914" y="530"/>
                  </a:cubicBezTo>
                  <a:cubicBezTo>
                    <a:pt x="898" y="530"/>
                    <a:pt x="881" y="529"/>
                    <a:pt x="863" y="528"/>
                  </a:cubicBezTo>
                  <a:moveTo>
                    <a:pt x="969" y="529"/>
                  </a:moveTo>
                  <a:cubicBezTo>
                    <a:pt x="967" y="529"/>
                    <a:pt x="964" y="530"/>
                    <a:pt x="961" y="530"/>
                  </a:cubicBezTo>
                  <a:cubicBezTo>
                    <a:pt x="962" y="530"/>
                    <a:pt x="963" y="530"/>
                    <a:pt x="964" y="531"/>
                  </a:cubicBezTo>
                  <a:cubicBezTo>
                    <a:pt x="967" y="530"/>
                    <a:pt x="970" y="530"/>
                    <a:pt x="973" y="530"/>
                  </a:cubicBezTo>
                  <a:cubicBezTo>
                    <a:pt x="972" y="530"/>
                    <a:pt x="970" y="530"/>
                    <a:pt x="969" y="529"/>
                  </a:cubicBezTo>
                  <a:moveTo>
                    <a:pt x="959" y="530"/>
                  </a:moveTo>
                  <a:cubicBezTo>
                    <a:pt x="958" y="530"/>
                    <a:pt x="958" y="530"/>
                    <a:pt x="957" y="530"/>
                  </a:cubicBezTo>
                  <a:cubicBezTo>
                    <a:pt x="958" y="530"/>
                    <a:pt x="959" y="530"/>
                    <a:pt x="960" y="531"/>
                  </a:cubicBezTo>
                  <a:cubicBezTo>
                    <a:pt x="961" y="531"/>
                    <a:pt x="961" y="531"/>
                    <a:pt x="961" y="531"/>
                  </a:cubicBezTo>
                  <a:cubicBezTo>
                    <a:pt x="960" y="530"/>
                    <a:pt x="960" y="530"/>
                    <a:pt x="959" y="530"/>
                  </a:cubicBezTo>
                  <a:moveTo>
                    <a:pt x="951" y="530"/>
                  </a:moveTo>
                  <a:cubicBezTo>
                    <a:pt x="950" y="530"/>
                    <a:pt x="950" y="530"/>
                    <a:pt x="949" y="530"/>
                  </a:cubicBezTo>
                  <a:cubicBezTo>
                    <a:pt x="948" y="530"/>
                    <a:pt x="948" y="530"/>
                    <a:pt x="947" y="530"/>
                  </a:cubicBezTo>
                  <a:cubicBezTo>
                    <a:pt x="941" y="530"/>
                    <a:pt x="935" y="530"/>
                    <a:pt x="928" y="530"/>
                  </a:cubicBezTo>
                  <a:cubicBezTo>
                    <a:pt x="925" y="530"/>
                    <a:pt x="921" y="530"/>
                    <a:pt x="917" y="530"/>
                  </a:cubicBezTo>
                  <a:cubicBezTo>
                    <a:pt x="918" y="530"/>
                    <a:pt x="919" y="531"/>
                    <a:pt x="920" y="531"/>
                  </a:cubicBezTo>
                  <a:cubicBezTo>
                    <a:pt x="923" y="531"/>
                    <a:pt x="926" y="531"/>
                    <a:pt x="928" y="531"/>
                  </a:cubicBezTo>
                  <a:cubicBezTo>
                    <a:pt x="937" y="531"/>
                    <a:pt x="945" y="531"/>
                    <a:pt x="953" y="531"/>
                  </a:cubicBezTo>
                  <a:cubicBezTo>
                    <a:pt x="952" y="531"/>
                    <a:pt x="952" y="530"/>
                    <a:pt x="951" y="530"/>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42" name="Freeform 71"/>
            <p:cNvSpPr>
              <a:spLocks noEditPoints="1"/>
            </p:cNvSpPr>
            <p:nvPr userDrawn="1"/>
          </p:nvSpPr>
          <p:spPr bwMode="auto">
            <a:xfrm>
              <a:off x="951" y="4198"/>
              <a:ext cx="2817" cy="1068"/>
            </a:xfrm>
            <a:custGeom>
              <a:avLst/>
              <a:gdLst>
                <a:gd name="T0" fmla="*/ 2147483646 w 1390"/>
                <a:gd name="T1" fmla="*/ 2147483646 h 527"/>
                <a:gd name="T2" fmla="*/ 2147483646 w 1390"/>
                <a:gd name="T3" fmla="*/ 2147483646 h 527"/>
                <a:gd name="T4" fmla="*/ 2147483646 w 1390"/>
                <a:gd name="T5" fmla="*/ 2147483646 h 527"/>
                <a:gd name="T6" fmla="*/ 2147483646 w 1390"/>
                <a:gd name="T7" fmla="*/ 2147483646 h 527"/>
                <a:gd name="T8" fmla="*/ 2147483646 w 1390"/>
                <a:gd name="T9" fmla="*/ 2147483646 h 527"/>
                <a:gd name="T10" fmla="*/ 2147483646 w 1390"/>
                <a:gd name="T11" fmla="*/ 2147483646 h 527"/>
                <a:gd name="T12" fmla="*/ 2147483646 w 1390"/>
                <a:gd name="T13" fmla="*/ 2147483646 h 527"/>
                <a:gd name="T14" fmla="*/ 2147483646 w 1390"/>
                <a:gd name="T15" fmla="*/ 2147483646 h 527"/>
                <a:gd name="T16" fmla="*/ 2147483646 w 1390"/>
                <a:gd name="T17" fmla="*/ 2147483646 h 527"/>
                <a:gd name="T18" fmla="*/ 2147483646 w 1390"/>
                <a:gd name="T19" fmla="*/ 2147483646 h 527"/>
                <a:gd name="T20" fmla="*/ 2147483646 w 1390"/>
                <a:gd name="T21" fmla="*/ 2147483646 h 527"/>
                <a:gd name="T22" fmla="*/ 2147483646 w 1390"/>
                <a:gd name="T23" fmla="*/ 2147483646 h 527"/>
                <a:gd name="T24" fmla="*/ 2147483646 w 1390"/>
                <a:gd name="T25" fmla="*/ 2147483646 h 527"/>
                <a:gd name="T26" fmla="*/ 2147483646 w 1390"/>
                <a:gd name="T27" fmla="*/ 2147483646 h 527"/>
                <a:gd name="T28" fmla="*/ 2147483646 w 1390"/>
                <a:gd name="T29" fmla="*/ 2147483646 h 527"/>
                <a:gd name="T30" fmla="*/ 2147483646 w 1390"/>
                <a:gd name="T31" fmla="*/ 2147483646 h 527"/>
                <a:gd name="T32" fmla="*/ 2147483646 w 1390"/>
                <a:gd name="T33" fmla="*/ 2147483646 h 527"/>
                <a:gd name="T34" fmla="*/ 2147483646 w 1390"/>
                <a:gd name="T35" fmla="*/ 2147483646 h 527"/>
                <a:gd name="T36" fmla="*/ 2147483646 w 1390"/>
                <a:gd name="T37" fmla="*/ 2147483646 h 527"/>
                <a:gd name="T38" fmla="*/ 2147483646 w 1390"/>
                <a:gd name="T39" fmla="*/ 2147483646 h 527"/>
                <a:gd name="T40" fmla="*/ 2147483646 w 1390"/>
                <a:gd name="T41" fmla="*/ 2147483646 h 527"/>
                <a:gd name="T42" fmla="*/ 2147483646 w 1390"/>
                <a:gd name="T43" fmla="*/ 2147483646 h 527"/>
                <a:gd name="T44" fmla="*/ 2147483646 w 1390"/>
                <a:gd name="T45" fmla="*/ 2147483646 h 527"/>
                <a:gd name="T46" fmla="*/ 2147483646 w 1390"/>
                <a:gd name="T47" fmla="*/ 2147483646 h 527"/>
                <a:gd name="T48" fmla="*/ 2147483646 w 1390"/>
                <a:gd name="T49" fmla="*/ 2147483646 h 527"/>
                <a:gd name="T50" fmla="*/ 2147483646 w 1390"/>
                <a:gd name="T51" fmla="*/ 2147483646 h 527"/>
                <a:gd name="T52" fmla="*/ 2147483646 w 1390"/>
                <a:gd name="T53" fmla="*/ 2147483646 h 527"/>
                <a:gd name="T54" fmla="*/ 2147483646 w 1390"/>
                <a:gd name="T55" fmla="*/ 2147483646 h 527"/>
                <a:gd name="T56" fmla="*/ 2147483646 w 1390"/>
                <a:gd name="T57" fmla="*/ 2147483646 h 527"/>
                <a:gd name="T58" fmla="*/ 2147483646 w 1390"/>
                <a:gd name="T59" fmla="*/ 2147483646 h 527"/>
                <a:gd name="T60" fmla="*/ 2147483646 w 1390"/>
                <a:gd name="T61" fmla="*/ 2147483646 h 527"/>
                <a:gd name="T62" fmla="*/ 2147483646 w 1390"/>
                <a:gd name="T63" fmla="*/ 2147483646 h 527"/>
                <a:gd name="T64" fmla="*/ 2147483646 w 1390"/>
                <a:gd name="T65" fmla="*/ 2147483646 h 527"/>
                <a:gd name="T66" fmla="*/ 2147483646 w 1390"/>
                <a:gd name="T67" fmla="*/ 2147483646 h 527"/>
                <a:gd name="T68" fmla="*/ 2147483646 w 1390"/>
                <a:gd name="T69" fmla="*/ 2147483646 h 527"/>
                <a:gd name="T70" fmla="*/ 2147483646 w 1390"/>
                <a:gd name="T71" fmla="*/ 2147483646 h 527"/>
                <a:gd name="T72" fmla="*/ 2147483646 w 1390"/>
                <a:gd name="T73" fmla="*/ 2147483646 h 527"/>
                <a:gd name="T74" fmla="*/ 2147483646 w 1390"/>
                <a:gd name="T75" fmla="*/ 2147483646 h 527"/>
                <a:gd name="T76" fmla="*/ 2147483646 w 1390"/>
                <a:gd name="T77" fmla="*/ 2147483646 h 527"/>
                <a:gd name="T78" fmla="*/ 2147483646 w 1390"/>
                <a:gd name="T79" fmla="*/ 2147483646 h 527"/>
                <a:gd name="T80" fmla="*/ 2147483646 w 1390"/>
                <a:gd name="T81" fmla="*/ 2147483646 h 527"/>
                <a:gd name="T82" fmla="*/ 2147483646 w 1390"/>
                <a:gd name="T83" fmla="*/ 2147483646 h 527"/>
                <a:gd name="T84" fmla="*/ 2147483646 w 1390"/>
                <a:gd name="T85" fmla="*/ 2147483646 h 527"/>
                <a:gd name="T86" fmla="*/ 2147483646 w 1390"/>
                <a:gd name="T87" fmla="*/ 2147483646 h 527"/>
                <a:gd name="T88" fmla="*/ 2147483646 w 1390"/>
                <a:gd name="T89" fmla="*/ 2147483646 h 527"/>
                <a:gd name="T90" fmla="*/ 2147483646 w 1390"/>
                <a:gd name="T91" fmla="*/ 2147483646 h 527"/>
                <a:gd name="T92" fmla="*/ 2147483646 w 1390"/>
                <a:gd name="T93" fmla="*/ 2147483646 h 527"/>
                <a:gd name="T94" fmla="*/ 2147483646 w 1390"/>
                <a:gd name="T95" fmla="*/ 2147483646 h 527"/>
                <a:gd name="T96" fmla="*/ 2147483646 w 1390"/>
                <a:gd name="T97" fmla="*/ 2147483646 h 527"/>
                <a:gd name="T98" fmla="*/ 2147483646 w 1390"/>
                <a:gd name="T99" fmla="*/ 2147483646 h 527"/>
                <a:gd name="T100" fmla="*/ 2147483646 w 1390"/>
                <a:gd name="T101" fmla="*/ 2147483646 h 527"/>
                <a:gd name="T102" fmla="*/ 2147483646 w 1390"/>
                <a:gd name="T103" fmla="*/ 2147483646 h 527"/>
                <a:gd name="T104" fmla="*/ 2147483646 w 1390"/>
                <a:gd name="T105" fmla="*/ 2147483646 h 527"/>
                <a:gd name="T106" fmla="*/ 2147483646 w 1390"/>
                <a:gd name="T107" fmla="*/ 2147483646 h 527"/>
                <a:gd name="T108" fmla="*/ 2147483646 w 1390"/>
                <a:gd name="T109" fmla="*/ 2147483646 h 527"/>
                <a:gd name="T110" fmla="*/ 2147483646 w 1390"/>
                <a:gd name="T111" fmla="*/ 2147483646 h 527"/>
                <a:gd name="T112" fmla="*/ 2147483646 w 1390"/>
                <a:gd name="T113" fmla="*/ 2147483646 h 527"/>
                <a:gd name="T114" fmla="*/ 2147483646 w 1390"/>
                <a:gd name="T115" fmla="*/ 2147483646 h 527"/>
                <a:gd name="T116" fmla="*/ 2147483646 w 1390"/>
                <a:gd name="T117" fmla="*/ 2147483646 h 527"/>
                <a:gd name="T118" fmla="*/ 2147483646 w 1390"/>
                <a:gd name="T119" fmla="*/ 2147483646 h 527"/>
                <a:gd name="T120" fmla="*/ 2147483646 w 1390"/>
                <a:gd name="T121" fmla="*/ 2147483646 h 527"/>
                <a:gd name="T122" fmla="*/ 2147483646 w 1390"/>
                <a:gd name="T123" fmla="*/ 2147483646 h 52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390" h="527">
                  <a:moveTo>
                    <a:pt x="1029" y="0"/>
                  </a:moveTo>
                  <a:cubicBezTo>
                    <a:pt x="1028" y="0"/>
                    <a:pt x="1026" y="0"/>
                    <a:pt x="1024" y="0"/>
                  </a:cubicBezTo>
                  <a:cubicBezTo>
                    <a:pt x="1024" y="0"/>
                    <a:pt x="1024" y="0"/>
                    <a:pt x="1024" y="1"/>
                  </a:cubicBezTo>
                  <a:cubicBezTo>
                    <a:pt x="1026" y="1"/>
                    <a:pt x="1028" y="1"/>
                    <a:pt x="1029" y="1"/>
                  </a:cubicBezTo>
                  <a:cubicBezTo>
                    <a:pt x="1047" y="1"/>
                    <a:pt x="1065" y="2"/>
                    <a:pt x="1085" y="5"/>
                  </a:cubicBezTo>
                  <a:cubicBezTo>
                    <a:pt x="1085" y="4"/>
                    <a:pt x="1085" y="4"/>
                    <a:pt x="1085" y="4"/>
                  </a:cubicBezTo>
                  <a:cubicBezTo>
                    <a:pt x="1065" y="1"/>
                    <a:pt x="1047" y="0"/>
                    <a:pt x="1029" y="0"/>
                  </a:cubicBezTo>
                  <a:moveTo>
                    <a:pt x="1023" y="0"/>
                  </a:moveTo>
                  <a:cubicBezTo>
                    <a:pt x="1022" y="0"/>
                    <a:pt x="1021" y="0"/>
                    <a:pt x="1020" y="0"/>
                  </a:cubicBezTo>
                  <a:cubicBezTo>
                    <a:pt x="1019" y="0"/>
                    <a:pt x="1018" y="0"/>
                    <a:pt x="1017" y="0"/>
                  </a:cubicBezTo>
                  <a:cubicBezTo>
                    <a:pt x="1016" y="0"/>
                    <a:pt x="1016" y="0"/>
                    <a:pt x="1016" y="0"/>
                  </a:cubicBezTo>
                  <a:cubicBezTo>
                    <a:pt x="1014" y="0"/>
                    <a:pt x="1013" y="0"/>
                    <a:pt x="1012" y="0"/>
                  </a:cubicBezTo>
                  <a:cubicBezTo>
                    <a:pt x="1010" y="0"/>
                    <a:pt x="1008" y="1"/>
                    <a:pt x="1006" y="1"/>
                  </a:cubicBezTo>
                  <a:cubicBezTo>
                    <a:pt x="1005" y="1"/>
                    <a:pt x="1003" y="1"/>
                    <a:pt x="1002" y="1"/>
                  </a:cubicBezTo>
                  <a:cubicBezTo>
                    <a:pt x="1001" y="1"/>
                    <a:pt x="1000" y="1"/>
                    <a:pt x="999" y="1"/>
                  </a:cubicBezTo>
                  <a:cubicBezTo>
                    <a:pt x="995" y="2"/>
                    <a:pt x="991" y="2"/>
                    <a:pt x="987" y="3"/>
                  </a:cubicBezTo>
                  <a:cubicBezTo>
                    <a:pt x="986" y="4"/>
                    <a:pt x="984" y="4"/>
                    <a:pt x="983" y="4"/>
                  </a:cubicBezTo>
                  <a:cubicBezTo>
                    <a:pt x="983" y="4"/>
                    <a:pt x="983" y="5"/>
                    <a:pt x="983" y="5"/>
                  </a:cubicBezTo>
                  <a:cubicBezTo>
                    <a:pt x="985" y="5"/>
                    <a:pt x="986" y="4"/>
                    <a:pt x="987" y="4"/>
                  </a:cubicBezTo>
                  <a:cubicBezTo>
                    <a:pt x="989" y="4"/>
                    <a:pt x="991" y="4"/>
                    <a:pt x="993" y="3"/>
                  </a:cubicBezTo>
                  <a:cubicBezTo>
                    <a:pt x="996" y="3"/>
                    <a:pt x="999" y="2"/>
                    <a:pt x="1002" y="2"/>
                  </a:cubicBezTo>
                  <a:cubicBezTo>
                    <a:pt x="1003" y="2"/>
                    <a:pt x="1004" y="2"/>
                    <a:pt x="1004" y="2"/>
                  </a:cubicBezTo>
                  <a:cubicBezTo>
                    <a:pt x="1005" y="2"/>
                    <a:pt x="1005" y="2"/>
                    <a:pt x="1006" y="2"/>
                  </a:cubicBezTo>
                  <a:cubicBezTo>
                    <a:pt x="1007" y="2"/>
                    <a:pt x="1009" y="1"/>
                    <a:pt x="1010" y="1"/>
                  </a:cubicBezTo>
                  <a:cubicBezTo>
                    <a:pt x="1012" y="1"/>
                    <a:pt x="1014" y="1"/>
                    <a:pt x="1016" y="1"/>
                  </a:cubicBezTo>
                  <a:cubicBezTo>
                    <a:pt x="1017" y="1"/>
                    <a:pt x="1018" y="1"/>
                    <a:pt x="1019" y="1"/>
                  </a:cubicBezTo>
                  <a:cubicBezTo>
                    <a:pt x="1019" y="1"/>
                    <a:pt x="1020" y="1"/>
                    <a:pt x="1020" y="1"/>
                  </a:cubicBezTo>
                  <a:cubicBezTo>
                    <a:pt x="1021" y="1"/>
                    <a:pt x="1022" y="1"/>
                    <a:pt x="1023" y="1"/>
                  </a:cubicBezTo>
                  <a:cubicBezTo>
                    <a:pt x="1023" y="0"/>
                    <a:pt x="1023" y="0"/>
                    <a:pt x="1023" y="0"/>
                  </a:cubicBezTo>
                  <a:moveTo>
                    <a:pt x="1086" y="4"/>
                  </a:moveTo>
                  <a:cubicBezTo>
                    <a:pt x="1086" y="4"/>
                    <a:pt x="1086" y="5"/>
                    <a:pt x="1086" y="5"/>
                  </a:cubicBezTo>
                  <a:cubicBezTo>
                    <a:pt x="1104" y="7"/>
                    <a:pt x="1122" y="11"/>
                    <a:pt x="1141" y="15"/>
                  </a:cubicBezTo>
                  <a:cubicBezTo>
                    <a:pt x="1141" y="15"/>
                    <a:pt x="1141" y="15"/>
                    <a:pt x="1141" y="14"/>
                  </a:cubicBezTo>
                  <a:cubicBezTo>
                    <a:pt x="1123" y="10"/>
                    <a:pt x="1104" y="6"/>
                    <a:pt x="1086" y="4"/>
                  </a:cubicBezTo>
                  <a:moveTo>
                    <a:pt x="982" y="4"/>
                  </a:moveTo>
                  <a:cubicBezTo>
                    <a:pt x="978" y="5"/>
                    <a:pt x="973" y="7"/>
                    <a:pt x="970" y="8"/>
                  </a:cubicBezTo>
                  <a:cubicBezTo>
                    <a:pt x="970" y="8"/>
                    <a:pt x="970" y="9"/>
                    <a:pt x="970" y="9"/>
                  </a:cubicBezTo>
                  <a:cubicBezTo>
                    <a:pt x="974" y="7"/>
                    <a:pt x="978" y="6"/>
                    <a:pt x="982" y="5"/>
                  </a:cubicBezTo>
                  <a:cubicBezTo>
                    <a:pt x="982" y="5"/>
                    <a:pt x="982" y="5"/>
                    <a:pt x="982" y="4"/>
                  </a:cubicBezTo>
                  <a:moveTo>
                    <a:pt x="969" y="8"/>
                  </a:moveTo>
                  <a:cubicBezTo>
                    <a:pt x="967" y="9"/>
                    <a:pt x="966" y="9"/>
                    <a:pt x="965" y="10"/>
                  </a:cubicBezTo>
                  <a:cubicBezTo>
                    <a:pt x="964" y="10"/>
                    <a:pt x="964" y="10"/>
                    <a:pt x="963" y="10"/>
                  </a:cubicBezTo>
                  <a:cubicBezTo>
                    <a:pt x="961" y="11"/>
                    <a:pt x="959" y="12"/>
                    <a:pt x="958" y="13"/>
                  </a:cubicBezTo>
                  <a:cubicBezTo>
                    <a:pt x="958" y="13"/>
                    <a:pt x="958" y="14"/>
                    <a:pt x="958" y="14"/>
                  </a:cubicBezTo>
                  <a:cubicBezTo>
                    <a:pt x="958" y="14"/>
                    <a:pt x="958" y="14"/>
                    <a:pt x="958" y="14"/>
                  </a:cubicBezTo>
                  <a:cubicBezTo>
                    <a:pt x="960" y="13"/>
                    <a:pt x="962" y="12"/>
                    <a:pt x="965" y="11"/>
                  </a:cubicBezTo>
                  <a:cubicBezTo>
                    <a:pt x="965" y="11"/>
                    <a:pt x="966" y="10"/>
                    <a:pt x="966" y="10"/>
                  </a:cubicBezTo>
                  <a:cubicBezTo>
                    <a:pt x="967" y="10"/>
                    <a:pt x="968" y="9"/>
                    <a:pt x="969" y="9"/>
                  </a:cubicBezTo>
                  <a:cubicBezTo>
                    <a:pt x="969" y="9"/>
                    <a:pt x="969" y="9"/>
                    <a:pt x="969" y="8"/>
                  </a:cubicBezTo>
                  <a:moveTo>
                    <a:pt x="957" y="14"/>
                  </a:moveTo>
                  <a:cubicBezTo>
                    <a:pt x="956" y="14"/>
                    <a:pt x="955" y="15"/>
                    <a:pt x="954" y="15"/>
                  </a:cubicBezTo>
                  <a:cubicBezTo>
                    <a:pt x="953" y="16"/>
                    <a:pt x="951" y="17"/>
                    <a:pt x="950" y="18"/>
                  </a:cubicBezTo>
                  <a:cubicBezTo>
                    <a:pt x="950" y="18"/>
                    <a:pt x="950" y="18"/>
                    <a:pt x="950" y="18"/>
                  </a:cubicBezTo>
                  <a:cubicBezTo>
                    <a:pt x="949" y="19"/>
                    <a:pt x="949" y="19"/>
                    <a:pt x="949" y="20"/>
                  </a:cubicBezTo>
                  <a:cubicBezTo>
                    <a:pt x="950" y="19"/>
                    <a:pt x="952" y="17"/>
                    <a:pt x="954" y="16"/>
                  </a:cubicBezTo>
                  <a:cubicBezTo>
                    <a:pt x="955" y="16"/>
                    <a:pt x="956" y="15"/>
                    <a:pt x="957" y="15"/>
                  </a:cubicBezTo>
                  <a:cubicBezTo>
                    <a:pt x="957" y="14"/>
                    <a:pt x="957" y="14"/>
                    <a:pt x="957" y="14"/>
                  </a:cubicBezTo>
                  <a:moveTo>
                    <a:pt x="1142" y="15"/>
                  </a:moveTo>
                  <a:cubicBezTo>
                    <a:pt x="1142" y="15"/>
                    <a:pt x="1142" y="15"/>
                    <a:pt x="1142" y="16"/>
                  </a:cubicBezTo>
                  <a:cubicBezTo>
                    <a:pt x="1158" y="20"/>
                    <a:pt x="1175" y="24"/>
                    <a:pt x="1191" y="30"/>
                  </a:cubicBezTo>
                  <a:cubicBezTo>
                    <a:pt x="1191" y="29"/>
                    <a:pt x="1191" y="29"/>
                    <a:pt x="1191" y="29"/>
                  </a:cubicBezTo>
                  <a:cubicBezTo>
                    <a:pt x="1175" y="23"/>
                    <a:pt x="1159" y="19"/>
                    <a:pt x="1142" y="15"/>
                  </a:cubicBezTo>
                  <a:moveTo>
                    <a:pt x="948" y="19"/>
                  </a:moveTo>
                  <a:cubicBezTo>
                    <a:pt x="947" y="20"/>
                    <a:pt x="945" y="21"/>
                    <a:pt x="944" y="23"/>
                  </a:cubicBezTo>
                  <a:cubicBezTo>
                    <a:pt x="944" y="23"/>
                    <a:pt x="944" y="23"/>
                    <a:pt x="943" y="23"/>
                  </a:cubicBezTo>
                  <a:cubicBezTo>
                    <a:pt x="939" y="28"/>
                    <a:pt x="936" y="33"/>
                    <a:pt x="934" y="39"/>
                  </a:cubicBezTo>
                  <a:cubicBezTo>
                    <a:pt x="934" y="39"/>
                    <a:pt x="934" y="40"/>
                    <a:pt x="934" y="40"/>
                  </a:cubicBezTo>
                  <a:cubicBezTo>
                    <a:pt x="933" y="43"/>
                    <a:pt x="933" y="47"/>
                    <a:pt x="933" y="51"/>
                  </a:cubicBezTo>
                  <a:cubicBezTo>
                    <a:pt x="933" y="59"/>
                    <a:pt x="935" y="67"/>
                    <a:pt x="938" y="77"/>
                  </a:cubicBezTo>
                  <a:cubicBezTo>
                    <a:pt x="949" y="102"/>
                    <a:pt x="957" y="126"/>
                    <a:pt x="962" y="149"/>
                  </a:cubicBezTo>
                  <a:cubicBezTo>
                    <a:pt x="962" y="148"/>
                    <a:pt x="963" y="148"/>
                    <a:pt x="963" y="148"/>
                  </a:cubicBezTo>
                  <a:cubicBezTo>
                    <a:pt x="957" y="126"/>
                    <a:pt x="950" y="102"/>
                    <a:pt x="939" y="76"/>
                  </a:cubicBezTo>
                  <a:cubicBezTo>
                    <a:pt x="935" y="67"/>
                    <a:pt x="934" y="58"/>
                    <a:pt x="934" y="51"/>
                  </a:cubicBezTo>
                  <a:cubicBezTo>
                    <a:pt x="934" y="47"/>
                    <a:pt x="934" y="44"/>
                    <a:pt x="935" y="40"/>
                  </a:cubicBezTo>
                  <a:cubicBezTo>
                    <a:pt x="935" y="40"/>
                    <a:pt x="935" y="40"/>
                    <a:pt x="935" y="39"/>
                  </a:cubicBezTo>
                  <a:cubicBezTo>
                    <a:pt x="937" y="33"/>
                    <a:pt x="940" y="28"/>
                    <a:pt x="945" y="24"/>
                  </a:cubicBezTo>
                  <a:cubicBezTo>
                    <a:pt x="945" y="23"/>
                    <a:pt x="945" y="23"/>
                    <a:pt x="945" y="23"/>
                  </a:cubicBezTo>
                  <a:cubicBezTo>
                    <a:pt x="946" y="22"/>
                    <a:pt x="947" y="22"/>
                    <a:pt x="947" y="21"/>
                  </a:cubicBezTo>
                  <a:cubicBezTo>
                    <a:pt x="947" y="21"/>
                    <a:pt x="948" y="20"/>
                    <a:pt x="948" y="19"/>
                  </a:cubicBezTo>
                  <a:moveTo>
                    <a:pt x="1192" y="29"/>
                  </a:moveTo>
                  <a:cubicBezTo>
                    <a:pt x="1192" y="29"/>
                    <a:pt x="1192" y="30"/>
                    <a:pt x="1191" y="30"/>
                  </a:cubicBezTo>
                  <a:cubicBezTo>
                    <a:pt x="1200" y="33"/>
                    <a:pt x="1208" y="36"/>
                    <a:pt x="1215" y="39"/>
                  </a:cubicBezTo>
                  <a:cubicBezTo>
                    <a:pt x="1216" y="39"/>
                    <a:pt x="1217" y="39"/>
                    <a:pt x="1217" y="38"/>
                  </a:cubicBezTo>
                  <a:cubicBezTo>
                    <a:pt x="1209" y="35"/>
                    <a:pt x="1200" y="32"/>
                    <a:pt x="1192" y="29"/>
                  </a:cubicBezTo>
                  <a:moveTo>
                    <a:pt x="1219" y="39"/>
                  </a:moveTo>
                  <a:cubicBezTo>
                    <a:pt x="1218" y="39"/>
                    <a:pt x="1218" y="39"/>
                    <a:pt x="1217" y="39"/>
                  </a:cubicBezTo>
                  <a:cubicBezTo>
                    <a:pt x="1218" y="40"/>
                    <a:pt x="1219" y="40"/>
                    <a:pt x="1220" y="41"/>
                  </a:cubicBezTo>
                  <a:cubicBezTo>
                    <a:pt x="1221" y="40"/>
                    <a:pt x="1221" y="40"/>
                    <a:pt x="1221" y="40"/>
                  </a:cubicBezTo>
                  <a:cubicBezTo>
                    <a:pt x="1221" y="40"/>
                    <a:pt x="1220" y="39"/>
                    <a:pt x="1219" y="39"/>
                  </a:cubicBezTo>
                  <a:moveTo>
                    <a:pt x="1222" y="40"/>
                  </a:moveTo>
                  <a:cubicBezTo>
                    <a:pt x="1222" y="41"/>
                    <a:pt x="1222" y="41"/>
                    <a:pt x="1221" y="41"/>
                  </a:cubicBezTo>
                  <a:cubicBezTo>
                    <a:pt x="1223" y="42"/>
                    <a:pt x="1224" y="42"/>
                    <a:pt x="1225" y="43"/>
                  </a:cubicBezTo>
                  <a:cubicBezTo>
                    <a:pt x="1228" y="44"/>
                    <a:pt x="1231" y="45"/>
                    <a:pt x="1234" y="46"/>
                  </a:cubicBezTo>
                  <a:cubicBezTo>
                    <a:pt x="1234" y="46"/>
                    <a:pt x="1234" y="46"/>
                    <a:pt x="1234" y="45"/>
                  </a:cubicBezTo>
                  <a:cubicBezTo>
                    <a:pt x="1230" y="44"/>
                    <a:pt x="1226" y="42"/>
                    <a:pt x="1222" y="40"/>
                  </a:cubicBezTo>
                  <a:moveTo>
                    <a:pt x="1235" y="46"/>
                  </a:moveTo>
                  <a:cubicBezTo>
                    <a:pt x="1235" y="46"/>
                    <a:pt x="1235" y="46"/>
                    <a:pt x="1234" y="47"/>
                  </a:cubicBezTo>
                  <a:cubicBezTo>
                    <a:pt x="1239" y="49"/>
                    <a:pt x="1244" y="51"/>
                    <a:pt x="1249" y="53"/>
                  </a:cubicBezTo>
                  <a:cubicBezTo>
                    <a:pt x="1249" y="53"/>
                    <a:pt x="1249" y="53"/>
                    <a:pt x="1249" y="52"/>
                  </a:cubicBezTo>
                  <a:cubicBezTo>
                    <a:pt x="1245" y="50"/>
                    <a:pt x="1240" y="48"/>
                    <a:pt x="1235" y="46"/>
                  </a:cubicBezTo>
                  <a:moveTo>
                    <a:pt x="1250" y="53"/>
                  </a:moveTo>
                  <a:cubicBezTo>
                    <a:pt x="1250" y="53"/>
                    <a:pt x="1250" y="53"/>
                    <a:pt x="1249" y="54"/>
                  </a:cubicBezTo>
                  <a:cubicBezTo>
                    <a:pt x="1249" y="54"/>
                    <a:pt x="1250" y="54"/>
                    <a:pt x="1250" y="54"/>
                  </a:cubicBezTo>
                  <a:cubicBezTo>
                    <a:pt x="1250" y="53"/>
                    <a:pt x="1250" y="53"/>
                    <a:pt x="1250" y="53"/>
                  </a:cubicBezTo>
                  <a:cubicBezTo>
                    <a:pt x="1250" y="53"/>
                    <a:pt x="1250" y="53"/>
                    <a:pt x="1250" y="53"/>
                  </a:cubicBezTo>
                  <a:moveTo>
                    <a:pt x="1251" y="53"/>
                  </a:moveTo>
                  <a:cubicBezTo>
                    <a:pt x="1251" y="54"/>
                    <a:pt x="1251" y="54"/>
                    <a:pt x="1251" y="54"/>
                  </a:cubicBezTo>
                  <a:cubicBezTo>
                    <a:pt x="1251" y="54"/>
                    <a:pt x="1252" y="55"/>
                    <a:pt x="1252" y="55"/>
                  </a:cubicBezTo>
                  <a:cubicBezTo>
                    <a:pt x="1252" y="55"/>
                    <a:pt x="1253" y="54"/>
                    <a:pt x="1253" y="54"/>
                  </a:cubicBezTo>
                  <a:cubicBezTo>
                    <a:pt x="1252" y="54"/>
                    <a:pt x="1252" y="54"/>
                    <a:pt x="1251" y="53"/>
                  </a:cubicBezTo>
                  <a:moveTo>
                    <a:pt x="1254" y="55"/>
                  </a:moveTo>
                  <a:cubicBezTo>
                    <a:pt x="1253" y="55"/>
                    <a:pt x="1253" y="55"/>
                    <a:pt x="1253" y="55"/>
                  </a:cubicBezTo>
                  <a:cubicBezTo>
                    <a:pt x="1255" y="56"/>
                    <a:pt x="1257" y="57"/>
                    <a:pt x="1259" y="58"/>
                  </a:cubicBezTo>
                  <a:cubicBezTo>
                    <a:pt x="1260" y="58"/>
                    <a:pt x="1260" y="58"/>
                    <a:pt x="1261" y="58"/>
                  </a:cubicBezTo>
                  <a:cubicBezTo>
                    <a:pt x="1259" y="57"/>
                    <a:pt x="1256" y="56"/>
                    <a:pt x="1254" y="55"/>
                  </a:cubicBezTo>
                  <a:moveTo>
                    <a:pt x="1263" y="59"/>
                  </a:moveTo>
                  <a:cubicBezTo>
                    <a:pt x="1262" y="59"/>
                    <a:pt x="1261" y="59"/>
                    <a:pt x="1261" y="59"/>
                  </a:cubicBezTo>
                  <a:cubicBezTo>
                    <a:pt x="1264" y="61"/>
                    <a:pt x="1267" y="63"/>
                    <a:pt x="1270" y="64"/>
                  </a:cubicBezTo>
                  <a:cubicBezTo>
                    <a:pt x="1270" y="64"/>
                    <a:pt x="1270" y="64"/>
                    <a:pt x="1270" y="63"/>
                  </a:cubicBezTo>
                  <a:cubicBezTo>
                    <a:pt x="1268" y="62"/>
                    <a:pt x="1265" y="61"/>
                    <a:pt x="1263" y="59"/>
                  </a:cubicBezTo>
                  <a:moveTo>
                    <a:pt x="1271" y="64"/>
                  </a:moveTo>
                  <a:cubicBezTo>
                    <a:pt x="1271" y="64"/>
                    <a:pt x="1271" y="64"/>
                    <a:pt x="1270" y="65"/>
                  </a:cubicBezTo>
                  <a:cubicBezTo>
                    <a:pt x="1275" y="68"/>
                    <a:pt x="1280" y="71"/>
                    <a:pt x="1285" y="74"/>
                  </a:cubicBezTo>
                  <a:cubicBezTo>
                    <a:pt x="1285" y="73"/>
                    <a:pt x="1285" y="73"/>
                    <a:pt x="1285" y="73"/>
                  </a:cubicBezTo>
                  <a:cubicBezTo>
                    <a:pt x="1281" y="70"/>
                    <a:pt x="1276" y="67"/>
                    <a:pt x="1271" y="64"/>
                  </a:cubicBezTo>
                  <a:moveTo>
                    <a:pt x="1286" y="73"/>
                  </a:moveTo>
                  <a:cubicBezTo>
                    <a:pt x="1286" y="74"/>
                    <a:pt x="1286" y="74"/>
                    <a:pt x="1286" y="74"/>
                  </a:cubicBezTo>
                  <a:cubicBezTo>
                    <a:pt x="1286" y="74"/>
                    <a:pt x="1286" y="74"/>
                    <a:pt x="1286" y="74"/>
                  </a:cubicBezTo>
                  <a:cubicBezTo>
                    <a:pt x="1286" y="74"/>
                    <a:pt x="1286" y="74"/>
                    <a:pt x="1286" y="74"/>
                  </a:cubicBezTo>
                  <a:cubicBezTo>
                    <a:pt x="1286" y="73"/>
                    <a:pt x="1286" y="73"/>
                    <a:pt x="1286" y="73"/>
                  </a:cubicBezTo>
                  <a:moveTo>
                    <a:pt x="1287" y="74"/>
                  </a:moveTo>
                  <a:cubicBezTo>
                    <a:pt x="1287" y="74"/>
                    <a:pt x="1287" y="74"/>
                    <a:pt x="1287" y="75"/>
                  </a:cubicBezTo>
                  <a:cubicBezTo>
                    <a:pt x="1287" y="75"/>
                    <a:pt x="1286" y="75"/>
                    <a:pt x="1286" y="75"/>
                  </a:cubicBezTo>
                  <a:cubicBezTo>
                    <a:pt x="1289" y="77"/>
                    <a:pt x="1291" y="78"/>
                    <a:pt x="1294" y="80"/>
                  </a:cubicBezTo>
                  <a:cubicBezTo>
                    <a:pt x="1294" y="80"/>
                    <a:pt x="1294" y="79"/>
                    <a:pt x="1294" y="79"/>
                  </a:cubicBezTo>
                  <a:cubicBezTo>
                    <a:pt x="1292" y="77"/>
                    <a:pt x="1290" y="76"/>
                    <a:pt x="1287" y="74"/>
                  </a:cubicBezTo>
                  <a:moveTo>
                    <a:pt x="1295" y="80"/>
                  </a:moveTo>
                  <a:cubicBezTo>
                    <a:pt x="1295" y="80"/>
                    <a:pt x="1295" y="80"/>
                    <a:pt x="1295" y="81"/>
                  </a:cubicBezTo>
                  <a:cubicBezTo>
                    <a:pt x="1296" y="82"/>
                    <a:pt x="1297" y="82"/>
                    <a:pt x="1298" y="83"/>
                  </a:cubicBezTo>
                  <a:cubicBezTo>
                    <a:pt x="1298" y="83"/>
                    <a:pt x="1298" y="83"/>
                    <a:pt x="1299" y="83"/>
                  </a:cubicBezTo>
                  <a:cubicBezTo>
                    <a:pt x="1297" y="82"/>
                    <a:pt x="1296" y="81"/>
                    <a:pt x="1295" y="80"/>
                  </a:cubicBezTo>
                  <a:moveTo>
                    <a:pt x="1299" y="83"/>
                  </a:moveTo>
                  <a:cubicBezTo>
                    <a:pt x="1299" y="83"/>
                    <a:pt x="1299" y="84"/>
                    <a:pt x="1299" y="84"/>
                  </a:cubicBezTo>
                  <a:cubicBezTo>
                    <a:pt x="1300" y="85"/>
                    <a:pt x="1301" y="86"/>
                    <a:pt x="1302" y="86"/>
                  </a:cubicBezTo>
                  <a:cubicBezTo>
                    <a:pt x="1302" y="86"/>
                    <a:pt x="1303" y="86"/>
                    <a:pt x="1303" y="86"/>
                  </a:cubicBezTo>
                  <a:cubicBezTo>
                    <a:pt x="1302" y="85"/>
                    <a:pt x="1301" y="84"/>
                    <a:pt x="1299" y="83"/>
                  </a:cubicBezTo>
                  <a:moveTo>
                    <a:pt x="1303" y="87"/>
                  </a:moveTo>
                  <a:cubicBezTo>
                    <a:pt x="1306" y="90"/>
                    <a:pt x="1309" y="93"/>
                    <a:pt x="1311" y="95"/>
                  </a:cubicBezTo>
                  <a:cubicBezTo>
                    <a:pt x="1312" y="95"/>
                    <a:pt x="1312" y="95"/>
                    <a:pt x="1312" y="94"/>
                  </a:cubicBezTo>
                  <a:cubicBezTo>
                    <a:pt x="1310" y="92"/>
                    <a:pt x="1307" y="90"/>
                    <a:pt x="1304" y="87"/>
                  </a:cubicBezTo>
                  <a:cubicBezTo>
                    <a:pt x="1304" y="87"/>
                    <a:pt x="1303" y="87"/>
                    <a:pt x="1303" y="87"/>
                  </a:cubicBezTo>
                  <a:moveTo>
                    <a:pt x="1313" y="95"/>
                  </a:moveTo>
                  <a:cubicBezTo>
                    <a:pt x="1313" y="95"/>
                    <a:pt x="1312" y="96"/>
                    <a:pt x="1312" y="96"/>
                  </a:cubicBezTo>
                  <a:cubicBezTo>
                    <a:pt x="1314" y="98"/>
                    <a:pt x="1317" y="101"/>
                    <a:pt x="1318" y="103"/>
                  </a:cubicBezTo>
                  <a:cubicBezTo>
                    <a:pt x="1319" y="103"/>
                    <a:pt x="1319" y="103"/>
                    <a:pt x="1319" y="102"/>
                  </a:cubicBezTo>
                  <a:cubicBezTo>
                    <a:pt x="1317" y="100"/>
                    <a:pt x="1315" y="98"/>
                    <a:pt x="1313" y="95"/>
                  </a:cubicBezTo>
                  <a:moveTo>
                    <a:pt x="1320" y="103"/>
                  </a:moveTo>
                  <a:cubicBezTo>
                    <a:pt x="1320" y="103"/>
                    <a:pt x="1319" y="104"/>
                    <a:pt x="1319" y="104"/>
                  </a:cubicBezTo>
                  <a:cubicBezTo>
                    <a:pt x="1321" y="106"/>
                    <a:pt x="1322" y="108"/>
                    <a:pt x="1324" y="111"/>
                  </a:cubicBezTo>
                  <a:cubicBezTo>
                    <a:pt x="1324" y="110"/>
                    <a:pt x="1324" y="110"/>
                    <a:pt x="1324" y="110"/>
                  </a:cubicBezTo>
                  <a:cubicBezTo>
                    <a:pt x="1323" y="108"/>
                    <a:pt x="1321" y="105"/>
                    <a:pt x="1320" y="103"/>
                  </a:cubicBezTo>
                  <a:moveTo>
                    <a:pt x="1325" y="111"/>
                  </a:moveTo>
                  <a:cubicBezTo>
                    <a:pt x="1325" y="111"/>
                    <a:pt x="1325" y="111"/>
                    <a:pt x="1324" y="111"/>
                  </a:cubicBezTo>
                  <a:cubicBezTo>
                    <a:pt x="1324" y="112"/>
                    <a:pt x="1325" y="112"/>
                    <a:pt x="1325" y="112"/>
                  </a:cubicBezTo>
                  <a:cubicBezTo>
                    <a:pt x="1325" y="112"/>
                    <a:pt x="1325" y="111"/>
                    <a:pt x="1325" y="111"/>
                  </a:cubicBezTo>
                  <a:cubicBezTo>
                    <a:pt x="1325" y="111"/>
                    <a:pt x="1325" y="111"/>
                    <a:pt x="1325" y="111"/>
                  </a:cubicBezTo>
                  <a:moveTo>
                    <a:pt x="1326" y="112"/>
                  </a:moveTo>
                  <a:cubicBezTo>
                    <a:pt x="1326" y="113"/>
                    <a:pt x="1326" y="113"/>
                    <a:pt x="1326" y="114"/>
                  </a:cubicBezTo>
                  <a:cubicBezTo>
                    <a:pt x="1326" y="115"/>
                    <a:pt x="1327" y="116"/>
                    <a:pt x="1327" y="117"/>
                  </a:cubicBezTo>
                  <a:cubicBezTo>
                    <a:pt x="1328" y="117"/>
                    <a:pt x="1328" y="117"/>
                    <a:pt x="1328" y="117"/>
                  </a:cubicBezTo>
                  <a:cubicBezTo>
                    <a:pt x="1327" y="115"/>
                    <a:pt x="1327" y="114"/>
                    <a:pt x="1326" y="112"/>
                  </a:cubicBezTo>
                  <a:moveTo>
                    <a:pt x="1329" y="118"/>
                  </a:moveTo>
                  <a:cubicBezTo>
                    <a:pt x="1328" y="118"/>
                    <a:pt x="1328" y="118"/>
                    <a:pt x="1328" y="118"/>
                  </a:cubicBezTo>
                  <a:cubicBezTo>
                    <a:pt x="1328" y="119"/>
                    <a:pt x="1329" y="120"/>
                    <a:pt x="1329" y="120"/>
                  </a:cubicBezTo>
                  <a:cubicBezTo>
                    <a:pt x="1329" y="120"/>
                    <a:pt x="1329" y="120"/>
                    <a:pt x="1330" y="120"/>
                  </a:cubicBezTo>
                  <a:cubicBezTo>
                    <a:pt x="1329" y="119"/>
                    <a:pt x="1329" y="118"/>
                    <a:pt x="1329" y="118"/>
                  </a:cubicBezTo>
                  <a:moveTo>
                    <a:pt x="1330" y="121"/>
                  </a:moveTo>
                  <a:cubicBezTo>
                    <a:pt x="1330" y="121"/>
                    <a:pt x="1330" y="121"/>
                    <a:pt x="1329" y="121"/>
                  </a:cubicBezTo>
                  <a:cubicBezTo>
                    <a:pt x="1329" y="122"/>
                    <a:pt x="1330" y="123"/>
                    <a:pt x="1330" y="123"/>
                  </a:cubicBezTo>
                  <a:cubicBezTo>
                    <a:pt x="1330" y="123"/>
                    <a:pt x="1330" y="123"/>
                    <a:pt x="1331" y="122"/>
                  </a:cubicBezTo>
                  <a:cubicBezTo>
                    <a:pt x="1330" y="122"/>
                    <a:pt x="1330" y="122"/>
                    <a:pt x="1330" y="121"/>
                  </a:cubicBezTo>
                  <a:moveTo>
                    <a:pt x="1331" y="123"/>
                  </a:moveTo>
                  <a:cubicBezTo>
                    <a:pt x="1331" y="124"/>
                    <a:pt x="1330" y="124"/>
                    <a:pt x="1330" y="124"/>
                  </a:cubicBezTo>
                  <a:cubicBezTo>
                    <a:pt x="1331" y="127"/>
                    <a:pt x="1332" y="131"/>
                    <a:pt x="1332" y="134"/>
                  </a:cubicBezTo>
                  <a:cubicBezTo>
                    <a:pt x="1332" y="135"/>
                    <a:pt x="1332" y="135"/>
                    <a:pt x="1332" y="136"/>
                  </a:cubicBezTo>
                  <a:cubicBezTo>
                    <a:pt x="1332" y="136"/>
                    <a:pt x="1332" y="136"/>
                    <a:pt x="1332" y="136"/>
                  </a:cubicBezTo>
                  <a:cubicBezTo>
                    <a:pt x="1332" y="137"/>
                    <a:pt x="1332" y="138"/>
                    <a:pt x="1332" y="139"/>
                  </a:cubicBezTo>
                  <a:cubicBezTo>
                    <a:pt x="1332" y="138"/>
                    <a:pt x="1333" y="138"/>
                    <a:pt x="1333" y="138"/>
                  </a:cubicBezTo>
                  <a:cubicBezTo>
                    <a:pt x="1333" y="137"/>
                    <a:pt x="1333" y="137"/>
                    <a:pt x="1333" y="136"/>
                  </a:cubicBezTo>
                  <a:cubicBezTo>
                    <a:pt x="1333" y="136"/>
                    <a:pt x="1333" y="136"/>
                    <a:pt x="1333" y="136"/>
                  </a:cubicBezTo>
                  <a:cubicBezTo>
                    <a:pt x="1333" y="132"/>
                    <a:pt x="1332" y="128"/>
                    <a:pt x="1331" y="123"/>
                  </a:cubicBezTo>
                  <a:moveTo>
                    <a:pt x="1333" y="139"/>
                  </a:moveTo>
                  <a:cubicBezTo>
                    <a:pt x="1333" y="140"/>
                    <a:pt x="1332" y="140"/>
                    <a:pt x="1332" y="140"/>
                  </a:cubicBezTo>
                  <a:cubicBezTo>
                    <a:pt x="1332" y="141"/>
                    <a:pt x="1332" y="141"/>
                    <a:pt x="1332" y="142"/>
                  </a:cubicBezTo>
                  <a:cubicBezTo>
                    <a:pt x="1331" y="143"/>
                    <a:pt x="1331" y="144"/>
                    <a:pt x="1331" y="145"/>
                  </a:cubicBezTo>
                  <a:cubicBezTo>
                    <a:pt x="1332" y="144"/>
                    <a:pt x="1332" y="144"/>
                    <a:pt x="1332" y="144"/>
                  </a:cubicBezTo>
                  <a:cubicBezTo>
                    <a:pt x="1332" y="143"/>
                    <a:pt x="1332" y="143"/>
                    <a:pt x="1332" y="143"/>
                  </a:cubicBezTo>
                  <a:cubicBezTo>
                    <a:pt x="1332" y="143"/>
                    <a:pt x="1333" y="142"/>
                    <a:pt x="1333" y="142"/>
                  </a:cubicBezTo>
                  <a:cubicBezTo>
                    <a:pt x="1333" y="141"/>
                    <a:pt x="1333" y="140"/>
                    <a:pt x="1333" y="139"/>
                  </a:cubicBezTo>
                  <a:moveTo>
                    <a:pt x="1332" y="145"/>
                  </a:moveTo>
                  <a:cubicBezTo>
                    <a:pt x="1332" y="146"/>
                    <a:pt x="1331" y="146"/>
                    <a:pt x="1331" y="146"/>
                  </a:cubicBezTo>
                  <a:cubicBezTo>
                    <a:pt x="1330" y="148"/>
                    <a:pt x="1330" y="149"/>
                    <a:pt x="1330" y="150"/>
                  </a:cubicBezTo>
                  <a:cubicBezTo>
                    <a:pt x="1330" y="149"/>
                    <a:pt x="1331" y="148"/>
                    <a:pt x="1332" y="147"/>
                  </a:cubicBezTo>
                  <a:cubicBezTo>
                    <a:pt x="1332" y="146"/>
                    <a:pt x="1332" y="146"/>
                    <a:pt x="1332" y="145"/>
                  </a:cubicBezTo>
                  <a:moveTo>
                    <a:pt x="963" y="149"/>
                  </a:moveTo>
                  <a:cubicBezTo>
                    <a:pt x="963" y="149"/>
                    <a:pt x="963" y="150"/>
                    <a:pt x="962" y="150"/>
                  </a:cubicBezTo>
                  <a:cubicBezTo>
                    <a:pt x="963" y="152"/>
                    <a:pt x="963" y="154"/>
                    <a:pt x="964" y="157"/>
                  </a:cubicBezTo>
                  <a:cubicBezTo>
                    <a:pt x="964" y="156"/>
                    <a:pt x="964" y="156"/>
                    <a:pt x="965" y="155"/>
                  </a:cubicBezTo>
                  <a:cubicBezTo>
                    <a:pt x="964" y="153"/>
                    <a:pt x="964" y="151"/>
                    <a:pt x="963" y="149"/>
                  </a:cubicBezTo>
                  <a:moveTo>
                    <a:pt x="1330" y="152"/>
                  </a:moveTo>
                  <a:cubicBezTo>
                    <a:pt x="1330" y="152"/>
                    <a:pt x="1329" y="152"/>
                    <a:pt x="1329" y="153"/>
                  </a:cubicBezTo>
                  <a:cubicBezTo>
                    <a:pt x="1327" y="156"/>
                    <a:pt x="1326" y="159"/>
                    <a:pt x="1324" y="162"/>
                  </a:cubicBezTo>
                  <a:cubicBezTo>
                    <a:pt x="1325" y="162"/>
                    <a:pt x="1325" y="161"/>
                    <a:pt x="1325" y="161"/>
                  </a:cubicBezTo>
                  <a:cubicBezTo>
                    <a:pt x="1326" y="160"/>
                    <a:pt x="1326" y="160"/>
                    <a:pt x="1326" y="159"/>
                  </a:cubicBezTo>
                  <a:cubicBezTo>
                    <a:pt x="1328" y="157"/>
                    <a:pt x="1329" y="154"/>
                    <a:pt x="1330" y="152"/>
                  </a:cubicBezTo>
                  <a:moveTo>
                    <a:pt x="965" y="157"/>
                  </a:moveTo>
                  <a:cubicBezTo>
                    <a:pt x="965" y="157"/>
                    <a:pt x="964" y="158"/>
                    <a:pt x="964" y="158"/>
                  </a:cubicBezTo>
                  <a:cubicBezTo>
                    <a:pt x="965" y="163"/>
                    <a:pt x="966" y="167"/>
                    <a:pt x="967" y="171"/>
                  </a:cubicBezTo>
                  <a:cubicBezTo>
                    <a:pt x="967" y="171"/>
                    <a:pt x="967" y="170"/>
                    <a:pt x="967" y="170"/>
                  </a:cubicBezTo>
                  <a:cubicBezTo>
                    <a:pt x="967" y="166"/>
                    <a:pt x="966" y="161"/>
                    <a:pt x="965" y="157"/>
                  </a:cubicBezTo>
                  <a:moveTo>
                    <a:pt x="1323" y="162"/>
                  </a:moveTo>
                  <a:cubicBezTo>
                    <a:pt x="1321" y="165"/>
                    <a:pt x="1319" y="168"/>
                    <a:pt x="1316" y="170"/>
                  </a:cubicBezTo>
                  <a:cubicBezTo>
                    <a:pt x="1316" y="171"/>
                    <a:pt x="1315" y="171"/>
                    <a:pt x="1315" y="171"/>
                  </a:cubicBezTo>
                  <a:cubicBezTo>
                    <a:pt x="1312" y="174"/>
                    <a:pt x="1309" y="177"/>
                    <a:pt x="1306" y="179"/>
                  </a:cubicBezTo>
                  <a:cubicBezTo>
                    <a:pt x="1305" y="180"/>
                    <a:pt x="1305" y="180"/>
                    <a:pt x="1304" y="180"/>
                  </a:cubicBezTo>
                  <a:cubicBezTo>
                    <a:pt x="1304" y="181"/>
                    <a:pt x="1304" y="181"/>
                    <a:pt x="1303" y="181"/>
                  </a:cubicBezTo>
                  <a:cubicBezTo>
                    <a:pt x="1302" y="182"/>
                    <a:pt x="1301" y="183"/>
                    <a:pt x="1300" y="184"/>
                  </a:cubicBezTo>
                  <a:cubicBezTo>
                    <a:pt x="1302" y="183"/>
                    <a:pt x="1305" y="181"/>
                    <a:pt x="1307" y="179"/>
                  </a:cubicBezTo>
                  <a:cubicBezTo>
                    <a:pt x="1310" y="177"/>
                    <a:pt x="1313" y="175"/>
                    <a:pt x="1315" y="173"/>
                  </a:cubicBezTo>
                  <a:cubicBezTo>
                    <a:pt x="1315" y="172"/>
                    <a:pt x="1316" y="172"/>
                    <a:pt x="1316" y="172"/>
                  </a:cubicBezTo>
                  <a:cubicBezTo>
                    <a:pt x="1318" y="170"/>
                    <a:pt x="1320" y="168"/>
                    <a:pt x="1322" y="165"/>
                  </a:cubicBezTo>
                  <a:cubicBezTo>
                    <a:pt x="1322" y="164"/>
                    <a:pt x="1323" y="163"/>
                    <a:pt x="1323" y="162"/>
                  </a:cubicBezTo>
                  <a:moveTo>
                    <a:pt x="968" y="171"/>
                  </a:moveTo>
                  <a:cubicBezTo>
                    <a:pt x="967" y="172"/>
                    <a:pt x="967" y="172"/>
                    <a:pt x="967" y="172"/>
                  </a:cubicBezTo>
                  <a:cubicBezTo>
                    <a:pt x="968" y="176"/>
                    <a:pt x="968" y="181"/>
                    <a:pt x="969" y="185"/>
                  </a:cubicBezTo>
                  <a:cubicBezTo>
                    <a:pt x="969" y="184"/>
                    <a:pt x="969" y="183"/>
                    <a:pt x="969" y="183"/>
                  </a:cubicBezTo>
                  <a:cubicBezTo>
                    <a:pt x="969" y="179"/>
                    <a:pt x="968" y="175"/>
                    <a:pt x="968" y="171"/>
                  </a:cubicBezTo>
                  <a:moveTo>
                    <a:pt x="970" y="185"/>
                  </a:moveTo>
                  <a:cubicBezTo>
                    <a:pt x="969" y="185"/>
                    <a:pt x="969" y="186"/>
                    <a:pt x="969" y="187"/>
                  </a:cubicBezTo>
                  <a:cubicBezTo>
                    <a:pt x="970" y="194"/>
                    <a:pt x="970" y="201"/>
                    <a:pt x="971" y="209"/>
                  </a:cubicBezTo>
                  <a:cubicBezTo>
                    <a:pt x="971" y="208"/>
                    <a:pt x="971" y="208"/>
                    <a:pt x="972" y="208"/>
                  </a:cubicBezTo>
                  <a:cubicBezTo>
                    <a:pt x="971" y="200"/>
                    <a:pt x="971" y="193"/>
                    <a:pt x="970" y="185"/>
                  </a:cubicBezTo>
                  <a:moveTo>
                    <a:pt x="1300" y="185"/>
                  </a:moveTo>
                  <a:cubicBezTo>
                    <a:pt x="1300" y="185"/>
                    <a:pt x="1299" y="186"/>
                    <a:pt x="1299" y="186"/>
                  </a:cubicBezTo>
                  <a:cubicBezTo>
                    <a:pt x="1299" y="186"/>
                    <a:pt x="1299" y="186"/>
                    <a:pt x="1299" y="186"/>
                  </a:cubicBezTo>
                  <a:cubicBezTo>
                    <a:pt x="1299" y="186"/>
                    <a:pt x="1300" y="185"/>
                    <a:pt x="1300" y="185"/>
                  </a:cubicBezTo>
                  <a:moveTo>
                    <a:pt x="1297" y="187"/>
                  </a:moveTo>
                  <a:cubicBezTo>
                    <a:pt x="1297" y="187"/>
                    <a:pt x="1297" y="187"/>
                    <a:pt x="1297" y="187"/>
                  </a:cubicBezTo>
                  <a:cubicBezTo>
                    <a:pt x="1295" y="188"/>
                    <a:pt x="1294" y="189"/>
                    <a:pt x="1292" y="190"/>
                  </a:cubicBezTo>
                  <a:cubicBezTo>
                    <a:pt x="1290" y="193"/>
                    <a:pt x="1288" y="195"/>
                    <a:pt x="1285" y="197"/>
                  </a:cubicBezTo>
                  <a:cubicBezTo>
                    <a:pt x="1287" y="195"/>
                    <a:pt x="1290" y="193"/>
                    <a:pt x="1292" y="191"/>
                  </a:cubicBezTo>
                  <a:cubicBezTo>
                    <a:pt x="1292" y="191"/>
                    <a:pt x="1293" y="191"/>
                    <a:pt x="1293" y="191"/>
                  </a:cubicBezTo>
                  <a:cubicBezTo>
                    <a:pt x="1295" y="189"/>
                    <a:pt x="1296" y="188"/>
                    <a:pt x="1297" y="187"/>
                  </a:cubicBezTo>
                  <a:moveTo>
                    <a:pt x="1276" y="203"/>
                  </a:moveTo>
                  <a:cubicBezTo>
                    <a:pt x="1274" y="205"/>
                    <a:pt x="1272" y="207"/>
                    <a:pt x="1269" y="208"/>
                  </a:cubicBezTo>
                  <a:cubicBezTo>
                    <a:pt x="1269" y="208"/>
                    <a:pt x="1270" y="208"/>
                    <a:pt x="1270" y="208"/>
                  </a:cubicBezTo>
                  <a:cubicBezTo>
                    <a:pt x="1271" y="207"/>
                    <a:pt x="1273" y="206"/>
                    <a:pt x="1274" y="205"/>
                  </a:cubicBezTo>
                  <a:cubicBezTo>
                    <a:pt x="1275" y="204"/>
                    <a:pt x="1276" y="203"/>
                    <a:pt x="1276" y="203"/>
                  </a:cubicBezTo>
                  <a:moveTo>
                    <a:pt x="971" y="209"/>
                  </a:moveTo>
                  <a:cubicBezTo>
                    <a:pt x="971" y="209"/>
                    <a:pt x="971" y="210"/>
                    <a:pt x="971" y="210"/>
                  </a:cubicBezTo>
                  <a:cubicBezTo>
                    <a:pt x="971" y="210"/>
                    <a:pt x="971" y="211"/>
                    <a:pt x="971" y="211"/>
                  </a:cubicBezTo>
                  <a:cubicBezTo>
                    <a:pt x="971" y="211"/>
                    <a:pt x="971" y="210"/>
                    <a:pt x="971" y="209"/>
                  </a:cubicBezTo>
                  <a:moveTo>
                    <a:pt x="1268" y="209"/>
                  </a:moveTo>
                  <a:cubicBezTo>
                    <a:pt x="1268" y="210"/>
                    <a:pt x="1267" y="210"/>
                    <a:pt x="1267" y="210"/>
                  </a:cubicBezTo>
                  <a:cubicBezTo>
                    <a:pt x="1267" y="210"/>
                    <a:pt x="1267" y="211"/>
                    <a:pt x="1266" y="211"/>
                  </a:cubicBezTo>
                  <a:cubicBezTo>
                    <a:pt x="1264" y="212"/>
                    <a:pt x="1263" y="214"/>
                    <a:pt x="1261" y="216"/>
                  </a:cubicBezTo>
                  <a:cubicBezTo>
                    <a:pt x="1263" y="214"/>
                    <a:pt x="1266" y="212"/>
                    <a:pt x="1269" y="209"/>
                  </a:cubicBezTo>
                  <a:cubicBezTo>
                    <a:pt x="1268" y="209"/>
                    <a:pt x="1268" y="209"/>
                    <a:pt x="1268" y="209"/>
                  </a:cubicBezTo>
                  <a:moveTo>
                    <a:pt x="972" y="211"/>
                  </a:moveTo>
                  <a:cubicBezTo>
                    <a:pt x="971" y="212"/>
                    <a:pt x="971" y="213"/>
                    <a:pt x="971" y="214"/>
                  </a:cubicBezTo>
                  <a:cubicBezTo>
                    <a:pt x="971" y="215"/>
                    <a:pt x="971" y="216"/>
                    <a:pt x="971" y="217"/>
                  </a:cubicBezTo>
                  <a:cubicBezTo>
                    <a:pt x="971" y="221"/>
                    <a:pt x="971" y="225"/>
                    <a:pt x="970" y="229"/>
                  </a:cubicBezTo>
                  <a:cubicBezTo>
                    <a:pt x="971" y="227"/>
                    <a:pt x="971" y="225"/>
                    <a:pt x="972" y="223"/>
                  </a:cubicBezTo>
                  <a:cubicBezTo>
                    <a:pt x="972" y="221"/>
                    <a:pt x="972" y="219"/>
                    <a:pt x="972" y="217"/>
                  </a:cubicBezTo>
                  <a:cubicBezTo>
                    <a:pt x="972" y="215"/>
                    <a:pt x="972" y="213"/>
                    <a:pt x="972" y="211"/>
                  </a:cubicBezTo>
                  <a:moveTo>
                    <a:pt x="1261" y="217"/>
                  </a:moveTo>
                  <a:cubicBezTo>
                    <a:pt x="1257" y="220"/>
                    <a:pt x="1253" y="223"/>
                    <a:pt x="1249" y="226"/>
                  </a:cubicBezTo>
                  <a:cubicBezTo>
                    <a:pt x="1244" y="230"/>
                    <a:pt x="1240" y="233"/>
                    <a:pt x="1236" y="237"/>
                  </a:cubicBezTo>
                  <a:cubicBezTo>
                    <a:pt x="1237" y="237"/>
                    <a:pt x="1237" y="237"/>
                    <a:pt x="1237" y="237"/>
                  </a:cubicBezTo>
                  <a:cubicBezTo>
                    <a:pt x="1242" y="233"/>
                    <a:pt x="1247" y="229"/>
                    <a:pt x="1251" y="225"/>
                  </a:cubicBezTo>
                  <a:cubicBezTo>
                    <a:pt x="1252" y="225"/>
                    <a:pt x="1252" y="224"/>
                    <a:pt x="1252" y="224"/>
                  </a:cubicBezTo>
                  <a:cubicBezTo>
                    <a:pt x="1255" y="222"/>
                    <a:pt x="1258" y="219"/>
                    <a:pt x="1261" y="217"/>
                  </a:cubicBezTo>
                  <a:moveTo>
                    <a:pt x="971" y="229"/>
                  </a:moveTo>
                  <a:cubicBezTo>
                    <a:pt x="971" y="230"/>
                    <a:pt x="971" y="231"/>
                    <a:pt x="971" y="231"/>
                  </a:cubicBezTo>
                  <a:cubicBezTo>
                    <a:pt x="971" y="231"/>
                    <a:pt x="971" y="231"/>
                    <a:pt x="971" y="231"/>
                  </a:cubicBezTo>
                  <a:cubicBezTo>
                    <a:pt x="971" y="230"/>
                    <a:pt x="971" y="230"/>
                    <a:pt x="971" y="229"/>
                  </a:cubicBezTo>
                  <a:moveTo>
                    <a:pt x="971" y="232"/>
                  </a:moveTo>
                  <a:cubicBezTo>
                    <a:pt x="971" y="232"/>
                    <a:pt x="971" y="232"/>
                    <a:pt x="971" y="232"/>
                  </a:cubicBezTo>
                  <a:cubicBezTo>
                    <a:pt x="971" y="233"/>
                    <a:pt x="970" y="234"/>
                    <a:pt x="970" y="235"/>
                  </a:cubicBezTo>
                  <a:cubicBezTo>
                    <a:pt x="970" y="238"/>
                    <a:pt x="970" y="241"/>
                    <a:pt x="969" y="243"/>
                  </a:cubicBezTo>
                  <a:cubicBezTo>
                    <a:pt x="970" y="243"/>
                    <a:pt x="970" y="243"/>
                    <a:pt x="970" y="244"/>
                  </a:cubicBezTo>
                  <a:cubicBezTo>
                    <a:pt x="971" y="240"/>
                    <a:pt x="971" y="236"/>
                    <a:pt x="971" y="232"/>
                  </a:cubicBezTo>
                  <a:moveTo>
                    <a:pt x="21" y="232"/>
                  </a:moveTo>
                  <a:cubicBezTo>
                    <a:pt x="8" y="232"/>
                    <a:pt x="0" y="235"/>
                    <a:pt x="0" y="241"/>
                  </a:cubicBezTo>
                  <a:cubicBezTo>
                    <a:pt x="0" y="255"/>
                    <a:pt x="41" y="286"/>
                    <a:pt x="142" y="341"/>
                  </a:cubicBezTo>
                  <a:cubicBezTo>
                    <a:pt x="142" y="340"/>
                    <a:pt x="142" y="340"/>
                    <a:pt x="142" y="340"/>
                  </a:cubicBezTo>
                  <a:cubicBezTo>
                    <a:pt x="142" y="340"/>
                    <a:pt x="142" y="340"/>
                    <a:pt x="142" y="340"/>
                  </a:cubicBezTo>
                  <a:cubicBezTo>
                    <a:pt x="41" y="285"/>
                    <a:pt x="1" y="254"/>
                    <a:pt x="1" y="241"/>
                  </a:cubicBezTo>
                  <a:cubicBezTo>
                    <a:pt x="1" y="236"/>
                    <a:pt x="8" y="233"/>
                    <a:pt x="21" y="233"/>
                  </a:cubicBezTo>
                  <a:cubicBezTo>
                    <a:pt x="21" y="233"/>
                    <a:pt x="21" y="233"/>
                    <a:pt x="21" y="233"/>
                  </a:cubicBezTo>
                  <a:cubicBezTo>
                    <a:pt x="53" y="233"/>
                    <a:pt x="118" y="248"/>
                    <a:pt x="194" y="271"/>
                  </a:cubicBezTo>
                  <a:cubicBezTo>
                    <a:pt x="195" y="272"/>
                    <a:pt x="196" y="272"/>
                    <a:pt x="197" y="272"/>
                  </a:cubicBezTo>
                  <a:cubicBezTo>
                    <a:pt x="199" y="272"/>
                    <a:pt x="201" y="273"/>
                    <a:pt x="203" y="273"/>
                  </a:cubicBezTo>
                  <a:cubicBezTo>
                    <a:pt x="123" y="248"/>
                    <a:pt x="54" y="232"/>
                    <a:pt x="21" y="232"/>
                  </a:cubicBezTo>
                  <a:moveTo>
                    <a:pt x="1235" y="238"/>
                  </a:moveTo>
                  <a:cubicBezTo>
                    <a:pt x="1235" y="239"/>
                    <a:pt x="1234" y="239"/>
                    <a:pt x="1233" y="240"/>
                  </a:cubicBezTo>
                  <a:cubicBezTo>
                    <a:pt x="1233" y="240"/>
                    <a:pt x="1233" y="240"/>
                    <a:pt x="1234" y="240"/>
                  </a:cubicBezTo>
                  <a:cubicBezTo>
                    <a:pt x="1235" y="240"/>
                    <a:pt x="1236" y="239"/>
                    <a:pt x="1237" y="238"/>
                  </a:cubicBezTo>
                  <a:cubicBezTo>
                    <a:pt x="1236" y="238"/>
                    <a:pt x="1236" y="238"/>
                    <a:pt x="1235" y="238"/>
                  </a:cubicBezTo>
                  <a:moveTo>
                    <a:pt x="1232" y="241"/>
                  </a:moveTo>
                  <a:cubicBezTo>
                    <a:pt x="1230" y="242"/>
                    <a:pt x="1229" y="244"/>
                    <a:pt x="1227" y="245"/>
                  </a:cubicBezTo>
                  <a:cubicBezTo>
                    <a:pt x="1228" y="245"/>
                    <a:pt x="1228" y="246"/>
                    <a:pt x="1228" y="246"/>
                  </a:cubicBezTo>
                  <a:cubicBezTo>
                    <a:pt x="1229" y="245"/>
                    <a:pt x="1230" y="244"/>
                    <a:pt x="1231" y="243"/>
                  </a:cubicBezTo>
                  <a:cubicBezTo>
                    <a:pt x="1232" y="243"/>
                    <a:pt x="1232" y="242"/>
                    <a:pt x="1233" y="241"/>
                  </a:cubicBezTo>
                  <a:cubicBezTo>
                    <a:pt x="1233" y="241"/>
                    <a:pt x="1232" y="241"/>
                    <a:pt x="1232" y="241"/>
                  </a:cubicBezTo>
                  <a:moveTo>
                    <a:pt x="970" y="245"/>
                  </a:moveTo>
                  <a:cubicBezTo>
                    <a:pt x="970" y="245"/>
                    <a:pt x="969" y="245"/>
                    <a:pt x="969" y="245"/>
                  </a:cubicBezTo>
                  <a:cubicBezTo>
                    <a:pt x="969" y="247"/>
                    <a:pt x="969" y="248"/>
                    <a:pt x="968" y="249"/>
                  </a:cubicBezTo>
                  <a:cubicBezTo>
                    <a:pt x="969" y="249"/>
                    <a:pt x="969" y="249"/>
                    <a:pt x="969" y="249"/>
                  </a:cubicBezTo>
                  <a:cubicBezTo>
                    <a:pt x="970" y="248"/>
                    <a:pt x="970" y="246"/>
                    <a:pt x="970" y="245"/>
                  </a:cubicBezTo>
                  <a:moveTo>
                    <a:pt x="1227" y="246"/>
                  </a:moveTo>
                  <a:cubicBezTo>
                    <a:pt x="1226" y="247"/>
                    <a:pt x="1225" y="248"/>
                    <a:pt x="1224" y="249"/>
                  </a:cubicBezTo>
                  <a:cubicBezTo>
                    <a:pt x="1223" y="249"/>
                    <a:pt x="1223" y="250"/>
                    <a:pt x="1222" y="250"/>
                  </a:cubicBezTo>
                  <a:cubicBezTo>
                    <a:pt x="1220" y="252"/>
                    <a:pt x="1219" y="254"/>
                    <a:pt x="1217" y="255"/>
                  </a:cubicBezTo>
                  <a:cubicBezTo>
                    <a:pt x="1218" y="254"/>
                    <a:pt x="1220" y="253"/>
                    <a:pt x="1221" y="252"/>
                  </a:cubicBezTo>
                  <a:cubicBezTo>
                    <a:pt x="1223" y="251"/>
                    <a:pt x="1224" y="250"/>
                    <a:pt x="1226" y="248"/>
                  </a:cubicBezTo>
                  <a:cubicBezTo>
                    <a:pt x="1226" y="248"/>
                    <a:pt x="1226" y="247"/>
                    <a:pt x="1227" y="247"/>
                  </a:cubicBezTo>
                  <a:cubicBezTo>
                    <a:pt x="1227" y="247"/>
                    <a:pt x="1227" y="246"/>
                    <a:pt x="1227" y="246"/>
                  </a:cubicBezTo>
                  <a:moveTo>
                    <a:pt x="969" y="250"/>
                  </a:moveTo>
                  <a:cubicBezTo>
                    <a:pt x="969" y="250"/>
                    <a:pt x="969" y="250"/>
                    <a:pt x="968" y="250"/>
                  </a:cubicBezTo>
                  <a:cubicBezTo>
                    <a:pt x="968" y="250"/>
                    <a:pt x="968" y="250"/>
                    <a:pt x="968" y="251"/>
                  </a:cubicBezTo>
                  <a:cubicBezTo>
                    <a:pt x="968" y="251"/>
                    <a:pt x="969" y="251"/>
                    <a:pt x="969" y="251"/>
                  </a:cubicBezTo>
                  <a:cubicBezTo>
                    <a:pt x="969" y="250"/>
                    <a:pt x="969" y="250"/>
                    <a:pt x="969" y="250"/>
                  </a:cubicBezTo>
                  <a:moveTo>
                    <a:pt x="969" y="252"/>
                  </a:moveTo>
                  <a:cubicBezTo>
                    <a:pt x="969" y="252"/>
                    <a:pt x="968" y="252"/>
                    <a:pt x="968" y="252"/>
                  </a:cubicBezTo>
                  <a:cubicBezTo>
                    <a:pt x="968" y="252"/>
                    <a:pt x="968" y="252"/>
                    <a:pt x="968" y="252"/>
                  </a:cubicBezTo>
                  <a:cubicBezTo>
                    <a:pt x="968" y="252"/>
                    <a:pt x="969" y="252"/>
                    <a:pt x="969" y="252"/>
                  </a:cubicBezTo>
                  <a:cubicBezTo>
                    <a:pt x="969" y="252"/>
                    <a:pt x="969" y="252"/>
                    <a:pt x="969" y="252"/>
                  </a:cubicBezTo>
                  <a:moveTo>
                    <a:pt x="969" y="253"/>
                  </a:moveTo>
                  <a:cubicBezTo>
                    <a:pt x="968" y="253"/>
                    <a:pt x="968" y="253"/>
                    <a:pt x="968" y="253"/>
                  </a:cubicBezTo>
                  <a:cubicBezTo>
                    <a:pt x="967" y="256"/>
                    <a:pt x="967" y="259"/>
                    <a:pt x="966" y="261"/>
                  </a:cubicBezTo>
                  <a:cubicBezTo>
                    <a:pt x="966" y="261"/>
                    <a:pt x="967" y="261"/>
                    <a:pt x="967" y="261"/>
                  </a:cubicBezTo>
                  <a:cubicBezTo>
                    <a:pt x="968" y="259"/>
                    <a:pt x="968" y="256"/>
                    <a:pt x="969" y="253"/>
                  </a:cubicBezTo>
                  <a:moveTo>
                    <a:pt x="1218" y="256"/>
                  </a:moveTo>
                  <a:cubicBezTo>
                    <a:pt x="1216" y="257"/>
                    <a:pt x="1215" y="258"/>
                    <a:pt x="1214" y="259"/>
                  </a:cubicBezTo>
                  <a:cubicBezTo>
                    <a:pt x="1211" y="261"/>
                    <a:pt x="1209" y="264"/>
                    <a:pt x="1207" y="266"/>
                  </a:cubicBezTo>
                  <a:cubicBezTo>
                    <a:pt x="1206" y="267"/>
                    <a:pt x="1205" y="268"/>
                    <a:pt x="1204" y="269"/>
                  </a:cubicBezTo>
                  <a:cubicBezTo>
                    <a:pt x="1203" y="270"/>
                    <a:pt x="1203" y="270"/>
                    <a:pt x="1202" y="271"/>
                  </a:cubicBezTo>
                  <a:cubicBezTo>
                    <a:pt x="1202" y="271"/>
                    <a:pt x="1203" y="271"/>
                    <a:pt x="1203" y="271"/>
                  </a:cubicBezTo>
                  <a:cubicBezTo>
                    <a:pt x="1203" y="271"/>
                    <a:pt x="1203" y="271"/>
                    <a:pt x="1203" y="271"/>
                  </a:cubicBezTo>
                  <a:cubicBezTo>
                    <a:pt x="1205" y="270"/>
                    <a:pt x="1206" y="268"/>
                    <a:pt x="1207" y="267"/>
                  </a:cubicBezTo>
                  <a:cubicBezTo>
                    <a:pt x="1208" y="266"/>
                    <a:pt x="1209" y="265"/>
                    <a:pt x="1210" y="263"/>
                  </a:cubicBezTo>
                  <a:cubicBezTo>
                    <a:pt x="1213" y="261"/>
                    <a:pt x="1215" y="259"/>
                    <a:pt x="1218" y="256"/>
                  </a:cubicBezTo>
                  <a:moveTo>
                    <a:pt x="967" y="262"/>
                  </a:moveTo>
                  <a:cubicBezTo>
                    <a:pt x="966" y="262"/>
                    <a:pt x="966" y="262"/>
                    <a:pt x="966" y="262"/>
                  </a:cubicBezTo>
                  <a:cubicBezTo>
                    <a:pt x="966" y="263"/>
                    <a:pt x="966" y="263"/>
                    <a:pt x="965" y="263"/>
                  </a:cubicBezTo>
                  <a:cubicBezTo>
                    <a:pt x="965" y="266"/>
                    <a:pt x="964" y="269"/>
                    <a:pt x="963" y="271"/>
                  </a:cubicBezTo>
                  <a:cubicBezTo>
                    <a:pt x="963" y="273"/>
                    <a:pt x="962" y="274"/>
                    <a:pt x="962" y="275"/>
                  </a:cubicBezTo>
                  <a:cubicBezTo>
                    <a:pt x="962" y="276"/>
                    <a:pt x="962" y="276"/>
                    <a:pt x="963" y="277"/>
                  </a:cubicBezTo>
                  <a:cubicBezTo>
                    <a:pt x="963" y="275"/>
                    <a:pt x="964" y="273"/>
                    <a:pt x="964" y="271"/>
                  </a:cubicBezTo>
                  <a:cubicBezTo>
                    <a:pt x="965" y="268"/>
                    <a:pt x="966" y="265"/>
                    <a:pt x="967" y="262"/>
                  </a:cubicBezTo>
                  <a:moveTo>
                    <a:pt x="1202" y="271"/>
                  </a:moveTo>
                  <a:cubicBezTo>
                    <a:pt x="1201" y="272"/>
                    <a:pt x="1201" y="272"/>
                    <a:pt x="1200" y="273"/>
                  </a:cubicBezTo>
                  <a:cubicBezTo>
                    <a:pt x="1201" y="273"/>
                    <a:pt x="1201" y="272"/>
                    <a:pt x="1202" y="272"/>
                  </a:cubicBezTo>
                  <a:cubicBezTo>
                    <a:pt x="1202" y="272"/>
                    <a:pt x="1202" y="272"/>
                    <a:pt x="1202" y="271"/>
                  </a:cubicBezTo>
                  <a:moveTo>
                    <a:pt x="1201" y="274"/>
                  </a:moveTo>
                  <a:cubicBezTo>
                    <a:pt x="1200" y="274"/>
                    <a:pt x="1199" y="275"/>
                    <a:pt x="1198" y="275"/>
                  </a:cubicBezTo>
                  <a:cubicBezTo>
                    <a:pt x="1198" y="276"/>
                    <a:pt x="1198" y="276"/>
                    <a:pt x="1198" y="276"/>
                  </a:cubicBezTo>
                  <a:cubicBezTo>
                    <a:pt x="1198" y="276"/>
                    <a:pt x="1198" y="276"/>
                    <a:pt x="1198" y="277"/>
                  </a:cubicBezTo>
                  <a:cubicBezTo>
                    <a:pt x="1199" y="276"/>
                    <a:pt x="1199" y="276"/>
                    <a:pt x="1199" y="276"/>
                  </a:cubicBezTo>
                  <a:cubicBezTo>
                    <a:pt x="1200" y="275"/>
                    <a:pt x="1200" y="274"/>
                    <a:pt x="1201" y="274"/>
                  </a:cubicBezTo>
                  <a:moveTo>
                    <a:pt x="204" y="274"/>
                  </a:moveTo>
                  <a:cubicBezTo>
                    <a:pt x="225" y="280"/>
                    <a:pt x="248" y="287"/>
                    <a:pt x="273" y="295"/>
                  </a:cubicBezTo>
                  <a:cubicBezTo>
                    <a:pt x="251" y="288"/>
                    <a:pt x="231" y="281"/>
                    <a:pt x="210" y="275"/>
                  </a:cubicBezTo>
                  <a:cubicBezTo>
                    <a:pt x="208" y="275"/>
                    <a:pt x="206" y="274"/>
                    <a:pt x="204" y="274"/>
                  </a:cubicBezTo>
                  <a:moveTo>
                    <a:pt x="1197" y="277"/>
                  </a:moveTo>
                  <a:cubicBezTo>
                    <a:pt x="1197" y="277"/>
                    <a:pt x="1197" y="277"/>
                    <a:pt x="1196" y="278"/>
                  </a:cubicBezTo>
                  <a:cubicBezTo>
                    <a:pt x="1196" y="278"/>
                    <a:pt x="1195" y="279"/>
                    <a:pt x="1195" y="280"/>
                  </a:cubicBezTo>
                  <a:cubicBezTo>
                    <a:pt x="1193" y="281"/>
                    <a:pt x="1192" y="283"/>
                    <a:pt x="1190" y="285"/>
                  </a:cubicBezTo>
                  <a:cubicBezTo>
                    <a:pt x="1191" y="284"/>
                    <a:pt x="1192" y="284"/>
                    <a:pt x="1193" y="283"/>
                  </a:cubicBezTo>
                  <a:cubicBezTo>
                    <a:pt x="1194" y="282"/>
                    <a:pt x="1196" y="280"/>
                    <a:pt x="1197" y="278"/>
                  </a:cubicBezTo>
                  <a:cubicBezTo>
                    <a:pt x="1197" y="278"/>
                    <a:pt x="1198" y="278"/>
                    <a:pt x="1198" y="277"/>
                  </a:cubicBezTo>
                  <a:cubicBezTo>
                    <a:pt x="1198" y="277"/>
                    <a:pt x="1197" y="277"/>
                    <a:pt x="1197" y="277"/>
                  </a:cubicBezTo>
                  <a:moveTo>
                    <a:pt x="961" y="277"/>
                  </a:moveTo>
                  <a:cubicBezTo>
                    <a:pt x="961" y="277"/>
                    <a:pt x="961" y="278"/>
                    <a:pt x="961" y="278"/>
                  </a:cubicBezTo>
                  <a:cubicBezTo>
                    <a:pt x="961" y="278"/>
                    <a:pt x="962" y="278"/>
                    <a:pt x="962" y="278"/>
                  </a:cubicBezTo>
                  <a:cubicBezTo>
                    <a:pt x="962" y="278"/>
                    <a:pt x="962" y="278"/>
                    <a:pt x="962" y="278"/>
                  </a:cubicBezTo>
                  <a:cubicBezTo>
                    <a:pt x="962" y="278"/>
                    <a:pt x="962" y="277"/>
                    <a:pt x="961" y="277"/>
                  </a:cubicBezTo>
                  <a:moveTo>
                    <a:pt x="962" y="279"/>
                  </a:moveTo>
                  <a:cubicBezTo>
                    <a:pt x="961" y="279"/>
                    <a:pt x="961" y="279"/>
                    <a:pt x="961" y="279"/>
                  </a:cubicBezTo>
                  <a:cubicBezTo>
                    <a:pt x="958" y="286"/>
                    <a:pt x="955" y="293"/>
                    <a:pt x="951" y="300"/>
                  </a:cubicBezTo>
                  <a:cubicBezTo>
                    <a:pt x="950" y="302"/>
                    <a:pt x="949" y="303"/>
                    <a:pt x="948" y="305"/>
                  </a:cubicBezTo>
                  <a:cubicBezTo>
                    <a:pt x="946" y="308"/>
                    <a:pt x="945" y="310"/>
                    <a:pt x="943" y="313"/>
                  </a:cubicBezTo>
                  <a:cubicBezTo>
                    <a:pt x="943" y="313"/>
                    <a:pt x="944" y="313"/>
                    <a:pt x="944" y="313"/>
                  </a:cubicBezTo>
                  <a:cubicBezTo>
                    <a:pt x="945" y="312"/>
                    <a:pt x="945" y="312"/>
                    <a:pt x="945" y="311"/>
                  </a:cubicBezTo>
                  <a:cubicBezTo>
                    <a:pt x="947" y="309"/>
                    <a:pt x="948" y="307"/>
                    <a:pt x="949" y="306"/>
                  </a:cubicBezTo>
                  <a:cubicBezTo>
                    <a:pt x="954" y="297"/>
                    <a:pt x="958" y="289"/>
                    <a:pt x="962" y="279"/>
                  </a:cubicBezTo>
                  <a:moveTo>
                    <a:pt x="1191" y="286"/>
                  </a:moveTo>
                  <a:cubicBezTo>
                    <a:pt x="1190" y="286"/>
                    <a:pt x="1189" y="287"/>
                    <a:pt x="1189" y="287"/>
                  </a:cubicBezTo>
                  <a:cubicBezTo>
                    <a:pt x="1188" y="288"/>
                    <a:pt x="1187" y="290"/>
                    <a:pt x="1186" y="291"/>
                  </a:cubicBezTo>
                  <a:cubicBezTo>
                    <a:pt x="1185" y="292"/>
                    <a:pt x="1184" y="293"/>
                    <a:pt x="1184" y="294"/>
                  </a:cubicBezTo>
                  <a:cubicBezTo>
                    <a:pt x="1184" y="294"/>
                    <a:pt x="1184" y="294"/>
                    <a:pt x="1184" y="294"/>
                  </a:cubicBezTo>
                  <a:cubicBezTo>
                    <a:pt x="1184" y="294"/>
                    <a:pt x="1185" y="293"/>
                    <a:pt x="1186" y="293"/>
                  </a:cubicBezTo>
                  <a:cubicBezTo>
                    <a:pt x="1186" y="292"/>
                    <a:pt x="1186" y="292"/>
                    <a:pt x="1187" y="291"/>
                  </a:cubicBezTo>
                  <a:cubicBezTo>
                    <a:pt x="1187" y="290"/>
                    <a:pt x="1188" y="289"/>
                    <a:pt x="1189" y="288"/>
                  </a:cubicBezTo>
                  <a:cubicBezTo>
                    <a:pt x="1190" y="287"/>
                    <a:pt x="1190" y="287"/>
                    <a:pt x="1191" y="286"/>
                  </a:cubicBezTo>
                  <a:moveTo>
                    <a:pt x="1184" y="295"/>
                  </a:moveTo>
                  <a:cubicBezTo>
                    <a:pt x="1183" y="296"/>
                    <a:pt x="1182" y="296"/>
                    <a:pt x="1182" y="297"/>
                  </a:cubicBezTo>
                  <a:cubicBezTo>
                    <a:pt x="1181" y="298"/>
                    <a:pt x="1181" y="299"/>
                    <a:pt x="1180" y="299"/>
                  </a:cubicBezTo>
                  <a:cubicBezTo>
                    <a:pt x="1180" y="300"/>
                    <a:pt x="1180" y="300"/>
                    <a:pt x="1180" y="301"/>
                  </a:cubicBezTo>
                  <a:cubicBezTo>
                    <a:pt x="1181" y="300"/>
                    <a:pt x="1181" y="300"/>
                    <a:pt x="1181" y="299"/>
                  </a:cubicBezTo>
                  <a:cubicBezTo>
                    <a:pt x="1182" y="298"/>
                    <a:pt x="1183" y="297"/>
                    <a:pt x="1184" y="295"/>
                  </a:cubicBezTo>
                  <a:moveTo>
                    <a:pt x="271" y="296"/>
                  </a:moveTo>
                  <a:cubicBezTo>
                    <a:pt x="283" y="300"/>
                    <a:pt x="295" y="304"/>
                    <a:pt x="306" y="308"/>
                  </a:cubicBezTo>
                  <a:cubicBezTo>
                    <a:pt x="306" y="308"/>
                    <a:pt x="306" y="308"/>
                    <a:pt x="306" y="308"/>
                  </a:cubicBezTo>
                  <a:cubicBezTo>
                    <a:pt x="294" y="304"/>
                    <a:pt x="282" y="300"/>
                    <a:pt x="271" y="296"/>
                  </a:cubicBezTo>
                  <a:moveTo>
                    <a:pt x="1381" y="300"/>
                  </a:moveTo>
                  <a:cubicBezTo>
                    <a:pt x="1374" y="300"/>
                    <a:pt x="1361" y="304"/>
                    <a:pt x="1342" y="316"/>
                  </a:cubicBezTo>
                  <a:cubicBezTo>
                    <a:pt x="1344" y="315"/>
                    <a:pt x="1346" y="315"/>
                    <a:pt x="1348" y="314"/>
                  </a:cubicBezTo>
                  <a:cubicBezTo>
                    <a:pt x="1364" y="305"/>
                    <a:pt x="1374" y="301"/>
                    <a:pt x="1381" y="301"/>
                  </a:cubicBezTo>
                  <a:cubicBezTo>
                    <a:pt x="1381" y="300"/>
                    <a:pt x="1382" y="300"/>
                    <a:pt x="1383" y="300"/>
                  </a:cubicBezTo>
                  <a:cubicBezTo>
                    <a:pt x="1383" y="300"/>
                    <a:pt x="1382" y="300"/>
                    <a:pt x="1381" y="300"/>
                  </a:cubicBezTo>
                  <a:moveTo>
                    <a:pt x="1385" y="300"/>
                  </a:moveTo>
                  <a:cubicBezTo>
                    <a:pt x="1384" y="300"/>
                    <a:pt x="1384" y="300"/>
                    <a:pt x="1383" y="301"/>
                  </a:cubicBezTo>
                  <a:cubicBezTo>
                    <a:pt x="1387" y="301"/>
                    <a:pt x="1388" y="303"/>
                    <a:pt x="1389" y="307"/>
                  </a:cubicBezTo>
                  <a:cubicBezTo>
                    <a:pt x="1389" y="308"/>
                    <a:pt x="1388" y="309"/>
                    <a:pt x="1388" y="311"/>
                  </a:cubicBezTo>
                  <a:cubicBezTo>
                    <a:pt x="1388" y="311"/>
                    <a:pt x="1389" y="310"/>
                    <a:pt x="1389" y="310"/>
                  </a:cubicBezTo>
                  <a:cubicBezTo>
                    <a:pt x="1389" y="309"/>
                    <a:pt x="1390" y="308"/>
                    <a:pt x="1390" y="307"/>
                  </a:cubicBezTo>
                  <a:cubicBezTo>
                    <a:pt x="1390" y="303"/>
                    <a:pt x="1388" y="301"/>
                    <a:pt x="1385" y="300"/>
                  </a:cubicBezTo>
                  <a:moveTo>
                    <a:pt x="1179" y="301"/>
                  </a:moveTo>
                  <a:cubicBezTo>
                    <a:pt x="1179" y="302"/>
                    <a:pt x="1179" y="302"/>
                    <a:pt x="1179" y="302"/>
                  </a:cubicBezTo>
                  <a:cubicBezTo>
                    <a:pt x="1179" y="302"/>
                    <a:pt x="1179" y="302"/>
                    <a:pt x="1179" y="302"/>
                  </a:cubicBezTo>
                  <a:cubicBezTo>
                    <a:pt x="1179" y="302"/>
                    <a:pt x="1179" y="302"/>
                    <a:pt x="1179" y="302"/>
                  </a:cubicBezTo>
                  <a:cubicBezTo>
                    <a:pt x="1179" y="302"/>
                    <a:pt x="1179" y="301"/>
                    <a:pt x="1179" y="301"/>
                  </a:cubicBezTo>
                  <a:moveTo>
                    <a:pt x="1179" y="303"/>
                  </a:moveTo>
                  <a:cubicBezTo>
                    <a:pt x="1179" y="303"/>
                    <a:pt x="1178" y="303"/>
                    <a:pt x="1177" y="304"/>
                  </a:cubicBezTo>
                  <a:cubicBezTo>
                    <a:pt x="1176" y="306"/>
                    <a:pt x="1176" y="307"/>
                    <a:pt x="1175" y="309"/>
                  </a:cubicBezTo>
                  <a:cubicBezTo>
                    <a:pt x="1175" y="308"/>
                    <a:pt x="1176" y="308"/>
                    <a:pt x="1176" y="308"/>
                  </a:cubicBezTo>
                  <a:cubicBezTo>
                    <a:pt x="1177" y="306"/>
                    <a:pt x="1178" y="304"/>
                    <a:pt x="1179" y="303"/>
                  </a:cubicBezTo>
                  <a:moveTo>
                    <a:pt x="311" y="309"/>
                  </a:moveTo>
                  <a:cubicBezTo>
                    <a:pt x="311" y="310"/>
                    <a:pt x="311" y="310"/>
                    <a:pt x="312" y="310"/>
                  </a:cubicBezTo>
                  <a:cubicBezTo>
                    <a:pt x="330" y="317"/>
                    <a:pt x="349" y="323"/>
                    <a:pt x="367" y="330"/>
                  </a:cubicBezTo>
                  <a:cubicBezTo>
                    <a:pt x="384" y="337"/>
                    <a:pt x="401" y="343"/>
                    <a:pt x="417" y="350"/>
                  </a:cubicBezTo>
                  <a:cubicBezTo>
                    <a:pt x="417" y="350"/>
                    <a:pt x="418" y="350"/>
                    <a:pt x="418" y="349"/>
                  </a:cubicBezTo>
                  <a:cubicBezTo>
                    <a:pt x="413" y="348"/>
                    <a:pt x="409" y="346"/>
                    <a:pt x="405" y="344"/>
                  </a:cubicBezTo>
                  <a:cubicBezTo>
                    <a:pt x="373" y="332"/>
                    <a:pt x="342" y="320"/>
                    <a:pt x="311" y="309"/>
                  </a:cubicBezTo>
                  <a:moveTo>
                    <a:pt x="1176" y="310"/>
                  </a:moveTo>
                  <a:cubicBezTo>
                    <a:pt x="1175" y="310"/>
                    <a:pt x="1174" y="310"/>
                    <a:pt x="1174" y="310"/>
                  </a:cubicBezTo>
                  <a:cubicBezTo>
                    <a:pt x="1173" y="312"/>
                    <a:pt x="1173" y="313"/>
                    <a:pt x="1172" y="314"/>
                  </a:cubicBezTo>
                  <a:cubicBezTo>
                    <a:pt x="1172" y="314"/>
                    <a:pt x="1172" y="314"/>
                    <a:pt x="1173" y="315"/>
                  </a:cubicBezTo>
                  <a:cubicBezTo>
                    <a:pt x="1173" y="314"/>
                    <a:pt x="1173" y="314"/>
                    <a:pt x="1173" y="314"/>
                  </a:cubicBezTo>
                  <a:cubicBezTo>
                    <a:pt x="1174" y="313"/>
                    <a:pt x="1175" y="311"/>
                    <a:pt x="1176" y="310"/>
                  </a:cubicBezTo>
                  <a:moveTo>
                    <a:pt x="1389" y="311"/>
                  </a:moveTo>
                  <a:cubicBezTo>
                    <a:pt x="1388" y="312"/>
                    <a:pt x="1388" y="312"/>
                    <a:pt x="1388" y="312"/>
                  </a:cubicBezTo>
                  <a:cubicBezTo>
                    <a:pt x="1385" y="320"/>
                    <a:pt x="1377" y="332"/>
                    <a:pt x="1366" y="344"/>
                  </a:cubicBezTo>
                  <a:cubicBezTo>
                    <a:pt x="1367" y="343"/>
                    <a:pt x="1368" y="342"/>
                    <a:pt x="1369" y="342"/>
                  </a:cubicBezTo>
                  <a:cubicBezTo>
                    <a:pt x="1379" y="330"/>
                    <a:pt x="1387" y="319"/>
                    <a:pt x="1389" y="311"/>
                  </a:cubicBezTo>
                  <a:moveTo>
                    <a:pt x="943" y="314"/>
                  </a:moveTo>
                  <a:cubicBezTo>
                    <a:pt x="943" y="314"/>
                    <a:pt x="943" y="314"/>
                    <a:pt x="942" y="314"/>
                  </a:cubicBezTo>
                  <a:cubicBezTo>
                    <a:pt x="938" y="320"/>
                    <a:pt x="933" y="326"/>
                    <a:pt x="927" y="332"/>
                  </a:cubicBezTo>
                  <a:cubicBezTo>
                    <a:pt x="927" y="332"/>
                    <a:pt x="928" y="331"/>
                    <a:pt x="928" y="331"/>
                  </a:cubicBezTo>
                  <a:cubicBezTo>
                    <a:pt x="934" y="326"/>
                    <a:pt x="939" y="320"/>
                    <a:pt x="943" y="314"/>
                  </a:cubicBezTo>
                  <a:moveTo>
                    <a:pt x="1173" y="316"/>
                  </a:moveTo>
                  <a:cubicBezTo>
                    <a:pt x="1172" y="316"/>
                    <a:pt x="1172" y="316"/>
                    <a:pt x="1171" y="317"/>
                  </a:cubicBezTo>
                  <a:cubicBezTo>
                    <a:pt x="1171" y="317"/>
                    <a:pt x="1171" y="318"/>
                    <a:pt x="1170" y="319"/>
                  </a:cubicBezTo>
                  <a:cubicBezTo>
                    <a:pt x="1170" y="320"/>
                    <a:pt x="1170" y="321"/>
                    <a:pt x="1169" y="322"/>
                  </a:cubicBezTo>
                  <a:cubicBezTo>
                    <a:pt x="1169" y="324"/>
                    <a:pt x="1168" y="327"/>
                    <a:pt x="1168" y="329"/>
                  </a:cubicBezTo>
                  <a:cubicBezTo>
                    <a:pt x="1168" y="330"/>
                    <a:pt x="1167" y="331"/>
                    <a:pt x="1167" y="332"/>
                  </a:cubicBezTo>
                  <a:cubicBezTo>
                    <a:pt x="1167" y="332"/>
                    <a:pt x="1167" y="332"/>
                    <a:pt x="1167" y="333"/>
                  </a:cubicBezTo>
                  <a:cubicBezTo>
                    <a:pt x="1168" y="332"/>
                    <a:pt x="1168" y="332"/>
                    <a:pt x="1168" y="332"/>
                  </a:cubicBezTo>
                  <a:cubicBezTo>
                    <a:pt x="1168" y="331"/>
                    <a:pt x="1168" y="330"/>
                    <a:pt x="1169" y="329"/>
                  </a:cubicBezTo>
                  <a:cubicBezTo>
                    <a:pt x="1169" y="328"/>
                    <a:pt x="1169" y="328"/>
                    <a:pt x="1169" y="327"/>
                  </a:cubicBezTo>
                  <a:cubicBezTo>
                    <a:pt x="1170" y="324"/>
                    <a:pt x="1170" y="322"/>
                    <a:pt x="1171" y="320"/>
                  </a:cubicBezTo>
                  <a:cubicBezTo>
                    <a:pt x="1171" y="320"/>
                    <a:pt x="1171" y="320"/>
                    <a:pt x="1171" y="320"/>
                  </a:cubicBezTo>
                  <a:cubicBezTo>
                    <a:pt x="1171" y="319"/>
                    <a:pt x="1172" y="318"/>
                    <a:pt x="1172" y="317"/>
                  </a:cubicBezTo>
                  <a:cubicBezTo>
                    <a:pt x="1172" y="317"/>
                    <a:pt x="1172" y="316"/>
                    <a:pt x="1173" y="316"/>
                  </a:cubicBezTo>
                  <a:cubicBezTo>
                    <a:pt x="1173" y="316"/>
                    <a:pt x="1173" y="316"/>
                    <a:pt x="1173" y="316"/>
                  </a:cubicBezTo>
                  <a:moveTo>
                    <a:pt x="1342" y="317"/>
                  </a:moveTo>
                  <a:cubicBezTo>
                    <a:pt x="1340" y="318"/>
                    <a:pt x="1338" y="319"/>
                    <a:pt x="1337" y="319"/>
                  </a:cubicBezTo>
                  <a:cubicBezTo>
                    <a:pt x="1321" y="329"/>
                    <a:pt x="1301" y="344"/>
                    <a:pt x="1276" y="363"/>
                  </a:cubicBezTo>
                  <a:cubicBezTo>
                    <a:pt x="1277" y="362"/>
                    <a:pt x="1279" y="362"/>
                    <a:pt x="1280" y="361"/>
                  </a:cubicBezTo>
                  <a:cubicBezTo>
                    <a:pt x="1306" y="341"/>
                    <a:pt x="1326" y="327"/>
                    <a:pt x="1342" y="317"/>
                  </a:cubicBezTo>
                  <a:moveTo>
                    <a:pt x="927" y="332"/>
                  </a:moveTo>
                  <a:cubicBezTo>
                    <a:pt x="927" y="333"/>
                    <a:pt x="926" y="333"/>
                    <a:pt x="926" y="333"/>
                  </a:cubicBezTo>
                  <a:cubicBezTo>
                    <a:pt x="921" y="337"/>
                    <a:pt x="916" y="342"/>
                    <a:pt x="910" y="346"/>
                  </a:cubicBezTo>
                  <a:cubicBezTo>
                    <a:pt x="911" y="346"/>
                    <a:pt x="912" y="345"/>
                    <a:pt x="913" y="345"/>
                  </a:cubicBezTo>
                  <a:cubicBezTo>
                    <a:pt x="918" y="341"/>
                    <a:pt x="923" y="337"/>
                    <a:pt x="927" y="332"/>
                  </a:cubicBezTo>
                  <a:moveTo>
                    <a:pt x="1168" y="333"/>
                  </a:moveTo>
                  <a:cubicBezTo>
                    <a:pt x="1168" y="333"/>
                    <a:pt x="1167" y="334"/>
                    <a:pt x="1167" y="334"/>
                  </a:cubicBezTo>
                  <a:cubicBezTo>
                    <a:pt x="1167" y="335"/>
                    <a:pt x="1167" y="336"/>
                    <a:pt x="1167" y="337"/>
                  </a:cubicBezTo>
                  <a:cubicBezTo>
                    <a:pt x="1167" y="339"/>
                    <a:pt x="1167" y="342"/>
                    <a:pt x="1167" y="344"/>
                  </a:cubicBezTo>
                  <a:cubicBezTo>
                    <a:pt x="1168" y="344"/>
                    <a:pt x="1168" y="344"/>
                    <a:pt x="1168" y="344"/>
                  </a:cubicBezTo>
                  <a:cubicBezTo>
                    <a:pt x="1168" y="341"/>
                    <a:pt x="1168" y="339"/>
                    <a:pt x="1168" y="337"/>
                  </a:cubicBezTo>
                  <a:cubicBezTo>
                    <a:pt x="1168" y="336"/>
                    <a:pt x="1168" y="335"/>
                    <a:pt x="1168" y="333"/>
                  </a:cubicBezTo>
                  <a:moveTo>
                    <a:pt x="142" y="340"/>
                  </a:moveTo>
                  <a:cubicBezTo>
                    <a:pt x="142" y="340"/>
                    <a:pt x="142" y="340"/>
                    <a:pt x="142" y="340"/>
                  </a:cubicBezTo>
                  <a:cubicBezTo>
                    <a:pt x="142" y="341"/>
                    <a:pt x="142" y="341"/>
                    <a:pt x="142" y="341"/>
                  </a:cubicBezTo>
                  <a:cubicBezTo>
                    <a:pt x="279" y="414"/>
                    <a:pt x="406" y="460"/>
                    <a:pt x="519" y="488"/>
                  </a:cubicBezTo>
                  <a:cubicBezTo>
                    <a:pt x="519" y="488"/>
                    <a:pt x="519" y="487"/>
                    <a:pt x="519" y="487"/>
                  </a:cubicBezTo>
                  <a:cubicBezTo>
                    <a:pt x="406" y="459"/>
                    <a:pt x="279" y="413"/>
                    <a:pt x="142" y="340"/>
                  </a:cubicBezTo>
                  <a:moveTo>
                    <a:pt x="1366" y="345"/>
                  </a:moveTo>
                  <a:cubicBezTo>
                    <a:pt x="1365" y="345"/>
                    <a:pt x="1364" y="346"/>
                    <a:pt x="1363" y="347"/>
                  </a:cubicBezTo>
                  <a:cubicBezTo>
                    <a:pt x="1358" y="352"/>
                    <a:pt x="1353" y="356"/>
                    <a:pt x="1347" y="361"/>
                  </a:cubicBezTo>
                  <a:cubicBezTo>
                    <a:pt x="1340" y="367"/>
                    <a:pt x="1333" y="372"/>
                    <a:pt x="1326" y="377"/>
                  </a:cubicBezTo>
                  <a:cubicBezTo>
                    <a:pt x="1324" y="378"/>
                    <a:pt x="1322" y="379"/>
                    <a:pt x="1320" y="380"/>
                  </a:cubicBezTo>
                  <a:cubicBezTo>
                    <a:pt x="1314" y="384"/>
                    <a:pt x="1307" y="387"/>
                    <a:pt x="1301" y="390"/>
                  </a:cubicBezTo>
                  <a:cubicBezTo>
                    <a:pt x="1300" y="391"/>
                    <a:pt x="1299" y="391"/>
                    <a:pt x="1298" y="392"/>
                  </a:cubicBezTo>
                  <a:cubicBezTo>
                    <a:pt x="1308" y="388"/>
                    <a:pt x="1317" y="383"/>
                    <a:pt x="1326" y="378"/>
                  </a:cubicBezTo>
                  <a:cubicBezTo>
                    <a:pt x="1327" y="377"/>
                    <a:pt x="1329" y="376"/>
                    <a:pt x="1330" y="375"/>
                  </a:cubicBezTo>
                  <a:cubicBezTo>
                    <a:pt x="1344" y="366"/>
                    <a:pt x="1357" y="355"/>
                    <a:pt x="1366" y="345"/>
                  </a:cubicBezTo>
                  <a:moveTo>
                    <a:pt x="1169" y="345"/>
                  </a:moveTo>
                  <a:cubicBezTo>
                    <a:pt x="1168" y="345"/>
                    <a:pt x="1168" y="345"/>
                    <a:pt x="1168" y="345"/>
                  </a:cubicBezTo>
                  <a:cubicBezTo>
                    <a:pt x="1168" y="347"/>
                    <a:pt x="1169" y="349"/>
                    <a:pt x="1169" y="351"/>
                  </a:cubicBezTo>
                  <a:cubicBezTo>
                    <a:pt x="1170" y="351"/>
                    <a:pt x="1170" y="351"/>
                    <a:pt x="1170" y="351"/>
                  </a:cubicBezTo>
                  <a:cubicBezTo>
                    <a:pt x="1170" y="349"/>
                    <a:pt x="1169" y="347"/>
                    <a:pt x="1169" y="345"/>
                  </a:cubicBezTo>
                  <a:moveTo>
                    <a:pt x="911" y="347"/>
                  </a:moveTo>
                  <a:cubicBezTo>
                    <a:pt x="910" y="347"/>
                    <a:pt x="909" y="348"/>
                    <a:pt x="908" y="348"/>
                  </a:cubicBezTo>
                  <a:cubicBezTo>
                    <a:pt x="907" y="348"/>
                    <a:pt x="907" y="349"/>
                    <a:pt x="906" y="349"/>
                  </a:cubicBezTo>
                  <a:cubicBezTo>
                    <a:pt x="907" y="349"/>
                    <a:pt x="908" y="349"/>
                    <a:pt x="908" y="349"/>
                  </a:cubicBezTo>
                  <a:cubicBezTo>
                    <a:pt x="909" y="348"/>
                    <a:pt x="910" y="347"/>
                    <a:pt x="911" y="347"/>
                  </a:cubicBezTo>
                  <a:moveTo>
                    <a:pt x="419" y="350"/>
                  </a:moveTo>
                  <a:cubicBezTo>
                    <a:pt x="418" y="350"/>
                    <a:pt x="418" y="350"/>
                    <a:pt x="418" y="350"/>
                  </a:cubicBezTo>
                  <a:cubicBezTo>
                    <a:pt x="421" y="351"/>
                    <a:pt x="423" y="352"/>
                    <a:pt x="426" y="353"/>
                  </a:cubicBezTo>
                  <a:cubicBezTo>
                    <a:pt x="426" y="353"/>
                    <a:pt x="426" y="353"/>
                    <a:pt x="426" y="353"/>
                  </a:cubicBezTo>
                  <a:cubicBezTo>
                    <a:pt x="424" y="352"/>
                    <a:pt x="421" y="351"/>
                    <a:pt x="419" y="350"/>
                  </a:cubicBezTo>
                  <a:moveTo>
                    <a:pt x="907" y="350"/>
                  </a:moveTo>
                  <a:cubicBezTo>
                    <a:pt x="906" y="350"/>
                    <a:pt x="905" y="350"/>
                    <a:pt x="905" y="350"/>
                  </a:cubicBezTo>
                  <a:cubicBezTo>
                    <a:pt x="899" y="354"/>
                    <a:pt x="894" y="357"/>
                    <a:pt x="888" y="360"/>
                  </a:cubicBezTo>
                  <a:cubicBezTo>
                    <a:pt x="889" y="360"/>
                    <a:pt x="890" y="360"/>
                    <a:pt x="891" y="360"/>
                  </a:cubicBezTo>
                  <a:cubicBezTo>
                    <a:pt x="896" y="357"/>
                    <a:pt x="902" y="353"/>
                    <a:pt x="907" y="350"/>
                  </a:cubicBezTo>
                  <a:moveTo>
                    <a:pt x="1171" y="352"/>
                  </a:moveTo>
                  <a:cubicBezTo>
                    <a:pt x="1171" y="353"/>
                    <a:pt x="1170" y="353"/>
                    <a:pt x="1170" y="353"/>
                  </a:cubicBezTo>
                  <a:cubicBezTo>
                    <a:pt x="1170" y="353"/>
                    <a:pt x="1170" y="353"/>
                    <a:pt x="1170" y="354"/>
                  </a:cubicBezTo>
                  <a:cubicBezTo>
                    <a:pt x="1171" y="354"/>
                    <a:pt x="1171" y="353"/>
                    <a:pt x="1171" y="353"/>
                  </a:cubicBezTo>
                  <a:cubicBezTo>
                    <a:pt x="1171" y="353"/>
                    <a:pt x="1171" y="353"/>
                    <a:pt x="1171" y="352"/>
                  </a:cubicBezTo>
                  <a:moveTo>
                    <a:pt x="427" y="353"/>
                  </a:moveTo>
                  <a:cubicBezTo>
                    <a:pt x="427" y="353"/>
                    <a:pt x="427" y="353"/>
                    <a:pt x="427" y="354"/>
                  </a:cubicBezTo>
                  <a:cubicBezTo>
                    <a:pt x="430" y="355"/>
                    <a:pt x="434" y="357"/>
                    <a:pt x="438" y="358"/>
                  </a:cubicBezTo>
                  <a:cubicBezTo>
                    <a:pt x="438" y="358"/>
                    <a:pt x="438" y="358"/>
                    <a:pt x="438" y="357"/>
                  </a:cubicBezTo>
                  <a:cubicBezTo>
                    <a:pt x="434" y="356"/>
                    <a:pt x="430" y="355"/>
                    <a:pt x="427" y="353"/>
                  </a:cubicBezTo>
                  <a:moveTo>
                    <a:pt x="1172" y="354"/>
                  </a:moveTo>
                  <a:cubicBezTo>
                    <a:pt x="1172" y="354"/>
                    <a:pt x="1171" y="355"/>
                    <a:pt x="1171" y="355"/>
                  </a:cubicBezTo>
                  <a:cubicBezTo>
                    <a:pt x="1172" y="358"/>
                    <a:pt x="1174" y="361"/>
                    <a:pt x="1177" y="363"/>
                  </a:cubicBezTo>
                  <a:cubicBezTo>
                    <a:pt x="1177" y="363"/>
                    <a:pt x="1177" y="363"/>
                    <a:pt x="1178" y="363"/>
                  </a:cubicBezTo>
                  <a:cubicBezTo>
                    <a:pt x="1175" y="360"/>
                    <a:pt x="1173" y="357"/>
                    <a:pt x="1172" y="354"/>
                  </a:cubicBezTo>
                  <a:moveTo>
                    <a:pt x="439" y="358"/>
                  </a:moveTo>
                  <a:cubicBezTo>
                    <a:pt x="439" y="358"/>
                    <a:pt x="439" y="358"/>
                    <a:pt x="439" y="359"/>
                  </a:cubicBezTo>
                  <a:cubicBezTo>
                    <a:pt x="442" y="360"/>
                    <a:pt x="445" y="361"/>
                    <a:pt x="448" y="363"/>
                  </a:cubicBezTo>
                  <a:cubicBezTo>
                    <a:pt x="448" y="362"/>
                    <a:pt x="449" y="362"/>
                    <a:pt x="449" y="362"/>
                  </a:cubicBezTo>
                  <a:cubicBezTo>
                    <a:pt x="445" y="361"/>
                    <a:pt x="442" y="359"/>
                    <a:pt x="439" y="358"/>
                  </a:cubicBezTo>
                  <a:moveTo>
                    <a:pt x="888" y="361"/>
                  </a:moveTo>
                  <a:cubicBezTo>
                    <a:pt x="887" y="361"/>
                    <a:pt x="886" y="362"/>
                    <a:pt x="885" y="362"/>
                  </a:cubicBezTo>
                  <a:cubicBezTo>
                    <a:pt x="882" y="364"/>
                    <a:pt x="878" y="365"/>
                    <a:pt x="875" y="367"/>
                  </a:cubicBezTo>
                  <a:cubicBezTo>
                    <a:pt x="876" y="367"/>
                    <a:pt x="877" y="367"/>
                    <a:pt x="878" y="366"/>
                  </a:cubicBezTo>
                  <a:cubicBezTo>
                    <a:pt x="882" y="365"/>
                    <a:pt x="885" y="363"/>
                    <a:pt x="888" y="361"/>
                  </a:cubicBezTo>
                  <a:moveTo>
                    <a:pt x="450" y="363"/>
                  </a:moveTo>
                  <a:cubicBezTo>
                    <a:pt x="450" y="363"/>
                    <a:pt x="449" y="363"/>
                    <a:pt x="449" y="363"/>
                  </a:cubicBezTo>
                  <a:cubicBezTo>
                    <a:pt x="451" y="364"/>
                    <a:pt x="452" y="364"/>
                    <a:pt x="454" y="365"/>
                  </a:cubicBezTo>
                  <a:cubicBezTo>
                    <a:pt x="454" y="365"/>
                    <a:pt x="453" y="364"/>
                    <a:pt x="453" y="364"/>
                  </a:cubicBezTo>
                  <a:cubicBezTo>
                    <a:pt x="452" y="363"/>
                    <a:pt x="451" y="363"/>
                    <a:pt x="450" y="363"/>
                  </a:cubicBezTo>
                  <a:moveTo>
                    <a:pt x="1277" y="364"/>
                  </a:moveTo>
                  <a:cubicBezTo>
                    <a:pt x="1275" y="364"/>
                    <a:pt x="1274" y="365"/>
                    <a:pt x="1272" y="366"/>
                  </a:cubicBezTo>
                  <a:cubicBezTo>
                    <a:pt x="1270" y="368"/>
                    <a:pt x="1267" y="370"/>
                    <a:pt x="1265" y="372"/>
                  </a:cubicBezTo>
                  <a:cubicBezTo>
                    <a:pt x="1254" y="380"/>
                    <a:pt x="1244" y="389"/>
                    <a:pt x="1235" y="396"/>
                  </a:cubicBezTo>
                  <a:cubicBezTo>
                    <a:pt x="1233" y="396"/>
                    <a:pt x="1232" y="395"/>
                    <a:pt x="1231" y="395"/>
                  </a:cubicBezTo>
                  <a:cubicBezTo>
                    <a:pt x="1228" y="394"/>
                    <a:pt x="1224" y="392"/>
                    <a:pt x="1221" y="391"/>
                  </a:cubicBezTo>
                  <a:cubicBezTo>
                    <a:pt x="1221" y="391"/>
                    <a:pt x="1220" y="391"/>
                    <a:pt x="1220" y="392"/>
                  </a:cubicBezTo>
                  <a:cubicBezTo>
                    <a:pt x="1223" y="393"/>
                    <a:pt x="1227" y="395"/>
                    <a:pt x="1231" y="396"/>
                  </a:cubicBezTo>
                  <a:cubicBezTo>
                    <a:pt x="1232" y="396"/>
                    <a:pt x="1233" y="397"/>
                    <a:pt x="1234" y="397"/>
                  </a:cubicBezTo>
                  <a:cubicBezTo>
                    <a:pt x="1223" y="406"/>
                    <a:pt x="1213" y="414"/>
                    <a:pt x="1203" y="421"/>
                  </a:cubicBezTo>
                  <a:cubicBezTo>
                    <a:pt x="1203" y="421"/>
                    <a:pt x="1203" y="421"/>
                    <a:pt x="1202" y="422"/>
                  </a:cubicBezTo>
                  <a:cubicBezTo>
                    <a:pt x="1195" y="427"/>
                    <a:pt x="1188" y="433"/>
                    <a:pt x="1182" y="438"/>
                  </a:cubicBezTo>
                  <a:cubicBezTo>
                    <a:pt x="1182" y="438"/>
                    <a:pt x="1181" y="438"/>
                    <a:pt x="1181" y="438"/>
                  </a:cubicBezTo>
                  <a:cubicBezTo>
                    <a:pt x="1175" y="443"/>
                    <a:pt x="1168" y="448"/>
                    <a:pt x="1163" y="452"/>
                  </a:cubicBezTo>
                  <a:cubicBezTo>
                    <a:pt x="1163" y="453"/>
                    <a:pt x="1163" y="453"/>
                    <a:pt x="1163" y="453"/>
                  </a:cubicBezTo>
                  <a:cubicBezTo>
                    <a:pt x="1169" y="449"/>
                    <a:pt x="1175" y="444"/>
                    <a:pt x="1182" y="439"/>
                  </a:cubicBezTo>
                  <a:cubicBezTo>
                    <a:pt x="1182" y="439"/>
                    <a:pt x="1182" y="439"/>
                    <a:pt x="1183" y="438"/>
                  </a:cubicBezTo>
                  <a:cubicBezTo>
                    <a:pt x="1189" y="433"/>
                    <a:pt x="1196" y="428"/>
                    <a:pt x="1203" y="422"/>
                  </a:cubicBezTo>
                  <a:cubicBezTo>
                    <a:pt x="1204" y="422"/>
                    <a:pt x="1204" y="422"/>
                    <a:pt x="1204" y="421"/>
                  </a:cubicBezTo>
                  <a:cubicBezTo>
                    <a:pt x="1214" y="414"/>
                    <a:pt x="1224" y="406"/>
                    <a:pt x="1235" y="397"/>
                  </a:cubicBezTo>
                  <a:cubicBezTo>
                    <a:pt x="1242" y="399"/>
                    <a:pt x="1250" y="400"/>
                    <a:pt x="1257" y="400"/>
                  </a:cubicBezTo>
                  <a:cubicBezTo>
                    <a:pt x="1267" y="400"/>
                    <a:pt x="1276" y="399"/>
                    <a:pt x="1286" y="396"/>
                  </a:cubicBezTo>
                  <a:cubicBezTo>
                    <a:pt x="1287" y="396"/>
                    <a:pt x="1289" y="395"/>
                    <a:pt x="1290" y="395"/>
                  </a:cubicBezTo>
                  <a:cubicBezTo>
                    <a:pt x="1292" y="394"/>
                    <a:pt x="1294" y="394"/>
                    <a:pt x="1296" y="393"/>
                  </a:cubicBezTo>
                  <a:cubicBezTo>
                    <a:pt x="1296" y="392"/>
                    <a:pt x="1297" y="392"/>
                    <a:pt x="1298" y="391"/>
                  </a:cubicBezTo>
                  <a:cubicBezTo>
                    <a:pt x="1297" y="391"/>
                    <a:pt x="1297" y="391"/>
                    <a:pt x="1296" y="392"/>
                  </a:cubicBezTo>
                  <a:cubicBezTo>
                    <a:pt x="1294" y="393"/>
                    <a:pt x="1292" y="393"/>
                    <a:pt x="1290" y="394"/>
                  </a:cubicBezTo>
                  <a:cubicBezTo>
                    <a:pt x="1279" y="397"/>
                    <a:pt x="1268" y="399"/>
                    <a:pt x="1257" y="399"/>
                  </a:cubicBezTo>
                  <a:cubicBezTo>
                    <a:pt x="1250" y="399"/>
                    <a:pt x="1243" y="398"/>
                    <a:pt x="1236" y="396"/>
                  </a:cubicBezTo>
                  <a:cubicBezTo>
                    <a:pt x="1245" y="389"/>
                    <a:pt x="1255" y="381"/>
                    <a:pt x="1265" y="373"/>
                  </a:cubicBezTo>
                  <a:cubicBezTo>
                    <a:pt x="1269" y="370"/>
                    <a:pt x="1273" y="367"/>
                    <a:pt x="1277" y="364"/>
                  </a:cubicBezTo>
                  <a:moveTo>
                    <a:pt x="1178" y="364"/>
                  </a:moveTo>
                  <a:cubicBezTo>
                    <a:pt x="1178" y="364"/>
                    <a:pt x="1178" y="364"/>
                    <a:pt x="1177" y="364"/>
                  </a:cubicBezTo>
                  <a:cubicBezTo>
                    <a:pt x="1180" y="368"/>
                    <a:pt x="1184" y="371"/>
                    <a:pt x="1188" y="375"/>
                  </a:cubicBezTo>
                  <a:cubicBezTo>
                    <a:pt x="1189" y="374"/>
                    <a:pt x="1189" y="374"/>
                    <a:pt x="1189" y="374"/>
                  </a:cubicBezTo>
                  <a:cubicBezTo>
                    <a:pt x="1185" y="371"/>
                    <a:pt x="1181" y="367"/>
                    <a:pt x="1178" y="364"/>
                  </a:cubicBezTo>
                  <a:moveTo>
                    <a:pt x="455" y="365"/>
                  </a:moveTo>
                  <a:cubicBezTo>
                    <a:pt x="455" y="365"/>
                    <a:pt x="455" y="365"/>
                    <a:pt x="456" y="366"/>
                  </a:cubicBezTo>
                  <a:cubicBezTo>
                    <a:pt x="464" y="369"/>
                    <a:pt x="472" y="373"/>
                    <a:pt x="480" y="376"/>
                  </a:cubicBezTo>
                  <a:cubicBezTo>
                    <a:pt x="479" y="376"/>
                    <a:pt x="478" y="375"/>
                    <a:pt x="477" y="374"/>
                  </a:cubicBezTo>
                  <a:cubicBezTo>
                    <a:pt x="470" y="371"/>
                    <a:pt x="462" y="368"/>
                    <a:pt x="455" y="365"/>
                  </a:cubicBezTo>
                  <a:moveTo>
                    <a:pt x="875" y="368"/>
                  </a:moveTo>
                  <a:cubicBezTo>
                    <a:pt x="874" y="368"/>
                    <a:pt x="873" y="368"/>
                    <a:pt x="872" y="368"/>
                  </a:cubicBezTo>
                  <a:cubicBezTo>
                    <a:pt x="859" y="374"/>
                    <a:pt x="846" y="379"/>
                    <a:pt x="832" y="383"/>
                  </a:cubicBezTo>
                  <a:cubicBezTo>
                    <a:pt x="831" y="383"/>
                    <a:pt x="830" y="383"/>
                    <a:pt x="828" y="383"/>
                  </a:cubicBezTo>
                  <a:cubicBezTo>
                    <a:pt x="829" y="384"/>
                    <a:pt x="829" y="384"/>
                    <a:pt x="830" y="384"/>
                  </a:cubicBezTo>
                  <a:cubicBezTo>
                    <a:pt x="830" y="384"/>
                    <a:pt x="831" y="384"/>
                    <a:pt x="832" y="384"/>
                  </a:cubicBezTo>
                  <a:cubicBezTo>
                    <a:pt x="832" y="384"/>
                    <a:pt x="832" y="384"/>
                    <a:pt x="832" y="383"/>
                  </a:cubicBezTo>
                  <a:cubicBezTo>
                    <a:pt x="848" y="379"/>
                    <a:pt x="862" y="374"/>
                    <a:pt x="875" y="368"/>
                  </a:cubicBezTo>
                  <a:moveTo>
                    <a:pt x="1190" y="375"/>
                  </a:moveTo>
                  <a:cubicBezTo>
                    <a:pt x="1190" y="375"/>
                    <a:pt x="1190" y="375"/>
                    <a:pt x="1189" y="375"/>
                  </a:cubicBezTo>
                  <a:cubicBezTo>
                    <a:pt x="1189" y="375"/>
                    <a:pt x="1189" y="375"/>
                    <a:pt x="1189" y="375"/>
                  </a:cubicBezTo>
                  <a:cubicBezTo>
                    <a:pt x="1190" y="375"/>
                    <a:pt x="1190" y="375"/>
                    <a:pt x="1191" y="375"/>
                  </a:cubicBezTo>
                  <a:cubicBezTo>
                    <a:pt x="1190" y="375"/>
                    <a:pt x="1190" y="375"/>
                    <a:pt x="1190" y="375"/>
                  </a:cubicBezTo>
                  <a:moveTo>
                    <a:pt x="481" y="376"/>
                  </a:moveTo>
                  <a:cubicBezTo>
                    <a:pt x="481" y="376"/>
                    <a:pt x="482" y="377"/>
                    <a:pt x="483" y="378"/>
                  </a:cubicBezTo>
                  <a:cubicBezTo>
                    <a:pt x="486" y="379"/>
                    <a:pt x="489" y="380"/>
                    <a:pt x="492" y="382"/>
                  </a:cubicBezTo>
                  <a:cubicBezTo>
                    <a:pt x="492" y="381"/>
                    <a:pt x="492" y="381"/>
                    <a:pt x="492" y="381"/>
                  </a:cubicBezTo>
                  <a:cubicBezTo>
                    <a:pt x="491" y="380"/>
                    <a:pt x="490" y="380"/>
                    <a:pt x="489" y="379"/>
                  </a:cubicBezTo>
                  <a:cubicBezTo>
                    <a:pt x="486" y="378"/>
                    <a:pt x="483" y="377"/>
                    <a:pt x="481" y="376"/>
                  </a:cubicBezTo>
                  <a:moveTo>
                    <a:pt x="1192" y="376"/>
                  </a:moveTo>
                  <a:cubicBezTo>
                    <a:pt x="1191" y="376"/>
                    <a:pt x="1191" y="376"/>
                    <a:pt x="1190" y="376"/>
                  </a:cubicBezTo>
                  <a:cubicBezTo>
                    <a:pt x="1196" y="380"/>
                    <a:pt x="1203" y="384"/>
                    <a:pt x="1211" y="388"/>
                  </a:cubicBezTo>
                  <a:cubicBezTo>
                    <a:pt x="1211" y="387"/>
                    <a:pt x="1211" y="387"/>
                    <a:pt x="1211" y="387"/>
                  </a:cubicBezTo>
                  <a:cubicBezTo>
                    <a:pt x="1204" y="383"/>
                    <a:pt x="1197" y="380"/>
                    <a:pt x="1192" y="376"/>
                  </a:cubicBezTo>
                  <a:moveTo>
                    <a:pt x="493" y="381"/>
                  </a:moveTo>
                  <a:cubicBezTo>
                    <a:pt x="493" y="381"/>
                    <a:pt x="493" y="382"/>
                    <a:pt x="493" y="382"/>
                  </a:cubicBezTo>
                  <a:cubicBezTo>
                    <a:pt x="498" y="385"/>
                    <a:pt x="503" y="387"/>
                    <a:pt x="508" y="389"/>
                  </a:cubicBezTo>
                  <a:cubicBezTo>
                    <a:pt x="509" y="389"/>
                    <a:pt x="509" y="389"/>
                    <a:pt x="509" y="389"/>
                  </a:cubicBezTo>
                  <a:cubicBezTo>
                    <a:pt x="504" y="386"/>
                    <a:pt x="498" y="384"/>
                    <a:pt x="493" y="381"/>
                  </a:cubicBezTo>
                  <a:moveTo>
                    <a:pt x="827" y="384"/>
                  </a:moveTo>
                  <a:cubicBezTo>
                    <a:pt x="826" y="384"/>
                    <a:pt x="826" y="384"/>
                    <a:pt x="825" y="384"/>
                  </a:cubicBezTo>
                  <a:cubicBezTo>
                    <a:pt x="826" y="384"/>
                    <a:pt x="826" y="384"/>
                    <a:pt x="827" y="384"/>
                  </a:cubicBezTo>
                  <a:cubicBezTo>
                    <a:pt x="827" y="384"/>
                    <a:pt x="827" y="384"/>
                    <a:pt x="827" y="384"/>
                  </a:cubicBezTo>
                  <a:moveTo>
                    <a:pt x="825" y="385"/>
                  </a:moveTo>
                  <a:cubicBezTo>
                    <a:pt x="823" y="386"/>
                    <a:pt x="821" y="386"/>
                    <a:pt x="819" y="386"/>
                  </a:cubicBezTo>
                  <a:cubicBezTo>
                    <a:pt x="818" y="386"/>
                    <a:pt x="818" y="386"/>
                    <a:pt x="818" y="386"/>
                  </a:cubicBezTo>
                  <a:cubicBezTo>
                    <a:pt x="815" y="388"/>
                    <a:pt x="811" y="389"/>
                    <a:pt x="808" y="390"/>
                  </a:cubicBezTo>
                  <a:cubicBezTo>
                    <a:pt x="808" y="390"/>
                    <a:pt x="809" y="390"/>
                    <a:pt x="810" y="390"/>
                  </a:cubicBezTo>
                  <a:cubicBezTo>
                    <a:pt x="811" y="390"/>
                    <a:pt x="812" y="389"/>
                    <a:pt x="813" y="389"/>
                  </a:cubicBezTo>
                  <a:cubicBezTo>
                    <a:pt x="815" y="389"/>
                    <a:pt x="817" y="388"/>
                    <a:pt x="818" y="387"/>
                  </a:cubicBezTo>
                  <a:cubicBezTo>
                    <a:pt x="821" y="387"/>
                    <a:pt x="823" y="386"/>
                    <a:pt x="825" y="385"/>
                  </a:cubicBezTo>
                  <a:moveTo>
                    <a:pt x="1212" y="387"/>
                  </a:moveTo>
                  <a:cubicBezTo>
                    <a:pt x="1212" y="388"/>
                    <a:pt x="1212" y="388"/>
                    <a:pt x="1212" y="388"/>
                  </a:cubicBezTo>
                  <a:cubicBezTo>
                    <a:pt x="1213" y="389"/>
                    <a:pt x="1214" y="389"/>
                    <a:pt x="1215" y="390"/>
                  </a:cubicBezTo>
                  <a:cubicBezTo>
                    <a:pt x="1216" y="390"/>
                    <a:pt x="1216" y="389"/>
                    <a:pt x="1216" y="389"/>
                  </a:cubicBezTo>
                  <a:cubicBezTo>
                    <a:pt x="1215" y="388"/>
                    <a:pt x="1214" y="388"/>
                    <a:pt x="1212" y="387"/>
                  </a:cubicBezTo>
                  <a:moveTo>
                    <a:pt x="511" y="389"/>
                  </a:moveTo>
                  <a:cubicBezTo>
                    <a:pt x="510" y="389"/>
                    <a:pt x="510" y="390"/>
                    <a:pt x="509" y="390"/>
                  </a:cubicBezTo>
                  <a:cubicBezTo>
                    <a:pt x="511" y="391"/>
                    <a:pt x="513" y="392"/>
                    <a:pt x="515" y="393"/>
                  </a:cubicBezTo>
                  <a:cubicBezTo>
                    <a:pt x="516" y="393"/>
                    <a:pt x="516" y="393"/>
                    <a:pt x="516" y="392"/>
                  </a:cubicBezTo>
                  <a:cubicBezTo>
                    <a:pt x="515" y="392"/>
                    <a:pt x="514" y="391"/>
                    <a:pt x="513" y="391"/>
                  </a:cubicBezTo>
                  <a:cubicBezTo>
                    <a:pt x="513" y="390"/>
                    <a:pt x="512" y="390"/>
                    <a:pt x="511" y="389"/>
                  </a:cubicBezTo>
                  <a:moveTo>
                    <a:pt x="1217" y="389"/>
                  </a:moveTo>
                  <a:cubicBezTo>
                    <a:pt x="1217" y="390"/>
                    <a:pt x="1217" y="390"/>
                    <a:pt x="1216" y="390"/>
                  </a:cubicBezTo>
                  <a:cubicBezTo>
                    <a:pt x="1217" y="391"/>
                    <a:pt x="1218" y="391"/>
                    <a:pt x="1219" y="391"/>
                  </a:cubicBezTo>
                  <a:cubicBezTo>
                    <a:pt x="1219" y="391"/>
                    <a:pt x="1219" y="391"/>
                    <a:pt x="1220" y="391"/>
                  </a:cubicBezTo>
                  <a:cubicBezTo>
                    <a:pt x="1219" y="390"/>
                    <a:pt x="1218" y="390"/>
                    <a:pt x="1217" y="389"/>
                  </a:cubicBezTo>
                  <a:moveTo>
                    <a:pt x="805" y="390"/>
                  </a:moveTo>
                  <a:cubicBezTo>
                    <a:pt x="803" y="391"/>
                    <a:pt x="800" y="392"/>
                    <a:pt x="798" y="393"/>
                  </a:cubicBezTo>
                  <a:cubicBezTo>
                    <a:pt x="798" y="393"/>
                    <a:pt x="799" y="393"/>
                    <a:pt x="799" y="394"/>
                  </a:cubicBezTo>
                  <a:cubicBezTo>
                    <a:pt x="802" y="393"/>
                    <a:pt x="805" y="392"/>
                    <a:pt x="808" y="391"/>
                  </a:cubicBezTo>
                  <a:cubicBezTo>
                    <a:pt x="807" y="391"/>
                    <a:pt x="806" y="391"/>
                    <a:pt x="805" y="390"/>
                  </a:cubicBezTo>
                  <a:moveTo>
                    <a:pt x="517" y="392"/>
                  </a:moveTo>
                  <a:cubicBezTo>
                    <a:pt x="517" y="392"/>
                    <a:pt x="517" y="392"/>
                    <a:pt x="517" y="392"/>
                  </a:cubicBezTo>
                  <a:cubicBezTo>
                    <a:pt x="518" y="393"/>
                    <a:pt x="519" y="394"/>
                    <a:pt x="521" y="395"/>
                  </a:cubicBezTo>
                  <a:cubicBezTo>
                    <a:pt x="525" y="397"/>
                    <a:pt x="529" y="399"/>
                    <a:pt x="532" y="401"/>
                  </a:cubicBezTo>
                  <a:cubicBezTo>
                    <a:pt x="529" y="399"/>
                    <a:pt x="526" y="397"/>
                    <a:pt x="523" y="395"/>
                  </a:cubicBezTo>
                  <a:cubicBezTo>
                    <a:pt x="521" y="394"/>
                    <a:pt x="519" y="393"/>
                    <a:pt x="517" y="392"/>
                  </a:cubicBezTo>
                  <a:moveTo>
                    <a:pt x="516" y="393"/>
                  </a:moveTo>
                  <a:cubicBezTo>
                    <a:pt x="516" y="393"/>
                    <a:pt x="516" y="393"/>
                    <a:pt x="516" y="393"/>
                  </a:cubicBezTo>
                  <a:cubicBezTo>
                    <a:pt x="516" y="393"/>
                    <a:pt x="517" y="393"/>
                    <a:pt x="517" y="393"/>
                  </a:cubicBezTo>
                  <a:cubicBezTo>
                    <a:pt x="517" y="393"/>
                    <a:pt x="516" y="393"/>
                    <a:pt x="516" y="393"/>
                  </a:cubicBezTo>
                  <a:moveTo>
                    <a:pt x="797" y="393"/>
                  </a:moveTo>
                  <a:cubicBezTo>
                    <a:pt x="796" y="394"/>
                    <a:pt x="795" y="394"/>
                    <a:pt x="794" y="394"/>
                  </a:cubicBezTo>
                  <a:cubicBezTo>
                    <a:pt x="795" y="394"/>
                    <a:pt x="796" y="394"/>
                    <a:pt x="797" y="394"/>
                  </a:cubicBezTo>
                  <a:cubicBezTo>
                    <a:pt x="797" y="394"/>
                    <a:pt x="797" y="394"/>
                    <a:pt x="798" y="394"/>
                  </a:cubicBezTo>
                  <a:cubicBezTo>
                    <a:pt x="797" y="394"/>
                    <a:pt x="797" y="393"/>
                    <a:pt x="797" y="393"/>
                  </a:cubicBezTo>
                  <a:moveTo>
                    <a:pt x="792" y="395"/>
                  </a:moveTo>
                  <a:cubicBezTo>
                    <a:pt x="792" y="395"/>
                    <a:pt x="791" y="395"/>
                    <a:pt x="791" y="395"/>
                  </a:cubicBezTo>
                  <a:cubicBezTo>
                    <a:pt x="790" y="396"/>
                    <a:pt x="788" y="396"/>
                    <a:pt x="786" y="397"/>
                  </a:cubicBezTo>
                  <a:cubicBezTo>
                    <a:pt x="788" y="397"/>
                    <a:pt x="790" y="396"/>
                    <a:pt x="792" y="396"/>
                  </a:cubicBezTo>
                  <a:cubicBezTo>
                    <a:pt x="793" y="396"/>
                    <a:pt x="794" y="395"/>
                    <a:pt x="794" y="395"/>
                  </a:cubicBezTo>
                  <a:cubicBezTo>
                    <a:pt x="794" y="395"/>
                    <a:pt x="793" y="395"/>
                    <a:pt x="792" y="395"/>
                  </a:cubicBezTo>
                  <a:moveTo>
                    <a:pt x="783" y="399"/>
                  </a:moveTo>
                  <a:cubicBezTo>
                    <a:pt x="783" y="399"/>
                    <a:pt x="782" y="399"/>
                    <a:pt x="781" y="399"/>
                  </a:cubicBezTo>
                  <a:cubicBezTo>
                    <a:pt x="780" y="400"/>
                    <a:pt x="778" y="400"/>
                    <a:pt x="777" y="401"/>
                  </a:cubicBezTo>
                  <a:cubicBezTo>
                    <a:pt x="777" y="401"/>
                    <a:pt x="777" y="401"/>
                    <a:pt x="777" y="401"/>
                  </a:cubicBezTo>
                  <a:cubicBezTo>
                    <a:pt x="778" y="401"/>
                    <a:pt x="778" y="401"/>
                    <a:pt x="779" y="400"/>
                  </a:cubicBezTo>
                  <a:cubicBezTo>
                    <a:pt x="779" y="400"/>
                    <a:pt x="780" y="400"/>
                    <a:pt x="780" y="400"/>
                  </a:cubicBezTo>
                  <a:cubicBezTo>
                    <a:pt x="781" y="400"/>
                    <a:pt x="782" y="399"/>
                    <a:pt x="783" y="399"/>
                  </a:cubicBezTo>
                  <a:moveTo>
                    <a:pt x="533" y="400"/>
                  </a:moveTo>
                  <a:cubicBezTo>
                    <a:pt x="536" y="402"/>
                    <a:pt x="540" y="404"/>
                    <a:pt x="544" y="407"/>
                  </a:cubicBezTo>
                  <a:cubicBezTo>
                    <a:pt x="544" y="406"/>
                    <a:pt x="545" y="406"/>
                    <a:pt x="545" y="406"/>
                  </a:cubicBezTo>
                  <a:cubicBezTo>
                    <a:pt x="541" y="404"/>
                    <a:pt x="537" y="402"/>
                    <a:pt x="533" y="400"/>
                  </a:cubicBezTo>
                  <a:moveTo>
                    <a:pt x="776" y="401"/>
                  </a:moveTo>
                  <a:cubicBezTo>
                    <a:pt x="775" y="401"/>
                    <a:pt x="775" y="401"/>
                    <a:pt x="775" y="401"/>
                  </a:cubicBezTo>
                  <a:cubicBezTo>
                    <a:pt x="773" y="401"/>
                    <a:pt x="772" y="402"/>
                    <a:pt x="770" y="403"/>
                  </a:cubicBezTo>
                  <a:cubicBezTo>
                    <a:pt x="769" y="403"/>
                    <a:pt x="768" y="403"/>
                    <a:pt x="768" y="403"/>
                  </a:cubicBezTo>
                  <a:cubicBezTo>
                    <a:pt x="761" y="406"/>
                    <a:pt x="755" y="408"/>
                    <a:pt x="748" y="411"/>
                  </a:cubicBezTo>
                  <a:cubicBezTo>
                    <a:pt x="749" y="411"/>
                    <a:pt x="749" y="411"/>
                    <a:pt x="749" y="411"/>
                  </a:cubicBezTo>
                  <a:cubicBezTo>
                    <a:pt x="753" y="410"/>
                    <a:pt x="756" y="409"/>
                    <a:pt x="759" y="408"/>
                  </a:cubicBezTo>
                  <a:cubicBezTo>
                    <a:pt x="764" y="405"/>
                    <a:pt x="770" y="403"/>
                    <a:pt x="776" y="401"/>
                  </a:cubicBezTo>
                  <a:moveTo>
                    <a:pt x="546" y="407"/>
                  </a:moveTo>
                  <a:cubicBezTo>
                    <a:pt x="546" y="407"/>
                    <a:pt x="545" y="407"/>
                    <a:pt x="545" y="407"/>
                  </a:cubicBezTo>
                  <a:cubicBezTo>
                    <a:pt x="550" y="410"/>
                    <a:pt x="554" y="412"/>
                    <a:pt x="559" y="415"/>
                  </a:cubicBezTo>
                  <a:cubicBezTo>
                    <a:pt x="560" y="415"/>
                    <a:pt x="562" y="415"/>
                    <a:pt x="563" y="416"/>
                  </a:cubicBezTo>
                  <a:cubicBezTo>
                    <a:pt x="563" y="416"/>
                    <a:pt x="563" y="416"/>
                    <a:pt x="563" y="416"/>
                  </a:cubicBezTo>
                  <a:cubicBezTo>
                    <a:pt x="557" y="413"/>
                    <a:pt x="552" y="410"/>
                    <a:pt x="546" y="407"/>
                  </a:cubicBezTo>
                  <a:moveTo>
                    <a:pt x="747" y="411"/>
                  </a:moveTo>
                  <a:cubicBezTo>
                    <a:pt x="744" y="412"/>
                    <a:pt x="741" y="413"/>
                    <a:pt x="738" y="414"/>
                  </a:cubicBezTo>
                  <a:cubicBezTo>
                    <a:pt x="739" y="415"/>
                    <a:pt x="740" y="415"/>
                    <a:pt x="741" y="415"/>
                  </a:cubicBezTo>
                  <a:cubicBezTo>
                    <a:pt x="743" y="414"/>
                    <a:pt x="746" y="413"/>
                    <a:pt x="748" y="412"/>
                  </a:cubicBezTo>
                  <a:cubicBezTo>
                    <a:pt x="748" y="411"/>
                    <a:pt x="748" y="411"/>
                    <a:pt x="747" y="411"/>
                  </a:cubicBezTo>
                  <a:moveTo>
                    <a:pt x="736" y="415"/>
                  </a:moveTo>
                  <a:cubicBezTo>
                    <a:pt x="727" y="419"/>
                    <a:pt x="719" y="422"/>
                    <a:pt x="710" y="426"/>
                  </a:cubicBezTo>
                  <a:cubicBezTo>
                    <a:pt x="710" y="426"/>
                    <a:pt x="711" y="426"/>
                    <a:pt x="711" y="427"/>
                  </a:cubicBezTo>
                  <a:cubicBezTo>
                    <a:pt x="720" y="423"/>
                    <a:pt x="729" y="419"/>
                    <a:pt x="739" y="415"/>
                  </a:cubicBezTo>
                  <a:cubicBezTo>
                    <a:pt x="738" y="415"/>
                    <a:pt x="737" y="415"/>
                    <a:pt x="736" y="415"/>
                  </a:cubicBezTo>
                  <a:moveTo>
                    <a:pt x="563" y="417"/>
                  </a:moveTo>
                  <a:cubicBezTo>
                    <a:pt x="566" y="418"/>
                    <a:pt x="568" y="420"/>
                    <a:pt x="571" y="421"/>
                  </a:cubicBezTo>
                  <a:cubicBezTo>
                    <a:pt x="571" y="421"/>
                    <a:pt x="571" y="421"/>
                    <a:pt x="571" y="420"/>
                  </a:cubicBezTo>
                  <a:cubicBezTo>
                    <a:pt x="570" y="420"/>
                    <a:pt x="568" y="419"/>
                    <a:pt x="567" y="418"/>
                  </a:cubicBezTo>
                  <a:cubicBezTo>
                    <a:pt x="566" y="418"/>
                    <a:pt x="564" y="417"/>
                    <a:pt x="563" y="417"/>
                  </a:cubicBezTo>
                  <a:moveTo>
                    <a:pt x="572" y="421"/>
                  </a:moveTo>
                  <a:cubicBezTo>
                    <a:pt x="572" y="421"/>
                    <a:pt x="572" y="421"/>
                    <a:pt x="572" y="421"/>
                  </a:cubicBezTo>
                  <a:cubicBezTo>
                    <a:pt x="574" y="423"/>
                    <a:pt x="577" y="424"/>
                    <a:pt x="580" y="425"/>
                  </a:cubicBezTo>
                  <a:cubicBezTo>
                    <a:pt x="577" y="424"/>
                    <a:pt x="575" y="423"/>
                    <a:pt x="572" y="421"/>
                  </a:cubicBezTo>
                  <a:moveTo>
                    <a:pt x="579" y="426"/>
                  </a:moveTo>
                  <a:cubicBezTo>
                    <a:pt x="584" y="429"/>
                    <a:pt x="588" y="432"/>
                    <a:pt x="593" y="435"/>
                  </a:cubicBezTo>
                  <a:cubicBezTo>
                    <a:pt x="593" y="434"/>
                    <a:pt x="593" y="434"/>
                    <a:pt x="594" y="434"/>
                  </a:cubicBezTo>
                  <a:cubicBezTo>
                    <a:pt x="592" y="433"/>
                    <a:pt x="591" y="432"/>
                    <a:pt x="589" y="431"/>
                  </a:cubicBezTo>
                  <a:cubicBezTo>
                    <a:pt x="585" y="429"/>
                    <a:pt x="582" y="428"/>
                    <a:pt x="579" y="426"/>
                  </a:cubicBezTo>
                  <a:moveTo>
                    <a:pt x="709" y="426"/>
                  </a:moveTo>
                  <a:cubicBezTo>
                    <a:pt x="699" y="431"/>
                    <a:pt x="689" y="435"/>
                    <a:pt x="679" y="439"/>
                  </a:cubicBezTo>
                  <a:cubicBezTo>
                    <a:pt x="680" y="439"/>
                    <a:pt x="680" y="439"/>
                    <a:pt x="681" y="440"/>
                  </a:cubicBezTo>
                  <a:cubicBezTo>
                    <a:pt x="690" y="435"/>
                    <a:pt x="700" y="431"/>
                    <a:pt x="710" y="427"/>
                  </a:cubicBezTo>
                  <a:cubicBezTo>
                    <a:pt x="709" y="427"/>
                    <a:pt x="709" y="427"/>
                    <a:pt x="709" y="426"/>
                  </a:cubicBezTo>
                  <a:moveTo>
                    <a:pt x="595" y="435"/>
                  </a:moveTo>
                  <a:cubicBezTo>
                    <a:pt x="594" y="435"/>
                    <a:pt x="594" y="435"/>
                    <a:pt x="594" y="435"/>
                  </a:cubicBezTo>
                  <a:cubicBezTo>
                    <a:pt x="596" y="437"/>
                    <a:pt x="598" y="438"/>
                    <a:pt x="600" y="439"/>
                  </a:cubicBezTo>
                  <a:cubicBezTo>
                    <a:pt x="600" y="439"/>
                    <a:pt x="600" y="439"/>
                    <a:pt x="601" y="439"/>
                  </a:cubicBezTo>
                  <a:cubicBezTo>
                    <a:pt x="599" y="438"/>
                    <a:pt x="597" y="436"/>
                    <a:pt x="595" y="435"/>
                  </a:cubicBezTo>
                  <a:moveTo>
                    <a:pt x="602" y="439"/>
                  </a:moveTo>
                  <a:cubicBezTo>
                    <a:pt x="601" y="440"/>
                    <a:pt x="601" y="440"/>
                    <a:pt x="601" y="440"/>
                  </a:cubicBezTo>
                  <a:cubicBezTo>
                    <a:pt x="603" y="442"/>
                    <a:pt x="605" y="443"/>
                    <a:pt x="608" y="445"/>
                  </a:cubicBezTo>
                  <a:cubicBezTo>
                    <a:pt x="609" y="446"/>
                    <a:pt x="610" y="446"/>
                    <a:pt x="611" y="447"/>
                  </a:cubicBezTo>
                  <a:cubicBezTo>
                    <a:pt x="608" y="444"/>
                    <a:pt x="605" y="442"/>
                    <a:pt x="602" y="439"/>
                  </a:cubicBezTo>
                  <a:moveTo>
                    <a:pt x="677" y="440"/>
                  </a:moveTo>
                  <a:cubicBezTo>
                    <a:pt x="676" y="441"/>
                    <a:pt x="675" y="441"/>
                    <a:pt x="674" y="441"/>
                  </a:cubicBezTo>
                  <a:cubicBezTo>
                    <a:pt x="675" y="442"/>
                    <a:pt x="675" y="442"/>
                    <a:pt x="675" y="442"/>
                  </a:cubicBezTo>
                  <a:cubicBezTo>
                    <a:pt x="676" y="442"/>
                    <a:pt x="678" y="441"/>
                    <a:pt x="679" y="440"/>
                  </a:cubicBezTo>
                  <a:cubicBezTo>
                    <a:pt x="679" y="440"/>
                    <a:pt x="678" y="440"/>
                    <a:pt x="677" y="440"/>
                  </a:cubicBezTo>
                  <a:moveTo>
                    <a:pt x="673" y="442"/>
                  </a:moveTo>
                  <a:cubicBezTo>
                    <a:pt x="669" y="444"/>
                    <a:pt x="665" y="445"/>
                    <a:pt x="662" y="447"/>
                  </a:cubicBezTo>
                  <a:cubicBezTo>
                    <a:pt x="665" y="446"/>
                    <a:pt x="668" y="445"/>
                    <a:pt x="672" y="444"/>
                  </a:cubicBezTo>
                  <a:cubicBezTo>
                    <a:pt x="673" y="443"/>
                    <a:pt x="673" y="443"/>
                    <a:pt x="674" y="443"/>
                  </a:cubicBezTo>
                  <a:cubicBezTo>
                    <a:pt x="674" y="442"/>
                    <a:pt x="674" y="442"/>
                    <a:pt x="673" y="442"/>
                  </a:cubicBezTo>
                  <a:moveTo>
                    <a:pt x="611" y="447"/>
                  </a:moveTo>
                  <a:cubicBezTo>
                    <a:pt x="611" y="448"/>
                    <a:pt x="611" y="448"/>
                    <a:pt x="611" y="448"/>
                  </a:cubicBezTo>
                  <a:cubicBezTo>
                    <a:pt x="611" y="448"/>
                    <a:pt x="611" y="448"/>
                    <a:pt x="611" y="448"/>
                  </a:cubicBezTo>
                  <a:cubicBezTo>
                    <a:pt x="611" y="448"/>
                    <a:pt x="611" y="448"/>
                    <a:pt x="611" y="447"/>
                  </a:cubicBezTo>
                  <a:moveTo>
                    <a:pt x="661" y="448"/>
                  </a:moveTo>
                  <a:cubicBezTo>
                    <a:pt x="661" y="449"/>
                    <a:pt x="661" y="449"/>
                    <a:pt x="660" y="449"/>
                  </a:cubicBezTo>
                  <a:cubicBezTo>
                    <a:pt x="660" y="449"/>
                    <a:pt x="660" y="449"/>
                    <a:pt x="660" y="449"/>
                  </a:cubicBezTo>
                  <a:cubicBezTo>
                    <a:pt x="661" y="449"/>
                    <a:pt x="661" y="449"/>
                    <a:pt x="661" y="448"/>
                  </a:cubicBezTo>
                  <a:moveTo>
                    <a:pt x="614" y="449"/>
                  </a:moveTo>
                  <a:cubicBezTo>
                    <a:pt x="614" y="449"/>
                    <a:pt x="613" y="449"/>
                    <a:pt x="613" y="449"/>
                  </a:cubicBezTo>
                  <a:cubicBezTo>
                    <a:pt x="613" y="450"/>
                    <a:pt x="613" y="450"/>
                    <a:pt x="614" y="450"/>
                  </a:cubicBezTo>
                  <a:cubicBezTo>
                    <a:pt x="614" y="450"/>
                    <a:pt x="615" y="451"/>
                    <a:pt x="615" y="451"/>
                  </a:cubicBezTo>
                  <a:cubicBezTo>
                    <a:pt x="616" y="452"/>
                    <a:pt x="617" y="452"/>
                    <a:pt x="618" y="453"/>
                  </a:cubicBezTo>
                  <a:cubicBezTo>
                    <a:pt x="618" y="453"/>
                    <a:pt x="618" y="452"/>
                    <a:pt x="617" y="452"/>
                  </a:cubicBezTo>
                  <a:cubicBezTo>
                    <a:pt x="617" y="451"/>
                    <a:pt x="616" y="451"/>
                    <a:pt x="615" y="450"/>
                  </a:cubicBezTo>
                  <a:cubicBezTo>
                    <a:pt x="615" y="450"/>
                    <a:pt x="614" y="449"/>
                    <a:pt x="614" y="449"/>
                  </a:cubicBezTo>
                  <a:moveTo>
                    <a:pt x="659" y="449"/>
                  </a:moveTo>
                  <a:cubicBezTo>
                    <a:pt x="658" y="450"/>
                    <a:pt x="658" y="450"/>
                    <a:pt x="657" y="450"/>
                  </a:cubicBezTo>
                  <a:cubicBezTo>
                    <a:pt x="657" y="450"/>
                    <a:pt x="657" y="450"/>
                    <a:pt x="657" y="450"/>
                  </a:cubicBezTo>
                  <a:cubicBezTo>
                    <a:pt x="658" y="450"/>
                    <a:pt x="658" y="450"/>
                    <a:pt x="659" y="449"/>
                  </a:cubicBezTo>
                  <a:cubicBezTo>
                    <a:pt x="659" y="449"/>
                    <a:pt x="659" y="449"/>
                    <a:pt x="659" y="449"/>
                  </a:cubicBezTo>
                  <a:moveTo>
                    <a:pt x="656" y="450"/>
                  </a:moveTo>
                  <a:cubicBezTo>
                    <a:pt x="654" y="451"/>
                    <a:pt x="653" y="451"/>
                    <a:pt x="651" y="452"/>
                  </a:cubicBezTo>
                  <a:cubicBezTo>
                    <a:pt x="652" y="452"/>
                    <a:pt x="652" y="452"/>
                    <a:pt x="652" y="453"/>
                  </a:cubicBezTo>
                  <a:cubicBezTo>
                    <a:pt x="652" y="453"/>
                    <a:pt x="653" y="452"/>
                    <a:pt x="653" y="452"/>
                  </a:cubicBezTo>
                  <a:cubicBezTo>
                    <a:pt x="653" y="452"/>
                    <a:pt x="653" y="452"/>
                    <a:pt x="653" y="452"/>
                  </a:cubicBezTo>
                  <a:cubicBezTo>
                    <a:pt x="654" y="452"/>
                    <a:pt x="654" y="452"/>
                    <a:pt x="654" y="452"/>
                  </a:cubicBezTo>
                  <a:cubicBezTo>
                    <a:pt x="654" y="452"/>
                    <a:pt x="654" y="452"/>
                    <a:pt x="655" y="452"/>
                  </a:cubicBezTo>
                  <a:cubicBezTo>
                    <a:pt x="655" y="451"/>
                    <a:pt x="656" y="451"/>
                    <a:pt x="656" y="451"/>
                  </a:cubicBezTo>
                  <a:cubicBezTo>
                    <a:pt x="656" y="451"/>
                    <a:pt x="656" y="450"/>
                    <a:pt x="656" y="450"/>
                  </a:cubicBezTo>
                  <a:moveTo>
                    <a:pt x="650" y="453"/>
                  </a:moveTo>
                  <a:cubicBezTo>
                    <a:pt x="650" y="453"/>
                    <a:pt x="650" y="453"/>
                    <a:pt x="650" y="453"/>
                  </a:cubicBezTo>
                  <a:cubicBezTo>
                    <a:pt x="649" y="453"/>
                    <a:pt x="649" y="453"/>
                    <a:pt x="649" y="453"/>
                  </a:cubicBezTo>
                  <a:cubicBezTo>
                    <a:pt x="648" y="453"/>
                    <a:pt x="648" y="454"/>
                    <a:pt x="647" y="454"/>
                  </a:cubicBezTo>
                  <a:cubicBezTo>
                    <a:pt x="647" y="454"/>
                    <a:pt x="647" y="454"/>
                    <a:pt x="646" y="454"/>
                  </a:cubicBezTo>
                  <a:cubicBezTo>
                    <a:pt x="646" y="455"/>
                    <a:pt x="645" y="455"/>
                    <a:pt x="644" y="455"/>
                  </a:cubicBezTo>
                  <a:cubicBezTo>
                    <a:pt x="645" y="455"/>
                    <a:pt x="645" y="456"/>
                    <a:pt x="645" y="456"/>
                  </a:cubicBezTo>
                  <a:cubicBezTo>
                    <a:pt x="646" y="456"/>
                    <a:pt x="646" y="455"/>
                    <a:pt x="647" y="455"/>
                  </a:cubicBezTo>
                  <a:cubicBezTo>
                    <a:pt x="647" y="455"/>
                    <a:pt x="648" y="455"/>
                    <a:pt x="648" y="455"/>
                  </a:cubicBezTo>
                  <a:cubicBezTo>
                    <a:pt x="648" y="454"/>
                    <a:pt x="649" y="454"/>
                    <a:pt x="649" y="454"/>
                  </a:cubicBezTo>
                  <a:cubicBezTo>
                    <a:pt x="650" y="454"/>
                    <a:pt x="650" y="454"/>
                    <a:pt x="650" y="453"/>
                  </a:cubicBezTo>
                  <a:cubicBezTo>
                    <a:pt x="651" y="453"/>
                    <a:pt x="651" y="453"/>
                    <a:pt x="651" y="453"/>
                  </a:cubicBezTo>
                  <a:cubicBezTo>
                    <a:pt x="651" y="453"/>
                    <a:pt x="650" y="453"/>
                    <a:pt x="650" y="453"/>
                  </a:cubicBezTo>
                  <a:moveTo>
                    <a:pt x="1162" y="453"/>
                  </a:moveTo>
                  <a:cubicBezTo>
                    <a:pt x="1160" y="455"/>
                    <a:pt x="1158" y="456"/>
                    <a:pt x="1156" y="457"/>
                  </a:cubicBezTo>
                  <a:cubicBezTo>
                    <a:pt x="1156" y="458"/>
                    <a:pt x="1156" y="458"/>
                    <a:pt x="1155" y="458"/>
                  </a:cubicBezTo>
                  <a:cubicBezTo>
                    <a:pt x="1146" y="465"/>
                    <a:pt x="1138" y="471"/>
                    <a:pt x="1131" y="476"/>
                  </a:cubicBezTo>
                  <a:cubicBezTo>
                    <a:pt x="1131" y="476"/>
                    <a:pt x="1130" y="477"/>
                    <a:pt x="1130" y="477"/>
                  </a:cubicBezTo>
                  <a:cubicBezTo>
                    <a:pt x="1120" y="484"/>
                    <a:pt x="1112" y="490"/>
                    <a:pt x="1105" y="494"/>
                  </a:cubicBezTo>
                  <a:cubicBezTo>
                    <a:pt x="1105" y="494"/>
                    <a:pt x="1105" y="494"/>
                    <a:pt x="1104" y="495"/>
                  </a:cubicBezTo>
                  <a:cubicBezTo>
                    <a:pt x="1102" y="496"/>
                    <a:pt x="1099" y="498"/>
                    <a:pt x="1097" y="499"/>
                  </a:cubicBezTo>
                  <a:cubicBezTo>
                    <a:pt x="1097" y="500"/>
                    <a:pt x="1097" y="500"/>
                    <a:pt x="1097" y="500"/>
                  </a:cubicBezTo>
                  <a:cubicBezTo>
                    <a:pt x="1100" y="499"/>
                    <a:pt x="1102" y="497"/>
                    <a:pt x="1105" y="495"/>
                  </a:cubicBezTo>
                  <a:cubicBezTo>
                    <a:pt x="1105" y="495"/>
                    <a:pt x="1106" y="495"/>
                    <a:pt x="1106" y="495"/>
                  </a:cubicBezTo>
                  <a:cubicBezTo>
                    <a:pt x="1113" y="490"/>
                    <a:pt x="1121" y="485"/>
                    <a:pt x="1131" y="477"/>
                  </a:cubicBezTo>
                  <a:cubicBezTo>
                    <a:pt x="1131" y="477"/>
                    <a:pt x="1132" y="477"/>
                    <a:pt x="1132" y="477"/>
                  </a:cubicBezTo>
                  <a:cubicBezTo>
                    <a:pt x="1139" y="472"/>
                    <a:pt x="1147" y="466"/>
                    <a:pt x="1156" y="459"/>
                  </a:cubicBezTo>
                  <a:cubicBezTo>
                    <a:pt x="1157" y="458"/>
                    <a:pt x="1157" y="458"/>
                    <a:pt x="1157" y="458"/>
                  </a:cubicBezTo>
                  <a:cubicBezTo>
                    <a:pt x="1159" y="457"/>
                    <a:pt x="1161" y="455"/>
                    <a:pt x="1163" y="454"/>
                  </a:cubicBezTo>
                  <a:cubicBezTo>
                    <a:pt x="1162" y="454"/>
                    <a:pt x="1162" y="453"/>
                    <a:pt x="1162" y="453"/>
                  </a:cubicBezTo>
                  <a:moveTo>
                    <a:pt x="618" y="454"/>
                  </a:moveTo>
                  <a:cubicBezTo>
                    <a:pt x="618" y="454"/>
                    <a:pt x="618" y="454"/>
                    <a:pt x="618" y="454"/>
                  </a:cubicBezTo>
                  <a:cubicBezTo>
                    <a:pt x="618" y="454"/>
                    <a:pt x="618" y="454"/>
                    <a:pt x="618" y="454"/>
                  </a:cubicBezTo>
                  <a:cubicBezTo>
                    <a:pt x="619" y="454"/>
                    <a:pt x="619" y="454"/>
                    <a:pt x="620" y="455"/>
                  </a:cubicBezTo>
                  <a:cubicBezTo>
                    <a:pt x="619" y="454"/>
                    <a:pt x="619" y="454"/>
                    <a:pt x="618" y="454"/>
                  </a:cubicBezTo>
                  <a:moveTo>
                    <a:pt x="620" y="456"/>
                  </a:moveTo>
                  <a:cubicBezTo>
                    <a:pt x="620" y="456"/>
                    <a:pt x="620" y="456"/>
                    <a:pt x="620" y="456"/>
                  </a:cubicBezTo>
                  <a:cubicBezTo>
                    <a:pt x="620" y="456"/>
                    <a:pt x="620" y="456"/>
                    <a:pt x="621" y="456"/>
                  </a:cubicBezTo>
                  <a:cubicBezTo>
                    <a:pt x="620" y="456"/>
                    <a:pt x="620" y="456"/>
                    <a:pt x="620" y="456"/>
                  </a:cubicBezTo>
                  <a:moveTo>
                    <a:pt x="643" y="456"/>
                  </a:moveTo>
                  <a:cubicBezTo>
                    <a:pt x="643" y="456"/>
                    <a:pt x="642" y="456"/>
                    <a:pt x="642" y="457"/>
                  </a:cubicBezTo>
                  <a:cubicBezTo>
                    <a:pt x="642" y="457"/>
                    <a:pt x="642" y="457"/>
                    <a:pt x="642" y="457"/>
                  </a:cubicBezTo>
                  <a:cubicBezTo>
                    <a:pt x="643" y="457"/>
                    <a:pt x="644" y="457"/>
                    <a:pt x="644" y="456"/>
                  </a:cubicBezTo>
                  <a:cubicBezTo>
                    <a:pt x="644" y="456"/>
                    <a:pt x="644" y="456"/>
                    <a:pt x="643" y="456"/>
                  </a:cubicBezTo>
                  <a:moveTo>
                    <a:pt x="641" y="457"/>
                  </a:moveTo>
                  <a:cubicBezTo>
                    <a:pt x="640" y="457"/>
                    <a:pt x="639" y="458"/>
                    <a:pt x="639" y="458"/>
                  </a:cubicBezTo>
                  <a:cubicBezTo>
                    <a:pt x="639" y="458"/>
                    <a:pt x="639" y="458"/>
                    <a:pt x="640" y="459"/>
                  </a:cubicBezTo>
                  <a:cubicBezTo>
                    <a:pt x="640" y="458"/>
                    <a:pt x="641" y="458"/>
                    <a:pt x="641" y="458"/>
                  </a:cubicBezTo>
                  <a:cubicBezTo>
                    <a:pt x="641" y="458"/>
                    <a:pt x="641" y="457"/>
                    <a:pt x="641" y="457"/>
                  </a:cubicBezTo>
                  <a:moveTo>
                    <a:pt x="622" y="457"/>
                  </a:moveTo>
                  <a:cubicBezTo>
                    <a:pt x="622" y="458"/>
                    <a:pt x="622" y="458"/>
                    <a:pt x="622" y="458"/>
                  </a:cubicBezTo>
                  <a:cubicBezTo>
                    <a:pt x="623" y="458"/>
                    <a:pt x="624" y="459"/>
                    <a:pt x="624" y="459"/>
                  </a:cubicBezTo>
                  <a:cubicBezTo>
                    <a:pt x="624" y="458"/>
                    <a:pt x="624" y="458"/>
                    <a:pt x="624" y="458"/>
                  </a:cubicBezTo>
                  <a:cubicBezTo>
                    <a:pt x="623" y="458"/>
                    <a:pt x="623" y="458"/>
                    <a:pt x="623" y="458"/>
                  </a:cubicBezTo>
                  <a:cubicBezTo>
                    <a:pt x="623" y="457"/>
                    <a:pt x="622" y="457"/>
                    <a:pt x="622" y="457"/>
                  </a:cubicBezTo>
                  <a:moveTo>
                    <a:pt x="637" y="459"/>
                  </a:moveTo>
                  <a:cubicBezTo>
                    <a:pt x="637" y="459"/>
                    <a:pt x="637" y="459"/>
                    <a:pt x="637" y="459"/>
                  </a:cubicBezTo>
                  <a:cubicBezTo>
                    <a:pt x="636" y="459"/>
                    <a:pt x="636" y="459"/>
                    <a:pt x="636" y="459"/>
                  </a:cubicBezTo>
                  <a:cubicBezTo>
                    <a:pt x="636" y="459"/>
                    <a:pt x="637" y="460"/>
                    <a:pt x="637" y="460"/>
                  </a:cubicBezTo>
                  <a:cubicBezTo>
                    <a:pt x="638" y="459"/>
                    <a:pt x="638" y="459"/>
                    <a:pt x="639" y="459"/>
                  </a:cubicBezTo>
                  <a:cubicBezTo>
                    <a:pt x="638" y="459"/>
                    <a:pt x="638" y="459"/>
                    <a:pt x="637" y="459"/>
                  </a:cubicBezTo>
                  <a:moveTo>
                    <a:pt x="624" y="460"/>
                  </a:moveTo>
                  <a:cubicBezTo>
                    <a:pt x="624" y="460"/>
                    <a:pt x="624" y="460"/>
                    <a:pt x="624" y="460"/>
                  </a:cubicBezTo>
                  <a:cubicBezTo>
                    <a:pt x="625" y="460"/>
                    <a:pt x="625" y="461"/>
                    <a:pt x="625" y="461"/>
                  </a:cubicBezTo>
                  <a:cubicBezTo>
                    <a:pt x="625" y="461"/>
                    <a:pt x="626" y="461"/>
                    <a:pt x="626" y="461"/>
                  </a:cubicBezTo>
                  <a:cubicBezTo>
                    <a:pt x="626" y="461"/>
                    <a:pt x="626" y="460"/>
                    <a:pt x="626" y="460"/>
                  </a:cubicBezTo>
                  <a:cubicBezTo>
                    <a:pt x="625" y="460"/>
                    <a:pt x="625" y="460"/>
                    <a:pt x="624" y="460"/>
                  </a:cubicBezTo>
                  <a:moveTo>
                    <a:pt x="634" y="460"/>
                  </a:moveTo>
                  <a:cubicBezTo>
                    <a:pt x="634" y="460"/>
                    <a:pt x="634" y="460"/>
                    <a:pt x="634" y="460"/>
                  </a:cubicBezTo>
                  <a:cubicBezTo>
                    <a:pt x="635" y="460"/>
                    <a:pt x="635" y="460"/>
                    <a:pt x="635" y="461"/>
                  </a:cubicBezTo>
                  <a:cubicBezTo>
                    <a:pt x="636" y="460"/>
                    <a:pt x="636" y="460"/>
                    <a:pt x="636" y="460"/>
                  </a:cubicBezTo>
                  <a:cubicBezTo>
                    <a:pt x="635" y="460"/>
                    <a:pt x="635" y="460"/>
                    <a:pt x="634" y="460"/>
                  </a:cubicBezTo>
                  <a:moveTo>
                    <a:pt x="632" y="461"/>
                  </a:moveTo>
                  <a:cubicBezTo>
                    <a:pt x="632" y="461"/>
                    <a:pt x="632" y="461"/>
                    <a:pt x="632" y="461"/>
                  </a:cubicBezTo>
                  <a:cubicBezTo>
                    <a:pt x="632" y="461"/>
                    <a:pt x="632" y="461"/>
                    <a:pt x="633" y="461"/>
                  </a:cubicBezTo>
                  <a:cubicBezTo>
                    <a:pt x="633" y="461"/>
                    <a:pt x="633" y="461"/>
                    <a:pt x="632" y="461"/>
                  </a:cubicBezTo>
                  <a:moveTo>
                    <a:pt x="627" y="462"/>
                  </a:moveTo>
                  <a:cubicBezTo>
                    <a:pt x="626" y="462"/>
                    <a:pt x="626" y="462"/>
                    <a:pt x="626" y="462"/>
                  </a:cubicBezTo>
                  <a:cubicBezTo>
                    <a:pt x="626" y="462"/>
                    <a:pt x="626" y="462"/>
                    <a:pt x="626" y="462"/>
                  </a:cubicBezTo>
                  <a:cubicBezTo>
                    <a:pt x="626" y="462"/>
                    <a:pt x="627" y="462"/>
                    <a:pt x="627" y="463"/>
                  </a:cubicBezTo>
                  <a:cubicBezTo>
                    <a:pt x="627" y="462"/>
                    <a:pt x="627" y="462"/>
                    <a:pt x="627" y="462"/>
                  </a:cubicBezTo>
                  <a:moveTo>
                    <a:pt x="631" y="462"/>
                  </a:moveTo>
                  <a:cubicBezTo>
                    <a:pt x="630" y="462"/>
                    <a:pt x="629" y="463"/>
                    <a:pt x="629" y="463"/>
                  </a:cubicBezTo>
                  <a:cubicBezTo>
                    <a:pt x="629" y="463"/>
                    <a:pt x="630" y="463"/>
                    <a:pt x="630" y="463"/>
                  </a:cubicBezTo>
                  <a:cubicBezTo>
                    <a:pt x="631" y="463"/>
                    <a:pt x="631" y="463"/>
                    <a:pt x="632" y="462"/>
                  </a:cubicBezTo>
                  <a:cubicBezTo>
                    <a:pt x="632" y="462"/>
                    <a:pt x="631" y="462"/>
                    <a:pt x="631" y="462"/>
                  </a:cubicBezTo>
                  <a:moveTo>
                    <a:pt x="627" y="464"/>
                  </a:moveTo>
                  <a:cubicBezTo>
                    <a:pt x="627" y="464"/>
                    <a:pt x="627" y="464"/>
                    <a:pt x="627" y="464"/>
                  </a:cubicBezTo>
                  <a:cubicBezTo>
                    <a:pt x="627" y="464"/>
                    <a:pt x="627" y="464"/>
                    <a:pt x="627" y="464"/>
                  </a:cubicBezTo>
                  <a:cubicBezTo>
                    <a:pt x="626" y="464"/>
                    <a:pt x="626" y="464"/>
                    <a:pt x="625" y="465"/>
                  </a:cubicBezTo>
                  <a:cubicBezTo>
                    <a:pt x="625" y="465"/>
                    <a:pt x="626" y="465"/>
                    <a:pt x="627" y="465"/>
                  </a:cubicBezTo>
                  <a:cubicBezTo>
                    <a:pt x="627" y="465"/>
                    <a:pt x="627" y="465"/>
                    <a:pt x="627" y="465"/>
                  </a:cubicBezTo>
                  <a:cubicBezTo>
                    <a:pt x="627" y="465"/>
                    <a:pt x="627" y="465"/>
                    <a:pt x="628" y="464"/>
                  </a:cubicBezTo>
                  <a:cubicBezTo>
                    <a:pt x="628" y="464"/>
                    <a:pt x="628" y="465"/>
                    <a:pt x="628" y="465"/>
                  </a:cubicBezTo>
                  <a:cubicBezTo>
                    <a:pt x="628" y="464"/>
                    <a:pt x="628" y="464"/>
                    <a:pt x="629" y="464"/>
                  </a:cubicBezTo>
                  <a:cubicBezTo>
                    <a:pt x="628" y="464"/>
                    <a:pt x="628" y="464"/>
                    <a:pt x="628" y="464"/>
                  </a:cubicBezTo>
                  <a:cubicBezTo>
                    <a:pt x="629" y="464"/>
                    <a:pt x="629" y="464"/>
                    <a:pt x="629" y="464"/>
                  </a:cubicBezTo>
                  <a:cubicBezTo>
                    <a:pt x="628" y="464"/>
                    <a:pt x="628" y="464"/>
                    <a:pt x="627" y="464"/>
                  </a:cubicBezTo>
                  <a:moveTo>
                    <a:pt x="629" y="465"/>
                  </a:moveTo>
                  <a:cubicBezTo>
                    <a:pt x="629" y="465"/>
                    <a:pt x="629" y="465"/>
                    <a:pt x="629" y="465"/>
                  </a:cubicBezTo>
                  <a:cubicBezTo>
                    <a:pt x="629" y="465"/>
                    <a:pt x="629" y="465"/>
                    <a:pt x="629" y="465"/>
                  </a:cubicBezTo>
                  <a:cubicBezTo>
                    <a:pt x="629" y="465"/>
                    <a:pt x="629" y="465"/>
                    <a:pt x="629" y="465"/>
                  </a:cubicBezTo>
                  <a:moveTo>
                    <a:pt x="623" y="466"/>
                  </a:moveTo>
                  <a:cubicBezTo>
                    <a:pt x="623" y="466"/>
                    <a:pt x="623" y="466"/>
                    <a:pt x="623" y="466"/>
                  </a:cubicBezTo>
                  <a:cubicBezTo>
                    <a:pt x="623" y="466"/>
                    <a:pt x="622" y="466"/>
                    <a:pt x="622" y="466"/>
                  </a:cubicBezTo>
                  <a:cubicBezTo>
                    <a:pt x="622" y="466"/>
                    <a:pt x="621" y="467"/>
                    <a:pt x="621" y="467"/>
                  </a:cubicBezTo>
                  <a:cubicBezTo>
                    <a:pt x="619" y="468"/>
                    <a:pt x="618" y="468"/>
                    <a:pt x="616" y="469"/>
                  </a:cubicBezTo>
                  <a:cubicBezTo>
                    <a:pt x="616" y="469"/>
                    <a:pt x="615" y="469"/>
                    <a:pt x="615" y="470"/>
                  </a:cubicBezTo>
                  <a:cubicBezTo>
                    <a:pt x="614" y="470"/>
                    <a:pt x="612" y="471"/>
                    <a:pt x="611" y="472"/>
                  </a:cubicBezTo>
                  <a:cubicBezTo>
                    <a:pt x="611" y="472"/>
                    <a:pt x="611" y="472"/>
                    <a:pt x="611" y="472"/>
                  </a:cubicBezTo>
                  <a:cubicBezTo>
                    <a:pt x="615" y="470"/>
                    <a:pt x="620" y="468"/>
                    <a:pt x="624" y="466"/>
                  </a:cubicBezTo>
                  <a:cubicBezTo>
                    <a:pt x="624" y="466"/>
                    <a:pt x="624" y="466"/>
                    <a:pt x="624" y="466"/>
                  </a:cubicBezTo>
                  <a:cubicBezTo>
                    <a:pt x="625" y="466"/>
                    <a:pt x="625" y="466"/>
                    <a:pt x="625" y="466"/>
                  </a:cubicBezTo>
                  <a:cubicBezTo>
                    <a:pt x="624" y="466"/>
                    <a:pt x="624" y="466"/>
                    <a:pt x="623" y="466"/>
                  </a:cubicBezTo>
                  <a:moveTo>
                    <a:pt x="629" y="466"/>
                  </a:moveTo>
                  <a:cubicBezTo>
                    <a:pt x="631" y="469"/>
                    <a:pt x="632" y="472"/>
                    <a:pt x="632" y="474"/>
                  </a:cubicBezTo>
                  <a:cubicBezTo>
                    <a:pt x="632" y="474"/>
                    <a:pt x="632" y="474"/>
                    <a:pt x="633" y="474"/>
                  </a:cubicBezTo>
                  <a:cubicBezTo>
                    <a:pt x="632" y="472"/>
                    <a:pt x="631" y="469"/>
                    <a:pt x="630" y="466"/>
                  </a:cubicBezTo>
                  <a:cubicBezTo>
                    <a:pt x="629" y="466"/>
                    <a:pt x="629" y="466"/>
                    <a:pt x="629" y="466"/>
                  </a:cubicBezTo>
                  <a:moveTo>
                    <a:pt x="609" y="473"/>
                  </a:moveTo>
                  <a:cubicBezTo>
                    <a:pt x="609" y="473"/>
                    <a:pt x="608" y="473"/>
                    <a:pt x="607" y="474"/>
                  </a:cubicBezTo>
                  <a:cubicBezTo>
                    <a:pt x="607" y="474"/>
                    <a:pt x="607" y="474"/>
                    <a:pt x="608" y="474"/>
                  </a:cubicBezTo>
                  <a:cubicBezTo>
                    <a:pt x="608" y="473"/>
                    <a:pt x="609" y="473"/>
                    <a:pt x="610" y="473"/>
                  </a:cubicBezTo>
                  <a:cubicBezTo>
                    <a:pt x="610" y="473"/>
                    <a:pt x="610" y="473"/>
                    <a:pt x="609" y="473"/>
                  </a:cubicBezTo>
                  <a:moveTo>
                    <a:pt x="606" y="475"/>
                  </a:moveTo>
                  <a:cubicBezTo>
                    <a:pt x="605" y="475"/>
                    <a:pt x="604" y="475"/>
                    <a:pt x="603" y="476"/>
                  </a:cubicBezTo>
                  <a:cubicBezTo>
                    <a:pt x="604" y="475"/>
                    <a:pt x="605" y="475"/>
                    <a:pt x="606" y="475"/>
                  </a:cubicBezTo>
                  <a:cubicBezTo>
                    <a:pt x="606" y="475"/>
                    <a:pt x="606" y="475"/>
                    <a:pt x="606" y="475"/>
                  </a:cubicBezTo>
                  <a:moveTo>
                    <a:pt x="633" y="475"/>
                  </a:moveTo>
                  <a:cubicBezTo>
                    <a:pt x="633" y="475"/>
                    <a:pt x="633" y="475"/>
                    <a:pt x="633" y="475"/>
                  </a:cubicBezTo>
                  <a:cubicBezTo>
                    <a:pt x="633" y="475"/>
                    <a:pt x="633" y="475"/>
                    <a:pt x="633" y="475"/>
                  </a:cubicBezTo>
                  <a:cubicBezTo>
                    <a:pt x="633" y="475"/>
                    <a:pt x="633" y="475"/>
                    <a:pt x="633" y="475"/>
                  </a:cubicBezTo>
                  <a:moveTo>
                    <a:pt x="632" y="476"/>
                  </a:moveTo>
                  <a:cubicBezTo>
                    <a:pt x="632" y="476"/>
                    <a:pt x="632" y="476"/>
                    <a:pt x="632" y="476"/>
                  </a:cubicBezTo>
                  <a:cubicBezTo>
                    <a:pt x="632" y="476"/>
                    <a:pt x="632" y="476"/>
                    <a:pt x="633" y="476"/>
                  </a:cubicBezTo>
                  <a:cubicBezTo>
                    <a:pt x="632" y="476"/>
                    <a:pt x="632" y="476"/>
                    <a:pt x="632" y="476"/>
                  </a:cubicBezTo>
                  <a:moveTo>
                    <a:pt x="604" y="477"/>
                  </a:moveTo>
                  <a:cubicBezTo>
                    <a:pt x="601" y="478"/>
                    <a:pt x="598" y="479"/>
                    <a:pt x="595" y="481"/>
                  </a:cubicBezTo>
                  <a:cubicBezTo>
                    <a:pt x="595" y="481"/>
                    <a:pt x="595" y="481"/>
                    <a:pt x="596" y="481"/>
                  </a:cubicBezTo>
                  <a:cubicBezTo>
                    <a:pt x="598" y="480"/>
                    <a:pt x="601" y="478"/>
                    <a:pt x="604" y="477"/>
                  </a:cubicBezTo>
                  <a:moveTo>
                    <a:pt x="633" y="477"/>
                  </a:moveTo>
                  <a:cubicBezTo>
                    <a:pt x="633" y="477"/>
                    <a:pt x="632" y="478"/>
                    <a:pt x="632" y="478"/>
                  </a:cubicBezTo>
                  <a:cubicBezTo>
                    <a:pt x="632" y="478"/>
                    <a:pt x="632" y="478"/>
                    <a:pt x="632" y="478"/>
                  </a:cubicBezTo>
                  <a:cubicBezTo>
                    <a:pt x="632" y="479"/>
                    <a:pt x="632" y="479"/>
                    <a:pt x="631" y="479"/>
                  </a:cubicBezTo>
                  <a:cubicBezTo>
                    <a:pt x="631" y="480"/>
                    <a:pt x="631" y="481"/>
                    <a:pt x="631" y="481"/>
                  </a:cubicBezTo>
                  <a:cubicBezTo>
                    <a:pt x="631" y="481"/>
                    <a:pt x="631" y="482"/>
                    <a:pt x="631" y="482"/>
                  </a:cubicBezTo>
                  <a:cubicBezTo>
                    <a:pt x="632" y="481"/>
                    <a:pt x="632" y="481"/>
                    <a:pt x="632" y="480"/>
                  </a:cubicBezTo>
                  <a:cubicBezTo>
                    <a:pt x="632" y="480"/>
                    <a:pt x="632" y="480"/>
                    <a:pt x="632" y="479"/>
                  </a:cubicBezTo>
                  <a:cubicBezTo>
                    <a:pt x="633" y="479"/>
                    <a:pt x="633" y="478"/>
                    <a:pt x="633" y="477"/>
                  </a:cubicBezTo>
                  <a:moveTo>
                    <a:pt x="593" y="482"/>
                  </a:moveTo>
                  <a:cubicBezTo>
                    <a:pt x="591" y="483"/>
                    <a:pt x="589" y="484"/>
                    <a:pt x="587" y="485"/>
                  </a:cubicBezTo>
                  <a:cubicBezTo>
                    <a:pt x="587" y="485"/>
                    <a:pt x="587" y="485"/>
                    <a:pt x="587" y="485"/>
                  </a:cubicBezTo>
                  <a:cubicBezTo>
                    <a:pt x="588" y="485"/>
                    <a:pt x="588" y="485"/>
                    <a:pt x="589" y="485"/>
                  </a:cubicBezTo>
                  <a:cubicBezTo>
                    <a:pt x="591" y="484"/>
                    <a:pt x="592" y="483"/>
                    <a:pt x="594" y="482"/>
                  </a:cubicBezTo>
                  <a:cubicBezTo>
                    <a:pt x="594" y="482"/>
                    <a:pt x="594" y="482"/>
                    <a:pt x="593" y="482"/>
                  </a:cubicBezTo>
                  <a:moveTo>
                    <a:pt x="630" y="482"/>
                  </a:moveTo>
                  <a:cubicBezTo>
                    <a:pt x="630" y="483"/>
                    <a:pt x="629" y="484"/>
                    <a:pt x="628" y="484"/>
                  </a:cubicBezTo>
                  <a:cubicBezTo>
                    <a:pt x="629" y="484"/>
                    <a:pt x="629" y="484"/>
                    <a:pt x="630" y="484"/>
                  </a:cubicBezTo>
                  <a:cubicBezTo>
                    <a:pt x="630" y="484"/>
                    <a:pt x="631" y="483"/>
                    <a:pt x="631" y="483"/>
                  </a:cubicBezTo>
                  <a:cubicBezTo>
                    <a:pt x="631" y="482"/>
                    <a:pt x="630" y="482"/>
                    <a:pt x="630" y="482"/>
                  </a:cubicBezTo>
                  <a:moveTo>
                    <a:pt x="628" y="485"/>
                  </a:moveTo>
                  <a:cubicBezTo>
                    <a:pt x="628" y="485"/>
                    <a:pt x="627" y="485"/>
                    <a:pt x="627" y="485"/>
                  </a:cubicBezTo>
                  <a:cubicBezTo>
                    <a:pt x="627" y="486"/>
                    <a:pt x="627" y="486"/>
                    <a:pt x="626" y="486"/>
                  </a:cubicBezTo>
                  <a:cubicBezTo>
                    <a:pt x="627" y="486"/>
                    <a:pt x="627" y="485"/>
                    <a:pt x="628" y="485"/>
                  </a:cubicBezTo>
                  <a:moveTo>
                    <a:pt x="586" y="485"/>
                  </a:moveTo>
                  <a:cubicBezTo>
                    <a:pt x="581" y="488"/>
                    <a:pt x="577" y="490"/>
                    <a:pt x="574" y="492"/>
                  </a:cubicBezTo>
                  <a:cubicBezTo>
                    <a:pt x="574" y="493"/>
                    <a:pt x="574" y="493"/>
                    <a:pt x="574" y="493"/>
                  </a:cubicBezTo>
                  <a:cubicBezTo>
                    <a:pt x="575" y="493"/>
                    <a:pt x="575" y="493"/>
                    <a:pt x="576" y="493"/>
                  </a:cubicBezTo>
                  <a:cubicBezTo>
                    <a:pt x="579" y="490"/>
                    <a:pt x="583" y="488"/>
                    <a:pt x="588" y="486"/>
                  </a:cubicBezTo>
                  <a:cubicBezTo>
                    <a:pt x="587" y="486"/>
                    <a:pt x="586" y="485"/>
                    <a:pt x="586" y="485"/>
                  </a:cubicBezTo>
                  <a:moveTo>
                    <a:pt x="520" y="487"/>
                  </a:moveTo>
                  <a:cubicBezTo>
                    <a:pt x="520" y="488"/>
                    <a:pt x="520" y="488"/>
                    <a:pt x="521" y="488"/>
                  </a:cubicBezTo>
                  <a:cubicBezTo>
                    <a:pt x="522" y="489"/>
                    <a:pt x="523" y="489"/>
                    <a:pt x="525" y="489"/>
                  </a:cubicBezTo>
                  <a:cubicBezTo>
                    <a:pt x="525" y="489"/>
                    <a:pt x="525" y="489"/>
                    <a:pt x="525" y="488"/>
                  </a:cubicBezTo>
                  <a:cubicBezTo>
                    <a:pt x="523" y="488"/>
                    <a:pt x="522" y="488"/>
                    <a:pt x="520" y="487"/>
                  </a:cubicBezTo>
                  <a:moveTo>
                    <a:pt x="625" y="488"/>
                  </a:moveTo>
                  <a:cubicBezTo>
                    <a:pt x="621" y="490"/>
                    <a:pt x="616" y="492"/>
                    <a:pt x="612" y="494"/>
                  </a:cubicBezTo>
                  <a:cubicBezTo>
                    <a:pt x="612" y="494"/>
                    <a:pt x="612" y="494"/>
                    <a:pt x="613" y="494"/>
                  </a:cubicBezTo>
                  <a:cubicBezTo>
                    <a:pt x="613" y="493"/>
                    <a:pt x="613" y="493"/>
                    <a:pt x="614" y="493"/>
                  </a:cubicBezTo>
                  <a:cubicBezTo>
                    <a:pt x="615" y="493"/>
                    <a:pt x="616" y="493"/>
                    <a:pt x="616" y="492"/>
                  </a:cubicBezTo>
                  <a:cubicBezTo>
                    <a:pt x="618" y="492"/>
                    <a:pt x="620" y="491"/>
                    <a:pt x="621" y="490"/>
                  </a:cubicBezTo>
                  <a:cubicBezTo>
                    <a:pt x="621" y="490"/>
                    <a:pt x="622" y="490"/>
                    <a:pt x="622" y="490"/>
                  </a:cubicBezTo>
                  <a:cubicBezTo>
                    <a:pt x="623" y="489"/>
                    <a:pt x="625" y="488"/>
                    <a:pt x="626" y="488"/>
                  </a:cubicBezTo>
                  <a:cubicBezTo>
                    <a:pt x="626" y="488"/>
                    <a:pt x="625" y="488"/>
                    <a:pt x="625" y="488"/>
                  </a:cubicBezTo>
                  <a:moveTo>
                    <a:pt x="526" y="489"/>
                  </a:moveTo>
                  <a:cubicBezTo>
                    <a:pt x="526" y="489"/>
                    <a:pt x="526" y="489"/>
                    <a:pt x="526" y="490"/>
                  </a:cubicBezTo>
                  <a:cubicBezTo>
                    <a:pt x="526" y="490"/>
                    <a:pt x="526" y="490"/>
                    <a:pt x="526" y="490"/>
                  </a:cubicBezTo>
                  <a:cubicBezTo>
                    <a:pt x="527" y="490"/>
                    <a:pt x="527" y="489"/>
                    <a:pt x="527" y="489"/>
                  </a:cubicBezTo>
                  <a:cubicBezTo>
                    <a:pt x="527" y="489"/>
                    <a:pt x="527" y="489"/>
                    <a:pt x="527" y="489"/>
                  </a:cubicBezTo>
                  <a:cubicBezTo>
                    <a:pt x="527" y="489"/>
                    <a:pt x="526" y="489"/>
                    <a:pt x="526" y="489"/>
                  </a:cubicBezTo>
                  <a:moveTo>
                    <a:pt x="530" y="490"/>
                  </a:moveTo>
                  <a:cubicBezTo>
                    <a:pt x="531" y="490"/>
                    <a:pt x="532" y="491"/>
                    <a:pt x="533" y="491"/>
                  </a:cubicBezTo>
                  <a:cubicBezTo>
                    <a:pt x="534" y="491"/>
                    <a:pt x="535" y="492"/>
                    <a:pt x="536" y="492"/>
                  </a:cubicBezTo>
                  <a:cubicBezTo>
                    <a:pt x="536" y="491"/>
                    <a:pt x="536" y="491"/>
                    <a:pt x="535" y="491"/>
                  </a:cubicBezTo>
                  <a:cubicBezTo>
                    <a:pt x="533" y="490"/>
                    <a:pt x="531" y="490"/>
                    <a:pt x="530" y="490"/>
                  </a:cubicBezTo>
                  <a:moveTo>
                    <a:pt x="528" y="490"/>
                  </a:moveTo>
                  <a:cubicBezTo>
                    <a:pt x="528" y="490"/>
                    <a:pt x="528" y="490"/>
                    <a:pt x="528" y="490"/>
                  </a:cubicBezTo>
                  <a:cubicBezTo>
                    <a:pt x="528" y="490"/>
                    <a:pt x="529" y="490"/>
                    <a:pt x="529" y="490"/>
                  </a:cubicBezTo>
                  <a:cubicBezTo>
                    <a:pt x="529" y="490"/>
                    <a:pt x="529" y="490"/>
                    <a:pt x="528" y="490"/>
                  </a:cubicBezTo>
                  <a:moveTo>
                    <a:pt x="537" y="491"/>
                  </a:moveTo>
                  <a:cubicBezTo>
                    <a:pt x="538" y="492"/>
                    <a:pt x="538" y="492"/>
                    <a:pt x="538" y="492"/>
                  </a:cubicBezTo>
                  <a:cubicBezTo>
                    <a:pt x="539" y="492"/>
                    <a:pt x="540" y="492"/>
                    <a:pt x="541" y="492"/>
                  </a:cubicBezTo>
                  <a:cubicBezTo>
                    <a:pt x="541" y="492"/>
                    <a:pt x="541" y="492"/>
                    <a:pt x="541" y="492"/>
                  </a:cubicBezTo>
                  <a:cubicBezTo>
                    <a:pt x="540" y="492"/>
                    <a:pt x="539" y="492"/>
                    <a:pt x="537" y="491"/>
                  </a:cubicBezTo>
                  <a:moveTo>
                    <a:pt x="542" y="492"/>
                  </a:moveTo>
                  <a:cubicBezTo>
                    <a:pt x="542" y="492"/>
                    <a:pt x="542" y="493"/>
                    <a:pt x="542" y="493"/>
                  </a:cubicBezTo>
                  <a:cubicBezTo>
                    <a:pt x="542" y="493"/>
                    <a:pt x="543" y="493"/>
                    <a:pt x="543" y="493"/>
                  </a:cubicBezTo>
                  <a:cubicBezTo>
                    <a:pt x="543" y="493"/>
                    <a:pt x="542" y="493"/>
                    <a:pt x="542" y="492"/>
                  </a:cubicBezTo>
                  <a:moveTo>
                    <a:pt x="611" y="493"/>
                  </a:moveTo>
                  <a:cubicBezTo>
                    <a:pt x="611" y="493"/>
                    <a:pt x="611" y="493"/>
                    <a:pt x="611" y="493"/>
                  </a:cubicBezTo>
                  <a:cubicBezTo>
                    <a:pt x="610" y="493"/>
                    <a:pt x="609" y="494"/>
                    <a:pt x="608" y="494"/>
                  </a:cubicBezTo>
                  <a:cubicBezTo>
                    <a:pt x="601" y="497"/>
                    <a:pt x="595" y="499"/>
                    <a:pt x="589" y="500"/>
                  </a:cubicBezTo>
                  <a:cubicBezTo>
                    <a:pt x="589" y="501"/>
                    <a:pt x="590" y="501"/>
                    <a:pt x="590" y="501"/>
                  </a:cubicBezTo>
                  <a:cubicBezTo>
                    <a:pt x="594" y="500"/>
                    <a:pt x="599" y="498"/>
                    <a:pt x="603" y="497"/>
                  </a:cubicBezTo>
                  <a:cubicBezTo>
                    <a:pt x="606" y="495"/>
                    <a:pt x="609" y="494"/>
                    <a:pt x="611" y="493"/>
                  </a:cubicBezTo>
                  <a:moveTo>
                    <a:pt x="574" y="494"/>
                  </a:moveTo>
                  <a:cubicBezTo>
                    <a:pt x="573" y="494"/>
                    <a:pt x="572" y="494"/>
                    <a:pt x="572" y="494"/>
                  </a:cubicBezTo>
                  <a:cubicBezTo>
                    <a:pt x="570" y="495"/>
                    <a:pt x="568" y="497"/>
                    <a:pt x="566" y="498"/>
                  </a:cubicBezTo>
                  <a:cubicBezTo>
                    <a:pt x="565" y="497"/>
                    <a:pt x="564" y="497"/>
                    <a:pt x="563" y="497"/>
                  </a:cubicBezTo>
                  <a:cubicBezTo>
                    <a:pt x="563" y="497"/>
                    <a:pt x="562" y="498"/>
                    <a:pt x="562" y="498"/>
                  </a:cubicBezTo>
                  <a:cubicBezTo>
                    <a:pt x="563" y="498"/>
                    <a:pt x="564" y="498"/>
                    <a:pt x="565" y="499"/>
                  </a:cubicBezTo>
                  <a:cubicBezTo>
                    <a:pt x="561" y="502"/>
                    <a:pt x="559" y="504"/>
                    <a:pt x="559" y="506"/>
                  </a:cubicBezTo>
                  <a:cubicBezTo>
                    <a:pt x="559" y="506"/>
                    <a:pt x="559" y="506"/>
                    <a:pt x="559" y="506"/>
                  </a:cubicBezTo>
                  <a:cubicBezTo>
                    <a:pt x="560" y="506"/>
                    <a:pt x="561" y="507"/>
                    <a:pt x="562" y="508"/>
                  </a:cubicBezTo>
                  <a:cubicBezTo>
                    <a:pt x="562" y="508"/>
                    <a:pt x="562" y="508"/>
                    <a:pt x="562" y="508"/>
                  </a:cubicBezTo>
                  <a:cubicBezTo>
                    <a:pt x="562" y="508"/>
                    <a:pt x="563" y="508"/>
                    <a:pt x="563" y="508"/>
                  </a:cubicBezTo>
                  <a:cubicBezTo>
                    <a:pt x="564" y="507"/>
                    <a:pt x="564" y="507"/>
                    <a:pt x="565" y="506"/>
                  </a:cubicBezTo>
                  <a:cubicBezTo>
                    <a:pt x="564" y="506"/>
                    <a:pt x="563" y="507"/>
                    <a:pt x="562" y="507"/>
                  </a:cubicBezTo>
                  <a:cubicBezTo>
                    <a:pt x="560" y="507"/>
                    <a:pt x="560" y="506"/>
                    <a:pt x="560" y="506"/>
                  </a:cubicBezTo>
                  <a:cubicBezTo>
                    <a:pt x="559" y="504"/>
                    <a:pt x="562" y="502"/>
                    <a:pt x="566" y="499"/>
                  </a:cubicBezTo>
                  <a:cubicBezTo>
                    <a:pt x="570" y="499"/>
                    <a:pt x="573" y="500"/>
                    <a:pt x="576" y="501"/>
                  </a:cubicBezTo>
                  <a:cubicBezTo>
                    <a:pt x="577" y="501"/>
                    <a:pt x="577" y="500"/>
                    <a:pt x="578" y="500"/>
                  </a:cubicBezTo>
                  <a:cubicBezTo>
                    <a:pt x="574" y="499"/>
                    <a:pt x="571" y="499"/>
                    <a:pt x="567" y="498"/>
                  </a:cubicBezTo>
                  <a:cubicBezTo>
                    <a:pt x="569" y="497"/>
                    <a:pt x="571" y="495"/>
                    <a:pt x="574" y="494"/>
                  </a:cubicBezTo>
                  <a:cubicBezTo>
                    <a:pt x="574" y="494"/>
                    <a:pt x="574" y="494"/>
                    <a:pt x="574" y="494"/>
                  </a:cubicBezTo>
                  <a:moveTo>
                    <a:pt x="543" y="494"/>
                  </a:moveTo>
                  <a:cubicBezTo>
                    <a:pt x="543" y="494"/>
                    <a:pt x="543" y="494"/>
                    <a:pt x="543" y="494"/>
                  </a:cubicBezTo>
                  <a:cubicBezTo>
                    <a:pt x="543" y="494"/>
                    <a:pt x="543" y="494"/>
                    <a:pt x="543" y="494"/>
                  </a:cubicBezTo>
                  <a:cubicBezTo>
                    <a:pt x="543" y="494"/>
                    <a:pt x="543" y="494"/>
                    <a:pt x="543" y="494"/>
                  </a:cubicBezTo>
                  <a:moveTo>
                    <a:pt x="545" y="494"/>
                  </a:moveTo>
                  <a:cubicBezTo>
                    <a:pt x="545" y="494"/>
                    <a:pt x="545" y="494"/>
                    <a:pt x="545" y="494"/>
                  </a:cubicBezTo>
                  <a:cubicBezTo>
                    <a:pt x="550" y="495"/>
                    <a:pt x="555" y="496"/>
                    <a:pt x="559" y="497"/>
                  </a:cubicBezTo>
                  <a:cubicBezTo>
                    <a:pt x="560" y="497"/>
                    <a:pt x="560" y="497"/>
                    <a:pt x="561" y="497"/>
                  </a:cubicBezTo>
                  <a:cubicBezTo>
                    <a:pt x="557" y="496"/>
                    <a:pt x="553" y="495"/>
                    <a:pt x="549" y="494"/>
                  </a:cubicBezTo>
                  <a:cubicBezTo>
                    <a:pt x="548" y="494"/>
                    <a:pt x="547" y="494"/>
                    <a:pt x="545" y="494"/>
                  </a:cubicBezTo>
                  <a:moveTo>
                    <a:pt x="561" y="498"/>
                  </a:moveTo>
                  <a:cubicBezTo>
                    <a:pt x="561" y="498"/>
                    <a:pt x="561" y="498"/>
                    <a:pt x="561" y="498"/>
                  </a:cubicBezTo>
                  <a:cubicBezTo>
                    <a:pt x="561" y="498"/>
                    <a:pt x="561" y="498"/>
                    <a:pt x="561" y="498"/>
                  </a:cubicBezTo>
                  <a:cubicBezTo>
                    <a:pt x="561" y="498"/>
                    <a:pt x="561" y="498"/>
                    <a:pt x="561" y="498"/>
                  </a:cubicBezTo>
                  <a:moveTo>
                    <a:pt x="1096" y="500"/>
                  </a:moveTo>
                  <a:cubicBezTo>
                    <a:pt x="1084" y="507"/>
                    <a:pt x="1077" y="509"/>
                    <a:pt x="1072" y="510"/>
                  </a:cubicBezTo>
                  <a:cubicBezTo>
                    <a:pt x="1071" y="510"/>
                    <a:pt x="1071" y="510"/>
                    <a:pt x="1070" y="510"/>
                  </a:cubicBezTo>
                  <a:cubicBezTo>
                    <a:pt x="1069" y="511"/>
                    <a:pt x="1068" y="511"/>
                    <a:pt x="1067" y="511"/>
                  </a:cubicBezTo>
                  <a:cubicBezTo>
                    <a:pt x="1061" y="511"/>
                    <a:pt x="1056" y="508"/>
                    <a:pt x="1046" y="508"/>
                  </a:cubicBezTo>
                  <a:cubicBezTo>
                    <a:pt x="1042" y="508"/>
                    <a:pt x="1036" y="509"/>
                    <a:pt x="1030" y="510"/>
                  </a:cubicBezTo>
                  <a:cubicBezTo>
                    <a:pt x="1030" y="510"/>
                    <a:pt x="1031" y="509"/>
                    <a:pt x="1031" y="509"/>
                  </a:cubicBezTo>
                  <a:cubicBezTo>
                    <a:pt x="1030" y="508"/>
                    <a:pt x="1030" y="508"/>
                    <a:pt x="1029" y="508"/>
                  </a:cubicBezTo>
                  <a:cubicBezTo>
                    <a:pt x="1028" y="508"/>
                    <a:pt x="1025" y="509"/>
                    <a:pt x="1021" y="509"/>
                  </a:cubicBezTo>
                  <a:cubicBezTo>
                    <a:pt x="1020" y="509"/>
                    <a:pt x="1020" y="510"/>
                    <a:pt x="1020" y="510"/>
                  </a:cubicBezTo>
                  <a:cubicBezTo>
                    <a:pt x="1018" y="510"/>
                    <a:pt x="1016" y="510"/>
                    <a:pt x="1014" y="511"/>
                  </a:cubicBezTo>
                  <a:cubicBezTo>
                    <a:pt x="1014" y="511"/>
                    <a:pt x="1014" y="511"/>
                    <a:pt x="1014" y="511"/>
                  </a:cubicBezTo>
                  <a:cubicBezTo>
                    <a:pt x="1016" y="511"/>
                    <a:pt x="1018" y="511"/>
                    <a:pt x="1020" y="510"/>
                  </a:cubicBezTo>
                  <a:cubicBezTo>
                    <a:pt x="1020" y="510"/>
                    <a:pt x="1021" y="510"/>
                    <a:pt x="1021" y="510"/>
                  </a:cubicBezTo>
                  <a:cubicBezTo>
                    <a:pt x="1025" y="510"/>
                    <a:pt x="1028" y="509"/>
                    <a:pt x="1029" y="509"/>
                  </a:cubicBezTo>
                  <a:cubicBezTo>
                    <a:pt x="1029" y="510"/>
                    <a:pt x="1028" y="510"/>
                    <a:pt x="1026" y="511"/>
                  </a:cubicBezTo>
                  <a:cubicBezTo>
                    <a:pt x="1026" y="512"/>
                    <a:pt x="1026" y="512"/>
                    <a:pt x="1026" y="512"/>
                  </a:cubicBezTo>
                  <a:cubicBezTo>
                    <a:pt x="1035" y="510"/>
                    <a:pt x="1041" y="509"/>
                    <a:pt x="1046" y="509"/>
                  </a:cubicBezTo>
                  <a:cubicBezTo>
                    <a:pt x="1056" y="509"/>
                    <a:pt x="1061" y="512"/>
                    <a:pt x="1067" y="512"/>
                  </a:cubicBezTo>
                  <a:cubicBezTo>
                    <a:pt x="1069" y="512"/>
                    <a:pt x="1070" y="511"/>
                    <a:pt x="1071" y="511"/>
                  </a:cubicBezTo>
                  <a:cubicBezTo>
                    <a:pt x="1072" y="511"/>
                    <a:pt x="1072" y="511"/>
                    <a:pt x="1072" y="511"/>
                  </a:cubicBezTo>
                  <a:cubicBezTo>
                    <a:pt x="1078" y="510"/>
                    <a:pt x="1085" y="507"/>
                    <a:pt x="1096" y="501"/>
                  </a:cubicBezTo>
                  <a:cubicBezTo>
                    <a:pt x="1096" y="501"/>
                    <a:pt x="1096" y="500"/>
                    <a:pt x="1096" y="500"/>
                  </a:cubicBezTo>
                  <a:moveTo>
                    <a:pt x="579" y="500"/>
                  </a:moveTo>
                  <a:cubicBezTo>
                    <a:pt x="579" y="501"/>
                    <a:pt x="578" y="501"/>
                    <a:pt x="578" y="501"/>
                  </a:cubicBezTo>
                  <a:cubicBezTo>
                    <a:pt x="580" y="501"/>
                    <a:pt x="581" y="502"/>
                    <a:pt x="583" y="502"/>
                  </a:cubicBezTo>
                  <a:cubicBezTo>
                    <a:pt x="577" y="504"/>
                    <a:pt x="572" y="505"/>
                    <a:pt x="568" y="506"/>
                  </a:cubicBezTo>
                  <a:cubicBezTo>
                    <a:pt x="567" y="506"/>
                    <a:pt x="566" y="507"/>
                    <a:pt x="565" y="507"/>
                  </a:cubicBezTo>
                  <a:cubicBezTo>
                    <a:pt x="569" y="507"/>
                    <a:pt x="575" y="506"/>
                    <a:pt x="583" y="503"/>
                  </a:cubicBezTo>
                  <a:cubicBezTo>
                    <a:pt x="584" y="503"/>
                    <a:pt x="584" y="502"/>
                    <a:pt x="585" y="501"/>
                  </a:cubicBezTo>
                  <a:cubicBezTo>
                    <a:pt x="585" y="502"/>
                    <a:pt x="585" y="502"/>
                    <a:pt x="585" y="502"/>
                  </a:cubicBezTo>
                  <a:cubicBezTo>
                    <a:pt x="583" y="501"/>
                    <a:pt x="581" y="501"/>
                    <a:pt x="579" y="500"/>
                  </a:cubicBezTo>
                  <a:moveTo>
                    <a:pt x="588" y="501"/>
                  </a:moveTo>
                  <a:cubicBezTo>
                    <a:pt x="587" y="502"/>
                    <a:pt x="586" y="502"/>
                    <a:pt x="585" y="503"/>
                  </a:cubicBezTo>
                  <a:cubicBezTo>
                    <a:pt x="587" y="503"/>
                    <a:pt x="588" y="503"/>
                    <a:pt x="590" y="503"/>
                  </a:cubicBezTo>
                  <a:cubicBezTo>
                    <a:pt x="590" y="503"/>
                    <a:pt x="591" y="503"/>
                    <a:pt x="591" y="503"/>
                  </a:cubicBezTo>
                  <a:cubicBezTo>
                    <a:pt x="590" y="502"/>
                    <a:pt x="589" y="502"/>
                    <a:pt x="587" y="502"/>
                  </a:cubicBezTo>
                  <a:cubicBezTo>
                    <a:pt x="588" y="502"/>
                    <a:pt x="588" y="502"/>
                    <a:pt x="589" y="501"/>
                  </a:cubicBezTo>
                  <a:cubicBezTo>
                    <a:pt x="589" y="501"/>
                    <a:pt x="588" y="501"/>
                    <a:pt x="588" y="501"/>
                  </a:cubicBezTo>
                  <a:moveTo>
                    <a:pt x="592" y="503"/>
                  </a:moveTo>
                  <a:cubicBezTo>
                    <a:pt x="592" y="503"/>
                    <a:pt x="592" y="504"/>
                    <a:pt x="591" y="504"/>
                  </a:cubicBezTo>
                  <a:cubicBezTo>
                    <a:pt x="592" y="504"/>
                    <a:pt x="594" y="504"/>
                    <a:pt x="595" y="504"/>
                  </a:cubicBezTo>
                  <a:cubicBezTo>
                    <a:pt x="594" y="504"/>
                    <a:pt x="593" y="504"/>
                    <a:pt x="592" y="503"/>
                  </a:cubicBezTo>
                  <a:moveTo>
                    <a:pt x="595" y="503"/>
                  </a:moveTo>
                  <a:cubicBezTo>
                    <a:pt x="596" y="504"/>
                    <a:pt x="598" y="505"/>
                    <a:pt x="599" y="505"/>
                  </a:cubicBezTo>
                  <a:cubicBezTo>
                    <a:pt x="599" y="505"/>
                    <a:pt x="600" y="505"/>
                    <a:pt x="601" y="506"/>
                  </a:cubicBezTo>
                  <a:cubicBezTo>
                    <a:pt x="601" y="505"/>
                    <a:pt x="602" y="505"/>
                    <a:pt x="602" y="505"/>
                  </a:cubicBezTo>
                  <a:cubicBezTo>
                    <a:pt x="601" y="505"/>
                    <a:pt x="600" y="504"/>
                    <a:pt x="599" y="504"/>
                  </a:cubicBezTo>
                  <a:cubicBezTo>
                    <a:pt x="598" y="504"/>
                    <a:pt x="598" y="504"/>
                    <a:pt x="597" y="504"/>
                  </a:cubicBezTo>
                  <a:cubicBezTo>
                    <a:pt x="597" y="504"/>
                    <a:pt x="596" y="504"/>
                    <a:pt x="595" y="503"/>
                  </a:cubicBezTo>
                  <a:moveTo>
                    <a:pt x="604" y="505"/>
                  </a:moveTo>
                  <a:cubicBezTo>
                    <a:pt x="604" y="505"/>
                    <a:pt x="603" y="506"/>
                    <a:pt x="603" y="506"/>
                  </a:cubicBezTo>
                  <a:cubicBezTo>
                    <a:pt x="603" y="506"/>
                    <a:pt x="604" y="506"/>
                    <a:pt x="604" y="506"/>
                  </a:cubicBezTo>
                  <a:cubicBezTo>
                    <a:pt x="605" y="506"/>
                    <a:pt x="605" y="506"/>
                    <a:pt x="606" y="506"/>
                  </a:cubicBezTo>
                  <a:cubicBezTo>
                    <a:pt x="607" y="507"/>
                    <a:pt x="608" y="507"/>
                    <a:pt x="609" y="507"/>
                  </a:cubicBezTo>
                  <a:cubicBezTo>
                    <a:pt x="609" y="507"/>
                    <a:pt x="609" y="506"/>
                    <a:pt x="610" y="506"/>
                  </a:cubicBezTo>
                  <a:cubicBezTo>
                    <a:pt x="609" y="506"/>
                    <a:pt x="608" y="506"/>
                    <a:pt x="607" y="506"/>
                  </a:cubicBezTo>
                  <a:cubicBezTo>
                    <a:pt x="606" y="506"/>
                    <a:pt x="606" y="505"/>
                    <a:pt x="605" y="505"/>
                  </a:cubicBezTo>
                  <a:cubicBezTo>
                    <a:pt x="605" y="505"/>
                    <a:pt x="605" y="505"/>
                    <a:pt x="604" y="505"/>
                  </a:cubicBezTo>
                  <a:moveTo>
                    <a:pt x="611" y="506"/>
                  </a:moveTo>
                  <a:cubicBezTo>
                    <a:pt x="611" y="507"/>
                    <a:pt x="611" y="507"/>
                    <a:pt x="610" y="507"/>
                  </a:cubicBezTo>
                  <a:cubicBezTo>
                    <a:pt x="611" y="507"/>
                    <a:pt x="612" y="508"/>
                    <a:pt x="613" y="508"/>
                  </a:cubicBezTo>
                  <a:cubicBezTo>
                    <a:pt x="613" y="507"/>
                    <a:pt x="614" y="507"/>
                    <a:pt x="614" y="507"/>
                  </a:cubicBezTo>
                  <a:cubicBezTo>
                    <a:pt x="614" y="507"/>
                    <a:pt x="614" y="507"/>
                    <a:pt x="613" y="507"/>
                  </a:cubicBezTo>
                  <a:cubicBezTo>
                    <a:pt x="613" y="507"/>
                    <a:pt x="612" y="507"/>
                    <a:pt x="611" y="506"/>
                  </a:cubicBezTo>
                  <a:moveTo>
                    <a:pt x="616" y="507"/>
                  </a:moveTo>
                  <a:cubicBezTo>
                    <a:pt x="616" y="507"/>
                    <a:pt x="615" y="508"/>
                    <a:pt x="615" y="508"/>
                  </a:cubicBezTo>
                  <a:cubicBezTo>
                    <a:pt x="615" y="508"/>
                    <a:pt x="615" y="508"/>
                    <a:pt x="616" y="508"/>
                  </a:cubicBezTo>
                  <a:cubicBezTo>
                    <a:pt x="618" y="509"/>
                    <a:pt x="620" y="509"/>
                    <a:pt x="622" y="509"/>
                  </a:cubicBezTo>
                  <a:cubicBezTo>
                    <a:pt x="622" y="509"/>
                    <a:pt x="622" y="509"/>
                    <a:pt x="622" y="509"/>
                  </a:cubicBezTo>
                  <a:cubicBezTo>
                    <a:pt x="623" y="509"/>
                    <a:pt x="623" y="509"/>
                    <a:pt x="624" y="509"/>
                  </a:cubicBezTo>
                  <a:cubicBezTo>
                    <a:pt x="621" y="508"/>
                    <a:pt x="619" y="508"/>
                    <a:pt x="616" y="507"/>
                  </a:cubicBezTo>
                  <a:moveTo>
                    <a:pt x="626" y="509"/>
                  </a:moveTo>
                  <a:cubicBezTo>
                    <a:pt x="625" y="509"/>
                    <a:pt x="625" y="509"/>
                    <a:pt x="624" y="510"/>
                  </a:cubicBezTo>
                  <a:cubicBezTo>
                    <a:pt x="624" y="510"/>
                    <a:pt x="625" y="510"/>
                    <a:pt x="625" y="510"/>
                  </a:cubicBezTo>
                  <a:cubicBezTo>
                    <a:pt x="627" y="510"/>
                    <a:pt x="629" y="510"/>
                    <a:pt x="631" y="511"/>
                  </a:cubicBezTo>
                  <a:cubicBezTo>
                    <a:pt x="631" y="510"/>
                    <a:pt x="632" y="510"/>
                    <a:pt x="632" y="510"/>
                  </a:cubicBezTo>
                  <a:cubicBezTo>
                    <a:pt x="630" y="510"/>
                    <a:pt x="629" y="509"/>
                    <a:pt x="627" y="509"/>
                  </a:cubicBezTo>
                  <a:cubicBezTo>
                    <a:pt x="627" y="509"/>
                    <a:pt x="626" y="509"/>
                    <a:pt x="626" y="509"/>
                  </a:cubicBezTo>
                  <a:moveTo>
                    <a:pt x="634" y="510"/>
                  </a:moveTo>
                  <a:cubicBezTo>
                    <a:pt x="633" y="510"/>
                    <a:pt x="633" y="511"/>
                    <a:pt x="632" y="511"/>
                  </a:cubicBezTo>
                  <a:cubicBezTo>
                    <a:pt x="633" y="511"/>
                    <a:pt x="633" y="511"/>
                    <a:pt x="634" y="511"/>
                  </a:cubicBezTo>
                  <a:cubicBezTo>
                    <a:pt x="634" y="511"/>
                    <a:pt x="634" y="511"/>
                    <a:pt x="635" y="510"/>
                  </a:cubicBezTo>
                  <a:cubicBezTo>
                    <a:pt x="635" y="510"/>
                    <a:pt x="634" y="510"/>
                    <a:pt x="634" y="510"/>
                  </a:cubicBezTo>
                  <a:moveTo>
                    <a:pt x="637" y="511"/>
                  </a:moveTo>
                  <a:cubicBezTo>
                    <a:pt x="636" y="511"/>
                    <a:pt x="636" y="511"/>
                    <a:pt x="635" y="511"/>
                  </a:cubicBezTo>
                  <a:cubicBezTo>
                    <a:pt x="636" y="511"/>
                    <a:pt x="637" y="512"/>
                    <a:pt x="638" y="512"/>
                  </a:cubicBezTo>
                  <a:cubicBezTo>
                    <a:pt x="638" y="511"/>
                    <a:pt x="639" y="511"/>
                    <a:pt x="639" y="511"/>
                  </a:cubicBezTo>
                  <a:cubicBezTo>
                    <a:pt x="638" y="511"/>
                    <a:pt x="637" y="511"/>
                    <a:pt x="637" y="511"/>
                  </a:cubicBezTo>
                  <a:moveTo>
                    <a:pt x="1012" y="511"/>
                  </a:moveTo>
                  <a:cubicBezTo>
                    <a:pt x="1005" y="512"/>
                    <a:pt x="995" y="514"/>
                    <a:pt x="984" y="515"/>
                  </a:cubicBezTo>
                  <a:cubicBezTo>
                    <a:pt x="984" y="515"/>
                    <a:pt x="983" y="515"/>
                    <a:pt x="983" y="515"/>
                  </a:cubicBezTo>
                  <a:cubicBezTo>
                    <a:pt x="974" y="517"/>
                    <a:pt x="965" y="518"/>
                    <a:pt x="954" y="519"/>
                  </a:cubicBezTo>
                  <a:cubicBezTo>
                    <a:pt x="953" y="519"/>
                    <a:pt x="953" y="519"/>
                    <a:pt x="953" y="519"/>
                  </a:cubicBezTo>
                  <a:cubicBezTo>
                    <a:pt x="944" y="520"/>
                    <a:pt x="934" y="521"/>
                    <a:pt x="923" y="522"/>
                  </a:cubicBezTo>
                  <a:cubicBezTo>
                    <a:pt x="923" y="523"/>
                    <a:pt x="922" y="523"/>
                    <a:pt x="921" y="523"/>
                  </a:cubicBezTo>
                  <a:cubicBezTo>
                    <a:pt x="933" y="522"/>
                    <a:pt x="943" y="521"/>
                    <a:pt x="953" y="520"/>
                  </a:cubicBezTo>
                  <a:cubicBezTo>
                    <a:pt x="953" y="520"/>
                    <a:pt x="953" y="520"/>
                    <a:pt x="954" y="520"/>
                  </a:cubicBezTo>
                  <a:cubicBezTo>
                    <a:pt x="960" y="519"/>
                    <a:pt x="966" y="519"/>
                    <a:pt x="971" y="518"/>
                  </a:cubicBezTo>
                  <a:cubicBezTo>
                    <a:pt x="975" y="518"/>
                    <a:pt x="979" y="517"/>
                    <a:pt x="983" y="516"/>
                  </a:cubicBezTo>
                  <a:cubicBezTo>
                    <a:pt x="983" y="516"/>
                    <a:pt x="984" y="516"/>
                    <a:pt x="984" y="516"/>
                  </a:cubicBezTo>
                  <a:cubicBezTo>
                    <a:pt x="996" y="515"/>
                    <a:pt x="1006" y="513"/>
                    <a:pt x="1013" y="512"/>
                  </a:cubicBezTo>
                  <a:cubicBezTo>
                    <a:pt x="1013" y="511"/>
                    <a:pt x="1013" y="511"/>
                    <a:pt x="1012" y="511"/>
                  </a:cubicBezTo>
                  <a:moveTo>
                    <a:pt x="641" y="511"/>
                  </a:moveTo>
                  <a:cubicBezTo>
                    <a:pt x="640" y="511"/>
                    <a:pt x="640" y="512"/>
                    <a:pt x="639" y="512"/>
                  </a:cubicBezTo>
                  <a:cubicBezTo>
                    <a:pt x="671" y="517"/>
                    <a:pt x="701" y="520"/>
                    <a:pt x="729" y="523"/>
                  </a:cubicBezTo>
                  <a:cubicBezTo>
                    <a:pt x="728" y="522"/>
                    <a:pt x="727" y="522"/>
                    <a:pt x="726" y="521"/>
                  </a:cubicBezTo>
                  <a:cubicBezTo>
                    <a:pt x="699" y="519"/>
                    <a:pt x="671" y="516"/>
                    <a:pt x="641" y="511"/>
                  </a:cubicBezTo>
                  <a:moveTo>
                    <a:pt x="729" y="522"/>
                  </a:moveTo>
                  <a:cubicBezTo>
                    <a:pt x="730" y="522"/>
                    <a:pt x="731" y="523"/>
                    <a:pt x="733" y="523"/>
                  </a:cubicBezTo>
                  <a:cubicBezTo>
                    <a:pt x="733" y="523"/>
                    <a:pt x="734" y="523"/>
                    <a:pt x="734" y="523"/>
                  </a:cubicBezTo>
                  <a:cubicBezTo>
                    <a:pt x="735" y="523"/>
                    <a:pt x="736" y="523"/>
                    <a:pt x="736" y="523"/>
                  </a:cubicBezTo>
                  <a:cubicBezTo>
                    <a:pt x="747" y="524"/>
                    <a:pt x="758" y="525"/>
                    <a:pt x="768" y="525"/>
                  </a:cubicBezTo>
                  <a:cubicBezTo>
                    <a:pt x="768" y="525"/>
                    <a:pt x="769" y="525"/>
                    <a:pt x="769" y="525"/>
                  </a:cubicBezTo>
                  <a:cubicBezTo>
                    <a:pt x="776" y="526"/>
                    <a:pt x="782" y="526"/>
                    <a:pt x="789" y="526"/>
                  </a:cubicBezTo>
                  <a:cubicBezTo>
                    <a:pt x="788" y="526"/>
                    <a:pt x="787" y="525"/>
                    <a:pt x="786" y="525"/>
                  </a:cubicBezTo>
                  <a:cubicBezTo>
                    <a:pt x="780" y="525"/>
                    <a:pt x="775" y="525"/>
                    <a:pt x="769" y="524"/>
                  </a:cubicBezTo>
                  <a:cubicBezTo>
                    <a:pt x="769" y="524"/>
                    <a:pt x="768" y="524"/>
                    <a:pt x="768" y="524"/>
                  </a:cubicBezTo>
                  <a:cubicBezTo>
                    <a:pt x="757" y="524"/>
                    <a:pt x="746" y="523"/>
                    <a:pt x="735" y="522"/>
                  </a:cubicBezTo>
                  <a:cubicBezTo>
                    <a:pt x="734" y="522"/>
                    <a:pt x="733" y="522"/>
                    <a:pt x="733" y="522"/>
                  </a:cubicBezTo>
                  <a:cubicBezTo>
                    <a:pt x="732" y="522"/>
                    <a:pt x="730" y="522"/>
                    <a:pt x="729" y="522"/>
                  </a:cubicBezTo>
                  <a:moveTo>
                    <a:pt x="921" y="522"/>
                  </a:moveTo>
                  <a:cubicBezTo>
                    <a:pt x="908" y="523"/>
                    <a:pt x="893" y="524"/>
                    <a:pt x="878" y="525"/>
                  </a:cubicBezTo>
                  <a:cubicBezTo>
                    <a:pt x="880" y="525"/>
                    <a:pt x="883" y="525"/>
                    <a:pt x="885" y="526"/>
                  </a:cubicBezTo>
                  <a:cubicBezTo>
                    <a:pt x="897" y="525"/>
                    <a:pt x="908" y="524"/>
                    <a:pt x="918" y="524"/>
                  </a:cubicBezTo>
                  <a:cubicBezTo>
                    <a:pt x="919" y="523"/>
                    <a:pt x="920" y="523"/>
                    <a:pt x="921" y="522"/>
                  </a:cubicBezTo>
                  <a:moveTo>
                    <a:pt x="789" y="525"/>
                  </a:moveTo>
                  <a:cubicBezTo>
                    <a:pt x="790" y="526"/>
                    <a:pt x="791" y="526"/>
                    <a:pt x="792" y="526"/>
                  </a:cubicBezTo>
                  <a:cubicBezTo>
                    <a:pt x="803" y="527"/>
                    <a:pt x="815" y="527"/>
                    <a:pt x="826" y="527"/>
                  </a:cubicBezTo>
                  <a:cubicBezTo>
                    <a:pt x="825" y="527"/>
                    <a:pt x="824" y="526"/>
                    <a:pt x="823" y="526"/>
                  </a:cubicBezTo>
                  <a:cubicBezTo>
                    <a:pt x="812" y="526"/>
                    <a:pt x="801" y="526"/>
                    <a:pt x="789" y="525"/>
                  </a:cubicBezTo>
                  <a:moveTo>
                    <a:pt x="872" y="525"/>
                  </a:moveTo>
                  <a:cubicBezTo>
                    <a:pt x="861" y="526"/>
                    <a:pt x="850" y="526"/>
                    <a:pt x="838" y="526"/>
                  </a:cubicBezTo>
                  <a:cubicBezTo>
                    <a:pt x="839" y="526"/>
                    <a:pt x="839" y="527"/>
                    <a:pt x="840" y="527"/>
                  </a:cubicBezTo>
                  <a:cubicBezTo>
                    <a:pt x="853" y="527"/>
                    <a:pt x="866" y="526"/>
                    <a:pt x="878" y="526"/>
                  </a:cubicBezTo>
                  <a:cubicBezTo>
                    <a:pt x="876" y="526"/>
                    <a:pt x="874" y="526"/>
                    <a:pt x="872" y="525"/>
                  </a:cubicBezTo>
                  <a:moveTo>
                    <a:pt x="827" y="526"/>
                  </a:moveTo>
                  <a:cubicBezTo>
                    <a:pt x="828" y="526"/>
                    <a:pt x="829" y="527"/>
                    <a:pt x="830" y="527"/>
                  </a:cubicBezTo>
                  <a:cubicBezTo>
                    <a:pt x="830" y="527"/>
                    <a:pt x="830" y="527"/>
                    <a:pt x="830" y="527"/>
                  </a:cubicBezTo>
                  <a:cubicBezTo>
                    <a:pt x="829" y="527"/>
                    <a:pt x="828" y="526"/>
                    <a:pt x="827" y="526"/>
                  </a:cubicBezTo>
                  <a:cubicBezTo>
                    <a:pt x="827" y="526"/>
                    <a:pt x="827" y="526"/>
                    <a:pt x="827" y="526"/>
                  </a:cubicBezTo>
                  <a:moveTo>
                    <a:pt x="833" y="526"/>
                  </a:moveTo>
                  <a:cubicBezTo>
                    <a:pt x="831" y="526"/>
                    <a:pt x="831" y="526"/>
                    <a:pt x="831" y="526"/>
                  </a:cubicBezTo>
                  <a:cubicBezTo>
                    <a:pt x="830" y="526"/>
                    <a:pt x="830" y="526"/>
                    <a:pt x="830" y="526"/>
                  </a:cubicBezTo>
                  <a:cubicBezTo>
                    <a:pt x="831" y="526"/>
                    <a:pt x="832" y="527"/>
                    <a:pt x="833" y="527"/>
                  </a:cubicBezTo>
                  <a:cubicBezTo>
                    <a:pt x="834" y="527"/>
                    <a:pt x="835" y="527"/>
                    <a:pt x="836" y="527"/>
                  </a:cubicBezTo>
                  <a:cubicBezTo>
                    <a:pt x="835" y="527"/>
                    <a:pt x="834" y="526"/>
                    <a:pt x="833" y="526"/>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43" name="Freeform 72"/>
            <p:cNvSpPr>
              <a:spLocks noEditPoints="1"/>
            </p:cNvSpPr>
            <p:nvPr userDrawn="1"/>
          </p:nvSpPr>
          <p:spPr bwMode="auto">
            <a:xfrm>
              <a:off x="1137" y="4159"/>
              <a:ext cx="2690" cy="1064"/>
            </a:xfrm>
            <a:custGeom>
              <a:avLst/>
              <a:gdLst>
                <a:gd name="T0" fmla="*/ 2147483646 w 1327"/>
                <a:gd name="T1" fmla="*/ 2147483646 h 524"/>
                <a:gd name="T2" fmla="*/ 2147483646 w 1327"/>
                <a:gd name="T3" fmla="*/ 2147483646 h 524"/>
                <a:gd name="T4" fmla="*/ 2147483646 w 1327"/>
                <a:gd name="T5" fmla="*/ 2147483646 h 524"/>
                <a:gd name="T6" fmla="*/ 2147483646 w 1327"/>
                <a:gd name="T7" fmla="*/ 2147483646 h 524"/>
                <a:gd name="T8" fmla="*/ 2147483646 w 1327"/>
                <a:gd name="T9" fmla="*/ 2147483646 h 524"/>
                <a:gd name="T10" fmla="*/ 2147483646 w 1327"/>
                <a:gd name="T11" fmla="*/ 2147483646 h 524"/>
                <a:gd name="T12" fmla="*/ 2147483646 w 1327"/>
                <a:gd name="T13" fmla="*/ 2147483646 h 524"/>
                <a:gd name="T14" fmla="*/ 2147483646 w 1327"/>
                <a:gd name="T15" fmla="*/ 2147483646 h 524"/>
                <a:gd name="T16" fmla="*/ 2147483646 w 1327"/>
                <a:gd name="T17" fmla="*/ 2147483646 h 524"/>
                <a:gd name="T18" fmla="*/ 2147483646 w 1327"/>
                <a:gd name="T19" fmla="*/ 2147483646 h 524"/>
                <a:gd name="T20" fmla="*/ 2147483646 w 1327"/>
                <a:gd name="T21" fmla="*/ 2147483646 h 524"/>
                <a:gd name="T22" fmla="*/ 2147483646 w 1327"/>
                <a:gd name="T23" fmla="*/ 2147483646 h 524"/>
                <a:gd name="T24" fmla="*/ 2147483646 w 1327"/>
                <a:gd name="T25" fmla="*/ 2147483646 h 524"/>
                <a:gd name="T26" fmla="*/ 2147483646 w 1327"/>
                <a:gd name="T27" fmla="*/ 2147483646 h 524"/>
                <a:gd name="T28" fmla="*/ 2147483646 w 1327"/>
                <a:gd name="T29" fmla="*/ 2147483646 h 524"/>
                <a:gd name="T30" fmla="*/ 2147483646 w 1327"/>
                <a:gd name="T31" fmla="*/ 2147483646 h 524"/>
                <a:gd name="T32" fmla="*/ 2147483646 w 1327"/>
                <a:gd name="T33" fmla="*/ 2147483646 h 524"/>
                <a:gd name="T34" fmla="*/ 2147483646 w 1327"/>
                <a:gd name="T35" fmla="*/ 2147483646 h 524"/>
                <a:gd name="T36" fmla="*/ 2147483646 w 1327"/>
                <a:gd name="T37" fmla="*/ 2147483646 h 524"/>
                <a:gd name="T38" fmla="*/ 2147483646 w 1327"/>
                <a:gd name="T39" fmla="*/ 2147483646 h 524"/>
                <a:gd name="T40" fmla="*/ 2147483646 w 1327"/>
                <a:gd name="T41" fmla="*/ 2147483646 h 524"/>
                <a:gd name="T42" fmla="*/ 2147483646 w 1327"/>
                <a:gd name="T43" fmla="*/ 2147483646 h 524"/>
                <a:gd name="T44" fmla="*/ 2147483646 w 1327"/>
                <a:gd name="T45" fmla="*/ 2147483646 h 524"/>
                <a:gd name="T46" fmla="*/ 2147483646 w 1327"/>
                <a:gd name="T47" fmla="*/ 2147483646 h 524"/>
                <a:gd name="T48" fmla="*/ 2147483646 w 1327"/>
                <a:gd name="T49" fmla="*/ 2147483646 h 524"/>
                <a:gd name="T50" fmla="*/ 2147483646 w 1327"/>
                <a:gd name="T51" fmla="*/ 2147483646 h 524"/>
                <a:gd name="T52" fmla="*/ 2147483646 w 1327"/>
                <a:gd name="T53" fmla="*/ 2147483646 h 524"/>
                <a:gd name="T54" fmla="*/ 2147483646 w 1327"/>
                <a:gd name="T55" fmla="*/ 2147483646 h 524"/>
                <a:gd name="T56" fmla="*/ 2147483646 w 1327"/>
                <a:gd name="T57" fmla="*/ 2147483646 h 524"/>
                <a:gd name="T58" fmla="*/ 2147483646 w 1327"/>
                <a:gd name="T59" fmla="*/ 2147483646 h 524"/>
                <a:gd name="T60" fmla="*/ 2147483646 w 1327"/>
                <a:gd name="T61" fmla="*/ 2147483646 h 524"/>
                <a:gd name="T62" fmla="*/ 2147483646 w 1327"/>
                <a:gd name="T63" fmla="*/ 2147483646 h 524"/>
                <a:gd name="T64" fmla="*/ 2147483646 w 1327"/>
                <a:gd name="T65" fmla="*/ 2147483646 h 524"/>
                <a:gd name="T66" fmla="*/ 2147483646 w 1327"/>
                <a:gd name="T67" fmla="*/ 2147483646 h 524"/>
                <a:gd name="T68" fmla="*/ 2147483646 w 1327"/>
                <a:gd name="T69" fmla="*/ 2147483646 h 524"/>
                <a:gd name="T70" fmla="*/ 2147483646 w 1327"/>
                <a:gd name="T71" fmla="*/ 2147483646 h 524"/>
                <a:gd name="T72" fmla="*/ 2147483646 w 1327"/>
                <a:gd name="T73" fmla="*/ 2147483646 h 524"/>
                <a:gd name="T74" fmla="*/ 2147483646 w 1327"/>
                <a:gd name="T75" fmla="*/ 2147483646 h 524"/>
                <a:gd name="T76" fmla="*/ 2147483646 w 1327"/>
                <a:gd name="T77" fmla="*/ 2147483646 h 524"/>
                <a:gd name="T78" fmla="*/ 2147483646 w 1327"/>
                <a:gd name="T79" fmla="*/ 2147483646 h 524"/>
                <a:gd name="T80" fmla="*/ 2147483646 w 1327"/>
                <a:gd name="T81" fmla="*/ 2147483646 h 524"/>
                <a:gd name="T82" fmla="*/ 2147483646 w 1327"/>
                <a:gd name="T83" fmla="*/ 2147483646 h 524"/>
                <a:gd name="T84" fmla="*/ 2147483646 w 1327"/>
                <a:gd name="T85" fmla="*/ 2147483646 h 524"/>
                <a:gd name="T86" fmla="*/ 2147483646 w 1327"/>
                <a:gd name="T87" fmla="*/ 2147483646 h 524"/>
                <a:gd name="T88" fmla="*/ 2147483646 w 1327"/>
                <a:gd name="T89" fmla="*/ 2147483646 h 524"/>
                <a:gd name="T90" fmla="*/ 2147483646 w 1327"/>
                <a:gd name="T91" fmla="*/ 2147483646 h 524"/>
                <a:gd name="T92" fmla="*/ 2147483646 w 1327"/>
                <a:gd name="T93" fmla="*/ 2147483646 h 524"/>
                <a:gd name="T94" fmla="*/ 2147483646 w 1327"/>
                <a:gd name="T95" fmla="*/ 2147483646 h 524"/>
                <a:gd name="T96" fmla="*/ 2147483646 w 1327"/>
                <a:gd name="T97" fmla="*/ 2147483646 h 524"/>
                <a:gd name="T98" fmla="*/ 2147483646 w 1327"/>
                <a:gd name="T99" fmla="*/ 2147483646 h 524"/>
                <a:gd name="T100" fmla="*/ 2147483646 w 1327"/>
                <a:gd name="T101" fmla="*/ 2147483646 h 524"/>
                <a:gd name="T102" fmla="*/ 2147483646 w 1327"/>
                <a:gd name="T103" fmla="*/ 2147483646 h 524"/>
                <a:gd name="T104" fmla="*/ 2147483646 w 1327"/>
                <a:gd name="T105" fmla="*/ 2147483646 h 524"/>
                <a:gd name="T106" fmla="*/ 2147483646 w 1327"/>
                <a:gd name="T107" fmla="*/ 2147483646 h 524"/>
                <a:gd name="T108" fmla="*/ 2147483646 w 1327"/>
                <a:gd name="T109" fmla="*/ 2147483646 h 524"/>
                <a:gd name="T110" fmla="*/ 2147483646 w 1327"/>
                <a:gd name="T111" fmla="*/ 2147483646 h 524"/>
                <a:gd name="T112" fmla="*/ 2147483646 w 1327"/>
                <a:gd name="T113" fmla="*/ 2147483646 h 524"/>
                <a:gd name="T114" fmla="*/ 2147483646 w 1327"/>
                <a:gd name="T115" fmla="*/ 2147483646 h 524"/>
                <a:gd name="T116" fmla="*/ 2147483646 w 1327"/>
                <a:gd name="T117" fmla="*/ 2147483646 h 524"/>
                <a:gd name="T118" fmla="*/ 2147483646 w 1327"/>
                <a:gd name="T119" fmla="*/ 2147483646 h 524"/>
                <a:gd name="T120" fmla="*/ 2147483646 w 1327"/>
                <a:gd name="T121" fmla="*/ 2147483646 h 5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327" h="524">
                  <a:moveTo>
                    <a:pt x="956" y="0"/>
                  </a:moveTo>
                  <a:cubicBezTo>
                    <a:pt x="947" y="0"/>
                    <a:pt x="938" y="0"/>
                    <a:pt x="929" y="1"/>
                  </a:cubicBezTo>
                  <a:cubicBezTo>
                    <a:pt x="929" y="1"/>
                    <a:pt x="929" y="2"/>
                    <a:pt x="930" y="2"/>
                  </a:cubicBezTo>
                  <a:cubicBezTo>
                    <a:pt x="938" y="1"/>
                    <a:pt x="947" y="1"/>
                    <a:pt x="956" y="1"/>
                  </a:cubicBezTo>
                  <a:cubicBezTo>
                    <a:pt x="967" y="1"/>
                    <a:pt x="979" y="1"/>
                    <a:pt x="991" y="3"/>
                  </a:cubicBezTo>
                  <a:cubicBezTo>
                    <a:pt x="991" y="2"/>
                    <a:pt x="991" y="2"/>
                    <a:pt x="991" y="2"/>
                  </a:cubicBezTo>
                  <a:cubicBezTo>
                    <a:pt x="979" y="0"/>
                    <a:pt x="967" y="0"/>
                    <a:pt x="956" y="0"/>
                  </a:cubicBezTo>
                  <a:moveTo>
                    <a:pt x="928" y="1"/>
                  </a:moveTo>
                  <a:cubicBezTo>
                    <a:pt x="914" y="3"/>
                    <a:pt x="901" y="5"/>
                    <a:pt x="890" y="9"/>
                  </a:cubicBezTo>
                  <a:cubicBezTo>
                    <a:pt x="890" y="10"/>
                    <a:pt x="889" y="10"/>
                    <a:pt x="888" y="10"/>
                  </a:cubicBezTo>
                  <a:cubicBezTo>
                    <a:pt x="888" y="10"/>
                    <a:pt x="888" y="10"/>
                    <a:pt x="888" y="10"/>
                  </a:cubicBezTo>
                  <a:cubicBezTo>
                    <a:pt x="888" y="11"/>
                    <a:pt x="888" y="11"/>
                    <a:pt x="888" y="11"/>
                  </a:cubicBezTo>
                  <a:cubicBezTo>
                    <a:pt x="889" y="11"/>
                    <a:pt x="890" y="11"/>
                    <a:pt x="890" y="10"/>
                  </a:cubicBezTo>
                  <a:cubicBezTo>
                    <a:pt x="891" y="10"/>
                    <a:pt x="891" y="10"/>
                    <a:pt x="892" y="10"/>
                  </a:cubicBezTo>
                  <a:cubicBezTo>
                    <a:pt x="903" y="6"/>
                    <a:pt x="915" y="4"/>
                    <a:pt x="929" y="2"/>
                  </a:cubicBezTo>
                  <a:cubicBezTo>
                    <a:pt x="928" y="2"/>
                    <a:pt x="928" y="2"/>
                    <a:pt x="928" y="1"/>
                  </a:cubicBezTo>
                  <a:moveTo>
                    <a:pt x="992" y="2"/>
                  </a:moveTo>
                  <a:cubicBezTo>
                    <a:pt x="992" y="2"/>
                    <a:pt x="992" y="2"/>
                    <a:pt x="992" y="3"/>
                  </a:cubicBezTo>
                  <a:cubicBezTo>
                    <a:pt x="1011" y="4"/>
                    <a:pt x="1031" y="8"/>
                    <a:pt x="1050" y="12"/>
                  </a:cubicBezTo>
                  <a:cubicBezTo>
                    <a:pt x="1050" y="11"/>
                    <a:pt x="1050" y="11"/>
                    <a:pt x="1050" y="11"/>
                  </a:cubicBezTo>
                  <a:cubicBezTo>
                    <a:pt x="1031" y="7"/>
                    <a:pt x="1011" y="4"/>
                    <a:pt x="992" y="2"/>
                  </a:cubicBezTo>
                  <a:moveTo>
                    <a:pt x="887" y="11"/>
                  </a:moveTo>
                  <a:cubicBezTo>
                    <a:pt x="886" y="11"/>
                    <a:pt x="885" y="11"/>
                    <a:pt x="885" y="12"/>
                  </a:cubicBezTo>
                  <a:cubicBezTo>
                    <a:pt x="884" y="12"/>
                    <a:pt x="884" y="12"/>
                    <a:pt x="883" y="12"/>
                  </a:cubicBezTo>
                  <a:cubicBezTo>
                    <a:pt x="883" y="12"/>
                    <a:pt x="883" y="12"/>
                    <a:pt x="883" y="12"/>
                  </a:cubicBezTo>
                  <a:cubicBezTo>
                    <a:pt x="882" y="13"/>
                    <a:pt x="882" y="13"/>
                    <a:pt x="881" y="13"/>
                  </a:cubicBezTo>
                  <a:cubicBezTo>
                    <a:pt x="880" y="14"/>
                    <a:pt x="878" y="15"/>
                    <a:pt x="876" y="16"/>
                  </a:cubicBezTo>
                  <a:cubicBezTo>
                    <a:pt x="876" y="16"/>
                    <a:pt x="876" y="16"/>
                    <a:pt x="875" y="16"/>
                  </a:cubicBezTo>
                  <a:cubicBezTo>
                    <a:pt x="875" y="17"/>
                    <a:pt x="876" y="17"/>
                    <a:pt x="876" y="18"/>
                  </a:cubicBezTo>
                  <a:cubicBezTo>
                    <a:pt x="876" y="17"/>
                    <a:pt x="876" y="17"/>
                    <a:pt x="877" y="17"/>
                  </a:cubicBezTo>
                  <a:cubicBezTo>
                    <a:pt x="877" y="17"/>
                    <a:pt x="878" y="16"/>
                    <a:pt x="878" y="16"/>
                  </a:cubicBezTo>
                  <a:cubicBezTo>
                    <a:pt x="880" y="15"/>
                    <a:pt x="881" y="14"/>
                    <a:pt x="883" y="14"/>
                  </a:cubicBezTo>
                  <a:cubicBezTo>
                    <a:pt x="883" y="13"/>
                    <a:pt x="884" y="13"/>
                    <a:pt x="884" y="13"/>
                  </a:cubicBezTo>
                  <a:cubicBezTo>
                    <a:pt x="884" y="13"/>
                    <a:pt x="885" y="13"/>
                    <a:pt x="885" y="13"/>
                  </a:cubicBezTo>
                  <a:cubicBezTo>
                    <a:pt x="885" y="12"/>
                    <a:pt x="886" y="12"/>
                    <a:pt x="886" y="12"/>
                  </a:cubicBezTo>
                  <a:cubicBezTo>
                    <a:pt x="887" y="12"/>
                    <a:pt x="887" y="12"/>
                    <a:pt x="887" y="12"/>
                  </a:cubicBezTo>
                  <a:cubicBezTo>
                    <a:pt x="887" y="11"/>
                    <a:pt x="887" y="11"/>
                    <a:pt x="887" y="11"/>
                  </a:cubicBezTo>
                  <a:moveTo>
                    <a:pt x="1051" y="11"/>
                  </a:moveTo>
                  <a:cubicBezTo>
                    <a:pt x="1051" y="11"/>
                    <a:pt x="1051" y="12"/>
                    <a:pt x="1051" y="12"/>
                  </a:cubicBezTo>
                  <a:cubicBezTo>
                    <a:pt x="1069" y="16"/>
                    <a:pt x="1086" y="20"/>
                    <a:pt x="1103" y="26"/>
                  </a:cubicBezTo>
                  <a:cubicBezTo>
                    <a:pt x="1103" y="26"/>
                    <a:pt x="1103" y="25"/>
                    <a:pt x="1103" y="25"/>
                  </a:cubicBezTo>
                  <a:cubicBezTo>
                    <a:pt x="1086" y="19"/>
                    <a:pt x="1069" y="15"/>
                    <a:pt x="1051" y="11"/>
                  </a:cubicBezTo>
                  <a:moveTo>
                    <a:pt x="875" y="17"/>
                  </a:moveTo>
                  <a:cubicBezTo>
                    <a:pt x="872" y="19"/>
                    <a:pt x="870" y="20"/>
                    <a:pt x="868" y="22"/>
                  </a:cubicBezTo>
                  <a:cubicBezTo>
                    <a:pt x="867" y="23"/>
                    <a:pt x="867" y="24"/>
                    <a:pt x="867" y="24"/>
                  </a:cubicBezTo>
                  <a:cubicBezTo>
                    <a:pt x="867" y="24"/>
                    <a:pt x="867" y="24"/>
                    <a:pt x="867" y="24"/>
                  </a:cubicBezTo>
                  <a:cubicBezTo>
                    <a:pt x="870" y="22"/>
                    <a:pt x="872" y="20"/>
                    <a:pt x="875" y="18"/>
                  </a:cubicBezTo>
                  <a:cubicBezTo>
                    <a:pt x="875" y="18"/>
                    <a:pt x="875" y="17"/>
                    <a:pt x="875" y="17"/>
                  </a:cubicBezTo>
                  <a:moveTo>
                    <a:pt x="866" y="24"/>
                  </a:moveTo>
                  <a:cubicBezTo>
                    <a:pt x="866" y="24"/>
                    <a:pt x="866" y="24"/>
                    <a:pt x="866" y="24"/>
                  </a:cubicBezTo>
                  <a:cubicBezTo>
                    <a:pt x="865" y="24"/>
                    <a:pt x="865" y="25"/>
                    <a:pt x="865" y="25"/>
                  </a:cubicBezTo>
                  <a:cubicBezTo>
                    <a:pt x="864" y="25"/>
                    <a:pt x="864" y="26"/>
                    <a:pt x="864" y="26"/>
                  </a:cubicBezTo>
                  <a:cubicBezTo>
                    <a:pt x="863" y="26"/>
                    <a:pt x="863" y="27"/>
                    <a:pt x="863" y="27"/>
                  </a:cubicBezTo>
                  <a:cubicBezTo>
                    <a:pt x="861" y="30"/>
                    <a:pt x="859" y="33"/>
                    <a:pt x="857" y="36"/>
                  </a:cubicBezTo>
                  <a:cubicBezTo>
                    <a:pt x="857" y="36"/>
                    <a:pt x="857" y="37"/>
                    <a:pt x="856" y="37"/>
                  </a:cubicBezTo>
                  <a:cubicBezTo>
                    <a:pt x="856" y="38"/>
                    <a:pt x="856" y="38"/>
                    <a:pt x="856" y="38"/>
                  </a:cubicBezTo>
                  <a:cubicBezTo>
                    <a:pt x="856" y="39"/>
                    <a:pt x="855" y="40"/>
                    <a:pt x="855" y="40"/>
                  </a:cubicBezTo>
                  <a:cubicBezTo>
                    <a:pt x="855" y="41"/>
                    <a:pt x="855" y="42"/>
                    <a:pt x="855" y="42"/>
                  </a:cubicBezTo>
                  <a:cubicBezTo>
                    <a:pt x="854" y="43"/>
                    <a:pt x="854" y="43"/>
                    <a:pt x="854" y="43"/>
                  </a:cubicBezTo>
                  <a:cubicBezTo>
                    <a:pt x="853" y="47"/>
                    <a:pt x="853" y="50"/>
                    <a:pt x="853" y="54"/>
                  </a:cubicBezTo>
                  <a:cubicBezTo>
                    <a:pt x="853" y="57"/>
                    <a:pt x="853" y="59"/>
                    <a:pt x="854" y="62"/>
                  </a:cubicBezTo>
                  <a:cubicBezTo>
                    <a:pt x="854" y="62"/>
                    <a:pt x="854" y="63"/>
                    <a:pt x="854" y="63"/>
                  </a:cubicBezTo>
                  <a:cubicBezTo>
                    <a:pt x="854" y="68"/>
                    <a:pt x="856" y="73"/>
                    <a:pt x="858" y="79"/>
                  </a:cubicBezTo>
                  <a:cubicBezTo>
                    <a:pt x="869" y="107"/>
                    <a:pt x="876" y="133"/>
                    <a:pt x="880" y="158"/>
                  </a:cubicBezTo>
                  <a:cubicBezTo>
                    <a:pt x="880" y="157"/>
                    <a:pt x="880" y="157"/>
                    <a:pt x="881" y="156"/>
                  </a:cubicBezTo>
                  <a:cubicBezTo>
                    <a:pt x="877" y="132"/>
                    <a:pt x="869" y="106"/>
                    <a:pt x="859" y="79"/>
                  </a:cubicBezTo>
                  <a:cubicBezTo>
                    <a:pt x="857" y="73"/>
                    <a:pt x="856" y="68"/>
                    <a:pt x="855" y="63"/>
                  </a:cubicBezTo>
                  <a:cubicBezTo>
                    <a:pt x="855" y="63"/>
                    <a:pt x="855" y="63"/>
                    <a:pt x="855" y="62"/>
                  </a:cubicBezTo>
                  <a:cubicBezTo>
                    <a:pt x="854" y="60"/>
                    <a:pt x="854" y="57"/>
                    <a:pt x="854" y="54"/>
                  </a:cubicBezTo>
                  <a:cubicBezTo>
                    <a:pt x="854" y="51"/>
                    <a:pt x="854" y="47"/>
                    <a:pt x="855" y="44"/>
                  </a:cubicBezTo>
                  <a:cubicBezTo>
                    <a:pt x="855" y="43"/>
                    <a:pt x="855" y="43"/>
                    <a:pt x="856" y="43"/>
                  </a:cubicBezTo>
                  <a:cubicBezTo>
                    <a:pt x="856" y="41"/>
                    <a:pt x="856" y="40"/>
                    <a:pt x="857" y="39"/>
                  </a:cubicBezTo>
                  <a:cubicBezTo>
                    <a:pt x="857" y="38"/>
                    <a:pt x="857" y="38"/>
                    <a:pt x="858" y="37"/>
                  </a:cubicBezTo>
                  <a:cubicBezTo>
                    <a:pt x="858" y="37"/>
                    <a:pt x="858" y="37"/>
                    <a:pt x="858" y="37"/>
                  </a:cubicBezTo>
                  <a:cubicBezTo>
                    <a:pt x="858" y="36"/>
                    <a:pt x="858" y="36"/>
                    <a:pt x="858" y="35"/>
                  </a:cubicBezTo>
                  <a:cubicBezTo>
                    <a:pt x="860" y="32"/>
                    <a:pt x="862" y="30"/>
                    <a:pt x="864" y="27"/>
                  </a:cubicBezTo>
                  <a:cubicBezTo>
                    <a:pt x="864" y="27"/>
                    <a:pt x="865" y="27"/>
                    <a:pt x="865" y="26"/>
                  </a:cubicBezTo>
                  <a:cubicBezTo>
                    <a:pt x="865" y="26"/>
                    <a:pt x="865" y="26"/>
                    <a:pt x="866" y="26"/>
                  </a:cubicBezTo>
                  <a:cubicBezTo>
                    <a:pt x="866" y="25"/>
                    <a:pt x="866" y="24"/>
                    <a:pt x="866" y="24"/>
                  </a:cubicBezTo>
                  <a:moveTo>
                    <a:pt x="1104" y="25"/>
                  </a:moveTo>
                  <a:cubicBezTo>
                    <a:pt x="1104" y="26"/>
                    <a:pt x="1104" y="26"/>
                    <a:pt x="1104" y="26"/>
                  </a:cubicBezTo>
                  <a:cubicBezTo>
                    <a:pt x="1115" y="30"/>
                    <a:pt x="1126" y="34"/>
                    <a:pt x="1137" y="38"/>
                  </a:cubicBezTo>
                  <a:cubicBezTo>
                    <a:pt x="1141" y="40"/>
                    <a:pt x="1145" y="42"/>
                    <a:pt x="1150" y="44"/>
                  </a:cubicBezTo>
                  <a:cubicBezTo>
                    <a:pt x="1150" y="43"/>
                    <a:pt x="1150" y="43"/>
                    <a:pt x="1150" y="43"/>
                  </a:cubicBezTo>
                  <a:cubicBezTo>
                    <a:pt x="1136" y="36"/>
                    <a:pt x="1120" y="30"/>
                    <a:pt x="1104" y="25"/>
                  </a:cubicBezTo>
                  <a:moveTo>
                    <a:pt x="1151" y="43"/>
                  </a:moveTo>
                  <a:cubicBezTo>
                    <a:pt x="1151" y="44"/>
                    <a:pt x="1151" y="44"/>
                    <a:pt x="1150" y="44"/>
                  </a:cubicBezTo>
                  <a:cubicBezTo>
                    <a:pt x="1152" y="45"/>
                    <a:pt x="1154" y="46"/>
                    <a:pt x="1155" y="46"/>
                  </a:cubicBezTo>
                  <a:cubicBezTo>
                    <a:pt x="1156" y="46"/>
                    <a:pt x="1156" y="46"/>
                    <a:pt x="1156" y="46"/>
                  </a:cubicBezTo>
                  <a:cubicBezTo>
                    <a:pt x="1155" y="45"/>
                    <a:pt x="1153" y="44"/>
                    <a:pt x="1151" y="43"/>
                  </a:cubicBezTo>
                  <a:moveTo>
                    <a:pt x="1158" y="46"/>
                  </a:moveTo>
                  <a:cubicBezTo>
                    <a:pt x="1157" y="47"/>
                    <a:pt x="1157" y="47"/>
                    <a:pt x="1156" y="47"/>
                  </a:cubicBezTo>
                  <a:cubicBezTo>
                    <a:pt x="1159" y="48"/>
                    <a:pt x="1162" y="50"/>
                    <a:pt x="1165" y="51"/>
                  </a:cubicBezTo>
                  <a:cubicBezTo>
                    <a:pt x="1166" y="51"/>
                    <a:pt x="1166" y="51"/>
                    <a:pt x="1167" y="51"/>
                  </a:cubicBezTo>
                  <a:cubicBezTo>
                    <a:pt x="1164" y="50"/>
                    <a:pt x="1161" y="48"/>
                    <a:pt x="1158" y="46"/>
                  </a:cubicBezTo>
                  <a:moveTo>
                    <a:pt x="1168" y="52"/>
                  </a:moveTo>
                  <a:cubicBezTo>
                    <a:pt x="1168" y="52"/>
                    <a:pt x="1167" y="52"/>
                    <a:pt x="1167" y="52"/>
                  </a:cubicBezTo>
                  <a:cubicBezTo>
                    <a:pt x="1168" y="53"/>
                    <a:pt x="1170" y="54"/>
                    <a:pt x="1171" y="55"/>
                  </a:cubicBezTo>
                  <a:cubicBezTo>
                    <a:pt x="1171" y="54"/>
                    <a:pt x="1172" y="54"/>
                    <a:pt x="1172" y="54"/>
                  </a:cubicBezTo>
                  <a:cubicBezTo>
                    <a:pt x="1171" y="53"/>
                    <a:pt x="1170" y="53"/>
                    <a:pt x="1168" y="52"/>
                  </a:cubicBezTo>
                  <a:moveTo>
                    <a:pt x="1173" y="55"/>
                  </a:moveTo>
                  <a:cubicBezTo>
                    <a:pt x="1173" y="55"/>
                    <a:pt x="1173" y="55"/>
                    <a:pt x="1173" y="55"/>
                  </a:cubicBezTo>
                  <a:cubicBezTo>
                    <a:pt x="1174" y="56"/>
                    <a:pt x="1175" y="57"/>
                    <a:pt x="1176" y="57"/>
                  </a:cubicBezTo>
                  <a:cubicBezTo>
                    <a:pt x="1176" y="57"/>
                    <a:pt x="1176" y="57"/>
                    <a:pt x="1177" y="56"/>
                  </a:cubicBezTo>
                  <a:cubicBezTo>
                    <a:pt x="1176" y="56"/>
                    <a:pt x="1175" y="55"/>
                    <a:pt x="1173" y="55"/>
                  </a:cubicBezTo>
                  <a:moveTo>
                    <a:pt x="1178" y="57"/>
                  </a:moveTo>
                  <a:cubicBezTo>
                    <a:pt x="1177" y="57"/>
                    <a:pt x="1177" y="57"/>
                    <a:pt x="1177" y="58"/>
                  </a:cubicBezTo>
                  <a:cubicBezTo>
                    <a:pt x="1181" y="60"/>
                    <a:pt x="1185" y="62"/>
                    <a:pt x="1188" y="65"/>
                  </a:cubicBezTo>
                  <a:cubicBezTo>
                    <a:pt x="1188" y="64"/>
                    <a:pt x="1188" y="64"/>
                    <a:pt x="1189" y="64"/>
                  </a:cubicBezTo>
                  <a:cubicBezTo>
                    <a:pt x="1185" y="61"/>
                    <a:pt x="1181" y="59"/>
                    <a:pt x="1178" y="57"/>
                  </a:cubicBezTo>
                  <a:moveTo>
                    <a:pt x="1189" y="64"/>
                  </a:moveTo>
                  <a:cubicBezTo>
                    <a:pt x="1189" y="65"/>
                    <a:pt x="1189" y="65"/>
                    <a:pt x="1189" y="65"/>
                  </a:cubicBezTo>
                  <a:cubicBezTo>
                    <a:pt x="1193" y="68"/>
                    <a:pt x="1197" y="71"/>
                    <a:pt x="1200" y="73"/>
                  </a:cubicBezTo>
                  <a:cubicBezTo>
                    <a:pt x="1201" y="73"/>
                    <a:pt x="1201" y="73"/>
                    <a:pt x="1201" y="72"/>
                  </a:cubicBezTo>
                  <a:cubicBezTo>
                    <a:pt x="1197" y="70"/>
                    <a:pt x="1193" y="67"/>
                    <a:pt x="1189" y="64"/>
                  </a:cubicBezTo>
                  <a:moveTo>
                    <a:pt x="1202" y="73"/>
                  </a:moveTo>
                  <a:cubicBezTo>
                    <a:pt x="1201" y="73"/>
                    <a:pt x="1201" y="74"/>
                    <a:pt x="1201" y="74"/>
                  </a:cubicBezTo>
                  <a:cubicBezTo>
                    <a:pt x="1202" y="75"/>
                    <a:pt x="1203" y="76"/>
                    <a:pt x="1204" y="76"/>
                  </a:cubicBezTo>
                  <a:cubicBezTo>
                    <a:pt x="1205" y="76"/>
                    <a:pt x="1205" y="76"/>
                    <a:pt x="1206" y="76"/>
                  </a:cubicBezTo>
                  <a:cubicBezTo>
                    <a:pt x="1204" y="75"/>
                    <a:pt x="1203" y="74"/>
                    <a:pt x="1202" y="73"/>
                  </a:cubicBezTo>
                  <a:moveTo>
                    <a:pt x="1207" y="77"/>
                  </a:moveTo>
                  <a:cubicBezTo>
                    <a:pt x="1206" y="77"/>
                    <a:pt x="1206" y="77"/>
                    <a:pt x="1205" y="77"/>
                  </a:cubicBezTo>
                  <a:cubicBezTo>
                    <a:pt x="1206" y="78"/>
                    <a:pt x="1206" y="78"/>
                    <a:pt x="1207" y="79"/>
                  </a:cubicBezTo>
                  <a:cubicBezTo>
                    <a:pt x="1207" y="78"/>
                    <a:pt x="1207" y="78"/>
                    <a:pt x="1207" y="78"/>
                  </a:cubicBezTo>
                  <a:cubicBezTo>
                    <a:pt x="1207" y="78"/>
                    <a:pt x="1207" y="77"/>
                    <a:pt x="1207" y="77"/>
                  </a:cubicBezTo>
                  <a:moveTo>
                    <a:pt x="1208" y="78"/>
                  </a:moveTo>
                  <a:cubicBezTo>
                    <a:pt x="1208" y="79"/>
                    <a:pt x="1208" y="79"/>
                    <a:pt x="1207" y="79"/>
                  </a:cubicBezTo>
                  <a:cubicBezTo>
                    <a:pt x="1208" y="80"/>
                    <a:pt x="1208" y="80"/>
                    <a:pt x="1209" y="80"/>
                  </a:cubicBezTo>
                  <a:cubicBezTo>
                    <a:pt x="1209" y="80"/>
                    <a:pt x="1209" y="80"/>
                    <a:pt x="1209" y="80"/>
                  </a:cubicBezTo>
                  <a:cubicBezTo>
                    <a:pt x="1209" y="79"/>
                    <a:pt x="1208" y="79"/>
                    <a:pt x="1208" y="78"/>
                  </a:cubicBezTo>
                  <a:moveTo>
                    <a:pt x="1210" y="80"/>
                  </a:moveTo>
                  <a:cubicBezTo>
                    <a:pt x="1210" y="81"/>
                    <a:pt x="1210" y="81"/>
                    <a:pt x="1210" y="81"/>
                  </a:cubicBezTo>
                  <a:cubicBezTo>
                    <a:pt x="1212" y="84"/>
                    <a:pt x="1215" y="86"/>
                    <a:pt x="1217" y="88"/>
                  </a:cubicBezTo>
                  <a:cubicBezTo>
                    <a:pt x="1217" y="88"/>
                    <a:pt x="1217" y="88"/>
                    <a:pt x="1217" y="88"/>
                  </a:cubicBezTo>
                  <a:cubicBezTo>
                    <a:pt x="1215" y="85"/>
                    <a:pt x="1213" y="83"/>
                    <a:pt x="1210" y="80"/>
                  </a:cubicBezTo>
                  <a:moveTo>
                    <a:pt x="1218" y="88"/>
                  </a:moveTo>
                  <a:cubicBezTo>
                    <a:pt x="1218" y="89"/>
                    <a:pt x="1218" y="89"/>
                    <a:pt x="1218" y="89"/>
                  </a:cubicBezTo>
                  <a:cubicBezTo>
                    <a:pt x="1220" y="93"/>
                    <a:pt x="1223" y="96"/>
                    <a:pt x="1225" y="99"/>
                  </a:cubicBezTo>
                  <a:cubicBezTo>
                    <a:pt x="1225" y="99"/>
                    <a:pt x="1225" y="98"/>
                    <a:pt x="1225" y="98"/>
                  </a:cubicBezTo>
                  <a:cubicBezTo>
                    <a:pt x="1223" y="95"/>
                    <a:pt x="1221" y="92"/>
                    <a:pt x="1218" y="88"/>
                  </a:cubicBezTo>
                  <a:moveTo>
                    <a:pt x="1226" y="99"/>
                  </a:moveTo>
                  <a:cubicBezTo>
                    <a:pt x="1226" y="100"/>
                    <a:pt x="1226" y="100"/>
                    <a:pt x="1226" y="101"/>
                  </a:cubicBezTo>
                  <a:cubicBezTo>
                    <a:pt x="1227" y="102"/>
                    <a:pt x="1228" y="104"/>
                    <a:pt x="1229" y="106"/>
                  </a:cubicBezTo>
                  <a:cubicBezTo>
                    <a:pt x="1229" y="106"/>
                    <a:pt x="1230" y="106"/>
                    <a:pt x="1230" y="106"/>
                  </a:cubicBezTo>
                  <a:cubicBezTo>
                    <a:pt x="1229" y="104"/>
                    <a:pt x="1228" y="101"/>
                    <a:pt x="1226" y="99"/>
                  </a:cubicBezTo>
                  <a:moveTo>
                    <a:pt x="1229" y="107"/>
                  </a:moveTo>
                  <a:cubicBezTo>
                    <a:pt x="1231" y="110"/>
                    <a:pt x="1232" y="113"/>
                    <a:pt x="1232" y="116"/>
                  </a:cubicBezTo>
                  <a:cubicBezTo>
                    <a:pt x="1233" y="116"/>
                    <a:pt x="1233" y="116"/>
                    <a:pt x="1233" y="115"/>
                  </a:cubicBezTo>
                  <a:cubicBezTo>
                    <a:pt x="1233" y="113"/>
                    <a:pt x="1232" y="110"/>
                    <a:pt x="1230" y="107"/>
                  </a:cubicBezTo>
                  <a:cubicBezTo>
                    <a:pt x="1230" y="107"/>
                    <a:pt x="1230" y="107"/>
                    <a:pt x="1229" y="107"/>
                  </a:cubicBezTo>
                  <a:moveTo>
                    <a:pt x="1234" y="117"/>
                  </a:moveTo>
                  <a:cubicBezTo>
                    <a:pt x="1233" y="117"/>
                    <a:pt x="1233" y="117"/>
                    <a:pt x="1233" y="117"/>
                  </a:cubicBezTo>
                  <a:cubicBezTo>
                    <a:pt x="1233" y="120"/>
                    <a:pt x="1233" y="122"/>
                    <a:pt x="1233" y="125"/>
                  </a:cubicBezTo>
                  <a:cubicBezTo>
                    <a:pt x="1233" y="126"/>
                    <a:pt x="1233" y="127"/>
                    <a:pt x="1233" y="128"/>
                  </a:cubicBezTo>
                  <a:cubicBezTo>
                    <a:pt x="1234" y="128"/>
                    <a:pt x="1234" y="127"/>
                    <a:pt x="1234" y="127"/>
                  </a:cubicBezTo>
                  <a:cubicBezTo>
                    <a:pt x="1234" y="126"/>
                    <a:pt x="1234" y="126"/>
                    <a:pt x="1234" y="125"/>
                  </a:cubicBezTo>
                  <a:cubicBezTo>
                    <a:pt x="1234" y="122"/>
                    <a:pt x="1234" y="119"/>
                    <a:pt x="1234" y="117"/>
                  </a:cubicBezTo>
                  <a:moveTo>
                    <a:pt x="1234" y="128"/>
                  </a:moveTo>
                  <a:cubicBezTo>
                    <a:pt x="1234" y="129"/>
                    <a:pt x="1233" y="129"/>
                    <a:pt x="1233" y="130"/>
                  </a:cubicBezTo>
                  <a:cubicBezTo>
                    <a:pt x="1233" y="130"/>
                    <a:pt x="1233" y="130"/>
                    <a:pt x="1233" y="130"/>
                  </a:cubicBezTo>
                  <a:cubicBezTo>
                    <a:pt x="1233" y="130"/>
                    <a:pt x="1233" y="131"/>
                    <a:pt x="1233" y="131"/>
                  </a:cubicBezTo>
                  <a:cubicBezTo>
                    <a:pt x="1232" y="134"/>
                    <a:pt x="1232" y="137"/>
                    <a:pt x="1231" y="139"/>
                  </a:cubicBezTo>
                  <a:cubicBezTo>
                    <a:pt x="1231" y="140"/>
                    <a:pt x="1231" y="140"/>
                    <a:pt x="1230" y="140"/>
                  </a:cubicBezTo>
                  <a:cubicBezTo>
                    <a:pt x="1231" y="140"/>
                    <a:pt x="1231" y="140"/>
                    <a:pt x="1232" y="140"/>
                  </a:cubicBezTo>
                  <a:cubicBezTo>
                    <a:pt x="1232" y="138"/>
                    <a:pt x="1233" y="135"/>
                    <a:pt x="1234" y="133"/>
                  </a:cubicBezTo>
                  <a:cubicBezTo>
                    <a:pt x="1234" y="132"/>
                    <a:pt x="1234" y="132"/>
                    <a:pt x="1234" y="131"/>
                  </a:cubicBezTo>
                  <a:cubicBezTo>
                    <a:pt x="1234" y="130"/>
                    <a:pt x="1234" y="129"/>
                    <a:pt x="1234" y="128"/>
                  </a:cubicBezTo>
                  <a:moveTo>
                    <a:pt x="1231" y="141"/>
                  </a:moveTo>
                  <a:cubicBezTo>
                    <a:pt x="1231" y="141"/>
                    <a:pt x="1230" y="141"/>
                    <a:pt x="1230" y="141"/>
                  </a:cubicBezTo>
                  <a:cubicBezTo>
                    <a:pt x="1230" y="142"/>
                    <a:pt x="1229" y="142"/>
                    <a:pt x="1229" y="143"/>
                  </a:cubicBezTo>
                  <a:cubicBezTo>
                    <a:pt x="1230" y="142"/>
                    <a:pt x="1230" y="142"/>
                    <a:pt x="1231" y="141"/>
                  </a:cubicBezTo>
                  <a:moveTo>
                    <a:pt x="1230" y="143"/>
                  </a:moveTo>
                  <a:cubicBezTo>
                    <a:pt x="1229" y="144"/>
                    <a:pt x="1228" y="145"/>
                    <a:pt x="1228" y="146"/>
                  </a:cubicBezTo>
                  <a:cubicBezTo>
                    <a:pt x="1227" y="148"/>
                    <a:pt x="1225" y="150"/>
                    <a:pt x="1224" y="152"/>
                  </a:cubicBezTo>
                  <a:cubicBezTo>
                    <a:pt x="1224" y="152"/>
                    <a:pt x="1225" y="151"/>
                    <a:pt x="1226" y="151"/>
                  </a:cubicBezTo>
                  <a:cubicBezTo>
                    <a:pt x="1227" y="149"/>
                    <a:pt x="1228" y="147"/>
                    <a:pt x="1229" y="145"/>
                  </a:cubicBezTo>
                  <a:cubicBezTo>
                    <a:pt x="1229" y="145"/>
                    <a:pt x="1229" y="145"/>
                    <a:pt x="1229" y="145"/>
                  </a:cubicBezTo>
                  <a:cubicBezTo>
                    <a:pt x="1230" y="144"/>
                    <a:pt x="1230" y="144"/>
                    <a:pt x="1230" y="143"/>
                  </a:cubicBezTo>
                  <a:moveTo>
                    <a:pt x="1224" y="153"/>
                  </a:moveTo>
                  <a:cubicBezTo>
                    <a:pt x="1224" y="153"/>
                    <a:pt x="1223" y="154"/>
                    <a:pt x="1222" y="154"/>
                  </a:cubicBezTo>
                  <a:cubicBezTo>
                    <a:pt x="1222" y="154"/>
                    <a:pt x="1222" y="154"/>
                    <a:pt x="1222" y="154"/>
                  </a:cubicBezTo>
                  <a:cubicBezTo>
                    <a:pt x="1222" y="155"/>
                    <a:pt x="1221" y="155"/>
                    <a:pt x="1221" y="155"/>
                  </a:cubicBezTo>
                  <a:cubicBezTo>
                    <a:pt x="1219" y="158"/>
                    <a:pt x="1217" y="160"/>
                    <a:pt x="1214" y="163"/>
                  </a:cubicBezTo>
                  <a:cubicBezTo>
                    <a:pt x="1214" y="163"/>
                    <a:pt x="1214" y="163"/>
                    <a:pt x="1213" y="163"/>
                  </a:cubicBezTo>
                  <a:cubicBezTo>
                    <a:pt x="1212" y="165"/>
                    <a:pt x="1210" y="166"/>
                    <a:pt x="1208" y="168"/>
                  </a:cubicBezTo>
                  <a:cubicBezTo>
                    <a:pt x="1207" y="169"/>
                    <a:pt x="1207" y="169"/>
                    <a:pt x="1206" y="170"/>
                  </a:cubicBezTo>
                  <a:cubicBezTo>
                    <a:pt x="1205" y="170"/>
                    <a:pt x="1205" y="171"/>
                    <a:pt x="1205" y="171"/>
                  </a:cubicBezTo>
                  <a:cubicBezTo>
                    <a:pt x="1201" y="174"/>
                    <a:pt x="1198" y="177"/>
                    <a:pt x="1195" y="179"/>
                  </a:cubicBezTo>
                  <a:cubicBezTo>
                    <a:pt x="1194" y="180"/>
                    <a:pt x="1194" y="180"/>
                    <a:pt x="1194" y="180"/>
                  </a:cubicBezTo>
                  <a:cubicBezTo>
                    <a:pt x="1193" y="181"/>
                    <a:pt x="1192" y="182"/>
                    <a:pt x="1191" y="183"/>
                  </a:cubicBezTo>
                  <a:cubicBezTo>
                    <a:pt x="1191" y="183"/>
                    <a:pt x="1191" y="184"/>
                    <a:pt x="1191" y="184"/>
                  </a:cubicBezTo>
                  <a:cubicBezTo>
                    <a:pt x="1192" y="183"/>
                    <a:pt x="1193" y="182"/>
                    <a:pt x="1194" y="181"/>
                  </a:cubicBezTo>
                  <a:cubicBezTo>
                    <a:pt x="1195" y="181"/>
                    <a:pt x="1195" y="180"/>
                    <a:pt x="1195" y="180"/>
                  </a:cubicBezTo>
                  <a:cubicBezTo>
                    <a:pt x="1198" y="177"/>
                    <a:pt x="1202" y="175"/>
                    <a:pt x="1205" y="172"/>
                  </a:cubicBezTo>
                  <a:cubicBezTo>
                    <a:pt x="1206" y="171"/>
                    <a:pt x="1206" y="171"/>
                    <a:pt x="1206" y="171"/>
                  </a:cubicBezTo>
                  <a:cubicBezTo>
                    <a:pt x="1207" y="170"/>
                    <a:pt x="1208" y="169"/>
                    <a:pt x="1209" y="169"/>
                  </a:cubicBezTo>
                  <a:cubicBezTo>
                    <a:pt x="1211" y="167"/>
                    <a:pt x="1212" y="166"/>
                    <a:pt x="1214" y="164"/>
                  </a:cubicBezTo>
                  <a:cubicBezTo>
                    <a:pt x="1214" y="164"/>
                    <a:pt x="1214" y="164"/>
                    <a:pt x="1215" y="164"/>
                  </a:cubicBezTo>
                  <a:cubicBezTo>
                    <a:pt x="1217" y="161"/>
                    <a:pt x="1220" y="159"/>
                    <a:pt x="1222" y="156"/>
                  </a:cubicBezTo>
                  <a:cubicBezTo>
                    <a:pt x="1222" y="156"/>
                    <a:pt x="1222" y="155"/>
                    <a:pt x="1222" y="155"/>
                  </a:cubicBezTo>
                  <a:cubicBezTo>
                    <a:pt x="1223" y="154"/>
                    <a:pt x="1224" y="153"/>
                    <a:pt x="1224" y="153"/>
                  </a:cubicBezTo>
                  <a:moveTo>
                    <a:pt x="881" y="158"/>
                  </a:moveTo>
                  <a:cubicBezTo>
                    <a:pt x="881" y="158"/>
                    <a:pt x="881" y="158"/>
                    <a:pt x="881" y="159"/>
                  </a:cubicBezTo>
                  <a:cubicBezTo>
                    <a:pt x="881" y="158"/>
                    <a:pt x="881" y="158"/>
                    <a:pt x="881" y="158"/>
                  </a:cubicBezTo>
                  <a:cubicBezTo>
                    <a:pt x="881" y="158"/>
                    <a:pt x="881" y="158"/>
                    <a:pt x="881" y="158"/>
                  </a:cubicBezTo>
                  <a:moveTo>
                    <a:pt x="881" y="159"/>
                  </a:moveTo>
                  <a:cubicBezTo>
                    <a:pt x="881" y="160"/>
                    <a:pt x="881" y="160"/>
                    <a:pt x="880" y="160"/>
                  </a:cubicBezTo>
                  <a:cubicBezTo>
                    <a:pt x="881" y="167"/>
                    <a:pt x="882" y="174"/>
                    <a:pt x="883" y="180"/>
                  </a:cubicBezTo>
                  <a:cubicBezTo>
                    <a:pt x="883" y="180"/>
                    <a:pt x="883" y="179"/>
                    <a:pt x="884" y="179"/>
                  </a:cubicBezTo>
                  <a:cubicBezTo>
                    <a:pt x="883" y="173"/>
                    <a:pt x="882" y="166"/>
                    <a:pt x="881" y="159"/>
                  </a:cubicBezTo>
                  <a:moveTo>
                    <a:pt x="884" y="180"/>
                  </a:moveTo>
                  <a:cubicBezTo>
                    <a:pt x="883" y="181"/>
                    <a:pt x="883" y="181"/>
                    <a:pt x="883" y="182"/>
                  </a:cubicBezTo>
                  <a:cubicBezTo>
                    <a:pt x="883" y="183"/>
                    <a:pt x="883" y="185"/>
                    <a:pt x="883" y="186"/>
                  </a:cubicBezTo>
                  <a:cubicBezTo>
                    <a:pt x="883" y="185"/>
                    <a:pt x="884" y="184"/>
                    <a:pt x="884" y="183"/>
                  </a:cubicBezTo>
                  <a:cubicBezTo>
                    <a:pt x="884" y="182"/>
                    <a:pt x="884" y="181"/>
                    <a:pt x="884" y="180"/>
                  </a:cubicBezTo>
                  <a:moveTo>
                    <a:pt x="1190" y="184"/>
                  </a:moveTo>
                  <a:cubicBezTo>
                    <a:pt x="1186" y="187"/>
                    <a:pt x="1182" y="190"/>
                    <a:pt x="1178" y="193"/>
                  </a:cubicBezTo>
                  <a:cubicBezTo>
                    <a:pt x="1178" y="193"/>
                    <a:pt x="1178" y="194"/>
                    <a:pt x="1178" y="194"/>
                  </a:cubicBezTo>
                  <a:cubicBezTo>
                    <a:pt x="1172" y="198"/>
                    <a:pt x="1167" y="203"/>
                    <a:pt x="1162" y="207"/>
                  </a:cubicBezTo>
                  <a:cubicBezTo>
                    <a:pt x="1163" y="207"/>
                    <a:pt x="1163" y="207"/>
                    <a:pt x="1163" y="208"/>
                  </a:cubicBezTo>
                  <a:cubicBezTo>
                    <a:pt x="1168" y="203"/>
                    <a:pt x="1173" y="199"/>
                    <a:pt x="1178" y="195"/>
                  </a:cubicBezTo>
                  <a:cubicBezTo>
                    <a:pt x="1178" y="194"/>
                    <a:pt x="1179" y="194"/>
                    <a:pt x="1179" y="194"/>
                  </a:cubicBezTo>
                  <a:cubicBezTo>
                    <a:pt x="1182" y="191"/>
                    <a:pt x="1186" y="188"/>
                    <a:pt x="1190" y="185"/>
                  </a:cubicBezTo>
                  <a:cubicBezTo>
                    <a:pt x="1190" y="184"/>
                    <a:pt x="1190" y="184"/>
                    <a:pt x="1190" y="184"/>
                  </a:cubicBezTo>
                  <a:cubicBezTo>
                    <a:pt x="1190" y="184"/>
                    <a:pt x="1190" y="184"/>
                    <a:pt x="1190" y="184"/>
                  </a:cubicBezTo>
                  <a:moveTo>
                    <a:pt x="884" y="186"/>
                  </a:moveTo>
                  <a:cubicBezTo>
                    <a:pt x="884" y="187"/>
                    <a:pt x="884" y="188"/>
                    <a:pt x="883" y="189"/>
                  </a:cubicBezTo>
                  <a:cubicBezTo>
                    <a:pt x="883" y="193"/>
                    <a:pt x="884" y="197"/>
                    <a:pt x="884" y="202"/>
                  </a:cubicBezTo>
                  <a:cubicBezTo>
                    <a:pt x="884" y="206"/>
                    <a:pt x="883" y="210"/>
                    <a:pt x="883" y="214"/>
                  </a:cubicBezTo>
                  <a:cubicBezTo>
                    <a:pt x="884" y="212"/>
                    <a:pt x="884" y="210"/>
                    <a:pt x="884" y="208"/>
                  </a:cubicBezTo>
                  <a:cubicBezTo>
                    <a:pt x="885" y="206"/>
                    <a:pt x="885" y="204"/>
                    <a:pt x="885" y="202"/>
                  </a:cubicBezTo>
                  <a:cubicBezTo>
                    <a:pt x="885" y="197"/>
                    <a:pt x="884" y="191"/>
                    <a:pt x="884" y="186"/>
                  </a:cubicBezTo>
                  <a:moveTo>
                    <a:pt x="1161" y="208"/>
                  </a:moveTo>
                  <a:cubicBezTo>
                    <a:pt x="1161" y="208"/>
                    <a:pt x="1161" y="208"/>
                    <a:pt x="1161" y="208"/>
                  </a:cubicBezTo>
                  <a:cubicBezTo>
                    <a:pt x="1156" y="213"/>
                    <a:pt x="1150" y="218"/>
                    <a:pt x="1145" y="223"/>
                  </a:cubicBezTo>
                  <a:cubicBezTo>
                    <a:pt x="1145" y="223"/>
                    <a:pt x="1145" y="223"/>
                    <a:pt x="1145" y="223"/>
                  </a:cubicBezTo>
                  <a:cubicBezTo>
                    <a:pt x="1141" y="227"/>
                    <a:pt x="1137" y="231"/>
                    <a:pt x="1133" y="235"/>
                  </a:cubicBezTo>
                  <a:cubicBezTo>
                    <a:pt x="1134" y="234"/>
                    <a:pt x="1135" y="234"/>
                    <a:pt x="1135" y="234"/>
                  </a:cubicBezTo>
                  <a:cubicBezTo>
                    <a:pt x="1139" y="231"/>
                    <a:pt x="1142" y="228"/>
                    <a:pt x="1145" y="224"/>
                  </a:cubicBezTo>
                  <a:cubicBezTo>
                    <a:pt x="1146" y="224"/>
                    <a:pt x="1146" y="224"/>
                    <a:pt x="1146" y="224"/>
                  </a:cubicBezTo>
                  <a:cubicBezTo>
                    <a:pt x="1151" y="219"/>
                    <a:pt x="1156" y="214"/>
                    <a:pt x="1162" y="209"/>
                  </a:cubicBezTo>
                  <a:cubicBezTo>
                    <a:pt x="1162" y="209"/>
                    <a:pt x="1162" y="209"/>
                    <a:pt x="1162" y="208"/>
                  </a:cubicBezTo>
                  <a:cubicBezTo>
                    <a:pt x="1163" y="208"/>
                    <a:pt x="1163" y="208"/>
                    <a:pt x="1163" y="208"/>
                  </a:cubicBezTo>
                  <a:cubicBezTo>
                    <a:pt x="1162" y="208"/>
                    <a:pt x="1162" y="208"/>
                    <a:pt x="1161" y="208"/>
                  </a:cubicBezTo>
                  <a:moveTo>
                    <a:pt x="884" y="214"/>
                  </a:moveTo>
                  <a:cubicBezTo>
                    <a:pt x="884" y="216"/>
                    <a:pt x="883" y="218"/>
                    <a:pt x="883" y="220"/>
                  </a:cubicBezTo>
                  <a:cubicBezTo>
                    <a:pt x="883" y="221"/>
                    <a:pt x="883" y="223"/>
                    <a:pt x="882" y="225"/>
                  </a:cubicBezTo>
                  <a:cubicBezTo>
                    <a:pt x="883" y="225"/>
                    <a:pt x="883" y="224"/>
                    <a:pt x="883" y="224"/>
                  </a:cubicBezTo>
                  <a:cubicBezTo>
                    <a:pt x="884" y="221"/>
                    <a:pt x="884" y="217"/>
                    <a:pt x="884" y="214"/>
                  </a:cubicBezTo>
                  <a:moveTo>
                    <a:pt x="883" y="225"/>
                  </a:moveTo>
                  <a:cubicBezTo>
                    <a:pt x="883" y="226"/>
                    <a:pt x="883" y="226"/>
                    <a:pt x="882" y="226"/>
                  </a:cubicBezTo>
                  <a:cubicBezTo>
                    <a:pt x="882" y="232"/>
                    <a:pt x="881" y="237"/>
                    <a:pt x="880" y="242"/>
                  </a:cubicBezTo>
                  <a:cubicBezTo>
                    <a:pt x="879" y="244"/>
                    <a:pt x="879" y="246"/>
                    <a:pt x="878" y="248"/>
                  </a:cubicBezTo>
                  <a:cubicBezTo>
                    <a:pt x="878" y="249"/>
                    <a:pt x="878" y="250"/>
                    <a:pt x="878" y="251"/>
                  </a:cubicBezTo>
                  <a:cubicBezTo>
                    <a:pt x="878" y="250"/>
                    <a:pt x="879" y="250"/>
                    <a:pt x="879" y="250"/>
                  </a:cubicBezTo>
                  <a:cubicBezTo>
                    <a:pt x="879" y="250"/>
                    <a:pt x="879" y="249"/>
                    <a:pt x="879" y="248"/>
                  </a:cubicBezTo>
                  <a:cubicBezTo>
                    <a:pt x="881" y="241"/>
                    <a:pt x="882" y="233"/>
                    <a:pt x="883" y="225"/>
                  </a:cubicBezTo>
                  <a:moveTo>
                    <a:pt x="1323" y="233"/>
                  </a:moveTo>
                  <a:cubicBezTo>
                    <a:pt x="1320" y="233"/>
                    <a:pt x="1315" y="235"/>
                    <a:pt x="1308" y="240"/>
                  </a:cubicBezTo>
                  <a:cubicBezTo>
                    <a:pt x="1308" y="240"/>
                    <a:pt x="1308" y="240"/>
                    <a:pt x="1308" y="241"/>
                  </a:cubicBezTo>
                  <a:cubicBezTo>
                    <a:pt x="1315" y="236"/>
                    <a:pt x="1320" y="234"/>
                    <a:pt x="1323" y="234"/>
                  </a:cubicBezTo>
                  <a:cubicBezTo>
                    <a:pt x="1323" y="234"/>
                    <a:pt x="1323" y="234"/>
                    <a:pt x="1323" y="234"/>
                  </a:cubicBezTo>
                  <a:cubicBezTo>
                    <a:pt x="1325" y="234"/>
                    <a:pt x="1326" y="235"/>
                    <a:pt x="1326" y="237"/>
                  </a:cubicBezTo>
                  <a:cubicBezTo>
                    <a:pt x="1326" y="243"/>
                    <a:pt x="1318" y="257"/>
                    <a:pt x="1305" y="274"/>
                  </a:cubicBezTo>
                  <a:cubicBezTo>
                    <a:pt x="1304" y="274"/>
                    <a:pt x="1304" y="275"/>
                    <a:pt x="1304" y="276"/>
                  </a:cubicBezTo>
                  <a:cubicBezTo>
                    <a:pt x="1304" y="276"/>
                    <a:pt x="1304" y="276"/>
                    <a:pt x="1304" y="276"/>
                  </a:cubicBezTo>
                  <a:cubicBezTo>
                    <a:pt x="1318" y="259"/>
                    <a:pt x="1327" y="244"/>
                    <a:pt x="1327" y="237"/>
                  </a:cubicBezTo>
                  <a:cubicBezTo>
                    <a:pt x="1327" y="235"/>
                    <a:pt x="1326" y="233"/>
                    <a:pt x="1323" y="233"/>
                  </a:cubicBezTo>
                  <a:moveTo>
                    <a:pt x="1134" y="236"/>
                  </a:moveTo>
                  <a:cubicBezTo>
                    <a:pt x="1133" y="236"/>
                    <a:pt x="1132" y="236"/>
                    <a:pt x="1132" y="236"/>
                  </a:cubicBezTo>
                  <a:cubicBezTo>
                    <a:pt x="1131" y="237"/>
                    <a:pt x="1131" y="237"/>
                    <a:pt x="1131" y="237"/>
                  </a:cubicBezTo>
                  <a:cubicBezTo>
                    <a:pt x="1131" y="238"/>
                    <a:pt x="1131" y="238"/>
                    <a:pt x="1131" y="239"/>
                  </a:cubicBezTo>
                  <a:cubicBezTo>
                    <a:pt x="1132" y="238"/>
                    <a:pt x="1133" y="237"/>
                    <a:pt x="1134" y="236"/>
                  </a:cubicBezTo>
                  <a:moveTo>
                    <a:pt x="1130" y="238"/>
                  </a:moveTo>
                  <a:cubicBezTo>
                    <a:pt x="1126" y="242"/>
                    <a:pt x="1122" y="246"/>
                    <a:pt x="1119" y="250"/>
                  </a:cubicBezTo>
                  <a:cubicBezTo>
                    <a:pt x="1119" y="250"/>
                    <a:pt x="1119" y="250"/>
                    <a:pt x="1120" y="251"/>
                  </a:cubicBezTo>
                  <a:cubicBezTo>
                    <a:pt x="1123" y="247"/>
                    <a:pt x="1126" y="243"/>
                    <a:pt x="1130" y="239"/>
                  </a:cubicBezTo>
                  <a:cubicBezTo>
                    <a:pt x="1130" y="239"/>
                    <a:pt x="1130" y="239"/>
                    <a:pt x="1130" y="238"/>
                  </a:cubicBezTo>
                  <a:moveTo>
                    <a:pt x="1307" y="240"/>
                  </a:moveTo>
                  <a:cubicBezTo>
                    <a:pt x="1301" y="244"/>
                    <a:pt x="1293" y="250"/>
                    <a:pt x="1284" y="258"/>
                  </a:cubicBezTo>
                  <a:cubicBezTo>
                    <a:pt x="1284" y="258"/>
                    <a:pt x="1284" y="258"/>
                    <a:pt x="1284" y="259"/>
                  </a:cubicBezTo>
                  <a:cubicBezTo>
                    <a:pt x="1294" y="251"/>
                    <a:pt x="1301" y="245"/>
                    <a:pt x="1307" y="241"/>
                  </a:cubicBezTo>
                  <a:cubicBezTo>
                    <a:pt x="1307" y="241"/>
                    <a:pt x="1307" y="241"/>
                    <a:pt x="1307" y="240"/>
                  </a:cubicBezTo>
                  <a:moveTo>
                    <a:pt x="1118" y="251"/>
                  </a:moveTo>
                  <a:cubicBezTo>
                    <a:pt x="1118" y="251"/>
                    <a:pt x="1117" y="252"/>
                    <a:pt x="1117" y="252"/>
                  </a:cubicBezTo>
                  <a:cubicBezTo>
                    <a:pt x="1117" y="252"/>
                    <a:pt x="1118" y="252"/>
                    <a:pt x="1118" y="252"/>
                  </a:cubicBezTo>
                  <a:cubicBezTo>
                    <a:pt x="1118" y="252"/>
                    <a:pt x="1119" y="252"/>
                    <a:pt x="1119" y="251"/>
                  </a:cubicBezTo>
                  <a:cubicBezTo>
                    <a:pt x="1119" y="251"/>
                    <a:pt x="1118" y="251"/>
                    <a:pt x="1118" y="251"/>
                  </a:cubicBezTo>
                  <a:moveTo>
                    <a:pt x="879" y="251"/>
                  </a:moveTo>
                  <a:cubicBezTo>
                    <a:pt x="878" y="251"/>
                    <a:pt x="878" y="252"/>
                    <a:pt x="878" y="252"/>
                  </a:cubicBezTo>
                  <a:cubicBezTo>
                    <a:pt x="877" y="255"/>
                    <a:pt x="876" y="259"/>
                    <a:pt x="875" y="262"/>
                  </a:cubicBezTo>
                  <a:cubicBezTo>
                    <a:pt x="875" y="262"/>
                    <a:pt x="875" y="262"/>
                    <a:pt x="875" y="262"/>
                  </a:cubicBezTo>
                  <a:cubicBezTo>
                    <a:pt x="875" y="262"/>
                    <a:pt x="875" y="262"/>
                    <a:pt x="876" y="262"/>
                  </a:cubicBezTo>
                  <a:cubicBezTo>
                    <a:pt x="877" y="260"/>
                    <a:pt x="877" y="257"/>
                    <a:pt x="878" y="254"/>
                  </a:cubicBezTo>
                  <a:cubicBezTo>
                    <a:pt x="878" y="253"/>
                    <a:pt x="879" y="252"/>
                    <a:pt x="879" y="251"/>
                  </a:cubicBezTo>
                  <a:moveTo>
                    <a:pt x="1117" y="253"/>
                  </a:moveTo>
                  <a:cubicBezTo>
                    <a:pt x="1117" y="253"/>
                    <a:pt x="1116" y="253"/>
                    <a:pt x="1116" y="253"/>
                  </a:cubicBezTo>
                  <a:cubicBezTo>
                    <a:pt x="1113" y="257"/>
                    <a:pt x="1110" y="261"/>
                    <a:pt x="1107" y="264"/>
                  </a:cubicBezTo>
                  <a:cubicBezTo>
                    <a:pt x="1108" y="264"/>
                    <a:pt x="1108" y="263"/>
                    <a:pt x="1109" y="263"/>
                  </a:cubicBezTo>
                  <a:cubicBezTo>
                    <a:pt x="1112" y="260"/>
                    <a:pt x="1114" y="257"/>
                    <a:pt x="1117" y="253"/>
                  </a:cubicBezTo>
                  <a:moveTo>
                    <a:pt x="1283" y="258"/>
                  </a:moveTo>
                  <a:cubicBezTo>
                    <a:pt x="1274" y="266"/>
                    <a:pt x="1264" y="274"/>
                    <a:pt x="1252" y="285"/>
                  </a:cubicBezTo>
                  <a:cubicBezTo>
                    <a:pt x="1252" y="286"/>
                    <a:pt x="1252" y="286"/>
                    <a:pt x="1252" y="287"/>
                  </a:cubicBezTo>
                  <a:cubicBezTo>
                    <a:pt x="1264" y="276"/>
                    <a:pt x="1275" y="267"/>
                    <a:pt x="1284" y="259"/>
                  </a:cubicBezTo>
                  <a:cubicBezTo>
                    <a:pt x="1283" y="259"/>
                    <a:pt x="1283" y="259"/>
                    <a:pt x="1283" y="258"/>
                  </a:cubicBezTo>
                  <a:moveTo>
                    <a:pt x="874" y="263"/>
                  </a:moveTo>
                  <a:cubicBezTo>
                    <a:pt x="874" y="264"/>
                    <a:pt x="874" y="264"/>
                    <a:pt x="874" y="264"/>
                  </a:cubicBezTo>
                  <a:cubicBezTo>
                    <a:pt x="874" y="264"/>
                    <a:pt x="875" y="264"/>
                    <a:pt x="875" y="264"/>
                  </a:cubicBezTo>
                  <a:cubicBezTo>
                    <a:pt x="875" y="264"/>
                    <a:pt x="875" y="264"/>
                    <a:pt x="875" y="263"/>
                  </a:cubicBezTo>
                  <a:cubicBezTo>
                    <a:pt x="875" y="263"/>
                    <a:pt x="875" y="263"/>
                    <a:pt x="874" y="263"/>
                  </a:cubicBezTo>
                  <a:moveTo>
                    <a:pt x="1107" y="265"/>
                  </a:moveTo>
                  <a:cubicBezTo>
                    <a:pt x="1107" y="266"/>
                    <a:pt x="1106" y="266"/>
                    <a:pt x="1105" y="266"/>
                  </a:cubicBezTo>
                  <a:cubicBezTo>
                    <a:pt x="1102" y="271"/>
                    <a:pt x="1098" y="276"/>
                    <a:pt x="1096" y="280"/>
                  </a:cubicBezTo>
                  <a:cubicBezTo>
                    <a:pt x="1096" y="281"/>
                    <a:pt x="1096" y="281"/>
                    <a:pt x="1096" y="281"/>
                  </a:cubicBezTo>
                  <a:cubicBezTo>
                    <a:pt x="1096" y="281"/>
                    <a:pt x="1096" y="281"/>
                    <a:pt x="1097" y="281"/>
                  </a:cubicBezTo>
                  <a:cubicBezTo>
                    <a:pt x="1100" y="276"/>
                    <a:pt x="1103" y="271"/>
                    <a:pt x="1107" y="265"/>
                  </a:cubicBezTo>
                  <a:moveTo>
                    <a:pt x="875" y="265"/>
                  </a:moveTo>
                  <a:cubicBezTo>
                    <a:pt x="874" y="265"/>
                    <a:pt x="874" y="265"/>
                    <a:pt x="874" y="266"/>
                  </a:cubicBezTo>
                  <a:cubicBezTo>
                    <a:pt x="873" y="266"/>
                    <a:pt x="873" y="267"/>
                    <a:pt x="873" y="268"/>
                  </a:cubicBezTo>
                  <a:cubicBezTo>
                    <a:pt x="873" y="268"/>
                    <a:pt x="873" y="268"/>
                    <a:pt x="874" y="268"/>
                  </a:cubicBezTo>
                  <a:cubicBezTo>
                    <a:pt x="874" y="267"/>
                    <a:pt x="874" y="266"/>
                    <a:pt x="875" y="266"/>
                  </a:cubicBezTo>
                  <a:cubicBezTo>
                    <a:pt x="875" y="265"/>
                    <a:pt x="875" y="265"/>
                    <a:pt x="875" y="265"/>
                  </a:cubicBezTo>
                  <a:moveTo>
                    <a:pt x="873" y="269"/>
                  </a:moveTo>
                  <a:cubicBezTo>
                    <a:pt x="873" y="269"/>
                    <a:pt x="873" y="269"/>
                    <a:pt x="872" y="269"/>
                  </a:cubicBezTo>
                  <a:cubicBezTo>
                    <a:pt x="872" y="269"/>
                    <a:pt x="872" y="270"/>
                    <a:pt x="872" y="271"/>
                  </a:cubicBezTo>
                  <a:cubicBezTo>
                    <a:pt x="872" y="271"/>
                    <a:pt x="872" y="271"/>
                    <a:pt x="873" y="270"/>
                  </a:cubicBezTo>
                  <a:cubicBezTo>
                    <a:pt x="873" y="270"/>
                    <a:pt x="873" y="269"/>
                    <a:pt x="873" y="269"/>
                  </a:cubicBezTo>
                  <a:moveTo>
                    <a:pt x="872" y="272"/>
                  </a:moveTo>
                  <a:cubicBezTo>
                    <a:pt x="872" y="272"/>
                    <a:pt x="871" y="272"/>
                    <a:pt x="871" y="272"/>
                  </a:cubicBezTo>
                  <a:cubicBezTo>
                    <a:pt x="870" y="275"/>
                    <a:pt x="869" y="278"/>
                    <a:pt x="868" y="280"/>
                  </a:cubicBezTo>
                  <a:cubicBezTo>
                    <a:pt x="868" y="280"/>
                    <a:pt x="868" y="280"/>
                    <a:pt x="869" y="280"/>
                  </a:cubicBezTo>
                  <a:cubicBezTo>
                    <a:pt x="870" y="278"/>
                    <a:pt x="871" y="275"/>
                    <a:pt x="872" y="272"/>
                  </a:cubicBezTo>
                  <a:moveTo>
                    <a:pt x="14" y="273"/>
                  </a:moveTo>
                  <a:cubicBezTo>
                    <a:pt x="5" y="273"/>
                    <a:pt x="0" y="275"/>
                    <a:pt x="0" y="279"/>
                  </a:cubicBezTo>
                  <a:cubicBezTo>
                    <a:pt x="0" y="290"/>
                    <a:pt x="36" y="316"/>
                    <a:pt x="126" y="364"/>
                  </a:cubicBezTo>
                  <a:cubicBezTo>
                    <a:pt x="126" y="364"/>
                    <a:pt x="126" y="364"/>
                    <a:pt x="126" y="364"/>
                  </a:cubicBezTo>
                  <a:cubicBezTo>
                    <a:pt x="126" y="363"/>
                    <a:pt x="126" y="363"/>
                    <a:pt x="126" y="363"/>
                  </a:cubicBezTo>
                  <a:cubicBezTo>
                    <a:pt x="37" y="316"/>
                    <a:pt x="1" y="289"/>
                    <a:pt x="1" y="279"/>
                  </a:cubicBezTo>
                  <a:cubicBezTo>
                    <a:pt x="1" y="276"/>
                    <a:pt x="5" y="274"/>
                    <a:pt x="14" y="274"/>
                  </a:cubicBezTo>
                  <a:cubicBezTo>
                    <a:pt x="14" y="274"/>
                    <a:pt x="14" y="274"/>
                    <a:pt x="14" y="274"/>
                  </a:cubicBezTo>
                  <a:cubicBezTo>
                    <a:pt x="31" y="274"/>
                    <a:pt x="62" y="280"/>
                    <a:pt x="101" y="291"/>
                  </a:cubicBezTo>
                  <a:cubicBezTo>
                    <a:pt x="102" y="291"/>
                    <a:pt x="104" y="291"/>
                    <a:pt x="105" y="291"/>
                  </a:cubicBezTo>
                  <a:cubicBezTo>
                    <a:pt x="104" y="291"/>
                    <a:pt x="103" y="291"/>
                    <a:pt x="102" y="290"/>
                  </a:cubicBezTo>
                  <a:cubicBezTo>
                    <a:pt x="63" y="279"/>
                    <a:pt x="31" y="273"/>
                    <a:pt x="14" y="273"/>
                  </a:cubicBezTo>
                  <a:moveTo>
                    <a:pt x="1303" y="276"/>
                  </a:moveTo>
                  <a:cubicBezTo>
                    <a:pt x="1302" y="276"/>
                    <a:pt x="1302" y="277"/>
                    <a:pt x="1302" y="277"/>
                  </a:cubicBezTo>
                  <a:cubicBezTo>
                    <a:pt x="1302" y="277"/>
                    <a:pt x="1302" y="277"/>
                    <a:pt x="1303" y="277"/>
                  </a:cubicBezTo>
                  <a:cubicBezTo>
                    <a:pt x="1303" y="276"/>
                    <a:pt x="1303" y="276"/>
                    <a:pt x="1303" y="276"/>
                  </a:cubicBezTo>
                  <a:moveTo>
                    <a:pt x="1301" y="279"/>
                  </a:moveTo>
                  <a:cubicBezTo>
                    <a:pt x="1301" y="279"/>
                    <a:pt x="1300" y="279"/>
                    <a:pt x="1300" y="279"/>
                  </a:cubicBezTo>
                  <a:cubicBezTo>
                    <a:pt x="1294" y="286"/>
                    <a:pt x="1287" y="294"/>
                    <a:pt x="1280" y="301"/>
                  </a:cubicBezTo>
                  <a:cubicBezTo>
                    <a:pt x="1280" y="301"/>
                    <a:pt x="1281" y="301"/>
                    <a:pt x="1282" y="300"/>
                  </a:cubicBezTo>
                  <a:cubicBezTo>
                    <a:pt x="1289" y="293"/>
                    <a:pt x="1296" y="286"/>
                    <a:pt x="1302" y="279"/>
                  </a:cubicBezTo>
                  <a:cubicBezTo>
                    <a:pt x="1302" y="279"/>
                    <a:pt x="1301" y="279"/>
                    <a:pt x="1301" y="279"/>
                  </a:cubicBezTo>
                  <a:moveTo>
                    <a:pt x="868" y="281"/>
                  </a:moveTo>
                  <a:cubicBezTo>
                    <a:pt x="868" y="281"/>
                    <a:pt x="868" y="281"/>
                    <a:pt x="867" y="281"/>
                  </a:cubicBezTo>
                  <a:cubicBezTo>
                    <a:pt x="867" y="282"/>
                    <a:pt x="866" y="283"/>
                    <a:pt x="866" y="284"/>
                  </a:cubicBezTo>
                  <a:cubicBezTo>
                    <a:pt x="866" y="284"/>
                    <a:pt x="866" y="285"/>
                    <a:pt x="865" y="286"/>
                  </a:cubicBezTo>
                  <a:cubicBezTo>
                    <a:pt x="865" y="286"/>
                    <a:pt x="866" y="286"/>
                    <a:pt x="866" y="287"/>
                  </a:cubicBezTo>
                  <a:cubicBezTo>
                    <a:pt x="866" y="287"/>
                    <a:pt x="866" y="287"/>
                    <a:pt x="866" y="287"/>
                  </a:cubicBezTo>
                  <a:cubicBezTo>
                    <a:pt x="867" y="285"/>
                    <a:pt x="868" y="283"/>
                    <a:pt x="868" y="281"/>
                  </a:cubicBezTo>
                  <a:moveTo>
                    <a:pt x="1095" y="282"/>
                  </a:moveTo>
                  <a:cubicBezTo>
                    <a:pt x="1095" y="282"/>
                    <a:pt x="1094" y="283"/>
                    <a:pt x="1094" y="284"/>
                  </a:cubicBezTo>
                  <a:cubicBezTo>
                    <a:pt x="1094" y="284"/>
                    <a:pt x="1094" y="284"/>
                    <a:pt x="1094" y="284"/>
                  </a:cubicBezTo>
                  <a:cubicBezTo>
                    <a:pt x="1095" y="283"/>
                    <a:pt x="1095" y="283"/>
                    <a:pt x="1095" y="282"/>
                  </a:cubicBezTo>
                  <a:cubicBezTo>
                    <a:pt x="1095" y="282"/>
                    <a:pt x="1095" y="282"/>
                    <a:pt x="1095" y="282"/>
                  </a:cubicBezTo>
                  <a:moveTo>
                    <a:pt x="1095" y="284"/>
                  </a:moveTo>
                  <a:cubicBezTo>
                    <a:pt x="1095" y="284"/>
                    <a:pt x="1095" y="284"/>
                    <a:pt x="1095" y="285"/>
                  </a:cubicBezTo>
                  <a:cubicBezTo>
                    <a:pt x="1094" y="285"/>
                    <a:pt x="1093" y="286"/>
                    <a:pt x="1093" y="286"/>
                  </a:cubicBezTo>
                  <a:cubicBezTo>
                    <a:pt x="1092" y="288"/>
                    <a:pt x="1091" y="290"/>
                    <a:pt x="1090" y="291"/>
                  </a:cubicBezTo>
                  <a:cubicBezTo>
                    <a:pt x="1090" y="292"/>
                    <a:pt x="1090" y="292"/>
                    <a:pt x="1090" y="293"/>
                  </a:cubicBezTo>
                  <a:cubicBezTo>
                    <a:pt x="1090" y="293"/>
                    <a:pt x="1090" y="293"/>
                    <a:pt x="1090" y="293"/>
                  </a:cubicBezTo>
                  <a:cubicBezTo>
                    <a:pt x="1090" y="293"/>
                    <a:pt x="1089" y="294"/>
                    <a:pt x="1089" y="294"/>
                  </a:cubicBezTo>
                  <a:cubicBezTo>
                    <a:pt x="1089" y="295"/>
                    <a:pt x="1089" y="296"/>
                    <a:pt x="1089" y="296"/>
                  </a:cubicBezTo>
                  <a:cubicBezTo>
                    <a:pt x="1089" y="296"/>
                    <a:pt x="1090" y="296"/>
                    <a:pt x="1090" y="295"/>
                  </a:cubicBezTo>
                  <a:cubicBezTo>
                    <a:pt x="1090" y="295"/>
                    <a:pt x="1090" y="294"/>
                    <a:pt x="1091" y="294"/>
                  </a:cubicBezTo>
                  <a:cubicBezTo>
                    <a:pt x="1091" y="293"/>
                    <a:pt x="1091" y="293"/>
                    <a:pt x="1091" y="292"/>
                  </a:cubicBezTo>
                  <a:cubicBezTo>
                    <a:pt x="1091" y="292"/>
                    <a:pt x="1091" y="292"/>
                    <a:pt x="1091" y="292"/>
                  </a:cubicBezTo>
                  <a:cubicBezTo>
                    <a:pt x="1091" y="291"/>
                    <a:pt x="1092" y="291"/>
                    <a:pt x="1092" y="290"/>
                  </a:cubicBezTo>
                  <a:cubicBezTo>
                    <a:pt x="1093" y="288"/>
                    <a:pt x="1094" y="286"/>
                    <a:pt x="1095" y="284"/>
                  </a:cubicBezTo>
                  <a:moveTo>
                    <a:pt x="1251" y="286"/>
                  </a:moveTo>
                  <a:cubicBezTo>
                    <a:pt x="1250" y="288"/>
                    <a:pt x="1248" y="289"/>
                    <a:pt x="1246" y="291"/>
                  </a:cubicBezTo>
                  <a:cubicBezTo>
                    <a:pt x="1247" y="291"/>
                    <a:pt x="1247" y="291"/>
                    <a:pt x="1247" y="292"/>
                  </a:cubicBezTo>
                  <a:cubicBezTo>
                    <a:pt x="1248" y="290"/>
                    <a:pt x="1250" y="289"/>
                    <a:pt x="1251" y="288"/>
                  </a:cubicBezTo>
                  <a:cubicBezTo>
                    <a:pt x="1251" y="287"/>
                    <a:pt x="1251" y="287"/>
                    <a:pt x="1251" y="286"/>
                  </a:cubicBezTo>
                  <a:moveTo>
                    <a:pt x="865" y="287"/>
                  </a:moveTo>
                  <a:cubicBezTo>
                    <a:pt x="863" y="290"/>
                    <a:pt x="861" y="294"/>
                    <a:pt x="859" y="298"/>
                  </a:cubicBezTo>
                  <a:cubicBezTo>
                    <a:pt x="859" y="298"/>
                    <a:pt x="859" y="298"/>
                    <a:pt x="860" y="298"/>
                  </a:cubicBezTo>
                  <a:cubicBezTo>
                    <a:pt x="861" y="295"/>
                    <a:pt x="863" y="292"/>
                    <a:pt x="865" y="289"/>
                  </a:cubicBezTo>
                  <a:cubicBezTo>
                    <a:pt x="865" y="289"/>
                    <a:pt x="865" y="288"/>
                    <a:pt x="865" y="288"/>
                  </a:cubicBezTo>
                  <a:cubicBezTo>
                    <a:pt x="865" y="287"/>
                    <a:pt x="865" y="287"/>
                    <a:pt x="865" y="287"/>
                  </a:cubicBezTo>
                  <a:moveTo>
                    <a:pt x="1246" y="292"/>
                  </a:moveTo>
                  <a:cubicBezTo>
                    <a:pt x="1241" y="296"/>
                    <a:pt x="1237" y="300"/>
                    <a:pt x="1232" y="304"/>
                  </a:cubicBezTo>
                  <a:cubicBezTo>
                    <a:pt x="1229" y="307"/>
                    <a:pt x="1226" y="310"/>
                    <a:pt x="1223" y="313"/>
                  </a:cubicBezTo>
                  <a:cubicBezTo>
                    <a:pt x="1224" y="313"/>
                    <a:pt x="1225" y="313"/>
                    <a:pt x="1225" y="312"/>
                  </a:cubicBezTo>
                  <a:cubicBezTo>
                    <a:pt x="1228" y="310"/>
                    <a:pt x="1230" y="307"/>
                    <a:pt x="1233" y="305"/>
                  </a:cubicBezTo>
                  <a:cubicBezTo>
                    <a:pt x="1238" y="300"/>
                    <a:pt x="1242" y="296"/>
                    <a:pt x="1246" y="292"/>
                  </a:cubicBezTo>
                  <a:cubicBezTo>
                    <a:pt x="1246" y="292"/>
                    <a:pt x="1246" y="292"/>
                    <a:pt x="1246" y="292"/>
                  </a:cubicBezTo>
                  <a:moveTo>
                    <a:pt x="105" y="292"/>
                  </a:moveTo>
                  <a:cubicBezTo>
                    <a:pt x="128" y="299"/>
                    <a:pt x="153" y="306"/>
                    <a:pt x="179" y="315"/>
                  </a:cubicBezTo>
                  <a:cubicBezTo>
                    <a:pt x="190" y="319"/>
                    <a:pt x="202" y="323"/>
                    <a:pt x="214" y="327"/>
                  </a:cubicBezTo>
                  <a:cubicBezTo>
                    <a:pt x="212" y="326"/>
                    <a:pt x="211" y="325"/>
                    <a:pt x="209" y="324"/>
                  </a:cubicBezTo>
                  <a:cubicBezTo>
                    <a:pt x="200" y="321"/>
                    <a:pt x="190" y="318"/>
                    <a:pt x="181" y="314"/>
                  </a:cubicBezTo>
                  <a:cubicBezTo>
                    <a:pt x="156" y="306"/>
                    <a:pt x="133" y="299"/>
                    <a:pt x="112" y="293"/>
                  </a:cubicBezTo>
                  <a:cubicBezTo>
                    <a:pt x="110" y="293"/>
                    <a:pt x="107" y="292"/>
                    <a:pt x="105" y="292"/>
                  </a:cubicBezTo>
                  <a:moveTo>
                    <a:pt x="1089" y="297"/>
                  </a:moveTo>
                  <a:cubicBezTo>
                    <a:pt x="1089" y="297"/>
                    <a:pt x="1089" y="297"/>
                    <a:pt x="1088" y="297"/>
                  </a:cubicBezTo>
                  <a:cubicBezTo>
                    <a:pt x="1088" y="300"/>
                    <a:pt x="1087" y="302"/>
                    <a:pt x="1087" y="305"/>
                  </a:cubicBezTo>
                  <a:cubicBezTo>
                    <a:pt x="1087" y="304"/>
                    <a:pt x="1087" y="304"/>
                    <a:pt x="1088" y="304"/>
                  </a:cubicBezTo>
                  <a:cubicBezTo>
                    <a:pt x="1088" y="304"/>
                    <a:pt x="1088" y="304"/>
                    <a:pt x="1088" y="304"/>
                  </a:cubicBezTo>
                  <a:cubicBezTo>
                    <a:pt x="1088" y="302"/>
                    <a:pt x="1089" y="299"/>
                    <a:pt x="1089" y="297"/>
                  </a:cubicBezTo>
                  <a:moveTo>
                    <a:pt x="859" y="299"/>
                  </a:moveTo>
                  <a:cubicBezTo>
                    <a:pt x="859" y="299"/>
                    <a:pt x="858" y="299"/>
                    <a:pt x="858" y="299"/>
                  </a:cubicBezTo>
                  <a:cubicBezTo>
                    <a:pt x="853" y="307"/>
                    <a:pt x="847" y="314"/>
                    <a:pt x="841" y="321"/>
                  </a:cubicBezTo>
                  <a:cubicBezTo>
                    <a:pt x="840" y="322"/>
                    <a:pt x="840" y="323"/>
                    <a:pt x="839" y="323"/>
                  </a:cubicBezTo>
                  <a:cubicBezTo>
                    <a:pt x="836" y="327"/>
                    <a:pt x="833" y="330"/>
                    <a:pt x="829" y="333"/>
                  </a:cubicBezTo>
                  <a:cubicBezTo>
                    <a:pt x="830" y="333"/>
                    <a:pt x="830" y="333"/>
                    <a:pt x="831" y="333"/>
                  </a:cubicBezTo>
                  <a:cubicBezTo>
                    <a:pt x="833" y="331"/>
                    <a:pt x="836" y="329"/>
                    <a:pt x="838" y="326"/>
                  </a:cubicBezTo>
                  <a:cubicBezTo>
                    <a:pt x="839" y="325"/>
                    <a:pt x="839" y="325"/>
                    <a:pt x="840" y="324"/>
                  </a:cubicBezTo>
                  <a:cubicBezTo>
                    <a:pt x="847" y="316"/>
                    <a:pt x="854" y="308"/>
                    <a:pt x="859" y="299"/>
                  </a:cubicBezTo>
                  <a:moveTo>
                    <a:pt x="1280" y="302"/>
                  </a:moveTo>
                  <a:cubicBezTo>
                    <a:pt x="1280" y="302"/>
                    <a:pt x="1279" y="302"/>
                    <a:pt x="1278" y="302"/>
                  </a:cubicBezTo>
                  <a:cubicBezTo>
                    <a:pt x="1277" y="304"/>
                    <a:pt x="1275" y="305"/>
                    <a:pt x="1274" y="306"/>
                  </a:cubicBezTo>
                  <a:cubicBezTo>
                    <a:pt x="1275" y="306"/>
                    <a:pt x="1276" y="306"/>
                    <a:pt x="1276" y="306"/>
                  </a:cubicBezTo>
                  <a:cubicBezTo>
                    <a:pt x="1278" y="304"/>
                    <a:pt x="1279" y="303"/>
                    <a:pt x="1280" y="302"/>
                  </a:cubicBezTo>
                  <a:moveTo>
                    <a:pt x="1088" y="305"/>
                  </a:moveTo>
                  <a:cubicBezTo>
                    <a:pt x="1087" y="305"/>
                    <a:pt x="1087" y="306"/>
                    <a:pt x="1087" y="306"/>
                  </a:cubicBezTo>
                  <a:cubicBezTo>
                    <a:pt x="1087" y="306"/>
                    <a:pt x="1087" y="306"/>
                    <a:pt x="1087" y="306"/>
                  </a:cubicBezTo>
                  <a:cubicBezTo>
                    <a:pt x="1086" y="306"/>
                    <a:pt x="1086" y="306"/>
                    <a:pt x="1086" y="306"/>
                  </a:cubicBezTo>
                  <a:cubicBezTo>
                    <a:pt x="1086" y="307"/>
                    <a:pt x="1086" y="307"/>
                    <a:pt x="1086" y="308"/>
                  </a:cubicBezTo>
                  <a:cubicBezTo>
                    <a:pt x="1086" y="309"/>
                    <a:pt x="1086" y="309"/>
                    <a:pt x="1086" y="310"/>
                  </a:cubicBezTo>
                  <a:cubicBezTo>
                    <a:pt x="1086" y="311"/>
                    <a:pt x="1086" y="311"/>
                    <a:pt x="1086" y="311"/>
                  </a:cubicBezTo>
                  <a:cubicBezTo>
                    <a:pt x="1087" y="311"/>
                    <a:pt x="1087" y="311"/>
                    <a:pt x="1087" y="310"/>
                  </a:cubicBezTo>
                  <a:cubicBezTo>
                    <a:pt x="1087" y="310"/>
                    <a:pt x="1087" y="310"/>
                    <a:pt x="1087" y="310"/>
                  </a:cubicBezTo>
                  <a:cubicBezTo>
                    <a:pt x="1087" y="309"/>
                    <a:pt x="1087" y="308"/>
                    <a:pt x="1087" y="307"/>
                  </a:cubicBezTo>
                  <a:cubicBezTo>
                    <a:pt x="1087" y="307"/>
                    <a:pt x="1087" y="306"/>
                    <a:pt x="1088" y="306"/>
                  </a:cubicBezTo>
                  <a:cubicBezTo>
                    <a:pt x="1088" y="306"/>
                    <a:pt x="1088" y="305"/>
                    <a:pt x="1088" y="305"/>
                  </a:cubicBezTo>
                  <a:moveTo>
                    <a:pt x="1275" y="307"/>
                  </a:moveTo>
                  <a:cubicBezTo>
                    <a:pt x="1274" y="308"/>
                    <a:pt x="1273" y="308"/>
                    <a:pt x="1272" y="308"/>
                  </a:cubicBezTo>
                  <a:cubicBezTo>
                    <a:pt x="1271" y="309"/>
                    <a:pt x="1270" y="310"/>
                    <a:pt x="1269" y="311"/>
                  </a:cubicBezTo>
                  <a:cubicBezTo>
                    <a:pt x="1265" y="314"/>
                    <a:pt x="1262" y="318"/>
                    <a:pt x="1258" y="321"/>
                  </a:cubicBezTo>
                  <a:cubicBezTo>
                    <a:pt x="1259" y="320"/>
                    <a:pt x="1260" y="320"/>
                    <a:pt x="1261" y="320"/>
                  </a:cubicBezTo>
                  <a:cubicBezTo>
                    <a:pt x="1266" y="316"/>
                    <a:pt x="1270" y="311"/>
                    <a:pt x="1275" y="307"/>
                  </a:cubicBezTo>
                  <a:moveTo>
                    <a:pt x="1087" y="312"/>
                  </a:moveTo>
                  <a:cubicBezTo>
                    <a:pt x="1087" y="312"/>
                    <a:pt x="1087" y="312"/>
                    <a:pt x="1086" y="312"/>
                  </a:cubicBezTo>
                  <a:cubicBezTo>
                    <a:pt x="1086" y="313"/>
                    <a:pt x="1087" y="315"/>
                    <a:pt x="1087" y="316"/>
                  </a:cubicBezTo>
                  <a:cubicBezTo>
                    <a:pt x="1087" y="316"/>
                    <a:pt x="1087" y="316"/>
                    <a:pt x="1087" y="316"/>
                  </a:cubicBezTo>
                  <a:cubicBezTo>
                    <a:pt x="1087" y="316"/>
                    <a:pt x="1087" y="316"/>
                    <a:pt x="1088" y="316"/>
                  </a:cubicBezTo>
                  <a:cubicBezTo>
                    <a:pt x="1088" y="315"/>
                    <a:pt x="1088" y="315"/>
                    <a:pt x="1088" y="315"/>
                  </a:cubicBezTo>
                  <a:cubicBezTo>
                    <a:pt x="1087" y="314"/>
                    <a:pt x="1087" y="313"/>
                    <a:pt x="1087" y="312"/>
                  </a:cubicBezTo>
                  <a:moveTo>
                    <a:pt x="1224" y="314"/>
                  </a:moveTo>
                  <a:cubicBezTo>
                    <a:pt x="1223" y="314"/>
                    <a:pt x="1222" y="315"/>
                    <a:pt x="1221" y="315"/>
                  </a:cubicBezTo>
                  <a:cubicBezTo>
                    <a:pt x="1220" y="316"/>
                    <a:pt x="1219" y="317"/>
                    <a:pt x="1218" y="318"/>
                  </a:cubicBezTo>
                  <a:cubicBezTo>
                    <a:pt x="1218" y="318"/>
                    <a:pt x="1218" y="319"/>
                    <a:pt x="1219" y="319"/>
                  </a:cubicBezTo>
                  <a:cubicBezTo>
                    <a:pt x="1220" y="317"/>
                    <a:pt x="1222" y="316"/>
                    <a:pt x="1224" y="314"/>
                  </a:cubicBezTo>
                  <a:moveTo>
                    <a:pt x="1088" y="317"/>
                  </a:moveTo>
                  <a:cubicBezTo>
                    <a:pt x="1088" y="317"/>
                    <a:pt x="1087" y="318"/>
                    <a:pt x="1087" y="318"/>
                  </a:cubicBezTo>
                  <a:cubicBezTo>
                    <a:pt x="1087" y="319"/>
                    <a:pt x="1088" y="319"/>
                    <a:pt x="1088" y="320"/>
                  </a:cubicBezTo>
                  <a:cubicBezTo>
                    <a:pt x="1088" y="320"/>
                    <a:pt x="1088" y="320"/>
                    <a:pt x="1089" y="320"/>
                  </a:cubicBezTo>
                  <a:cubicBezTo>
                    <a:pt x="1089" y="320"/>
                    <a:pt x="1089" y="320"/>
                    <a:pt x="1088" y="320"/>
                  </a:cubicBezTo>
                  <a:cubicBezTo>
                    <a:pt x="1088" y="319"/>
                    <a:pt x="1088" y="319"/>
                    <a:pt x="1088" y="318"/>
                  </a:cubicBezTo>
                  <a:cubicBezTo>
                    <a:pt x="1088" y="318"/>
                    <a:pt x="1088" y="318"/>
                    <a:pt x="1088" y="317"/>
                  </a:cubicBezTo>
                  <a:moveTo>
                    <a:pt x="1217" y="319"/>
                  </a:moveTo>
                  <a:cubicBezTo>
                    <a:pt x="1213" y="323"/>
                    <a:pt x="1210" y="326"/>
                    <a:pt x="1207" y="329"/>
                  </a:cubicBezTo>
                  <a:cubicBezTo>
                    <a:pt x="1207" y="329"/>
                    <a:pt x="1208" y="328"/>
                    <a:pt x="1209" y="328"/>
                  </a:cubicBezTo>
                  <a:cubicBezTo>
                    <a:pt x="1212" y="325"/>
                    <a:pt x="1215" y="322"/>
                    <a:pt x="1218" y="319"/>
                  </a:cubicBezTo>
                  <a:cubicBezTo>
                    <a:pt x="1218" y="319"/>
                    <a:pt x="1217" y="319"/>
                    <a:pt x="1217" y="319"/>
                  </a:cubicBezTo>
                  <a:moveTo>
                    <a:pt x="1089" y="321"/>
                  </a:moveTo>
                  <a:cubicBezTo>
                    <a:pt x="1089" y="321"/>
                    <a:pt x="1088" y="321"/>
                    <a:pt x="1088" y="321"/>
                  </a:cubicBezTo>
                  <a:cubicBezTo>
                    <a:pt x="1088" y="322"/>
                    <a:pt x="1089" y="323"/>
                    <a:pt x="1089" y="324"/>
                  </a:cubicBezTo>
                  <a:cubicBezTo>
                    <a:pt x="1089" y="324"/>
                    <a:pt x="1090" y="324"/>
                    <a:pt x="1090" y="324"/>
                  </a:cubicBezTo>
                  <a:cubicBezTo>
                    <a:pt x="1089" y="323"/>
                    <a:pt x="1089" y="322"/>
                    <a:pt x="1089" y="321"/>
                  </a:cubicBezTo>
                  <a:moveTo>
                    <a:pt x="1259" y="321"/>
                  </a:moveTo>
                  <a:cubicBezTo>
                    <a:pt x="1258" y="322"/>
                    <a:pt x="1257" y="322"/>
                    <a:pt x="1256" y="323"/>
                  </a:cubicBezTo>
                  <a:cubicBezTo>
                    <a:pt x="1245" y="331"/>
                    <a:pt x="1234" y="339"/>
                    <a:pt x="1223" y="346"/>
                  </a:cubicBezTo>
                  <a:cubicBezTo>
                    <a:pt x="1225" y="345"/>
                    <a:pt x="1226" y="345"/>
                    <a:pt x="1228" y="344"/>
                  </a:cubicBezTo>
                  <a:cubicBezTo>
                    <a:pt x="1239" y="337"/>
                    <a:pt x="1249" y="330"/>
                    <a:pt x="1259" y="321"/>
                  </a:cubicBezTo>
                  <a:moveTo>
                    <a:pt x="1090" y="324"/>
                  </a:moveTo>
                  <a:cubicBezTo>
                    <a:pt x="1090" y="325"/>
                    <a:pt x="1090" y="325"/>
                    <a:pt x="1089" y="325"/>
                  </a:cubicBezTo>
                  <a:cubicBezTo>
                    <a:pt x="1089" y="325"/>
                    <a:pt x="1090" y="326"/>
                    <a:pt x="1090" y="326"/>
                  </a:cubicBezTo>
                  <a:cubicBezTo>
                    <a:pt x="1090" y="326"/>
                    <a:pt x="1090" y="326"/>
                    <a:pt x="1090" y="327"/>
                  </a:cubicBezTo>
                  <a:cubicBezTo>
                    <a:pt x="1090" y="327"/>
                    <a:pt x="1090" y="327"/>
                    <a:pt x="1090" y="327"/>
                  </a:cubicBezTo>
                  <a:cubicBezTo>
                    <a:pt x="1090" y="327"/>
                    <a:pt x="1091" y="327"/>
                    <a:pt x="1091" y="327"/>
                  </a:cubicBezTo>
                  <a:cubicBezTo>
                    <a:pt x="1091" y="327"/>
                    <a:pt x="1091" y="327"/>
                    <a:pt x="1091" y="327"/>
                  </a:cubicBezTo>
                  <a:cubicBezTo>
                    <a:pt x="1091" y="327"/>
                    <a:pt x="1091" y="327"/>
                    <a:pt x="1091" y="326"/>
                  </a:cubicBezTo>
                  <a:cubicBezTo>
                    <a:pt x="1091" y="326"/>
                    <a:pt x="1091" y="326"/>
                    <a:pt x="1091" y="326"/>
                  </a:cubicBezTo>
                  <a:cubicBezTo>
                    <a:pt x="1091" y="326"/>
                    <a:pt x="1091" y="325"/>
                    <a:pt x="1090" y="325"/>
                  </a:cubicBezTo>
                  <a:cubicBezTo>
                    <a:pt x="1090" y="325"/>
                    <a:pt x="1090" y="325"/>
                    <a:pt x="1090" y="324"/>
                  </a:cubicBezTo>
                  <a:moveTo>
                    <a:pt x="214" y="326"/>
                  </a:moveTo>
                  <a:cubicBezTo>
                    <a:pt x="216" y="327"/>
                    <a:pt x="217" y="327"/>
                    <a:pt x="219" y="328"/>
                  </a:cubicBezTo>
                  <a:cubicBezTo>
                    <a:pt x="250" y="339"/>
                    <a:pt x="281" y="351"/>
                    <a:pt x="313" y="363"/>
                  </a:cubicBezTo>
                  <a:cubicBezTo>
                    <a:pt x="317" y="365"/>
                    <a:pt x="321" y="367"/>
                    <a:pt x="326" y="368"/>
                  </a:cubicBezTo>
                  <a:cubicBezTo>
                    <a:pt x="326" y="368"/>
                    <a:pt x="326" y="368"/>
                    <a:pt x="327" y="368"/>
                  </a:cubicBezTo>
                  <a:cubicBezTo>
                    <a:pt x="322" y="366"/>
                    <a:pt x="318" y="364"/>
                    <a:pt x="313" y="362"/>
                  </a:cubicBezTo>
                  <a:cubicBezTo>
                    <a:pt x="280" y="349"/>
                    <a:pt x="247" y="337"/>
                    <a:pt x="214" y="326"/>
                  </a:cubicBezTo>
                  <a:moveTo>
                    <a:pt x="1092" y="328"/>
                  </a:moveTo>
                  <a:cubicBezTo>
                    <a:pt x="1092" y="328"/>
                    <a:pt x="1091" y="328"/>
                    <a:pt x="1091" y="328"/>
                  </a:cubicBezTo>
                  <a:cubicBezTo>
                    <a:pt x="1092" y="329"/>
                    <a:pt x="1092" y="330"/>
                    <a:pt x="1093" y="331"/>
                  </a:cubicBezTo>
                  <a:cubicBezTo>
                    <a:pt x="1093" y="331"/>
                    <a:pt x="1093" y="332"/>
                    <a:pt x="1093" y="332"/>
                  </a:cubicBezTo>
                  <a:cubicBezTo>
                    <a:pt x="1096" y="336"/>
                    <a:pt x="1099" y="340"/>
                    <a:pt x="1104" y="343"/>
                  </a:cubicBezTo>
                  <a:cubicBezTo>
                    <a:pt x="1104" y="343"/>
                    <a:pt x="1104" y="343"/>
                    <a:pt x="1105" y="343"/>
                  </a:cubicBezTo>
                  <a:cubicBezTo>
                    <a:pt x="1100" y="339"/>
                    <a:pt x="1097" y="335"/>
                    <a:pt x="1094" y="331"/>
                  </a:cubicBezTo>
                  <a:cubicBezTo>
                    <a:pt x="1094" y="331"/>
                    <a:pt x="1094" y="331"/>
                    <a:pt x="1094" y="331"/>
                  </a:cubicBezTo>
                  <a:cubicBezTo>
                    <a:pt x="1093" y="330"/>
                    <a:pt x="1092" y="329"/>
                    <a:pt x="1092" y="328"/>
                  </a:cubicBezTo>
                  <a:moveTo>
                    <a:pt x="1207" y="330"/>
                  </a:moveTo>
                  <a:cubicBezTo>
                    <a:pt x="1206" y="330"/>
                    <a:pt x="1206" y="330"/>
                    <a:pt x="1205" y="331"/>
                  </a:cubicBezTo>
                  <a:cubicBezTo>
                    <a:pt x="1199" y="336"/>
                    <a:pt x="1194" y="342"/>
                    <a:pt x="1188" y="347"/>
                  </a:cubicBezTo>
                  <a:cubicBezTo>
                    <a:pt x="1189" y="346"/>
                    <a:pt x="1190" y="346"/>
                    <a:pt x="1191" y="346"/>
                  </a:cubicBezTo>
                  <a:cubicBezTo>
                    <a:pt x="1196" y="341"/>
                    <a:pt x="1201" y="335"/>
                    <a:pt x="1207" y="330"/>
                  </a:cubicBezTo>
                  <a:moveTo>
                    <a:pt x="830" y="334"/>
                  </a:moveTo>
                  <a:cubicBezTo>
                    <a:pt x="829" y="334"/>
                    <a:pt x="829" y="334"/>
                    <a:pt x="828" y="334"/>
                  </a:cubicBezTo>
                  <a:cubicBezTo>
                    <a:pt x="820" y="341"/>
                    <a:pt x="812" y="348"/>
                    <a:pt x="802" y="354"/>
                  </a:cubicBezTo>
                  <a:cubicBezTo>
                    <a:pt x="803" y="354"/>
                    <a:pt x="804" y="354"/>
                    <a:pt x="805" y="354"/>
                  </a:cubicBezTo>
                  <a:cubicBezTo>
                    <a:pt x="814" y="348"/>
                    <a:pt x="822" y="341"/>
                    <a:pt x="830" y="334"/>
                  </a:cubicBezTo>
                  <a:moveTo>
                    <a:pt x="1106" y="344"/>
                  </a:moveTo>
                  <a:cubicBezTo>
                    <a:pt x="1105" y="344"/>
                    <a:pt x="1105" y="344"/>
                    <a:pt x="1104" y="344"/>
                  </a:cubicBezTo>
                  <a:cubicBezTo>
                    <a:pt x="1107" y="346"/>
                    <a:pt x="1110" y="348"/>
                    <a:pt x="1113" y="351"/>
                  </a:cubicBezTo>
                  <a:cubicBezTo>
                    <a:pt x="1113" y="350"/>
                    <a:pt x="1114" y="350"/>
                    <a:pt x="1114" y="350"/>
                  </a:cubicBezTo>
                  <a:cubicBezTo>
                    <a:pt x="1111" y="348"/>
                    <a:pt x="1108" y="346"/>
                    <a:pt x="1106" y="344"/>
                  </a:cubicBezTo>
                  <a:moveTo>
                    <a:pt x="1223" y="347"/>
                  </a:moveTo>
                  <a:cubicBezTo>
                    <a:pt x="1221" y="348"/>
                    <a:pt x="1219" y="349"/>
                    <a:pt x="1217" y="349"/>
                  </a:cubicBezTo>
                  <a:cubicBezTo>
                    <a:pt x="1202" y="358"/>
                    <a:pt x="1187" y="365"/>
                    <a:pt x="1172" y="368"/>
                  </a:cubicBezTo>
                  <a:cubicBezTo>
                    <a:pt x="1170" y="368"/>
                    <a:pt x="1169" y="369"/>
                    <a:pt x="1167" y="369"/>
                  </a:cubicBezTo>
                  <a:cubicBezTo>
                    <a:pt x="1186" y="366"/>
                    <a:pt x="1205" y="358"/>
                    <a:pt x="1223" y="347"/>
                  </a:cubicBezTo>
                  <a:moveTo>
                    <a:pt x="1189" y="348"/>
                  </a:moveTo>
                  <a:cubicBezTo>
                    <a:pt x="1188" y="348"/>
                    <a:pt x="1187" y="348"/>
                    <a:pt x="1186" y="349"/>
                  </a:cubicBezTo>
                  <a:cubicBezTo>
                    <a:pt x="1179" y="356"/>
                    <a:pt x="1172" y="362"/>
                    <a:pt x="1166" y="369"/>
                  </a:cubicBezTo>
                  <a:cubicBezTo>
                    <a:pt x="1164" y="369"/>
                    <a:pt x="1162" y="369"/>
                    <a:pt x="1160" y="369"/>
                  </a:cubicBezTo>
                  <a:cubicBezTo>
                    <a:pt x="1160" y="370"/>
                    <a:pt x="1159" y="370"/>
                    <a:pt x="1159" y="370"/>
                  </a:cubicBezTo>
                  <a:cubicBezTo>
                    <a:pt x="1160" y="370"/>
                    <a:pt x="1162" y="370"/>
                    <a:pt x="1163" y="370"/>
                  </a:cubicBezTo>
                  <a:cubicBezTo>
                    <a:pt x="1164" y="369"/>
                    <a:pt x="1166" y="369"/>
                    <a:pt x="1167" y="368"/>
                  </a:cubicBezTo>
                  <a:cubicBezTo>
                    <a:pt x="1174" y="362"/>
                    <a:pt x="1181" y="355"/>
                    <a:pt x="1189" y="348"/>
                  </a:cubicBezTo>
                  <a:moveTo>
                    <a:pt x="1115" y="351"/>
                  </a:moveTo>
                  <a:cubicBezTo>
                    <a:pt x="1115" y="351"/>
                    <a:pt x="1114" y="351"/>
                    <a:pt x="1114" y="351"/>
                  </a:cubicBezTo>
                  <a:cubicBezTo>
                    <a:pt x="1115" y="351"/>
                    <a:pt x="1116" y="352"/>
                    <a:pt x="1117" y="352"/>
                  </a:cubicBezTo>
                  <a:cubicBezTo>
                    <a:pt x="1116" y="351"/>
                    <a:pt x="1116" y="351"/>
                    <a:pt x="1115" y="351"/>
                  </a:cubicBezTo>
                  <a:moveTo>
                    <a:pt x="1116" y="353"/>
                  </a:moveTo>
                  <a:cubicBezTo>
                    <a:pt x="1118" y="354"/>
                    <a:pt x="1119" y="354"/>
                    <a:pt x="1120" y="355"/>
                  </a:cubicBezTo>
                  <a:cubicBezTo>
                    <a:pt x="1121" y="355"/>
                    <a:pt x="1121" y="355"/>
                    <a:pt x="1121" y="355"/>
                  </a:cubicBezTo>
                  <a:cubicBezTo>
                    <a:pt x="1121" y="354"/>
                    <a:pt x="1120" y="354"/>
                    <a:pt x="1119" y="353"/>
                  </a:cubicBezTo>
                  <a:cubicBezTo>
                    <a:pt x="1118" y="353"/>
                    <a:pt x="1117" y="353"/>
                    <a:pt x="1116" y="353"/>
                  </a:cubicBezTo>
                  <a:moveTo>
                    <a:pt x="803" y="355"/>
                  </a:moveTo>
                  <a:cubicBezTo>
                    <a:pt x="802" y="355"/>
                    <a:pt x="801" y="355"/>
                    <a:pt x="800" y="355"/>
                  </a:cubicBezTo>
                  <a:cubicBezTo>
                    <a:pt x="800" y="355"/>
                    <a:pt x="799" y="356"/>
                    <a:pt x="799" y="356"/>
                  </a:cubicBezTo>
                  <a:cubicBezTo>
                    <a:pt x="797" y="357"/>
                    <a:pt x="795" y="358"/>
                    <a:pt x="793" y="359"/>
                  </a:cubicBezTo>
                  <a:cubicBezTo>
                    <a:pt x="782" y="365"/>
                    <a:pt x="770" y="371"/>
                    <a:pt x="757" y="375"/>
                  </a:cubicBezTo>
                  <a:cubicBezTo>
                    <a:pt x="759" y="375"/>
                    <a:pt x="761" y="375"/>
                    <a:pt x="762" y="375"/>
                  </a:cubicBezTo>
                  <a:cubicBezTo>
                    <a:pt x="771" y="371"/>
                    <a:pt x="779" y="368"/>
                    <a:pt x="787" y="364"/>
                  </a:cubicBezTo>
                  <a:cubicBezTo>
                    <a:pt x="789" y="363"/>
                    <a:pt x="791" y="361"/>
                    <a:pt x="793" y="360"/>
                  </a:cubicBezTo>
                  <a:cubicBezTo>
                    <a:pt x="797" y="358"/>
                    <a:pt x="800" y="357"/>
                    <a:pt x="803" y="355"/>
                  </a:cubicBezTo>
                  <a:moveTo>
                    <a:pt x="1123" y="355"/>
                  </a:moveTo>
                  <a:cubicBezTo>
                    <a:pt x="1122" y="356"/>
                    <a:pt x="1122" y="356"/>
                    <a:pt x="1121" y="356"/>
                  </a:cubicBezTo>
                  <a:cubicBezTo>
                    <a:pt x="1123" y="357"/>
                    <a:pt x="1124" y="357"/>
                    <a:pt x="1125" y="358"/>
                  </a:cubicBezTo>
                  <a:cubicBezTo>
                    <a:pt x="1125" y="358"/>
                    <a:pt x="1126" y="358"/>
                    <a:pt x="1126" y="357"/>
                  </a:cubicBezTo>
                  <a:cubicBezTo>
                    <a:pt x="1125" y="357"/>
                    <a:pt x="1124" y="356"/>
                    <a:pt x="1123" y="355"/>
                  </a:cubicBezTo>
                  <a:moveTo>
                    <a:pt x="1127" y="358"/>
                  </a:moveTo>
                  <a:cubicBezTo>
                    <a:pt x="1127" y="358"/>
                    <a:pt x="1126" y="358"/>
                    <a:pt x="1126" y="359"/>
                  </a:cubicBezTo>
                  <a:cubicBezTo>
                    <a:pt x="1130" y="361"/>
                    <a:pt x="1134" y="363"/>
                    <a:pt x="1138" y="365"/>
                  </a:cubicBezTo>
                  <a:cubicBezTo>
                    <a:pt x="1138" y="365"/>
                    <a:pt x="1139" y="365"/>
                    <a:pt x="1139" y="364"/>
                  </a:cubicBezTo>
                  <a:cubicBezTo>
                    <a:pt x="1135" y="362"/>
                    <a:pt x="1131" y="360"/>
                    <a:pt x="1127" y="358"/>
                  </a:cubicBezTo>
                  <a:moveTo>
                    <a:pt x="126" y="363"/>
                  </a:moveTo>
                  <a:cubicBezTo>
                    <a:pt x="126" y="364"/>
                    <a:pt x="126" y="364"/>
                    <a:pt x="126" y="364"/>
                  </a:cubicBezTo>
                  <a:cubicBezTo>
                    <a:pt x="126" y="364"/>
                    <a:pt x="126" y="364"/>
                    <a:pt x="126" y="364"/>
                  </a:cubicBezTo>
                  <a:cubicBezTo>
                    <a:pt x="222" y="416"/>
                    <a:pt x="314" y="452"/>
                    <a:pt x="400" y="476"/>
                  </a:cubicBezTo>
                  <a:cubicBezTo>
                    <a:pt x="400" y="476"/>
                    <a:pt x="400" y="475"/>
                    <a:pt x="400" y="475"/>
                  </a:cubicBezTo>
                  <a:cubicBezTo>
                    <a:pt x="315" y="451"/>
                    <a:pt x="223" y="415"/>
                    <a:pt x="126" y="363"/>
                  </a:cubicBezTo>
                  <a:moveTo>
                    <a:pt x="1140" y="365"/>
                  </a:moveTo>
                  <a:cubicBezTo>
                    <a:pt x="1140" y="365"/>
                    <a:pt x="1140" y="365"/>
                    <a:pt x="1139" y="365"/>
                  </a:cubicBezTo>
                  <a:cubicBezTo>
                    <a:pt x="1140" y="366"/>
                    <a:pt x="1142" y="367"/>
                    <a:pt x="1143" y="367"/>
                  </a:cubicBezTo>
                  <a:cubicBezTo>
                    <a:pt x="1143" y="367"/>
                    <a:pt x="1143" y="367"/>
                    <a:pt x="1144" y="367"/>
                  </a:cubicBezTo>
                  <a:cubicBezTo>
                    <a:pt x="1143" y="366"/>
                    <a:pt x="1142" y="366"/>
                    <a:pt x="1140" y="365"/>
                  </a:cubicBezTo>
                  <a:moveTo>
                    <a:pt x="1145" y="367"/>
                  </a:moveTo>
                  <a:cubicBezTo>
                    <a:pt x="1145" y="367"/>
                    <a:pt x="1144" y="368"/>
                    <a:pt x="1144" y="368"/>
                  </a:cubicBezTo>
                  <a:cubicBezTo>
                    <a:pt x="1146" y="369"/>
                    <a:pt x="1148" y="369"/>
                    <a:pt x="1149" y="370"/>
                  </a:cubicBezTo>
                  <a:cubicBezTo>
                    <a:pt x="1151" y="370"/>
                    <a:pt x="1152" y="370"/>
                    <a:pt x="1154" y="370"/>
                  </a:cubicBezTo>
                  <a:cubicBezTo>
                    <a:pt x="1155" y="370"/>
                    <a:pt x="1156" y="370"/>
                    <a:pt x="1157" y="370"/>
                  </a:cubicBezTo>
                  <a:cubicBezTo>
                    <a:pt x="1158" y="370"/>
                    <a:pt x="1158" y="370"/>
                    <a:pt x="1158" y="369"/>
                  </a:cubicBezTo>
                  <a:cubicBezTo>
                    <a:pt x="1157" y="369"/>
                    <a:pt x="1155" y="369"/>
                    <a:pt x="1154" y="369"/>
                  </a:cubicBezTo>
                  <a:cubicBezTo>
                    <a:pt x="1152" y="369"/>
                    <a:pt x="1151" y="369"/>
                    <a:pt x="1150" y="369"/>
                  </a:cubicBezTo>
                  <a:cubicBezTo>
                    <a:pt x="1148" y="369"/>
                    <a:pt x="1146" y="368"/>
                    <a:pt x="1145" y="367"/>
                  </a:cubicBezTo>
                  <a:moveTo>
                    <a:pt x="327" y="368"/>
                  </a:moveTo>
                  <a:cubicBezTo>
                    <a:pt x="327" y="368"/>
                    <a:pt x="327" y="369"/>
                    <a:pt x="327" y="369"/>
                  </a:cubicBezTo>
                  <a:cubicBezTo>
                    <a:pt x="329" y="370"/>
                    <a:pt x="332" y="371"/>
                    <a:pt x="334" y="372"/>
                  </a:cubicBezTo>
                  <a:cubicBezTo>
                    <a:pt x="334" y="371"/>
                    <a:pt x="334" y="371"/>
                    <a:pt x="335" y="371"/>
                  </a:cubicBezTo>
                  <a:cubicBezTo>
                    <a:pt x="332" y="370"/>
                    <a:pt x="330" y="369"/>
                    <a:pt x="327" y="368"/>
                  </a:cubicBezTo>
                  <a:moveTo>
                    <a:pt x="1166" y="370"/>
                  </a:moveTo>
                  <a:cubicBezTo>
                    <a:pt x="1165" y="370"/>
                    <a:pt x="1164" y="371"/>
                    <a:pt x="1163" y="371"/>
                  </a:cubicBezTo>
                  <a:cubicBezTo>
                    <a:pt x="1148" y="385"/>
                    <a:pt x="1135" y="397"/>
                    <a:pt x="1124" y="408"/>
                  </a:cubicBezTo>
                  <a:cubicBezTo>
                    <a:pt x="1124" y="408"/>
                    <a:pt x="1124" y="409"/>
                    <a:pt x="1123" y="409"/>
                  </a:cubicBezTo>
                  <a:cubicBezTo>
                    <a:pt x="1121" y="411"/>
                    <a:pt x="1119" y="413"/>
                    <a:pt x="1116" y="415"/>
                  </a:cubicBezTo>
                  <a:cubicBezTo>
                    <a:pt x="1117" y="415"/>
                    <a:pt x="1118" y="414"/>
                    <a:pt x="1120" y="414"/>
                  </a:cubicBezTo>
                  <a:cubicBezTo>
                    <a:pt x="1121" y="412"/>
                    <a:pt x="1123" y="411"/>
                    <a:pt x="1124" y="409"/>
                  </a:cubicBezTo>
                  <a:cubicBezTo>
                    <a:pt x="1125" y="409"/>
                    <a:pt x="1125" y="409"/>
                    <a:pt x="1125" y="408"/>
                  </a:cubicBezTo>
                  <a:cubicBezTo>
                    <a:pt x="1137" y="397"/>
                    <a:pt x="1150" y="385"/>
                    <a:pt x="1166" y="370"/>
                  </a:cubicBezTo>
                  <a:moveTo>
                    <a:pt x="335" y="371"/>
                  </a:moveTo>
                  <a:cubicBezTo>
                    <a:pt x="335" y="372"/>
                    <a:pt x="335" y="372"/>
                    <a:pt x="335" y="372"/>
                  </a:cubicBezTo>
                  <a:cubicBezTo>
                    <a:pt x="338" y="374"/>
                    <a:pt x="342" y="375"/>
                    <a:pt x="346" y="376"/>
                  </a:cubicBezTo>
                  <a:cubicBezTo>
                    <a:pt x="345" y="376"/>
                    <a:pt x="345" y="376"/>
                    <a:pt x="345" y="375"/>
                  </a:cubicBezTo>
                  <a:cubicBezTo>
                    <a:pt x="342" y="374"/>
                    <a:pt x="339" y="373"/>
                    <a:pt x="335" y="371"/>
                  </a:cubicBezTo>
                  <a:moveTo>
                    <a:pt x="346" y="376"/>
                  </a:moveTo>
                  <a:cubicBezTo>
                    <a:pt x="346" y="376"/>
                    <a:pt x="346" y="376"/>
                    <a:pt x="347" y="377"/>
                  </a:cubicBezTo>
                  <a:cubicBezTo>
                    <a:pt x="350" y="378"/>
                    <a:pt x="353" y="380"/>
                    <a:pt x="357" y="381"/>
                  </a:cubicBezTo>
                  <a:cubicBezTo>
                    <a:pt x="357" y="381"/>
                    <a:pt x="358" y="381"/>
                    <a:pt x="358" y="381"/>
                  </a:cubicBezTo>
                  <a:cubicBezTo>
                    <a:pt x="354" y="379"/>
                    <a:pt x="350" y="377"/>
                    <a:pt x="346" y="376"/>
                  </a:cubicBezTo>
                  <a:moveTo>
                    <a:pt x="758" y="376"/>
                  </a:moveTo>
                  <a:cubicBezTo>
                    <a:pt x="756" y="377"/>
                    <a:pt x="754" y="377"/>
                    <a:pt x="753" y="377"/>
                  </a:cubicBezTo>
                  <a:cubicBezTo>
                    <a:pt x="749" y="378"/>
                    <a:pt x="746" y="379"/>
                    <a:pt x="743" y="380"/>
                  </a:cubicBezTo>
                  <a:cubicBezTo>
                    <a:pt x="742" y="381"/>
                    <a:pt x="741" y="381"/>
                    <a:pt x="740" y="381"/>
                  </a:cubicBezTo>
                  <a:cubicBezTo>
                    <a:pt x="738" y="382"/>
                    <a:pt x="736" y="382"/>
                    <a:pt x="734" y="383"/>
                  </a:cubicBezTo>
                  <a:cubicBezTo>
                    <a:pt x="733" y="383"/>
                    <a:pt x="732" y="383"/>
                    <a:pt x="731" y="384"/>
                  </a:cubicBezTo>
                  <a:cubicBezTo>
                    <a:pt x="730" y="384"/>
                    <a:pt x="728" y="384"/>
                    <a:pt x="727" y="385"/>
                  </a:cubicBezTo>
                  <a:cubicBezTo>
                    <a:pt x="725" y="385"/>
                    <a:pt x="722" y="386"/>
                    <a:pt x="720" y="386"/>
                  </a:cubicBezTo>
                  <a:cubicBezTo>
                    <a:pt x="719" y="387"/>
                    <a:pt x="718" y="387"/>
                    <a:pt x="717" y="387"/>
                  </a:cubicBezTo>
                  <a:cubicBezTo>
                    <a:pt x="717" y="387"/>
                    <a:pt x="716" y="387"/>
                    <a:pt x="716" y="387"/>
                  </a:cubicBezTo>
                  <a:cubicBezTo>
                    <a:pt x="713" y="388"/>
                    <a:pt x="710" y="389"/>
                    <a:pt x="706" y="390"/>
                  </a:cubicBezTo>
                  <a:cubicBezTo>
                    <a:pt x="706" y="390"/>
                    <a:pt x="705" y="390"/>
                    <a:pt x="704" y="391"/>
                  </a:cubicBezTo>
                  <a:cubicBezTo>
                    <a:pt x="704" y="391"/>
                    <a:pt x="703" y="391"/>
                    <a:pt x="703" y="391"/>
                  </a:cubicBezTo>
                  <a:cubicBezTo>
                    <a:pt x="703" y="391"/>
                    <a:pt x="704" y="391"/>
                    <a:pt x="704" y="392"/>
                  </a:cubicBezTo>
                  <a:cubicBezTo>
                    <a:pt x="704" y="392"/>
                    <a:pt x="705" y="392"/>
                    <a:pt x="705" y="391"/>
                  </a:cubicBezTo>
                  <a:cubicBezTo>
                    <a:pt x="708" y="391"/>
                    <a:pt x="711" y="390"/>
                    <a:pt x="714" y="389"/>
                  </a:cubicBezTo>
                  <a:cubicBezTo>
                    <a:pt x="715" y="389"/>
                    <a:pt x="716" y="388"/>
                    <a:pt x="717" y="388"/>
                  </a:cubicBezTo>
                  <a:cubicBezTo>
                    <a:pt x="720" y="387"/>
                    <a:pt x="724" y="386"/>
                    <a:pt x="727" y="386"/>
                  </a:cubicBezTo>
                  <a:cubicBezTo>
                    <a:pt x="727" y="386"/>
                    <a:pt x="728" y="386"/>
                    <a:pt x="728" y="386"/>
                  </a:cubicBezTo>
                  <a:cubicBezTo>
                    <a:pt x="729" y="385"/>
                    <a:pt x="730" y="385"/>
                    <a:pt x="731" y="385"/>
                  </a:cubicBezTo>
                  <a:cubicBezTo>
                    <a:pt x="734" y="384"/>
                    <a:pt x="736" y="383"/>
                    <a:pt x="738" y="383"/>
                  </a:cubicBezTo>
                  <a:cubicBezTo>
                    <a:pt x="739" y="382"/>
                    <a:pt x="740" y="382"/>
                    <a:pt x="741" y="382"/>
                  </a:cubicBezTo>
                  <a:cubicBezTo>
                    <a:pt x="747" y="380"/>
                    <a:pt x="752" y="378"/>
                    <a:pt x="758" y="376"/>
                  </a:cubicBezTo>
                  <a:moveTo>
                    <a:pt x="359" y="381"/>
                  </a:moveTo>
                  <a:cubicBezTo>
                    <a:pt x="359" y="381"/>
                    <a:pt x="358" y="381"/>
                    <a:pt x="358" y="382"/>
                  </a:cubicBezTo>
                  <a:cubicBezTo>
                    <a:pt x="359" y="382"/>
                    <a:pt x="360" y="382"/>
                    <a:pt x="361" y="383"/>
                  </a:cubicBezTo>
                  <a:cubicBezTo>
                    <a:pt x="361" y="382"/>
                    <a:pt x="360" y="382"/>
                    <a:pt x="360" y="381"/>
                  </a:cubicBezTo>
                  <a:cubicBezTo>
                    <a:pt x="360" y="381"/>
                    <a:pt x="360" y="381"/>
                    <a:pt x="359" y="381"/>
                  </a:cubicBezTo>
                  <a:moveTo>
                    <a:pt x="362" y="382"/>
                  </a:moveTo>
                  <a:cubicBezTo>
                    <a:pt x="362" y="383"/>
                    <a:pt x="362" y="383"/>
                    <a:pt x="363" y="384"/>
                  </a:cubicBezTo>
                  <a:cubicBezTo>
                    <a:pt x="370" y="387"/>
                    <a:pt x="378" y="390"/>
                    <a:pt x="385" y="393"/>
                  </a:cubicBezTo>
                  <a:cubicBezTo>
                    <a:pt x="385" y="393"/>
                    <a:pt x="384" y="392"/>
                    <a:pt x="383" y="391"/>
                  </a:cubicBezTo>
                  <a:cubicBezTo>
                    <a:pt x="376" y="388"/>
                    <a:pt x="369" y="385"/>
                    <a:pt x="362" y="382"/>
                  </a:cubicBezTo>
                  <a:moveTo>
                    <a:pt x="701" y="391"/>
                  </a:moveTo>
                  <a:cubicBezTo>
                    <a:pt x="696" y="393"/>
                    <a:pt x="690" y="394"/>
                    <a:pt x="685" y="396"/>
                  </a:cubicBezTo>
                  <a:cubicBezTo>
                    <a:pt x="685" y="396"/>
                    <a:pt x="685" y="397"/>
                    <a:pt x="686" y="397"/>
                  </a:cubicBezTo>
                  <a:cubicBezTo>
                    <a:pt x="691" y="395"/>
                    <a:pt x="697" y="394"/>
                    <a:pt x="703" y="392"/>
                  </a:cubicBezTo>
                  <a:cubicBezTo>
                    <a:pt x="703" y="392"/>
                    <a:pt x="703" y="392"/>
                    <a:pt x="703" y="392"/>
                  </a:cubicBezTo>
                  <a:cubicBezTo>
                    <a:pt x="702" y="392"/>
                    <a:pt x="702" y="392"/>
                    <a:pt x="701" y="391"/>
                  </a:cubicBezTo>
                  <a:moveTo>
                    <a:pt x="386" y="392"/>
                  </a:moveTo>
                  <a:cubicBezTo>
                    <a:pt x="387" y="393"/>
                    <a:pt x="388" y="394"/>
                    <a:pt x="389" y="395"/>
                  </a:cubicBezTo>
                  <a:cubicBezTo>
                    <a:pt x="391" y="396"/>
                    <a:pt x="394" y="397"/>
                    <a:pt x="397" y="398"/>
                  </a:cubicBezTo>
                  <a:cubicBezTo>
                    <a:pt x="398" y="399"/>
                    <a:pt x="399" y="399"/>
                    <a:pt x="400" y="400"/>
                  </a:cubicBezTo>
                  <a:cubicBezTo>
                    <a:pt x="400" y="399"/>
                    <a:pt x="400" y="399"/>
                    <a:pt x="400" y="398"/>
                  </a:cubicBezTo>
                  <a:cubicBezTo>
                    <a:pt x="395" y="396"/>
                    <a:pt x="391" y="394"/>
                    <a:pt x="386" y="392"/>
                  </a:cubicBezTo>
                  <a:moveTo>
                    <a:pt x="684" y="396"/>
                  </a:moveTo>
                  <a:cubicBezTo>
                    <a:pt x="679" y="398"/>
                    <a:pt x="674" y="399"/>
                    <a:pt x="669" y="401"/>
                  </a:cubicBezTo>
                  <a:cubicBezTo>
                    <a:pt x="669" y="401"/>
                    <a:pt x="670" y="401"/>
                    <a:pt x="671" y="401"/>
                  </a:cubicBezTo>
                  <a:cubicBezTo>
                    <a:pt x="675" y="400"/>
                    <a:pt x="680" y="398"/>
                    <a:pt x="685" y="397"/>
                  </a:cubicBezTo>
                  <a:cubicBezTo>
                    <a:pt x="684" y="397"/>
                    <a:pt x="684" y="397"/>
                    <a:pt x="684" y="396"/>
                  </a:cubicBezTo>
                  <a:moveTo>
                    <a:pt x="401" y="399"/>
                  </a:moveTo>
                  <a:cubicBezTo>
                    <a:pt x="401" y="399"/>
                    <a:pt x="401" y="400"/>
                    <a:pt x="401" y="400"/>
                  </a:cubicBezTo>
                  <a:cubicBezTo>
                    <a:pt x="406" y="403"/>
                    <a:pt x="412" y="405"/>
                    <a:pt x="418" y="408"/>
                  </a:cubicBezTo>
                  <a:cubicBezTo>
                    <a:pt x="418" y="407"/>
                    <a:pt x="418" y="407"/>
                    <a:pt x="419" y="407"/>
                  </a:cubicBezTo>
                  <a:cubicBezTo>
                    <a:pt x="419" y="407"/>
                    <a:pt x="418" y="407"/>
                    <a:pt x="418" y="407"/>
                  </a:cubicBezTo>
                  <a:cubicBezTo>
                    <a:pt x="412" y="404"/>
                    <a:pt x="407" y="402"/>
                    <a:pt x="401" y="399"/>
                  </a:cubicBezTo>
                  <a:moveTo>
                    <a:pt x="667" y="401"/>
                  </a:moveTo>
                  <a:cubicBezTo>
                    <a:pt x="659" y="404"/>
                    <a:pt x="652" y="406"/>
                    <a:pt x="645" y="408"/>
                  </a:cubicBezTo>
                  <a:cubicBezTo>
                    <a:pt x="646" y="408"/>
                    <a:pt x="646" y="408"/>
                    <a:pt x="647" y="408"/>
                  </a:cubicBezTo>
                  <a:cubicBezTo>
                    <a:pt x="654" y="406"/>
                    <a:pt x="662" y="404"/>
                    <a:pt x="669" y="402"/>
                  </a:cubicBezTo>
                  <a:cubicBezTo>
                    <a:pt x="668" y="402"/>
                    <a:pt x="667" y="402"/>
                    <a:pt x="667" y="401"/>
                  </a:cubicBezTo>
                  <a:moveTo>
                    <a:pt x="420" y="408"/>
                  </a:moveTo>
                  <a:cubicBezTo>
                    <a:pt x="419" y="408"/>
                    <a:pt x="419" y="408"/>
                    <a:pt x="419" y="408"/>
                  </a:cubicBezTo>
                  <a:cubicBezTo>
                    <a:pt x="420" y="409"/>
                    <a:pt x="420" y="409"/>
                    <a:pt x="421" y="409"/>
                  </a:cubicBezTo>
                  <a:cubicBezTo>
                    <a:pt x="420" y="409"/>
                    <a:pt x="420" y="408"/>
                    <a:pt x="420" y="408"/>
                  </a:cubicBezTo>
                  <a:moveTo>
                    <a:pt x="421" y="408"/>
                  </a:moveTo>
                  <a:cubicBezTo>
                    <a:pt x="422" y="409"/>
                    <a:pt x="423" y="410"/>
                    <a:pt x="424" y="411"/>
                  </a:cubicBezTo>
                  <a:cubicBezTo>
                    <a:pt x="424" y="411"/>
                    <a:pt x="424" y="411"/>
                    <a:pt x="424" y="411"/>
                  </a:cubicBezTo>
                  <a:cubicBezTo>
                    <a:pt x="425" y="411"/>
                    <a:pt x="425" y="411"/>
                    <a:pt x="425" y="410"/>
                  </a:cubicBezTo>
                  <a:cubicBezTo>
                    <a:pt x="424" y="410"/>
                    <a:pt x="423" y="409"/>
                    <a:pt x="422" y="409"/>
                  </a:cubicBezTo>
                  <a:cubicBezTo>
                    <a:pt x="422" y="409"/>
                    <a:pt x="422" y="408"/>
                    <a:pt x="421" y="408"/>
                  </a:cubicBezTo>
                  <a:moveTo>
                    <a:pt x="643" y="409"/>
                  </a:moveTo>
                  <a:cubicBezTo>
                    <a:pt x="639" y="410"/>
                    <a:pt x="634" y="411"/>
                    <a:pt x="630" y="413"/>
                  </a:cubicBezTo>
                  <a:cubicBezTo>
                    <a:pt x="631" y="413"/>
                    <a:pt x="631" y="413"/>
                    <a:pt x="631" y="413"/>
                  </a:cubicBezTo>
                  <a:cubicBezTo>
                    <a:pt x="636" y="412"/>
                    <a:pt x="641" y="411"/>
                    <a:pt x="645" y="409"/>
                  </a:cubicBezTo>
                  <a:cubicBezTo>
                    <a:pt x="644" y="409"/>
                    <a:pt x="643" y="409"/>
                    <a:pt x="643" y="409"/>
                  </a:cubicBezTo>
                  <a:moveTo>
                    <a:pt x="426" y="411"/>
                  </a:moveTo>
                  <a:cubicBezTo>
                    <a:pt x="426" y="411"/>
                    <a:pt x="425" y="411"/>
                    <a:pt x="425" y="411"/>
                  </a:cubicBezTo>
                  <a:cubicBezTo>
                    <a:pt x="426" y="412"/>
                    <a:pt x="427" y="412"/>
                    <a:pt x="429" y="413"/>
                  </a:cubicBezTo>
                  <a:cubicBezTo>
                    <a:pt x="428" y="412"/>
                    <a:pt x="427" y="411"/>
                    <a:pt x="426" y="411"/>
                  </a:cubicBezTo>
                  <a:moveTo>
                    <a:pt x="429" y="412"/>
                  </a:moveTo>
                  <a:cubicBezTo>
                    <a:pt x="432" y="413"/>
                    <a:pt x="434" y="415"/>
                    <a:pt x="437" y="417"/>
                  </a:cubicBezTo>
                  <a:cubicBezTo>
                    <a:pt x="443" y="419"/>
                    <a:pt x="448" y="422"/>
                    <a:pt x="454" y="425"/>
                  </a:cubicBezTo>
                  <a:cubicBezTo>
                    <a:pt x="454" y="425"/>
                    <a:pt x="454" y="424"/>
                    <a:pt x="455" y="424"/>
                  </a:cubicBezTo>
                  <a:cubicBezTo>
                    <a:pt x="447" y="420"/>
                    <a:pt x="438" y="416"/>
                    <a:pt x="429" y="412"/>
                  </a:cubicBezTo>
                  <a:moveTo>
                    <a:pt x="629" y="413"/>
                  </a:moveTo>
                  <a:cubicBezTo>
                    <a:pt x="623" y="415"/>
                    <a:pt x="617" y="417"/>
                    <a:pt x="611" y="419"/>
                  </a:cubicBezTo>
                  <a:cubicBezTo>
                    <a:pt x="614" y="418"/>
                    <a:pt x="618" y="418"/>
                    <a:pt x="622" y="417"/>
                  </a:cubicBezTo>
                  <a:cubicBezTo>
                    <a:pt x="625" y="416"/>
                    <a:pt x="627" y="415"/>
                    <a:pt x="630" y="414"/>
                  </a:cubicBezTo>
                  <a:cubicBezTo>
                    <a:pt x="630" y="414"/>
                    <a:pt x="629" y="413"/>
                    <a:pt x="629" y="413"/>
                  </a:cubicBezTo>
                  <a:moveTo>
                    <a:pt x="1117" y="416"/>
                  </a:moveTo>
                  <a:cubicBezTo>
                    <a:pt x="1116" y="417"/>
                    <a:pt x="1115" y="417"/>
                    <a:pt x="1114" y="418"/>
                  </a:cubicBezTo>
                  <a:cubicBezTo>
                    <a:pt x="1108" y="423"/>
                    <a:pt x="1103" y="428"/>
                    <a:pt x="1098" y="432"/>
                  </a:cubicBezTo>
                  <a:cubicBezTo>
                    <a:pt x="1098" y="432"/>
                    <a:pt x="1098" y="432"/>
                    <a:pt x="1097" y="433"/>
                  </a:cubicBezTo>
                  <a:cubicBezTo>
                    <a:pt x="1091" y="439"/>
                    <a:pt x="1085" y="444"/>
                    <a:pt x="1079" y="448"/>
                  </a:cubicBezTo>
                  <a:cubicBezTo>
                    <a:pt x="1079" y="449"/>
                    <a:pt x="1079" y="449"/>
                    <a:pt x="1078" y="449"/>
                  </a:cubicBezTo>
                  <a:cubicBezTo>
                    <a:pt x="1073" y="454"/>
                    <a:pt x="1068" y="458"/>
                    <a:pt x="1063" y="461"/>
                  </a:cubicBezTo>
                  <a:cubicBezTo>
                    <a:pt x="1063" y="461"/>
                    <a:pt x="1064" y="462"/>
                    <a:pt x="1064" y="462"/>
                  </a:cubicBezTo>
                  <a:cubicBezTo>
                    <a:pt x="1069" y="458"/>
                    <a:pt x="1074" y="454"/>
                    <a:pt x="1079" y="450"/>
                  </a:cubicBezTo>
                  <a:cubicBezTo>
                    <a:pt x="1079" y="449"/>
                    <a:pt x="1080" y="449"/>
                    <a:pt x="1080" y="449"/>
                  </a:cubicBezTo>
                  <a:cubicBezTo>
                    <a:pt x="1086" y="444"/>
                    <a:pt x="1092" y="439"/>
                    <a:pt x="1098" y="433"/>
                  </a:cubicBezTo>
                  <a:cubicBezTo>
                    <a:pt x="1098" y="433"/>
                    <a:pt x="1099" y="433"/>
                    <a:pt x="1099" y="432"/>
                  </a:cubicBezTo>
                  <a:cubicBezTo>
                    <a:pt x="1105" y="428"/>
                    <a:pt x="1111" y="422"/>
                    <a:pt x="1117" y="416"/>
                  </a:cubicBezTo>
                  <a:moveTo>
                    <a:pt x="610" y="420"/>
                  </a:moveTo>
                  <a:cubicBezTo>
                    <a:pt x="607" y="421"/>
                    <a:pt x="603" y="422"/>
                    <a:pt x="599" y="423"/>
                  </a:cubicBezTo>
                  <a:cubicBezTo>
                    <a:pt x="596" y="424"/>
                    <a:pt x="593" y="425"/>
                    <a:pt x="590" y="426"/>
                  </a:cubicBezTo>
                  <a:cubicBezTo>
                    <a:pt x="591" y="427"/>
                    <a:pt x="591" y="427"/>
                    <a:pt x="591" y="427"/>
                  </a:cubicBezTo>
                  <a:cubicBezTo>
                    <a:pt x="598" y="425"/>
                    <a:pt x="604" y="423"/>
                    <a:pt x="610" y="420"/>
                  </a:cubicBezTo>
                  <a:moveTo>
                    <a:pt x="456" y="425"/>
                  </a:moveTo>
                  <a:cubicBezTo>
                    <a:pt x="455" y="425"/>
                    <a:pt x="455" y="425"/>
                    <a:pt x="455" y="425"/>
                  </a:cubicBezTo>
                  <a:cubicBezTo>
                    <a:pt x="461" y="428"/>
                    <a:pt x="466" y="431"/>
                    <a:pt x="472" y="434"/>
                  </a:cubicBezTo>
                  <a:cubicBezTo>
                    <a:pt x="472" y="434"/>
                    <a:pt x="473" y="434"/>
                    <a:pt x="473" y="434"/>
                  </a:cubicBezTo>
                  <a:cubicBezTo>
                    <a:pt x="468" y="431"/>
                    <a:pt x="462" y="428"/>
                    <a:pt x="456" y="425"/>
                  </a:cubicBezTo>
                  <a:moveTo>
                    <a:pt x="589" y="427"/>
                  </a:moveTo>
                  <a:cubicBezTo>
                    <a:pt x="589" y="427"/>
                    <a:pt x="589" y="427"/>
                    <a:pt x="589" y="427"/>
                  </a:cubicBezTo>
                  <a:cubicBezTo>
                    <a:pt x="589" y="427"/>
                    <a:pt x="589" y="427"/>
                    <a:pt x="589" y="427"/>
                  </a:cubicBezTo>
                  <a:cubicBezTo>
                    <a:pt x="589" y="427"/>
                    <a:pt x="589" y="427"/>
                    <a:pt x="589" y="427"/>
                  </a:cubicBezTo>
                  <a:moveTo>
                    <a:pt x="587" y="428"/>
                  </a:moveTo>
                  <a:cubicBezTo>
                    <a:pt x="575" y="432"/>
                    <a:pt x="565" y="436"/>
                    <a:pt x="554" y="440"/>
                  </a:cubicBezTo>
                  <a:cubicBezTo>
                    <a:pt x="554" y="440"/>
                    <a:pt x="555" y="440"/>
                    <a:pt x="555" y="440"/>
                  </a:cubicBezTo>
                  <a:cubicBezTo>
                    <a:pt x="566" y="436"/>
                    <a:pt x="577" y="432"/>
                    <a:pt x="589" y="428"/>
                  </a:cubicBezTo>
                  <a:cubicBezTo>
                    <a:pt x="588" y="428"/>
                    <a:pt x="587" y="428"/>
                    <a:pt x="587" y="428"/>
                  </a:cubicBezTo>
                  <a:moveTo>
                    <a:pt x="474" y="434"/>
                  </a:moveTo>
                  <a:cubicBezTo>
                    <a:pt x="474" y="435"/>
                    <a:pt x="474" y="435"/>
                    <a:pt x="473" y="435"/>
                  </a:cubicBezTo>
                  <a:cubicBezTo>
                    <a:pt x="474" y="435"/>
                    <a:pt x="475" y="436"/>
                    <a:pt x="475" y="436"/>
                  </a:cubicBezTo>
                  <a:cubicBezTo>
                    <a:pt x="477" y="436"/>
                    <a:pt x="478" y="437"/>
                    <a:pt x="480" y="437"/>
                  </a:cubicBezTo>
                  <a:cubicBezTo>
                    <a:pt x="478" y="436"/>
                    <a:pt x="476" y="435"/>
                    <a:pt x="474" y="434"/>
                  </a:cubicBezTo>
                  <a:moveTo>
                    <a:pt x="479" y="438"/>
                  </a:moveTo>
                  <a:cubicBezTo>
                    <a:pt x="480" y="438"/>
                    <a:pt x="480" y="439"/>
                    <a:pt x="481" y="439"/>
                  </a:cubicBezTo>
                  <a:cubicBezTo>
                    <a:pt x="481" y="439"/>
                    <a:pt x="481" y="439"/>
                    <a:pt x="481" y="439"/>
                  </a:cubicBezTo>
                  <a:cubicBezTo>
                    <a:pt x="481" y="438"/>
                    <a:pt x="480" y="438"/>
                    <a:pt x="479" y="438"/>
                  </a:cubicBezTo>
                  <a:moveTo>
                    <a:pt x="483" y="439"/>
                  </a:moveTo>
                  <a:cubicBezTo>
                    <a:pt x="483" y="439"/>
                    <a:pt x="482" y="439"/>
                    <a:pt x="482" y="439"/>
                  </a:cubicBezTo>
                  <a:cubicBezTo>
                    <a:pt x="490" y="444"/>
                    <a:pt x="497" y="448"/>
                    <a:pt x="504" y="452"/>
                  </a:cubicBezTo>
                  <a:cubicBezTo>
                    <a:pt x="504" y="452"/>
                    <a:pt x="505" y="452"/>
                    <a:pt x="505" y="452"/>
                  </a:cubicBezTo>
                  <a:cubicBezTo>
                    <a:pt x="498" y="448"/>
                    <a:pt x="491" y="443"/>
                    <a:pt x="483" y="439"/>
                  </a:cubicBezTo>
                  <a:cubicBezTo>
                    <a:pt x="483" y="439"/>
                    <a:pt x="483" y="439"/>
                    <a:pt x="483" y="439"/>
                  </a:cubicBezTo>
                  <a:moveTo>
                    <a:pt x="553" y="440"/>
                  </a:moveTo>
                  <a:cubicBezTo>
                    <a:pt x="548" y="442"/>
                    <a:pt x="543" y="444"/>
                    <a:pt x="539" y="446"/>
                  </a:cubicBezTo>
                  <a:cubicBezTo>
                    <a:pt x="538" y="446"/>
                    <a:pt x="538" y="446"/>
                    <a:pt x="537" y="446"/>
                  </a:cubicBezTo>
                  <a:cubicBezTo>
                    <a:pt x="537" y="446"/>
                    <a:pt x="537" y="446"/>
                    <a:pt x="536" y="446"/>
                  </a:cubicBezTo>
                  <a:cubicBezTo>
                    <a:pt x="536" y="446"/>
                    <a:pt x="536" y="446"/>
                    <a:pt x="536" y="447"/>
                  </a:cubicBezTo>
                  <a:cubicBezTo>
                    <a:pt x="536" y="447"/>
                    <a:pt x="536" y="447"/>
                    <a:pt x="535" y="447"/>
                  </a:cubicBezTo>
                  <a:cubicBezTo>
                    <a:pt x="535" y="447"/>
                    <a:pt x="535" y="447"/>
                    <a:pt x="535" y="447"/>
                  </a:cubicBezTo>
                  <a:cubicBezTo>
                    <a:pt x="535" y="447"/>
                    <a:pt x="535" y="447"/>
                    <a:pt x="535" y="447"/>
                  </a:cubicBezTo>
                  <a:cubicBezTo>
                    <a:pt x="535" y="447"/>
                    <a:pt x="536" y="447"/>
                    <a:pt x="536" y="448"/>
                  </a:cubicBezTo>
                  <a:cubicBezTo>
                    <a:pt x="536" y="448"/>
                    <a:pt x="537" y="447"/>
                    <a:pt x="537" y="447"/>
                  </a:cubicBezTo>
                  <a:cubicBezTo>
                    <a:pt x="537" y="447"/>
                    <a:pt x="537" y="447"/>
                    <a:pt x="537" y="447"/>
                  </a:cubicBezTo>
                  <a:cubicBezTo>
                    <a:pt x="537" y="447"/>
                    <a:pt x="538" y="447"/>
                    <a:pt x="538" y="447"/>
                  </a:cubicBezTo>
                  <a:cubicBezTo>
                    <a:pt x="538" y="447"/>
                    <a:pt x="539" y="447"/>
                    <a:pt x="539" y="447"/>
                  </a:cubicBezTo>
                  <a:cubicBezTo>
                    <a:pt x="544" y="445"/>
                    <a:pt x="549" y="443"/>
                    <a:pt x="554" y="441"/>
                  </a:cubicBezTo>
                  <a:cubicBezTo>
                    <a:pt x="554" y="441"/>
                    <a:pt x="553" y="440"/>
                    <a:pt x="553" y="440"/>
                  </a:cubicBezTo>
                  <a:moveTo>
                    <a:pt x="534" y="447"/>
                  </a:moveTo>
                  <a:cubicBezTo>
                    <a:pt x="533" y="448"/>
                    <a:pt x="533" y="448"/>
                    <a:pt x="533" y="448"/>
                  </a:cubicBezTo>
                  <a:cubicBezTo>
                    <a:pt x="532" y="448"/>
                    <a:pt x="531" y="448"/>
                    <a:pt x="531" y="449"/>
                  </a:cubicBezTo>
                  <a:cubicBezTo>
                    <a:pt x="531" y="449"/>
                    <a:pt x="532" y="449"/>
                    <a:pt x="532" y="449"/>
                  </a:cubicBezTo>
                  <a:cubicBezTo>
                    <a:pt x="533" y="449"/>
                    <a:pt x="533" y="449"/>
                    <a:pt x="534" y="449"/>
                  </a:cubicBezTo>
                  <a:cubicBezTo>
                    <a:pt x="534" y="448"/>
                    <a:pt x="534" y="448"/>
                    <a:pt x="535" y="448"/>
                  </a:cubicBezTo>
                  <a:cubicBezTo>
                    <a:pt x="535" y="448"/>
                    <a:pt x="535" y="448"/>
                    <a:pt x="535" y="448"/>
                  </a:cubicBezTo>
                  <a:cubicBezTo>
                    <a:pt x="535" y="448"/>
                    <a:pt x="535" y="448"/>
                    <a:pt x="535" y="448"/>
                  </a:cubicBezTo>
                  <a:cubicBezTo>
                    <a:pt x="534" y="448"/>
                    <a:pt x="534" y="448"/>
                    <a:pt x="534" y="447"/>
                  </a:cubicBezTo>
                  <a:moveTo>
                    <a:pt x="529" y="449"/>
                  </a:moveTo>
                  <a:cubicBezTo>
                    <a:pt x="528" y="450"/>
                    <a:pt x="527" y="450"/>
                    <a:pt x="526" y="451"/>
                  </a:cubicBezTo>
                  <a:cubicBezTo>
                    <a:pt x="525" y="451"/>
                    <a:pt x="525" y="451"/>
                    <a:pt x="525" y="451"/>
                  </a:cubicBezTo>
                  <a:cubicBezTo>
                    <a:pt x="524" y="451"/>
                    <a:pt x="524" y="452"/>
                    <a:pt x="523" y="452"/>
                  </a:cubicBezTo>
                  <a:cubicBezTo>
                    <a:pt x="523" y="452"/>
                    <a:pt x="523" y="452"/>
                    <a:pt x="522" y="452"/>
                  </a:cubicBezTo>
                  <a:cubicBezTo>
                    <a:pt x="522" y="452"/>
                    <a:pt x="521" y="453"/>
                    <a:pt x="521" y="453"/>
                  </a:cubicBezTo>
                  <a:cubicBezTo>
                    <a:pt x="521" y="453"/>
                    <a:pt x="522" y="453"/>
                    <a:pt x="522" y="453"/>
                  </a:cubicBezTo>
                  <a:cubicBezTo>
                    <a:pt x="522" y="453"/>
                    <a:pt x="523" y="453"/>
                    <a:pt x="523" y="453"/>
                  </a:cubicBezTo>
                  <a:cubicBezTo>
                    <a:pt x="523" y="453"/>
                    <a:pt x="524" y="453"/>
                    <a:pt x="524" y="452"/>
                  </a:cubicBezTo>
                  <a:cubicBezTo>
                    <a:pt x="524" y="452"/>
                    <a:pt x="525" y="452"/>
                    <a:pt x="525" y="452"/>
                  </a:cubicBezTo>
                  <a:cubicBezTo>
                    <a:pt x="526" y="452"/>
                    <a:pt x="526" y="452"/>
                    <a:pt x="526" y="452"/>
                  </a:cubicBezTo>
                  <a:cubicBezTo>
                    <a:pt x="527" y="451"/>
                    <a:pt x="529" y="451"/>
                    <a:pt x="530" y="450"/>
                  </a:cubicBezTo>
                  <a:cubicBezTo>
                    <a:pt x="530" y="450"/>
                    <a:pt x="529" y="450"/>
                    <a:pt x="529" y="449"/>
                  </a:cubicBezTo>
                  <a:moveTo>
                    <a:pt x="506" y="452"/>
                  </a:moveTo>
                  <a:cubicBezTo>
                    <a:pt x="506" y="453"/>
                    <a:pt x="506" y="453"/>
                    <a:pt x="505" y="453"/>
                  </a:cubicBezTo>
                  <a:cubicBezTo>
                    <a:pt x="507" y="454"/>
                    <a:pt x="510" y="455"/>
                    <a:pt x="512" y="456"/>
                  </a:cubicBezTo>
                  <a:cubicBezTo>
                    <a:pt x="510" y="455"/>
                    <a:pt x="508" y="454"/>
                    <a:pt x="506" y="452"/>
                  </a:cubicBezTo>
                  <a:moveTo>
                    <a:pt x="520" y="453"/>
                  </a:moveTo>
                  <a:cubicBezTo>
                    <a:pt x="519" y="453"/>
                    <a:pt x="519" y="453"/>
                    <a:pt x="519" y="453"/>
                  </a:cubicBezTo>
                  <a:cubicBezTo>
                    <a:pt x="519" y="453"/>
                    <a:pt x="519" y="453"/>
                    <a:pt x="519" y="453"/>
                  </a:cubicBezTo>
                  <a:cubicBezTo>
                    <a:pt x="519" y="454"/>
                    <a:pt x="520" y="454"/>
                    <a:pt x="520" y="454"/>
                  </a:cubicBezTo>
                  <a:cubicBezTo>
                    <a:pt x="520" y="454"/>
                    <a:pt x="520" y="454"/>
                    <a:pt x="520" y="454"/>
                  </a:cubicBezTo>
                  <a:cubicBezTo>
                    <a:pt x="520" y="454"/>
                    <a:pt x="521" y="454"/>
                    <a:pt x="521" y="454"/>
                  </a:cubicBezTo>
                  <a:cubicBezTo>
                    <a:pt x="520" y="454"/>
                    <a:pt x="520" y="453"/>
                    <a:pt x="520" y="453"/>
                  </a:cubicBezTo>
                  <a:moveTo>
                    <a:pt x="518" y="454"/>
                  </a:moveTo>
                  <a:cubicBezTo>
                    <a:pt x="518" y="454"/>
                    <a:pt x="517" y="454"/>
                    <a:pt x="517" y="454"/>
                  </a:cubicBezTo>
                  <a:cubicBezTo>
                    <a:pt x="516" y="455"/>
                    <a:pt x="515" y="455"/>
                    <a:pt x="514" y="456"/>
                  </a:cubicBezTo>
                  <a:cubicBezTo>
                    <a:pt x="513" y="456"/>
                    <a:pt x="513" y="456"/>
                    <a:pt x="513" y="456"/>
                  </a:cubicBezTo>
                  <a:cubicBezTo>
                    <a:pt x="513" y="456"/>
                    <a:pt x="512" y="456"/>
                    <a:pt x="512" y="456"/>
                  </a:cubicBezTo>
                  <a:cubicBezTo>
                    <a:pt x="513" y="456"/>
                    <a:pt x="513" y="457"/>
                    <a:pt x="514" y="457"/>
                  </a:cubicBezTo>
                  <a:cubicBezTo>
                    <a:pt x="514" y="457"/>
                    <a:pt x="514" y="457"/>
                    <a:pt x="514" y="456"/>
                  </a:cubicBezTo>
                  <a:cubicBezTo>
                    <a:pt x="515" y="456"/>
                    <a:pt x="516" y="456"/>
                    <a:pt x="518" y="455"/>
                  </a:cubicBezTo>
                  <a:cubicBezTo>
                    <a:pt x="518" y="455"/>
                    <a:pt x="518" y="455"/>
                    <a:pt x="518" y="455"/>
                  </a:cubicBezTo>
                  <a:cubicBezTo>
                    <a:pt x="519" y="455"/>
                    <a:pt x="519" y="455"/>
                    <a:pt x="519" y="455"/>
                  </a:cubicBezTo>
                  <a:cubicBezTo>
                    <a:pt x="519" y="454"/>
                    <a:pt x="518" y="454"/>
                    <a:pt x="518" y="454"/>
                  </a:cubicBezTo>
                  <a:moveTo>
                    <a:pt x="511" y="457"/>
                  </a:moveTo>
                  <a:cubicBezTo>
                    <a:pt x="511" y="457"/>
                    <a:pt x="511" y="457"/>
                    <a:pt x="511" y="457"/>
                  </a:cubicBezTo>
                  <a:cubicBezTo>
                    <a:pt x="510" y="457"/>
                    <a:pt x="510" y="457"/>
                    <a:pt x="509" y="458"/>
                  </a:cubicBezTo>
                  <a:cubicBezTo>
                    <a:pt x="508" y="458"/>
                    <a:pt x="508" y="458"/>
                    <a:pt x="508" y="458"/>
                  </a:cubicBezTo>
                  <a:cubicBezTo>
                    <a:pt x="507" y="459"/>
                    <a:pt x="506" y="459"/>
                    <a:pt x="505" y="459"/>
                  </a:cubicBezTo>
                  <a:cubicBezTo>
                    <a:pt x="505" y="460"/>
                    <a:pt x="506" y="460"/>
                    <a:pt x="506" y="460"/>
                  </a:cubicBezTo>
                  <a:cubicBezTo>
                    <a:pt x="507" y="460"/>
                    <a:pt x="508" y="459"/>
                    <a:pt x="509" y="459"/>
                  </a:cubicBezTo>
                  <a:cubicBezTo>
                    <a:pt x="509" y="459"/>
                    <a:pt x="509" y="459"/>
                    <a:pt x="510" y="458"/>
                  </a:cubicBezTo>
                  <a:cubicBezTo>
                    <a:pt x="510" y="458"/>
                    <a:pt x="511" y="458"/>
                    <a:pt x="512" y="457"/>
                  </a:cubicBezTo>
                  <a:cubicBezTo>
                    <a:pt x="515" y="459"/>
                    <a:pt x="518" y="461"/>
                    <a:pt x="520" y="463"/>
                  </a:cubicBezTo>
                  <a:cubicBezTo>
                    <a:pt x="520" y="463"/>
                    <a:pt x="520" y="463"/>
                    <a:pt x="520" y="463"/>
                  </a:cubicBezTo>
                  <a:cubicBezTo>
                    <a:pt x="521" y="464"/>
                    <a:pt x="522" y="464"/>
                    <a:pt x="523" y="465"/>
                  </a:cubicBezTo>
                  <a:cubicBezTo>
                    <a:pt x="524" y="465"/>
                    <a:pt x="524" y="465"/>
                    <a:pt x="524" y="465"/>
                  </a:cubicBezTo>
                  <a:cubicBezTo>
                    <a:pt x="524" y="464"/>
                    <a:pt x="523" y="463"/>
                    <a:pt x="522" y="463"/>
                  </a:cubicBezTo>
                  <a:cubicBezTo>
                    <a:pt x="521" y="463"/>
                    <a:pt x="521" y="462"/>
                    <a:pt x="521" y="462"/>
                  </a:cubicBezTo>
                  <a:cubicBezTo>
                    <a:pt x="521" y="462"/>
                    <a:pt x="521" y="462"/>
                    <a:pt x="521" y="462"/>
                  </a:cubicBezTo>
                  <a:cubicBezTo>
                    <a:pt x="520" y="461"/>
                    <a:pt x="519" y="461"/>
                    <a:pt x="518" y="460"/>
                  </a:cubicBezTo>
                  <a:cubicBezTo>
                    <a:pt x="515" y="459"/>
                    <a:pt x="513" y="458"/>
                    <a:pt x="511" y="457"/>
                  </a:cubicBezTo>
                  <a:moveTo>
                    <a:pt x="504" y="460"/>
                  </a:moveTo>
                  <a:cubicBezTo>
                    <a:pt x="504" y="460"/>
                    <a:pt x="503" y="460"/>
                    <a:pt x="503" y="460"/>
                  </a:cubicBezTo>
                  <a:cubicBezTo>
                    <a:pt x="504" y="460"/>
                    <a:pt x="504" y="461"/>
                    <a:pt x="504" y="461"/>
                  </a:cubicBezTo>
                  <a:cubicBezTo>
                    <a:pt x="505" y="461"/>
                    <a:pt x="505" y="461"/>
                    <a:pt x="505" y="461"/>
                  </a:cubicBezTo>
                  <a:cubicBezTo>
                    <a:pt x="504" y="460"/>
                    <a:pt x="504" y="460"/>
                    <a:pt x="504" y="460"/>
                  </a:cubicBezTo>
                  <a:moveTo>
                    <a:pt x="502" y="461"/>
                  </a:moveTo>
                  <a:cubicBezTo>
                    <a:pt x="501" y="461"/>
                    <a:pt x="500" y="462"/>
                    <a:pt x="499" y="462"/>
                  </a:cubicBezTo>
                  <a:cubicBezTo>
                    <a:pt x="499" y="462"/>
                    <a:pt x="499" y="463"/>
                    <a:pt x="500" y="463"/>
                  </a:cubicBezTo>
                  <a:cubicBezTo>
                    <a:pt x="501" y="462"/>
                    <a:pt x="502" y="462"/>
                    <a:pt x="503" y="461"/>
                  </a:cubicBezTo>
                  <a:cubicBezTo>
                    <a:pt x="503" y="461"/>
                    <a:pt x="502" y="461"/>
                    <a:pt x="502" y="461"/>
                  </a:cubicBezTo>
                  <a:moveTo>
                    <a:pt x="1062" y="462"/>
                  </a:moveTo>
                  <a:cubicBezTo>
                    <a:pt x="1060" y="464"/>
                    <a:pt x="1057" y="466"/>
                    <a:pt x="1054" y="468"/>
                  </a:cubicBezTo>
                  <a:cubicBezTo>
                    <a:pt x="1054" y="468"/>
                    <a:pt x="1054" y="468"/>
                    <a:pt x="1053" y="468"/>
                  </a:cubicBezTo>
                  <a:cubicBezTo>
                    <a:pt x="1044" y="475"/>
                    <a:pt x="1035" y="479"/>
                    <a:pt x="1026" y="482"/>
                  </a:cubicBezTo>
                  <a:cubicBezTo>
                    <a:pt x="1026" y="482"/>
                    <a:pt x="1025" y="483"/>
                    <a:pt x="1025" y="483"/>
                  </a:cubicBezTo>
                  <a:cubicBezTo>
                    <a:pt x="1016" y="486"/>
                    <a:pt x="1006" y="489"/>
                    <a:pt x="994" y="491"/>
                  </a:cubicBezTo>
                  <a:cubicBezTo>
                    <a:pt x="994" y="492"/>
                    <a:pt x="993" y="492"/>
                    <a:pt x="993" y="492"/>
                  </a:cubicBezTo>
                  <a:cubicBezTo>
                    <a:pt x="990" y="492"/>
                    <a:pt x="987" y="493"/>
                    <a:pt x="984" y="494"/>
                  </a:cubicBezTo>
                  <a:cubicBezTo>
                    <a:pt x="984" y="494"/>
                    <a:pt x="984" y="495"/>
                    <a:pt x="984" y="495"/>
                  </a:cubicBezTo>
                  <a:cubicBezTo>
                    <a:pt x="988" y="494"/>
                    <a:pt x="991" y="493"/>
                    <a:pt x="994" y="493"/>
                  </a:cubicBezTo>
                  <a:cubicBezTo>
                    <a:pt x="994" y="493"/>
                    <a:pt x="994" y="492"/>
                    <a:pt x="995" y="492"/>
                  </a:cubicBezTo>
                  <a:cubicBezTo>
                    <a:pt x="1007" y="489"/>
                    <a:pt x="1016" y="487"/>
                    <a:pt x="1026" y="483"/>
                  </a:cubicBezTo>
                  <a:cubicBezTo>
                    <a:pt x="1026" y="483"/>
                    <a:pt x="1026" y="483"/>
                    <a:pt x="1027" y="483"/>
                  </a:cubicBezTo>
                  <a:cubicBezTo>
                    <a:pt x="1036" y="480"/>
                    <a:pt x="1044" y="475"/>
                    <a:pt x="1054" y="469"/>
                  </a:cubicBezTo>
                  <a:cubicBezTo>
                    <a:pt x="1054" y="469"/>
                    <a:pt x="1055" y="468"/>
                    <a:pt x="1055" y="468"/>
                  </a:cubicBezTo>
                  <a:cubicBezTo>
                    <a:pt x="1057" y="466"/>
                    <a:pt x="1060" y="465"/>
                    <a:pt x="1063" y="462"/>
                  </a:cubicBezTo>
                  <a:cubicBezTo>
                    <a:pt x="1063" y="462"/>
                    <a:pt x="1063" y="462"/>
                    <a:pt x="1062" y="462"/>
                  </a:cubicBezTo>
                  <a:moveTo>
                    <a:pt x="497" y="463"/>
                  </a:moveTo>
                  <a:cubicBezTo>
                    <a:pt x="496" y="463"/>
                    <a:pt x="495" y="464"/>
                    <a:pt x="494" y="464"/>
                  </a:cubicBezTo>
                  <a:cubicBezTo>
                    <a:pt x="494" y="465"/>
                    <a:pt x="495" y="465"/>
                    <a:pt x="495" y="465"/>
                  </a:cubicBezTo>
                  <a:cubicBezTo>
                    <a:pt x="496" y="464"/>
                    <a:pt x="497" y="464"/>
                    <a:pt x="499" y="463"/>
                  </a:cubicBezTo>
                  <a:cubicBezTo>
                    <a:pt x="498" y="463"/>
                    <a:pt x="498" y="463"/>
                    <a:pt x="497" y="463"/>
                  </a:cubicBezTo>
                  <a:moveTo>
                    <a:pt x="493" y="465"/>
                  </a:moveTo>
                  <a:cubicBezTo>
                    <a:pt x="492" y="465"/>
                    <a:pt x="491" y="465"/>
                    <a:pt x="491" y="466"/>
                  </a:cubicBezTo>
                  <a:cubicBezTo>
                    <a:pt x="491" y="466"/>
                    <a:pt x="492" y="466"/>
                    <a:pt x="492" y="466"/>
                  </a:cubicBezTo>
                  <a:cubicBezTo>
                    <a:pt x="493" y="466"/>
                    <a:pt x="493" y="466"/>
                    <a:pt x="494" y="465"/>
                  </a:cubicBezTo>
                  <a:cubicBezTo>
                    <a:pt x="493" y="465"/>
                    <a:pt x="493" y="465"/>
                    <a:pt x="493" y="465"/>
                  </a:cubicBezTo>
                  <a:moveTo>
                    <a:pt x="526" y="466"/>
                  </a:moveTo>
                  <a:cubicBezTo>
                    <a:pt x="526" y="466"/>
                    <a:pt x="525" y="466"/>
                    <a:pt x="525" y="466"/>
                  </a:cubicBezTo>
                  <a:cubicBezTo>
                    <a:pt x="525" y="466"/>
                    <a:pt x="525" y="466"/>
                    <a:pt x="525" y="466"/>
                  </a:cubicBezTo>
                  <a:cubicBezTo>
                    <a:pt x="527" y="468"/>
                    <a:pt x="528" y="469"/>
                    <a:pt x="530" y="470"/>
                  </a:cubicBezTo>
                  <a:cubicBezTo>
                    <a:pt x="531" y="471"/>
                    <a:pt x="532" y="471"/>
                    <a:pt x="533" y="471"/>
                  </a:cubicBezTo>
                  <a:cubicBezTo>
                    <a:pt x="533" y="471"/>
                    <a:pt x="533" y="471"/>
                    <a:pt x="533" y="471"/>
                  </a:cubicBezTo>
                  <a:cubicBezTo>
                    <a:pt x="532" y="471"/>
                    <a:pt x="532" y="471"/>
                    <a:pt x="532" y="470"/>
                  </a:cubicBezTo>
                  <a:cubicBezTo>
                    <a:pt x="530" y="469"/>
                    <a:pt x="528" y="467"/>
                    <a:pt x="526" y="466"/>
                  </a:cubicBezTo>
                  <a:moveTo>
                    <a:pt x="489" y="467"/>
                  </a:moveTo>
                  <a:cubicBezTo>
                    <a:pt x="486" y="468"/>
                    <a:pt x="483" y="469"/>
                    <a:pt x="481" y="470"/>
                  </a:cubicBezTo>
                  <a:cubicBezTo>
                    <a:pt x="481" y="470"/>
                    <a:pt x="482" y="471"/>
                    <a:pt x="483" y="471"/>
                  </a:cubicBezTo>
                  <a:cubicBezTo>
                    <a:pt x="485" y="469"/>
                    <a:pt x="488" y="468"/>
                    <a:pt x="490" y="467"/>
                  </a:cubicBezTo>
                  <a:cubicBezTo>
                    <a:pt x="490" y="467"/>
                    <a:pt x="489" y="467"/>
                    <a:pt x="489" y="467"/>
                  </a:cubicBezTo>
                  <a:moveTo>
                    <a:pt x="480" y="471"/>
                  </a:moveTo>
                  <a:cubicBezTo>
                    <a:pt x="480" y="471"/>
                    <a:pt x="480" y="471"/>
                    <a:pt x="481" y="472"/>
                  </a:cubicBezTo>
                  <a:cubicBezTo>
                    <a:pt x="481" y="471"/>
                    <a:pt x="481" y="471"/>
                    <a:pt x="481" y="471"/>
                  </a:cubicBezTo>
                  <a:cubicBezTo>
                    <a:pt x="481" y="471"/>
                    <a:pt x="480" y="471"/>
                    <a:pt x="480" y="471"/>
                  </a:cubicBezTo>
                  <a:moveTo>
                    <a:pt x="478" y="472"/>
                  </a:moveTo>
                  <a:cubicBezTo>
                    <a:pt x="477" y="472"/>
                    <a:pt x="475" y="473"/>
                    <a:pt x="474" y="474"/>
                  </a:cubicBezTo>
                  <a:cubicBezTo>
                    <a:pt x="474" y="474"/>
                    <a:pt x="475" y="474"/>
                    <a:pt x="475" y="474"/>
                  </a:cubicBezTo>
                  <a:cubicBezTo>
                    <a:pt x="477" y="473"/>
                    <a:pt x="478" y="473"/>
                    <a:pt x="479" y="472"/>
                  </a:cubicBezTo>
                  <a:cubicBezTo>
                    <a:pt x="479" y="472"/>
                    <a:pt x="479" y="472"/>
                    <a:pt x="478" y="472"/>
                  </a:cubicBezTo>
                  <a:moveTo>
                    <a:pt x="532" y="472"/>
                  </a:moveTo>
                  <a:cubicBezTo>
                    <a:pt x="533" y="472"/>
                    <a:pt x="533" y="473"/>
                    <a:pt x="533" y="473"/>
                  </a:cubicBezTo>
                  <a:cubicBezTo>
                    <a:pt x="533" y="473"/>
                    <a:pt x="533" y="473"/>
                    <a:pt x="533" y="473"/>
                  </a:cubicBezTo>
                  <a:cubicBezTo>
                    <a:pt x="534" y="473"/>
                    <a:pt x="534" y="473"/>
                    <a:pt x="534" y="473"/>
                  </a:cubicBezTo>
                  <a:cubicBezTo>
                    <a:pt x="533" y="473"/>
                    <a:pt x="533" y="472"/>
                    <a:pt x="532" y="472"/>
                  </a:cubicBezTo>
                  <a:moveTo>
                    <a:pt x="535" y="473"/>
                  </a:moveTo>
                  <a:cubicBezTo>
                    <a:pt x="535" y="474"/>
                    <a:pt x="535" y="474"/>
                    <a:pt x="534" y="474"/>
                  </a:cubicBezTo>
                  <a:cubicBezTo>
                    <a:pt x="535" y="475"/>
                    <a:pt x="537" y="476"/>
                    <a:pt x="538" y="477"/>
                  </a:cubicBezTo>
                  <a:cubicBezTo>
                    <a:pt x="538" y="477"/>
                    <a:pt x="539" y="477"/>
                    <a:pt x="539" y="477"/>
                  </a:cubicBezTo>
                  <a:cubicBezTo>
                    <a:pt x="538" y="476"/>
                    <a:pt x="537" y="475"/>
                    <a:pt x="535" y="473"/>
                  </a:cubicBezTo>
                  <a:moveTo>
                    <a:pt x="472" y="474"/>
                  </a:moveTo>
                  <a:cubicBezTo>
                    <a:pt x="465" y="478"/>
                    <a:pt x="459" y="481"/>
                    <a:pt x="454" y="485"/>
                  </a:cubicBezTo>
                  <a:cubicBezTo>
                    <a:pt x="454" y="485"/>
                    <a:pt x="455" y="485"/>
                    <a:pt x="455" y="485"/>
                  </a:cubicBezTo>
                  <a:cubicBezTo>
                    <a:pt x="461" y="482"/>
                    <a:pt x="467" y="478"/>
                    <a:pt x="474" y="475"/>
                  </a:cubicBezTo>
                  <a:cubicBezTo>
                    <a:pt x="473" y="475"/>
                    <a:pt x="473" y="475"/>
                    <a:pt x="472" y="474"/>
                  </a:cubicBezTo>
                  <a:moveTo>
                    <a:pt x="401" y="475"/>
                  </a:moveTo>
                  <a:cubicBezTo>
                    <a:pt x="401" y="476"/>
                    <a:pt x="401" y="476"/>
                    <a:pt x="401" y="476"/>
                  </a:cubicBezTo>
                  <a:cubicBezTo>
                    <a:pt x="407" y="478"/>
                    <a:pt x="413" y="480"/>
                    <a:pt x="419" y="481"/>
                  </a:cubicBezTo>
                  <a:cubicBezTo>
                    <a:pt x="418" y="481"/>
                    <a:pt x="418" y="480"/>
                    <a:pt x="418" y="480"/>
                  </a:cubicBezTo>
                  <a:cubicBezTo>
                    <a:pt x="412" y="479"/>
                    <a:pt x="407" y="477"/>
                    <a:pt x="401" y="475"/>
                  </a:cubicBezTo>
                  <a:moveTo>
                    <a:pt x="540" y="480"/>
                  </a:moveTo>
                  <a:cubicBezTo>
                    <a:pt x="540" y="480"/>
                    <a:pt x="540" y="480"/>
                    <a:pt x="540" y="480"/>
                  </a:cubicBezTo>
                  <a:cubicBezTo>
                    <a:pt x="541" y="480"/>
                    <a:pt x="541" y="480"/>
                    <a:pt x="541" y="480"/>
                  </a:cubicBezTo>
                  <a:cubicBezTo>
                    <a:pt x="541" y="480"/>
                    <a:pt x="542" y="481"/>
                    <a:pt x="542" y="481"/>
                  </a:cubicBezTo>
                  <a:cubicBezTo>
                    <a:pt x="542" y="481"/>
                    <a:pt x="542" y="481"/>
                    <a:pt x="542" y="481"/>
                  </a:cubicBezTo>
                  <a:cubicBezTo>
                    <a:pt x="542" y="481"/>
                    <a:pt x="542" y="481"/>
                    <a:pt x="542" y="480"/>
                  </a:cubicBezTo>
                  <a:cubicBezTo>
                    <a:pt x="541" y="480"/>
                    <a:pt x="541" y="480"/>
                    <a:pt x="540" y="480"/>
                  </a:cubicBezTo>
                  <a:moveTo>
                    <a:pt x="419" y="480"/>
                  </a:moveTo>
                  <a:cubicBezTo>
                    <a:pt x="419" y="481"/>
                    <a:pt x="419" y="481"/>
                    <a:pt x="420" y="481"/>
                  </a:cubicBezTo>
                  <a:cubicBezTo>
                    <a:pt x="422" y="482"/>
                    <a:pt x="424" y="483"/>
                    <a:pt x="425" y="483"/>
                  </a:cubicBezTo>
                  <a:cubicBezTo>
                    <a:pt x="426" y="483"/>
                    <a:pt x="426" y="482"/>
                    <a:pt x="426" y="482"/>
                  </a:cubicBezTo>
                  <a:cubicBezTo>
                    <a:pt x="424" y="482"/>
                    <a:pt x="421" y="481"/>
                    <a:pt x="419" y="480"/>
                  </a:cubicBezTo>
                  <a:moveTo>
                    <a:pt x="542" y="482"/>
                  </a:moveTo>
                  <a:cubicBezTo>
                    <a:pt x="542" y="482"/>
                    <a:pt x="543" y="483"/>
                    <a:pt x="543" y="483"/>
                  </a:cubicBezTo>
                  <a:cubicBezTo>
                    <a:pt x="543" y="483"/>
                    <a:pt x="544" y="483"/>
                    <a:pt x="544" y="483"/>
                  </a:cubicBezTo>
                  <a:cubicBezTo>
                    <a:pt x="544" y="483"/>
                    <a:pt x="544" y="483"/>
                    <a:pt x="544" y="482"/>
                  </a:cubicBezTo>
                  <a:cubicBezTo>
                    <a:pt x="543" y="482"/>
                    <a:pt x="543" y="482"/>
                    <a:pt x="542" y="482"/>
                  </a:cubicBezTo>
                  <a:moveTo>
                    <a:pt x="427" y="482"/>
                  </a:moveTo>
                  <a:cubicBezTo>
                    <a:pt x="427" y="483"/>
                    <a:pt x="426" y="483"/>
                    <a:pt x="426" y="483"/>
                  </a:cubicBezTo>
                  <a:cubicBezTo>
                    <a:pt x="431" y="485"/>
                    <a:pt x="436" y="486"/>
                    <a:pt x="441" y="487"/>
                  </a:cubicBezTo>
                  <a:cubicBezTo>
                    <a:pt x="440" y="486"/>
                    <a:pt x="439" y="486"/>
                    <a:pt x="439" y="485"/>
                  </a:cubicBezTo>
                  <a:cubicBezTo>
                    <a:pt x="435" y="484"/>
                    <a:pt x="431" y="483"/>
                    <a:pt x="427" y="482"/>
                  </a:cubicBezTo>
                  <a:moveTo>
                    <a:pt x="544" y="484"/>
                  </a:moveTo>
                  <a:cubicBezTo>
                    <a:pt x="544" y="484"/>
                    <a:pt x="544" y="485"/>
                    <a:pt x="544" y="485"/>
                  </a:cubicBezTo>
                  <a:cubicBezTo>
                    <a:pt x="545" y="485"/>
                    <a:pt x="545" y="485"/>
                    <a:pt x="545" y="485"/>
                  </a:cubicBezTo>
                  <a:cubicBezTo>
                    <a:pt x="545" y="485"/>
                    <a:pt x="545" y="485"/>
                    <a:pt x="545" y="484"/>
                  </a:cubicBezTo>
                  <a:cubicBezTo>
                    <a:pt x="544" y="484"/>
                    <a:pt x="544" y="484"/>
                    <a:pt x="544" y="484"/>
                  </a:cubicBezTo>
                  <a:moveTo>
                    <a:pt x="453" y="485"/>
                  </a:moveTo>
                  <a:cubicBezTo>
                    <a:pt x="451" y="486"/>
                    <a:pt x="450" y="487"/>
                    <a:pt x="449" y="488"/>
                  </a:cubicBezTo>
                  <a:cubicBezTo>
                    <a:pt x="448" y="488"/>
                    <a:pt x="447" y="488"/>
                    <a:pt x="446" y="487"/>
                  </a:cubicBezTo>
                  <a:cubicBezTo>
                    <a:pt x="446" y="488"/>
                    <a:pt x="446" y="488"/>
                    <a:pt x="445" y="488"/>
                  </a:cubicBezTo>
                  <a:cubicBezTo>
                    <a:pt x="446" y="488"/>
                    <a:pt x="447" y="488"/>
                    <a:pt x="447" y="489"/>
                  </a:cubicBezTo>
                  <a:cubicBezTo>
                    <a:pt x="447" y="489"/>
                    <a:pt x="447" y="489"/>
                    <a:pt x="446" y="490"/>
                  </a:cubicBezTo>
                  <a:cubicBezTo>
                    <a:pt x="446" y="490"/>
                    <a:pt x="447" y="490"/>
                    <a:pt x="447" y="490"/>
                  </a:cubicBezTo>
                  <a:cubicBezTo>
                    <a:pt x="448" y="490"/>
                    <a:pt x="448" y="489"/>
                    <a:pt x="449" y="489"/>
                  </a:cubicBezTo>
                  <a:cubicBezTo>
                    <a:pt x="454" y="490"/>
                    <a:pt x="460" y="492"/>
                    <a:pt x="466" y="493"/>
                  </a:cubicBezTo>
                  <a:cubicBezTo>
                    <a:pt x="466" y="493"/>
                    <a:pt x="466" y="492"/>
                    <a:pt x="467" y="492"/>
                  </a:cubicBezTo>
                  <a:cubicBezTo>
                    <a:pt x="461" y="491"/>
                    <a:pt x="456" y="490"/>
                    <a:pt x="450" y="488"/>
                  </a:cubicBezTo>
                  <a:cubicBezTo>
                    <a:pt x="451" y="487"/>
                    <a:pt x="453" y="487"/>
                    <a:pt x="454" y="486"/>
                  </a:cubicBezTo>
                  <a:cubicBezTo>
                    <a:pt x="454" y="486"/>
                    <a:pt x="453" y="485"/>
                    <a:pt x="453" y="485"/>
                  </a:cubicBezTo>
                  <a:moveTo>
                    <a:pt x="545" y="486"/>
                  </a:moveTo>
                  <a:cubicBezTo>
                    <a:pt x="546" y="488"/>
                    <a:pt x="546" y="489"/>
                    <a:pt x="547" y="490"/>
                  </a:cubicBezTo>
                  <a:cubicBezTo>
                    <a:pt x="547" y="490"/>
                    <a:pt x="547" y="490"/>
                    <a:pt x="548" y="490"/>
                  </a:cubicBezTo>
                  <a:cubicBezTo>
                    <a:pt x="547" y="489"/>
                    <a:pt x="547" y="487"/>
                    <a:pt x="546" y="486"/>
                  </a:cubicBezTo>
                  <a:cubicBezTo>
                    <a:pt x="546" y="486"/>
                    <a:pt x="545" y="486"/>
                    <a:pt x="545" y="486"/>
                  </a:cubicBezTo>
                  <a:moveTo>
                    <a:pt x="441" y="486"/>
                  </a:moveTo>
                  <a:cubicBezTo>
                    <a:pt x="442" y="487"/>
                    <a:pt x="443" y="487"/>
                    <a:pt x="443" y="488"/>
                  </a:cubicBezTo>
                  <a:cubicBezTo>
                    <a:pt x="444" y="488"/>
                    <a:pt x="444" y="488"/>
                    <a:pt x="444" y="488"/>
                  </a:cubicBezTo>
                  <a:cubicBezTo>
                    <a:pt x="445" y="488"/>
                    <a:pt x="445" y="487"/>
                    <a:pt x="445" y="487"/>
                  </a:cubicBezTo>
                  <a:cubicBezTo>
                    <a:pt x="444" y="487"/>
                    <a:pt x="443" y="486"/>
                    <a:pt x="441" y="486"/>
                  </a:cubicBezTo>
                  <a:moveTo>
                    <a:pt x="445" y="490"/>
                  </a:moveTo>
                  <a:cubicBezTo>
                    <a:pt x="443" y="492"/>
                    <a:pt x="442" y="493"/>
                    <a:pt x="440" y="494"/>
                  </a:cubicBezTo>
                  <a:cubicBezTo>
                    <a:pt x="439" y="495"/>
                    <a:pt x="438" y="497"/>
                    <a:pt x="438" y="498"/>
                  </a:cubicBezTo>
                  <a:cubicBezTo>
                    <a:pt x="440" y="496"/>
                    <a:pt x="443" y="493"/>
                    <a:pt x="446" y="491"/>
                  </a:cubicBezTo>
                  <a:cubicBezTo>
                    <a:pt x="446" y="491"/>
                    <a:pt x="445" y="490"/>
                    <a:pt x="445" y="490"/>
                  </a:cubicBezTo>
                  <a:moveTo>
                    <a:pt x="548" y="491"/>
                  </a:moveTo>
                  <a:cubicBezTo>
                    <a:pt x="547" y="491"/>
                    <a:pt x="547" y="491"/>
                    <a:pt x="547" y="491"/>
                  </a:cubicBezTo>
                  <a:cubicBezTo>
                    <a:pt x="547" y="492"/>
                    <a:pt x="547" y="492"/>
                    <a:pt x="547" y="492"/>
                  </a:cubicBezTo>
                  <a:cubicBezTo>
                    <a:pt x="547" y="492"/>
                    <a:pt x="548" y="492"/>
                    <a:pt x="548" y="492"/>
                  </a:cubicBezTo>
                  <a:cubicBezTo>
                    <a:pt x="548" y="492"/>
                    <a:pt x="548" y="491"/>
                    <a:pt x="548" y="491"/>
                  </a:cubicBezTo>
                  <a:moveTo>
                    <a:pt x="468" y="493"/>
                  </a:moveTo>
                  <a:cubicBezTo>
                    <a:pt x="468" y="493"/>
                    <a:pt x="468" y="493"/>
                    <a:pt x="467" y="493"/>
                  </a:cubicBezTo>
                  <a:cubicBezTo>
                    <a:pt x="467" y="493"/>
                    <a:pt x="468" y="493"/>
                    <a:pt x="468" y="494"/>
                  </a:cubicBezTo>
                  <a:cubicBezTo>
                    <a:pt x="469" y="493"/>
                    <a:pt x="469" y="493"/>
                    <a:pt x="469" y="493"/>
                  </a:cubicBezTo>
                  <a:cubicBezTo>
                    <a:pt x="469" y="493"/>
                    <a:pt x="469" y="493"/>
                    <a:pt x="468" y="493"/>
                  </a:cubicBezTo>
                  <a:moveTo>
                    <a:pt x="471" y="493"/>
                  </a:moveTo>
                  <a:cubicBezTo>
                    <a:pt x="470" y="493"/>
                    <a:pt x="470" y="494"/>
                    <a:pt x="469" y="494"/>
                  </a:cubicBezTo>
                  <a:cubicBezTo>
                    <a:pt x="474" y="495"/>
                    <a:pt x="479" y="496"/>
                    <a:pt x="483" y="497"/>
                  </a:cubicBezTo>
                  <a:cubicBezTo>
                    <a:pt x="483" y="497"/>
                    <a:pt x="484" y="496"/>
                    <a:pt x="484" y="496"/>
                  </a:cubicBezTo>
                  <a:cubicBezTo>
                    <a:pt x="480" y="495"/>
                    <a:pt x="475" y="494"/>
                    <a:pt x="471" y="493"/>
                  </a:cubicBezTo>
                  <a:moveTo>
                    <a:pt x="548" y="493"/>
                  </a:moveTo>
                  <a:cubicBezTo>
                    <a:pt x="548" y="493"/>
                    <a:pt x="547" y="493"/>
                    <a:pt x="547" y="493"/>
                  </a:cubicBezTo>
                  <a:cubicBezTo>
                    <a:pt x="547" y="494"/>
                    <a:pt x="547" y="494"/>
                    <a:pt x="547" y="494"/>
                  </a:cubicBezTo>
                  <a:cubicBezTo>
                    <a:pt x="547" y="494"/>
                    <a:pt x="548" y="494"/>
                    <a:pt x="548" y="494"/>
                  </a:cubicBezTo>
                  <a:cubicBezTo>
                    <a:pt x="548" y="494"/>
                    <a:pt x="548" y="494"/>
                    <a:pt x="548" y="493"/>
                  </a:cubicBezTo>
                  <a:cubicBezTo>
                    <a:pt x="548" y="493"/>
                    <a:pt x="548" y="493"/>
                    <a:pt x="548" y="493"/>
                  </a:cubicBezTo>
                  <a:moveTo>
                    <a:pt x="982" y="494"/>
                  </a:moveTo>
                  <a:cubicBezTo>
                    <a:pt x="977" y="496"/>
                    <a:pt x="970" y="497"/>
                    <a:pt x="963" y="499"/>
                  </a:cubicBezTo>
                  <a:cubicBezTo>
                    <a:pt x="963" y="499"/>
                    <a:pt x="963" y="499"/>
                    <a:pt x="963" y="499"/>
                  </a:cubicBezTo>
                  <a:cubicBezTo>
                    <a:pt x="963" y="498"/>
                    <a:pt x="962" y="498"/>
                    <a:pt x="962" y="498"/>
                  </a:cubicBezTo>
                  <a:cubicBezTo>
                    <a:pt x="961" y="498"/>
                    <a:pt x="960" y="499"/>
                    <a:pt x="958" y="499"/>
                  </a:cubicBezTo>
                  <a:cubicBezTo>
                    <a:pt x="958" y="499"/>
                    <a:pt x="957" y="499"/>
                    <a:pt x="957" y="499"/>
                  </a:cubicBezTo>
                  <a:cubicBezTo>
                    <a:pt x="950" y="501"/>
                    <a:pt x="938" y="503"/>
                    <a:pt x="920" y="507"/>
                  </a:cubicBezTo>
                  <a:cubicBezTo>
                    <a:pt x="920" y="507"/>
                    <a:pt x="919" y="507"/>
                    <a:pt x="919" y="507"/>
                  </a:cubicBezTo>
                  <a:cubicBezTo>
                    <a:pt x="915" y="508"/>
                    <a:pt x="910" y="508"/>
                    <a:pt x="905" y="509"/>
                  </a:cubicBezTo>
                  <a:cubicBezTo>
                    <a:pt x="905" y="510"/>
                    <a:pt x="905" y="510"/>
                    <a:pt x="906" y="510"/>
                  </a:cubicBezTo>
                  <a:cubicBezTo>
                    <a:pt x="910" y="509"/>
                    <a:pt x="915" y="509"/>
                    <a:pt x="919" y="508"/>
                  </a:cubicBezTo>
                  <a:cubicBezTo>
                    <a:pt x="920" y="508"/>
                    <a:pt x="920" y="508"/>
                    <a:pt x="920" y="508"/>
                  </a:cubicBezTo>
                  <a:cubicBezTo>
                    <a:pt x="938" y="504"/>
                    <a:pt x="951" y="501"/>
                    <a:pt x="957" y="500"/>
                  </a:cubicBezTo>
                  <a:cubicBezTo>
                    <a:pt x="958" y="500"/>
                    <a:pt x="958" y="500"/>
                    <a:pt x="958" y="500"/>
                  </a:cubicBezTo>
                  <a:cubicBezTo>
                    <a:pt x="960" y="500"/>
                    <a:pt x="961" y="499"/>
                    <a:pt x="961" y="499"/>
                  </a:cubicBezTo>
                  <a:cubicBezTo>
                    <a:pt x="961" y="500"/>
                    <a:pt x="961" y="500"/>
                    <a:pt x="961" y="500"/>
                  </a:cubicBezTo>
                  <a:cubicBezTo>
                    <a:pt x="961" y="501"/>
                    <a:pt x="961" y="501"/>
                    <a:pt x="961" y="501"/>
                  </a:cubicBezTo>
                  <a:cubicBezTo>
                    <a:pt x="969" y="499"/>
                    <a:pt x="977" y="497"/>
                    <a:pt x="983" y="495"/>
                  </a:cubicBezTo>
                  <a:cubicBezTo>
                    <a:pt x="983" y="495"/>
                    <a:pt x="983" y="495"/>
                    <a:pt x="982" y="494"/>
                  </a:cubicBezTo>
                  <a:moveTo>
                    <a:pt x="548" y="495"/>
                  </a:moveTo>
                  <a:cubicBezTo>
                    <a:pt x="548" y="495"/>
                    <a:pt x="547" y="495"/>
                    <a:pt x="547" y="495"/>
                  </a:cubicBezTo>
                  <a:cubicBezTo>
                    <a:pt x="546" y="497"/>
                    <a:pt x="545" y="499"/>
                    <a:pt x="543" y="501"/>
                  </a:cubicBezTo>
                  <a:cubicBezTo>
                    <a:pt x="542" y="501"/>
                    <a:pt x="542" y="501"/>
                    <a:pt x="542" y="502"/>
                  </a:cubicBezTo>
                  <a:cubicBezTo>
                    <a:pt x="543" y="501"/>
                    <a:pt x="544" y="501"/>
                    <a:pt x="545" y="500"/>
                  </a:cubicBezTo>
                  <a:cubicBezTo>
                    <a:pt x="547" y="499"/>
                    <a:pt x="547" y="497"/>
                    <a:pt x="548" y="495"/>
                  </a:cubicBezTo>
                  <a:moveTo>
                    <a:pt x="486" y="496"/>
                  </a:moveTo>
                  <a:cubicBezTo>
                    <a:pt x="486" y="497"/>
                    <a:pt x="485" y="497"/>
                    <a:pt x="485" y="497"/>
                  </a:cubicBezTo>
                  <a:cubicBezTo>
                    <a:pt x="488" y="498"/>
                    <a:pt x="491" y="499"/>
                    <a:pt x="494" y="499"/>
                  </a:cubicBezTo>
                  <a:cubicBezTo>
                    <a:pt x="495" y="499"/>
                    <a:pt x="495" y="499"/>
                    <a:pt x="496" y="498"/>
                  </a:cubicBezTo>
                  <a:cubicBezTo>
                    <a:pt x="492" y="498"/>
                    <a:pt x="489" y="497"/>
                    <a:pt x="486" y="496"/>
                  </a:cubicBezTo>
                  <a:moveTo>
                    <a:pt x="437" y="497"/>
                  </a:moveTo>
                  <a:cubicBezTo>
                    <a:pt x="437" y="497"/>
                    <a:pt x="437" y="498"/>
                    <a:pt x="436" y="498"/>
                  </a:cubicBezTo>
                  <a:cubicBezTo>
                    <a:pt x="436" y="498"/>
                    <a:pt x="436" y="498"/>
                    <a:pt x="436" y="498"/>
                  </a:cubicBezTo>
                  <a:cubicBezTo>
                    <a:pt x="437" y="498"/>
                    <a:pt x="437" y="497"/>
                    <a:pt x="437" y="497"/>
                  </a:cubicBezTo>
                  <a:moveTo>
                    <a:pt x="497" y="499"/>
                  </a:moveTo>
                  <a:cubicBezTo>
                    <a:pt x="497" y="499"/>
                    <a:pt x="496" y="499"/>
                    <a:pt x="496" y="499"/>
                  </a:cubicBezTo>
                  <a:cubicBezTo>
                    <a:pt x="497" y="500"/>
                    <a:pt x="498" y="500"/>
                    <a:pt x="500" y="500"/>
                  </a:cubicBezTo>
                  <a:cubicBezTo>
                    <a:pt x="500" y="500"/>
                    <a:pt x="501" y="500"/>
                    <a:pt x="501" y="500"/>
                  </a:cubicBezTo>
                  <a:cubicBezTo>
                    <a:pt x="500" y="499"/>
                    <a:pt x="498" y="499"/>
                    <a:pt x="497" y="499"/>
                  </a:cubicBezTo>
                  <a:moveTo>
                    <a:pt x="435" y="499"/>
                  </a:moveTo>
                  <a:cubicBezTo>
                    <a:pt x="435" y="500"/>
                    <a:pt x="435" y="500"/>
                    <a:pt x="434" y="501"/>
                  </a:cubicBezTo>
                  <a:cubicBezTo>
                    <a:pt x="435" y="501"/>
                    <a:pt x="435" y="501"/>
                    <a:pt x="435" y="501"/>
                  </a:cubicBezTo>
                  <a:cubicBezTo>
                    <a:pt x="435" y="501"/>
                    <a:pt x="436" y="500"/>
                    <a:pt x="436" y="499"/>
                  </a:cubicBezTo>
                  <a:cubicBezTo>
                    <a:pt x="436" y="499"/>
                    <a:pt x="436" y="499"/>
                    <a:pt x="435" y="499"/>
                  </a:cubicBezTo>
                  <a:moveTo>
                    <a:pt x="503" y="500"/>
                  </a:moveTo>
                  <a:cubicBezTo>
                    <a:pt x="502" y="500"/>
                    <a:pt x="502" y="500"/>
                    <a:pt x="501" y="501"/>
                  </a:cubicBezTo>
                  <a:cubicBezTo>
                    <a:pt x="502" y="501"/>
                    <a:pt x="502" y="501"/>
                    <a:pt x="502" y="501"/>
                  </a:cubicBezTo>
                  <a:cubicBezTo>
                    <a:pt x="507" y="502"/>
                    <a:pt x="512" y="503"/>
                    <a:pt x="517" y="504"/>
                  </a:cubicBezTo>
                  <a:cubicBezTo>
                    <a:pt x="518" y="503"/>
                    <a:pt x="519" y="503"/>
                    <a:pt x="519" y="503"/>
                  </a:cubicBezTo>
                  <a:cubicBezTo>
                    <a:pt x="514" y="502"/>
                    <a:pt x="509" y="501"/>
                    <a:pt x="504" y="500"/>
                  </a:cubicBezTo>
                  <a:cubicBezTo>
                    <a:pt x="503" y="500"/>
                    <a:pt x="503" y="500"/>
                    <a:pt x="503" y="500"/>
                  </a:cubicBezTo>
                  <a:moveTo>
                    <a:pt x="434" y="502"/>
                  </a:moveTo>
                  <a:cubicBezTo>
                    <a:pt x="434" y="503"/>
                    <a:pt x="433" y="503"/>
                    <a:pt x="433" y="504"/>
                  </a:cubicBezTo>
                  <a:cubicBezTo>
                    <a:pt x="433" y="505"/>
                    <a:pt x="433" y="505"/>
                    <a:pt x="433" y="505"/>
                  </a:cubicBezTo>
                  <a:cubicBezTo>
                    <a:pt x="434" y="504"/>
                    <a:pt x="434" y="503"/>
                    <a:pt x="434" y="502"/>
                  </a:cubicBezTo>
                  <a:cubicBezTo>
                    <a:pt x="434" y="502"/>
                    <a:pt x="434" y="502"/>
                    <a:pt x="434" y="502"/>
                  </a:cubicBezTo>
                  <a:moveTo>
                    <a:pt x="521" y="503"/>
                  </a:moveTo>
                  <a:cubicBezTo>
                    <a:pt x="520" y="504"/>
                    <a:pt x="520" y="504"/>
                    <a:pt x="519" y="504"/>
                  </a:cubicBezTo>
                  <a:cubicBezTo>
                    <a:pt x="519" y="504"/>
                    <a:pt x="519" y="504"/>
                    <a:pt x="520" y="504"/>
                  </a:cubicBezTo>
                  <a:cubicBezTo>
                    <a:pt x="520" y="504"/>
                    <a:pt x="521" y="504"/>
                    <a:pt x="522" y="504"/>
                  </a:cubicBezTo>
                  <a:cubicBezTo>
                    <a:pt x="522" y="504"/>
                    <a:pt x="522" y="504"/>
                    <a:pt x="523" y="504"/>
                  </a:cubicBezTo>
                  <a:cubicBezTo>
                    <a:pt x="523" y="504"/>
                    <a:pt x="523" y="504"/>
                    <a:pt x="523" y="504"/>
                  </a:cubicBezTo>
                  <a:cubicBezTo>
                    <a:pt x="522" y="504"/>
                    <a:pt x="521" y="503"/>
                    <a:pt x="521" y="503"/>
                  </a:cubicBezTo>
                  <a:moveTo>
                    <a:pt x="540" y="504"/>
                  </a:moveTo>
                  <a:cubicBezTo>
                    <a:pt x="540" y="504"/>
                    <a:pt x="540" y="504"/>
                    <a:pt x="539" y="504"/>
                  </a:cubicBezTo>
                  <a:cubicBezTo>
                    <a:pt x="537" y="505"/>
                    <a:pt x="535" y="506"/>
                    <a:pt x="533" y="507"/>
                  </a:cubicBezTo>
                  <a:cubicBezTo>
                    <a:pt x="533" y="507"/>
                    <a:pt x="534" y="507"/>
                    <a:pt x="534" y="507"/>
                  </a:cubicBezTo>
                  <a:cubicBezTo>
                    <a:pt x="536" y="507"/>
                    <a:pt x="539" y="508"/>
                    <a:pt x="542" y="508"/>
                  </a:cubicBezTo>
                  <a:cubicBezTo>
                    <a:pt x="542" y="508"/>
                    <a:pt x="543" y="508"/>
                    <a:pt x="543" y="508"/>
                  </a:cubicBezTo>
                  <a:cubicBezTo>
                    <a:pt x="543" y="508"/>
                    <a:pt x="544" y="508"/>
                    <a:pt x="544" y="508"/>
                  </a:cubicBezTo>
                  <a:cubicBezTo>
                    <a:pt x="544" y="508"/>
                    <a:pt x="545" y="508"/>
                    <a:pt x="545" y="508"/>
                  </a:cubicBezTo>
                  <a:cubicBezTo>
                    <a:pt x="545" y="508"/>
                    <a:pt x="545" y="507"/>
                    <a:pt x="545" y="507"/>
                  </a:cubicBezTo>
                  <a:cubicBezTo>
                    <a:pt x="544" y="507"/>
                    <a:pt x="544" y="507"/>
                    <a:pt x="543" y="507"/>
                  </a:cubicBezTo>
                  <a:cubicBezTo>
                    <a:pt x="540" y="507"/>
                    <a:pt x="538" y="506"/>
                    <a:pt x="535" y="506"/>
                  </a:cubicBezTo>
                  <a:cubicBezTo>
                    <a:pt x="537" y="505"/>
                    <a:pt x="539" y="504"/>
                    <a:pt x="540" y="504"/>
                  </a:cubicBezTo>
                  <a:moveTo>
                    <a:pt x="524" y="504"/>
                  </a:moveTo>
                  <a:cubicBezTo>
                    <a:pt x="524" y="504"/>
                    <a:pt x="524" y="504"/>
                    <a:pt x="524" y="504"/>
                  </a:cubicBezTo>
                  <a:cubicBezTo>
                    <a:pt x="524" y="504"/>
                    <a:pt x="525" y="504"/>
                    <a:pt x="525" y="504"/>
                  </a:cubicBezTo>
                  <a:cubicBezTo>
                    <a:pt x="525" y="504"/>
                    <a:pt x="524" y="504"/>
                    <a:pt x="524" y="504"/>
                  </a:cubicBezTo>
                  <a:moveTo>
                    <a:pt x="529" y="505"/>
                  </a:moveTo>
                  <a:cubicBezTo>
                    <a:pt x="528" y="505"/>
                    <a:pt x="526" y="505"/>
                    <a:pt x="525" y="505"/>
                  </a:cubicBezTo>
                  <a:cubicBezTo>
                    <a:pt x="525" y="505"/>
                    <a:pt x="525" y="505"/>
                    <a:pt x="525" y="505"/>
                  </a:cubicBezTo>
                  <a:cubicBezTo>
                    <a:pt x="526" y="505"/>
                    <a:pt x="526" y="505"/>
                    <a:pt x="527" y="505"/>
                  </a:cubicBezTo>
                  <a:cubicBezTo>
                    <a:pt x="527" y="505"/>
                    <a:pt x="527" y="505"/>
                    <a:pt x="527" y="506"/>
                  </a:cubicBezTo>
                  <a:cubicBezTo>
                    <a:pt x="528" y="506"/>
                    <a:pt x="528" y="506"/>
                    <a:pt x="529" y="506"/>
                  </a:cubicBezTo>
                  <a:cubicBezTo>
                    <a:pt x="529" y="506"/>
                    <a:pt x="530" y="506"/>
                    <a:pt x="531" y="506"/>
                  </a:cubicBezTo>
                  <a:cubicBezTo>
                    <a:pt x="530" y="506"/>
                    <a:pt x="530" y="506"/>
                    <a:pt x="529" y="507"/>
                  </a:cubicBezTo>
                  <a:cubicBezTo>
                    <a:pt x="529" y="507"/>
                    <a:pt x="528" y="507"/>
                    <a:pt x="528" y="507"/>
                  </a:cubicBezTo>
                  <a:cubicBezTo>
                    <a:pt x="527" y="507"/>
                    <a:pt x="525" y="507"/>
                    <a:pt x="524" y="507"/>
                  </a:cubicBezTo>
                  <a:cubicBezTo>
                    <a:pt x="524" y="508"/>
                    <a:pt x="523" y="508"/>
                    <a:pt x="522" y="508"/>
                  </a:cubicBezTo>
                  <a:cubicBezTo>
                    <a:pt x="522" y="508"/>
                    <a:pt x="522" y="508"/>
                    <a:pt x="522" y="508"/>
                  </a:cubicBezTo>
                  <a:cubicBezTo>
                    <a:pt x="520" y="508"/>
                    <a:pt x="519" y="508"/>
                    <a:pt x="517" y="509"/>
                  </a:cubicBezTo>
                  <a:cubicBezTo>
                    <a:pt x="516" y="509"/>
                    <a:pt x="516" y="509"/>
                    <a:pt x="515" y="509"/>
                  </a:cubicBezTo>
                  <a:cubicBezTo>
                    <a:pt x="514" y="509"/>
                    <a:pt x="514" y="510"/>
                    <a:pt x="513" y="510"/>
                  </a:cubicBezTo>
                  <a:cubicBezTo>
                    <a:pt x="514" y="510"/>
                    <a:pt x="516" y="510"/>
                    <a:pt x="517" y="510"/>
                  </a:cubicBezTo>
                  <a:cubicBezTo>
                    <a:pt x="518" y="509"/>
                    <a:pt x="520" y="509"/>
                    <a:pt x="521" y="509"/>
                  </a:cubicBezTo>
                  <a:cubicBezTo>
                    <a:pt x="521" y="509"/>
                    <a:pt x="522" y="509"/>
                    <a:pt x="523" y="509"/>
                  </a:cubicBezTo>
                  <a:cubicBezTo>
                    <a:pt x="525" y="508"/>
                    <a:pt x="527" y="508"/>
                    <a:pt x="528" y="508"/>
                  </a:cubicBezTo>
                  <a:cubicBezTo>
                    <a:pt x="528" y="508"/>
                    <a:pt x="528" y="508"/>
                    <a:pt x="529" y="508"/>
                  </a:cubicBezTo>
                  <a:cubicBezTo>
                    <a:pt x="530" y="507"/>
                    <a:pt x="532" y="506"/>
                    <a:pt x="534" y="505"/>
                  </a:cubicBezTo>
                  <a:cubicBezTo>
                    <a:pt x="534" y="505"/>
                    <a:pt x="533" y="505"/>
                    <a:pt x="533" y="505"/>
                  </a:cubicBezTo>
                  <a:cubicBezTo>
                    <a:pt x="532" y="505"/>
                    <a:pt x="530" y="505"/>
                    <a:pt x="529" y="505"/>
                  </a:cubicBezTo>
                  <a:moveTo>
                    <a:pt x="434" y="505"/>
                  </a:moveTo>
                  <a:cubicBezTo>
                    <a:pt x="434" y="506"/>
                    <a:pt x="434" y="506"/>
                    <a:pt x="434" y="507"/>
                  </a:cubicBezTo>
                  <a:cubicBezTo>
                    <a:pt x="434" y="507"/>
                    <a:pt x="435" y="508"/>
                    <a:pt x="435" y="508"/>
                  </a:cubicBezTo>
                  <a:cubicBezTo>
                    <a:pt x="435" y="508"/>
                    <a:pt x="435" y="508"/>
                    <a:pt x="435" y="508"/>
                  </a:cubicBezTo>
                  <a:cubicBezTo>
                    <a:pt x="436" y="508"/>
                    <a:pt x="436" y="508"/>
                    <a:pt x="436" y="508"/>
                  </a:cubicBezTo>
                  <a:cubicBezTo>
                    <a:pt x="435" y="507"/>
                    <a:pt x="435" y="506"/>
                    <a:pt x="434" y="505"/>
                  </a:cubicBezTo>
                  <a:moveTo>
                    <a:pt x="547" y="508"/>
                  </a:moveTo>
                  <a:cubicBezTo>
                    <a:pt x="547" y="508"/>
                    <a:pt x="546" y="508"/>
                    <a:pt x="546" y="509"/>
                  </a:cubicBezTo>
                  <a:cubicBezTo>
                    <a:pt x="546" y="509"/>
                    <a:pt x="547" y="509"/>
                    <a:pt x="548" y="509"/>
                  </a:cubicBezTo>
                  <a:cubicBezTo>
                    <a:pt x="548" y="509"/>
                    <a:pt x="548" y="509"/>
                    <a:pt x="549" y="509"/>
                  </a:cubicBezTo>
                  <a:cubicBezTo>
                    <a:pt x="549" y="509"/>
                    <a:pt x="550" y="509"/>
                    <a:pt x="550" y="508"/>
                  </a:cubicBezTo>
                  <a:cubicBezTo>
                    <a:pt x="550" y="508"/>
                    <a:pt x="549" y="508"/>
                    <a:pt x="549" y="508"/>
                  </a:cubicBezTo>
                  <a:cubicBezTo>
                    <a:pt x="548" y="508"/>
                    <a:pt x="548" y="508"/>
                    <a:pt x="547" y="508"/>
                  </a:cubicBezTo>
                  <a:moveTo>
                    <a:pt x="437" y="508"/>
                  </a:moveTo>
                  <a:cubicBezTo>
                    <a:pt x="437" y="509"/>
                    <a:pt x="437" y="509"/>
                    <a:pt x="436" y="509"/>
                  </a:cubicBezTo>
                  <a:cubicBezTo>
                    <a:pt x="437" y="509"/>
                    <a:pt x="437" y="509"/>
                    <a:pt x="437" y="509"/>
                  </a:cubicBezTo>
                  <a:cubicBezTo>
                    <a:pt x="439" y="511"/>
                    <a:pt x="442" y="511"/>
                    <a:pt x="446" y="512"/>
                  </a:cubicBezTo>
                  <a:cubicBezTo>
                    <a:pt x="445" y="512"/>
                    <a:pt x="445" y="511"/>
                    <a:pt x="444" y="511"/>
                  </a:cubicBezTo>
                  <a:cubicBezTo>
                    <a:pt x="443" y="511"/>
                    <a:pt x="442" y="510"/>
                    <a:pt x="441" y="510"/>
                  </a:cubicBezTo>
                  <a:cubicBezTo>
                    <a:pt x="440" y="510"/>
                    <a:pt x="439" y="509"/>
                    <a:pt x="438" y="509"/>
                  </a:cubicBezTo>
                  <a:cubicBezTo>
                    <a:pt x="438" y="509"/>
                    <a:pt x="437" y="508"/>
                    <a:pt x="437" y="508"/>
                  </a:cubicBezTo>
                  <a:moveTo>
                    <a:pt x="552" y="509"/>
                  </a:moveTo>
                  <a:cubicBezTo>
                    <a:pt x="552" y="509"/>
                    <a:pt x="551" y="509"/>
                    <a:pt x="550" y="509"/>
                  </a:cubicBezTo>
                  <a:cubicBezTo>
                    <a:pt x="552" y="510"/>
                    <a:pt x="555" y="510"/>
                    <a:pt x="557" y="510"/>
                  </a:cubicBezTo>
                  <a:cubicBezTo>
                    <a:pt x="557" y="510"/>
                    <a:pt x="557" y="510"/>
                    <a:pt x="558" y="510"/>
                  </a:cubicBezTo>
                  <a:cubicBezTo>
                    <a:pt x="557" y="510"/>
                    <a:pt x="557" y="509"/>
                    <a:pt x="557" y="509"/>
                  </a:cubicBezTo>
                  <a:cubicBezTo>
                    <a:pt x="555" y="509"/>
                    <a:pt x="554" y="509"/>
                    <a:pt x="552" y="509"/>
                  </a:cubicBezTo>
                  <a:moveTo>
                    <a:pt x="513" y="509"/>
                  </a:moveTo>
                  <a:cubicBezTo>
                    <a:pt x="511" y="509"/>
                    <a:pt x="509" y="509"/>
                    <a:pt x="507" y="510"/>
                  </a:cubicBezTo>
                  <a:cubicBezTo>
                    <a:pt x="507" y="510"/>
                    <a:pt x="506" y="510"/>
                    <a:pt x="505" y="511"/>
                  </a:cubicBezTo>
                  <a:cubicBezTo>
                    <a:pt x="507" y="511"/>
                    <a:pt x="508" y="510"/>
                    <a:pt x="510" y="510"/>
                  </a:cubicBezTo>
                  <a:cubicBezTo>
                    <a:pt x="511" y="510"/>
                    <a:pt x="512" y="509"/>
                    <a:pt x="513" y="509"/>
                  </a:cubicBezTo>
                  <a:moveTo>
                    <a:pt x="904" y="509"/>
                  </a:moveTo>
                  <a:cubicBezTo>
                    <a:pt x="899" y="510"/>
                    <a:pt x="894" y="511"/>
                    <a:pt x="889" y="512"/>
                  </a:cubicBezTo>
                  <a:cubicBezTo>
                    <a:pt x="889" y="512"/>
                    <a:pt x="888" y="512"/>
                    <a:pt x="888" y="512"/>
                  </a:cubicBezTo>
                  <a:cubicBezTo>
                    <a:pt x="881" y="513"/>
                    <a:pt x="873" y="514"/>
                    <a:pt x="865" y="515"/>
                  </a:cubicBezTo>
                  <a:cubicBezTo>
                    <a:pt x="864" y="515"/>
                    <a:pt x="864" y="515"/>
                    <a:pt x="864" y="515"/>
                  </a:cubicBezTo>
                  <a:cubicBezTo>
                    <a:pt x="854" y="516"/>
                    <a:pt x="843" y="518"/>
                    <a:pt x="831" y="519"/>
                  </a:cubicBezTo>
                  <a:cubicBezTo>
                    <a:pt x="831" y="519"/>
                    <a:pt x="831" y="519"/>
                    <a:pt x="831" y="520"/>
                  </a:cubicBezTo>
                  <a:cubicBezTo>
                    <a:pt x="843" y="519"/>
                    <a:pt x="853" y="517"/>
                    <a:pt x="864" y="516"/>
                  </a:cubicBezTo>
                  <a:cubicBezTo>
                    <a:pt x="864" y="516"/>
                    <a:pt x="864" y="516"/>
                    <a:pt x="865" y="516"/>
                  </a:cubicBezTo>
                  <a:cubicBezTo>
                    <a:pt x="873" y="515"/>
                    <a:pt x="881" y="514"/>
                    <a:pt x="888" y="513"/>
                  </a:cubicBezTo>
                  <a:cubicBezTo>
                    <a:pt x="888" y="513"/>
                    <a:pt x="889" y="513"/>
                    <a:pt x="889" y="513"/>
                  </a:cubicBezTo>
                  <a:cubicBezTo>
                    <a:pt x="891" y="512"/>
                    <a:pt x="894" y="512"/>
                    <a:pt x="896" y="512"/>
                  </a:cubicBezTo>
                  <a:cubicBezTo>
                    <a:pt x="899" y="511"/>
                    <a:pt x="902" y="511"/>
                    <a:pt x="904" y="510"/>
                  </a:cubicBezTo>
                  <a:cubicBezTo>
                    <a:pt x="904" y="510"/>
                    <a:pt x="904" y="510"/>
                    <a:pt x="904" y="509"/>
                  </a:cubicBezTo>
                  <a:moveTo>
                    <a:pt x="505" y="510"/>
                  </a:moveTo>
                  <a:cubicBezTo>
                    <a:pt x="497" y="511"/>
                    <a:pt x="490" y="511"/>
                    <a:pt x="484" y="512"/>
                  </a:cubicBezTo>
                  <a:cubicBezTo>
                    <a:pt x="483" y="512"/>
                    <a:pt x="483" y="512"/>
                    <a:pt x="482" y="512"/>
                  </a:cubicBezTo>
                  <a:cubicBezTo>
                    <a:pt x="483" y="512"/>
                    <a:pt x="483" y="512"/>
                    <a:pt x="484" y="513"/>
                  </a:cubicBezTo>
                  <a:cubicBezTo>
                    <a:pt x="489" y="512"/>
                    <a:pt x="495" y="512"/>
                    <a:pt x="502" y="511"/>
                  </a:cubicBezTo>
                  <a:cubicBezTo>
                    <a:pt x="503" y="511"/>
                    <a:pt x="504" y="510"/>
                    <a:pt x="505" y="510"/>
                  </a:cubicBezTo>
                  <a:moveTo>
                    <a:pt x="560" y="510"/>
                  </a:moveTo>
                  <a:cubicBezTo>
                    <a:pt x="562" y="510"/>
                    <a:pt x="563" y="511"/>
                    <a:pt x="564" y="511"/>
                  </a:cubicBezTo>
                  <a:cubicBezTo>
                    <a:pt x="564" y="511"/>
                    <a:pt x="564" y="511"/>
                    <a:pt x="564" y="511"/>
                  </a:cubicBezTo>
                  <a:cubicBezTo>
                    <a:pt x="565" y="512"/>
                    <a:pt x="565" y="512"/>
                    <a:pt x="566" y="512"/>
                  </a:cubicBezTo>
                  <a:cubicBezTo>
                    <a:pt x="566" y="512"/>
                    <a:pt x="566" y="512"/>
                    <a:pt x="567" y="512"/>
                  </a:cubicBezTo>
                  <a:cubicBezTo>
                    <a:pt x="567" y="512"/>
                    <a:pt x="568" y="511"/>
                    <a:pt x="569" y="511"/>
                  </a:cubicBezTo>
                  <a:cubicBezTo>
                    <a:pt x="568" y="511"/>
                    <a:pt x="567" y="511"/>
                    <a:pt x="567" y="511"/>
                  </a:cubicBezTo>
                  <a:cubicBezTo>
                    <a:pt x="566" y="511"/>
                    <a:pt x="566" y="511"/>
                    <a:pt x="565" y="511"/>
                  </a:cubicBezTo>
                  <a:cubicBezTo>
                    <a:pt x="564" y="510"/>
                    <a:pt x="562" y="510"/>
                    <a:pt x="560" y="510"/>
                  </a:cubicBezTo>
                  <a:moveTo>
                    <a:pt x="559" y="510"/>
                  </a:moveTo>
                  <a:cubicBezTo>
                    <a:pt x="559" y="510"/>
                    <a:pt x="559" y="511"/>
                    <a:pt x="558" y="511"/>
                  </a:cubicBezTo>
                  <a:cubicBezTo>
                    <a:pt x="559" y="511"/>
                    <a:pt x="560" y="511"/>
                    <a:pt x="560" y="511"/>
                  </a:cubicBezTo>
                  <a:cubicBezTo>
                    <a:pt x="560" y="511"/>
                    <a:pt x="559" y="511"/>
                    <a:pt x="559" y="510"/>
                  </a:cubicBezTo>
                  <a:moveTo>
                    <a:pt x="446" y="511"/>
                  </a:moveTo>
                  <a:cubicBezTo>
                    <a:pt x="447" y="512"/>
                    <a:pt x="447" y="512"/>
                    <a:pt x="448" y="512"/>
                  </a:cubicBezTo>
                  <a:cubicBezTo>
                    <a:pt x="448" y="512"/>
                    <a:pt x="448" y="512"/>
                    <a:pt x="449" y="511"/>
                  </a:cubicBezTo>
                  <a:cubicBezTo>
                    <a:pt x="448" y="511"/>
                    <a:pt x="447" y="511"/>
                    <a:pt x="446" y="511"/>
                  </a:cubicBezTo>
                  <a:moveTo>
                    <a:pt x="570" y="511"/>
                  </a:moveTo>
                  <a:cubicBezTo>
                    <a:pt x="570" y="512"/>
                    <a:pt x="569" y="512"/>
                    <a:pt x="569" y="512"/>
                  </a:cubicBezTo>
                  <a:cubicBezTo>
                    <a:pt x="571" y="512"/>
                    <a:pt x="573" y="513"/>
                    <a:pt x="575" y="513"/>
                  </a:cubicBezTo>
                  <a:cubicBezTo>
                    <a:pt x="576" y="513"/>
                    <a:pt x="576" y="512"/>
                    <a:pt x="577" y="512"/>
                  </a:cubicBezTo>
                  <a:cubicBezTo>
                    <a:pt x="577" y="512"/>
                    <a:pt x="576" y="512"/>
                    <a:pt x="576" y="512"/>
                  </a:cubicBezTo>
                  <a:cubicBezTo>
                    <a:pt x="574" y="512"/>
                    <a:pt x="572" y="512"/>
                    <a:pt x="570" y="511"/>
                  </a:cubicBezTo>
                  <a:moveTo>
                    <a:pt x="450" y="512"/>
                  </a:moveTo>
                  <a:cubicBezTo>
                    <a:pt x="449" y="512"/>
                    <a:pt x="449" y="512"/>
                    <a:pt x="449" y="513"/>
                  </a:cubicBezTo>
                  <a:cubicBezTo>
                    <a:pt x="450" y="513"/>
                    <a:pt x="450" y="513"/>
                    <a:pt x="451" y="513"/>
                  </a:cubicBezTo>
                  <a:cubicBezTo>
                    <a:pt x="451" y="513"/>
                    <a:pt x="451" y="513"/>
                    <a:pt x="451" y="513"/>
                  </a:cubicBezTo>
                  <a:cubicBezTo>
                    <a:pt x="452" y="512"/>
                    <a:pt x="453" y="512"/>
                    <a:pt x="453" y="512"/>
                  </a:cubicBezTo>
                  <a:cubicBezTo>
                    <a:pt x="452" y="512"/>
                    <a:pt x="452" y="512"/>
                    <a:pt x="451" y="512"/>
                  </a:cubicBezTo>
                  <a:cubicBezTo>
                    <a:pt x="451" y="512"/>
                    <a:pt x="450" y="512"/>
                    <a:pt x="450" y="512"/>
                  </a:cubicBezTo>
                  <a:moveTo>
                    <a:pt x="480" y="512"/>
                  </a:moveTo>
                  <a:cubicBezTo>
                    <a:pt x="480" y="512"/>
                    <a:pt x="479" y="512"/>
                    <a:pt x="478" y="512"/>
                  </a:cubicBezTo>
                  <a:cubicBezTo>
                    <a:pt x="478" y="512"/>
                    <a:pt x="477" y="513"/>
                    <a:pt x="476" y="513"/>
                  </a:cubicBezTo>
                  <a:cubicBezTo>
                    <a:pt x="477" y="513"/>
                    <a:pt x="479" y="513"/>
                    <a:pt x="480" y="513"/>
                  </a:cubicBezTo>
                  <a:cubicBezTo>
                    <a:pt x="480" y="513"/>
                    <a:pt x="481" y="513"/>
                    <a:pt x="482" y="513"/>
                  </a:cubicBezTo>
                  <a:cubicBezTo>
                    <a:pt x="481" y="512"/>
                    <a:pt x="481" y="512"/>
                    <a:pt x="480" y="512"/>
                  </a:cubicBezTo>
                  <a:moveTo>
                    <a:pt x="455" y="512"/>
                  </a:moveTo>
                  <a:cubicBezTo>
                    <a:pt x="454" y="512"/>
                    <a:pt x="454" y="513"/>
                    <a:pt x="453" y="513"/>
                  </a:cubicBezTo>
                  <a:cubicBezTo>
                    <a:pt x="455" y="513"/>
                    <a:pt x="456" y="513"/>
                    <a:pt x="457" y="513"/>
                  </a:cubicBezTo>
                  <a:cubicBezTo>
                    <a:pt x="460" y="513"/>
                    <a:pt x="462" y="513"/>
                    <a:pt x="464" y="513"/>
                  </a:cubicBezTo>
                  <a:cubicBezTo>
                    <a:pt x="467" y="513"/>
                    <a:pt x="470" y="513"/>
                    <a:pt x="473" y="513"/>
                  </a:cubicBezTo>
                  <a:cubicBezTo>
                    <a:pt x="474" y="513"/>
                    <a:pt x="474" y="512"/>
                    <a:pt x="475" y="512"/>
                  </a:cubicBezTo>
                  <a:cubicBezTo>
                    <a:pt x="471" y="512"/>
                    <a:pt x="467" y="512"/>
                    <a:pt x="464" y="512"/>
                  </a:cubicBezTo>
                  <a:cubicBezTo>
                    <a:pt x="461" y="512"/>
                    <a:pt x="458" y="512"/>
                    <a:pt x="455" y="512"/>
                  </a:cubicBezTo>
                  <a:moveTo>
                    <a:pt x="579" y="513"/>
                  </a:moveTo>
                  <a:cubicBezTo>
                    <a:pt x="579" y="513"/>
                    <a:pt x="578" y="513"/>
                    <a:pt x="578" y="513"/>
                  </a:cubicBezTo>
                  <a:cubicBezTo>
                    <a:pt x="579" y="514"/>
                    <a:pt x="580" y="514"/>
                    <a:pt x="581" y="514"/>
                  </a:cubicBezTo>
                  <a:cubicBezTo>
                    <a:pt x="582" y="514"/>
                    <a:pt x="583" y="513"/>
                    <a:pt x="583" y="513"/>
                  </a:cubicBezTo>
                  <a:cubicBezTo>
                    <a:pt x="582" y="513"/>
                    <a:pt x="581" y="513"/>
                    <a:pt x="579" y="513"/>
                  </a:cubicBezTo>
                  <a:moveTo>
                    <a:pt x="585" y="513"/>
                  </a:moveTo>
                  <a:cubicBezTo>
                    <a:pt x="585" y="514"/>
                    <a:pt x="584" y="514"/>
                    <a:pt x="583" y="514"/>
                  </a:cubicBezTo>
                  <a:cubicBezTo>
                    <a:pt x="584" y="514"/>
                    <a:pt x="584" y="514"/>
                    <a:pt x="585" y="514"/>
                  </a:cubicBezTo>
                  <a:cubicBezTo>
                    <a:pt x="592" y="515"/>
                    <a:pt x="599" y="516"/>
                    <a:pt x="605" y="517"/>
                  </a:cubicBezTo>
                  <a:cubicBezTo>
                    <a:pt x="606" y="517"/>
                    <a:pt x="607" y="517"/>
                    <a:pt x="607" y="517"/>
                  </a:cubicBezTo>
                  <a:cubicBezTo>
                    <a:pt x="608" y="517"/>
                    <a:pt x="608" y="517"/>
                    <a:pt x="608" y="517"/>
                  </a:cubicBezTo>
                  <a:cubicBezTo>
                    <a:pt x="609" y="517"/>
                    <a:pt x="609" y="517"/>
                    <a:pt x="610" y="517"/>
                  </a:cubicBezTo>
                  <a:cubicBezTo>
                    <a:pt x="610" y="517"/>
                    <a:pt x="611" y="517"/>
                    <a:pt x="612" y="517"/>
                  </a:cubicBezTo>
                  <a:cubicBezTo>
                    <a:pt x="613" y="518"/>
                    <a:pt x="613" y="518"/>
                    <a:pt x="614" y="518"/>
                  </a:cubicBezTo>
                  <a:cubicBezTo>
                    <a:pt x="620" y="518"/>
                    <a:pt x="625" y="519"/>
                    <a:pt x="631" y="519"/>
                  </a:cubicBezTo>
                  <a:cubicBezTo>
                    <a:pt x="630" y="519"/>
                    <a:pt x="629" y="518"/>
                    <a:pt x="628" y="518"/>
                  </a:cubicBezTo>
                  <a:cubicBezTo>
                    <a:pt x="623" y="518"/>
                    <a:pt x="618" y="517"/>
                    <a:pt x="612" y="517"/>
                  </a:cubicBezTo>
                  <a:cubicBezTo>
                    <a:pt x="612" y="516"/>
                    <a:pt x="611" y="516"/>
                    <a:pt x="611" y="516"/>
                  </a:cubicBezTo>
                  <a:cubicBezTo>
                    <a:pt x="610" y="516"/>
                    <a:pt x="609" y="516"/>
                    <a:pt x="608" y="516"/>
                  </a:cubicBezTo>
                  <a:cubicBezTo>
                    <a:pt x="608" y="516"/>
                    <a:pt x="607" y="516"/>
                    <a:pt x="607" y="516"/>
                  </a:cubicBezTo>
                  <a:cubicBezTo>
                    <a:pt x="606" y="516"/>
                    <a:pt x="606" y="516"/>
                    <a:pt x="606" y="516"/>
                  </a:cubicBezTo>
                  <a:cubicBezTo>
                    <a:pt x="605" y="516"/>
                    <a:pt x="604" y="516"/>
                    <a:pt x="604" y="516"/>
                  </a:cubicBezTo>
                  <a:cubicBezTo>
                    <a:pt x="598" y="515"/>
                    <a:pt x="592" y="514"/>
                    <a:pt x="587" y="513"/>
                  </a:cubicBezTo>
                  <a:cubicBezTo>
                    <a:pt x="586" y="513"/>
                    <a:pt x="586" y="513"/>
                    <a:pt x="585" y="513"/>
                  </a:cubicBezTo>
                  <a:moveTo>
                    <a:pt x="631" y="518"/>
                  </a:moveTo>
                  <a:cubicBezTo>
                    <a:pt x="632" y="519"/>
                    <a:pt x="633" y="519"/>
                    <a:pt x="634" y="520"/>
                  </a:cubicBezTo>
                  <a:cubicBezTo>
                    <a:pt x="637" y="520"/>
                    <a:pt x="639" y="520"/>
                    <a:pt x="642" y="520"/>
                  </a:cubicBezTo>
                  <a:cubicBezTo>
                    <a:pt x="642" y="520"/>
                    <a:pt x="643" y="520"/>
                    <a:pt x="643" y="520"/>
                  </a:cubicBezTo>
                  <a:cubicBezTo>
                    <a:pt x="650" y="521"/>
                    <a:pt x="657" y="521"/>
                    <a:pt x="663" y="522"/>
                  </a:cubicBezTo>
                  <a:cubicBezTo>
                    <a:pt x="663" y="522"/>
                    <a:pt x="663" y="522"/>
                    <a:pt x="663" y="522"/>
                  </a:cubicBezTo>
                  <a:cubicBezTo>
                    <a:pt x="662" y="521"/>
                    <a:pt x="661" y="521"/>
                    <a:pt x="660" y="521"/>
                  </a:cubicBezTo>
                  <a:cubicBezTo>
                    <a:pt x="655" y="520"/>
                    <a:pt x="649" y="520"/>
                    <a:pt x="644" y="519"/>
                  </a:cubicBezTo>
                  <a:cubicBezTo>
                    <a:pt x="643" y="519"/>
                    <a:pt x="643" y="519"/>
                    <a:pt x="643" y="519"/>
                  </a:cubicBezTo>
                  <a:cubicBezTo>
                    <a:pt x="639" y="519"/>
                    <a:pt x="635" y="519"/>
                    <a:pt x="631" y="518"/>
                  </a:cubicBezTo>
                  <a:moveTo>
                    <a:pt x="830" y="519"/>
                  </a:moveTo>
                  <a:cubicBezTo>
                    <a:pt x="802" y="521"/>
                    <a:pt x="770" y="523"/>
                    <a:pt x="734" y="523"/>
                  </a:cubicBezTo>
                  <a:cubicBezTo>
                    <a:pt x="720" y="523"/>
                    <a:pt x="705" y="523"/>
                    <a:pt x="690" y="522"/>
                  </a:cubicBezTo>
                  <a:cubicBezTo>
                    <a:pt x="691" y="522"/>
                    <a:pt x="692" y="523"/>
                    <a:pt x="693" y="523"/>
                  </a:cubicBezTo>
                  <a:cubicBezTo>
                    <a:pt x="707" y="524"/>
                    <a:pt x="721" y="524"/>
                    <a:pt x="734" y="524"/>
                  </a:cubicBezTo>
                  <a:cubicBezTo>
                    <a:pt x="770" y="524"/>
                    <a:pt x="802" y="522"/>
                    <a:pt x="830" y="520"/>
                  </a:cubicBezTo>
                  <a:cubicBezTo>
                    <a:pt x="830" y="519"/>
                    <a:pt x="830" y="519"/>
                    <a:pt x="830" y="519"/>
                  </a:cubicBezTo>
                  <a:moveTo>
                    <a:pt x="665" y="521"/>
                  </a:moveTo>
                  <a:cubicBezTo>
                    <a:pt x="666" y="521"/>
                    <a:pt x="667" y="522"/>
                    <a:pt x="668" y="522"/>
                  </a:cubicBezTo>
                  <a:cubicBezTo>
                    <a:pt x="667" y="522"/>
                    <a:pt x="667" y="521"/>
                    <a:pt x="666" y="521"/>
                  </a:cubicBezTo>
                  <a:cubicBezTo>
                    <a:pt x="665" y="521"/>
                    <a:pt x="665" y="521"/>
                    <a:pt x="665" y="521"/>
                  </a:cubicBezTo>
                  <a:moveTo>
                    <a:pt x="669" y="521"/>
                  </a:moveTo>
                  <a:cubicBezTo>
                    <a:pt x="670" y="521"/>
                    <a:pt x="671" y="522"/>
                    <a:pt x="672" y="522"/>
                  </a:cubicBezTo>
                  <a:cubicBezTo>
                    <a:pt x="674" y="522"/>
                    <a:pt x="675" y="522"/>
                    <a:pt x="677" y="523"/>
                  </a:cubicBezTo>
                  <a:cubicBezTo>
                    <a:pt x="677" y="523"/>
                    <a:pt x="678" y="523"/>
                    <a:pt x="678" y="523"/>
                  </a:cubicBezTo>
                  <a:cubicBezTo>
                    <a:pt x="678" y="523"/>
                    <a:pt x="678" y="523"/>
                    <a:pt x="678" y="523"/>
                  </a:cubicBezTo>
                  <a:cubicBezTo>
                    <a:pt x="677" y="522"/>
                    <a:pt x="677" y="522"/>
                    <a:pt x="677" y="522"/>
                  </a:cubicBezTo>
                  <a:cubicBezTo>
                    <a:pt x="676" y="522"/>
                    <a:pt x="675" y="522"/>
                    <a:pt x="674" y="521"/>
                  </a:cubicBezTo>
                  <a:cubicBezTo>
                    <a:pt x="672" y="521"/>
                    <a:pt x="671" y="521"/>
                    <a:pt x="669" y="521"/>
                  </a:cubicBezTo>
                  <a:moveTo>
                    <a:pt x="679" y="522"/>
                  </a:moveTo>
                  <a:cubicBezTo>
                    <a:pt x="681" y="522"/>
                    <a:pt x="682" y="522"/>
                    <a:pt x="684" y="523"/>
                  </a:cubicBezTo>
                  <a:cubicBezTo>
                    <a:pt x="686" y="523"/>
                    <a:pt x="688" y="523"/>
                    <a:pt x="690" y="523"/>
                  </a:cubicBezTo>
                  <a:cubicBezTo>
                    <a:pt x="689" y="523"/>
                    <a:pt x="688" y="522"/>
                    <a:pt x="687" y="522"/>
                  </a:cubicBezTo>
                  <a:cubicBezTo>
                    <a:pt x="684" y="522"/>
                    <a:pt x="682" y="522"/>
                    <a:pt x="679" y="522"/>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44" name="Freeform 73"/>
            <p:cNvSpPr>
              <a:spLocks noEditPoints="1"/>
            </p:cNvSpPr>
            <p:nvPr userDrawn="1"/>
          </p:nvSpPr>
          <p:spPr bwMode="auto">
            <a:xfrm>
              <a:off x="1322" y="4115"/>
              <a:ext cx="2565" cy="1068"/>
            </a:xfrm>
            <a:custGeom>
              <a:avLst/>
              <a:gdLst>
                <a:gd name="T0" fmla="*/ 2147483646 w 1266"/>
                <a:gd name="T1" fmla="*/ 2147483646 h 527"/>
                <a:gd name="T2" fmla="*/ 2147483646 w 1266"/>
                <a:gd name="T3" fmla="*/ 2147483646 h 527"/>
                <a:gd name="T4" fmla="*/ 2147483646 w 1266"/>
                <a:gd name="T5" fmla="*/ 2147483646 h 527"/>
                <a:gd name="T6" fmla="*/ 2147483646 w 1266"/>
                <a:gd name="T7" fmla="*/ 2147483646 h 527"/>
                <a:gd name="T8" fmla="*/ 2147483646 w 1266"/>
                <a:gd name="T9" fmla="*/ 2147483646 h 527"/>
                <a:gd name="T10" fmla="*/ 2147483646 w 1266"/>
                <a:gd name="T11" fmla="*/ 2147483646 h 527"/>
                <a:gd name="T12" fmla="*/ 2147483646 w 1266"/>
                <a:gd name="T13" fmla="*/ 2147483646 h 527"/>
                <a:gd name="T14" fmla="*/ 2147483646 w 1266"/>
                <a:gd name="T15" fmla="*/ 2147483646 h 527"/>
                <a:gd name="T16" fmla="*/ 2147483646 w 1266"/>
                <a:gd name="T17" fmla="*/ 2147483646 h 527"/>
                <a:gd name="T18" fmla="*/ 2147483646 w 1266"/>
                <a:gd name="T19" fmla="*/ 2147483646 h 527"/>
                <a:gd name="T20" fmla="*/ 2147483646 w 1266"/>
                <a:gd name="T21" fmla="*/ 2147483646 h 527"/>
                <a:gd name="T22" fmla="*/ 2147483646 w 1266"/>
                <a:gd name="T23" fmla="*/ 2147483646 h 527"/>
                <a:gd name="T24" fmla="*/ 2147483646 w 1266"/>
                <a:gd name="T25" fmla="*/ 2147483646 h 527"/>
                <a:gd name="T26" fmla="*/ 2147483646 w 1266"/>
                <a:gd name="T27" fmla="*/ 2147483646 h 527"/>
                <a:gd name="T28" fmla="*/ 2147483646 w 1266"/>
                <a:gd name="T29" fmla="*/ 2147483646 h 527"/>
                <a:gd name="T30" fmla="*/ 2147483646 w 1266"/>
                <a:gd name="T31" fmla="*/ 2147483646 h 527"/>
                <a:gd name="T32" fmla="*/ 2147483646 w 1266"/>
                <a:gd name="T33" fmla="*/ 2147483646 h 527"/>
                <a:gd name="T34" fmla="*/ 2147483646 w 1266"/>
                <a:gd name="T35" fmla="*/ 2147483646 h 527"/>
                <a:gd name="T36" fmla="*/ 2147483646 w 1266"/>
                <a:gd name="T37" fmla="*/ 2147483646 h 527"/>
                <a:gd name="T38" fmla="*/ 2147483646 w 1266"/>
                <a:gd name="T39" fmla="*/ 2147483646 h 527"/>
                <a:gd name="T40" fmla="*/ 2147483646 w 1266"/>
                <a:gd name="T41" fmla="*/ 2147483646 h 527"/>
                <a:gd name="T42" fmla="*/ 2147483646 w 1266"/>
                <a:gd name="T43" fmla="*/ 2147483646 h 527"/>
                <a:gd name="T44" fmla="*/ 2147483646 w 1266"/>
                <a:gd name="T45" fmla="*/ 2147483646 h 527"/>
                <a:gd name="T46" fmla="*/ 2147483646 w 1266"/>
                <a:gd name="T47" fmla="*/ 2147483646 h 527"/>
                <a:gd name="T48" fmla="*/ 2147483646 w 1266"/>
                <a:gd name="T49" fmla="*/ 2147483646 h 527"/>
                <a:gd name="T50" fmla="*/ 2147483646 w 1266"/>
                <a:gd name="T51" fmla="*/ 2147483646 h 527"/>
                <a:gd name="T52" fmla="*/ 2147483646 w 1266"/>
                <a:gd name="T53" fmla="*/ 2147483646 h 527"/>
                <a:gd name="T54" fmla="*/ 2147483646 w 1266"/>
                <a:gd name="T55" fmla="*/ 2147483646 h 527"/>
                <a:gd name="T56" fmla="*/ 2147483646 w 1266"/>
                <a:gd name="T57" fmla="*/ 2147483646 h 527"/>
                <a:gd name="T58" fmla="*/ 2147483646 w 1266"/>
                <a:gd name="T59" fmla="*/ 2147483646 h 527"/>
                <a:gd name="T60" fmla="*/ 2147483646 w 1266"/>
                <a:gd name="T61" fmla="*/ 2147483646 h 527"/>
                <a:gd name="T62" fmla="*/ 2147483646 w 1266"/>
                <a:gd name="T63" fmla="*/ 2147483646 h 527"/>
                <a:gd name="T64" fmla="*/ 2147483646 w 1266"/>
                <a:gd name="T65" fmla="*/ 2147483646 h 527"/>
                <a:gd name="T66" fmla="*/ 2147483646 w 1266"/>
                <a:gd name="T67" fmla="*/ 2147483646 h 527"/>
                <a:gd name="T68" fmla="*/ 2147483646 w 1266"/>
                <a:gd name="T69" fmla="*/ 2147483646 h 527"/>
                <a:gd name="T70" fmla="*/ 2147483646 w 1266"/>
                <a:gd name="T71" fmla="*/ 2147483646 h 527"/>
                <a:gd name="T72" fmla="*/ 2147483646 w 1266"/>
                <a:gd name="T73" fmla="*/ 2147483646 h 527"/>
                <a:gd name="T74" fmla="*/ 2147483646 w 1266"/>
                <a:gd name="T75" fmla="*/ 2147483646 h 527"/>
                <a:gd name="T76" fmla="*/ 2147483646 w 1266"/>
                <a:gd name="T77" fmla="*/ 2147483646 h 527"/>
                <a:gd name="T78" fmla="*/ 2147483646 w 1266"/>
                <a:gd name="T79" fmla="*/ 2147483646 h 527"/>
                <a:gd name="T80" fmla="*/ 2147483646 w 1266"/>
                <a:gd name="T81" fmla="*/ 2147483646 h 527"/>
                <a:gd name="T82" fmla="*/ 2147483646 w 1266"/>
                <a:gd name="T83" fmla="*/ 2147483646 h 527"/>
                <a:gd name="T84" fmla="*/ 2147483646 w 1266"/>
                <a:gd name="T85" fmla="*/ 2147483646 h 527"/>
                <a:gd name="T86" fmla="*/ 2147483646 w 1266"/>
                <a:gd name="T87" fmla="*/ 2147483646 h 527"/>
                <a:gd name="T88" fmla="*/ 2147483646 w 1266"/>
                <a:gd name="T89" fmla="*/ 2147483646 h 527"/>
                <a:gd name="T90" fmla="*/ 2147483646 w 1266"/>
                <a:gd name="T91" fmla="*/ 2147483646 h 527"/>
                <a:gd name="T92" fmla="*/ 2147483646 w 1266"/>
                <a:gd name="T93" fmla="*/ 2147483646 h 527"/>
                <a:gd name="T94" fmla="*/ 2147483646 w 1266"/>
                <a:gd name="T95" fmla="*/ 2147483646 h 527"/>
                <a:gd name="T96" fmla="*/ 2147483646 w 1266"/>
                <a:gd name="T97" fmla="*/ 2147483646 h 527"/>
                <a:gd name="T98" fmla="*/ 2147483646 w 1266"/>
                <a:gd name="T99" fmla="*/ 2147483646 h 527"/>
                <a:gd name="T100" fmla="*/ 2147483646 w 1266"/>
                <a:gd name="T101" fmla="*/ 2147483646 h 527"/>
                <a:gd name="T102" fmla="*/ 2147483646 w 1266"/>
                <a:gd name="T103" fmla="*/ 2147483646 h 527"/>
                <a:gd name="T104" fmla="*/ 2147483646 w 1266"/>
                <a:gd name="T105" fmla="*/ 2147483646 h 527"/>
                <a:gd name="T106" fmla="*/ 2147483646 w 1266"/>
                <a:gd name="T107" fmla="*/ 2147483646 h 527"/>
                <a:gd name="T108" fmla="*/ 2147483646 w 1266"/>
                <a:gd name="T109" fmla="*/ 2147483646 h 527"/>
                <a:gd name="T110" fmla="*/ 2147483646 w 1266"/>
                <a:gd name="T111" fmla="*/ 2147483646 h 527"/>
                <a:gd name="T112" fmla="*/ 2147483646 w 1266"/>
                <a:gd name="T113" fmla="*/ 2147483646 h 527"/>
                <a:gd name="T114" fmla="*/ 2147483646 w 1266"/>
                <a:gd name="T115" fmla="*/ 2147483646 h 527"/>
                <a:gd name="T116" fmla="*/ 2147483646 w 1266"/>
                <a:gd name="T117" fmla="*/ 2147483646 h 527"/>
                <a:gd name="T118" fmla="*/ 2147483646 w 1266"/>
                <a:gd name="T119" fmla="*/ 2147483646 h 527"/>
                <a:gd name="T120" fmla="*/ 2147483646 w 1266"/>
                <a:gd name="T121" fmla="*/ 2147483646 h 527"/>
                <a:gd name="T122" fmla="*/ 2147483646 w 1266"/>
                <a:gd name="T123" fmla="*/ 2147483646 h 52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66" h="527">
                  <a:moveTo>
                    <a:pt x="883" y="0"/>
                  </a:moveTo>
                  <a:cubicBezTo>
                    <a:pt x="865" y="0"/>
                    <a:pt x="849" y="1"/>
                    <a:pt x="834" y="4"/>
                  </a:cubicBezTo>
                  <a:cubicBezTo>
                    <a:pt x="834" y="5"/>
                    <a:pt x="834" y="5"/>
                    <a:pt x="835" y="5"/>
                  </a:cubicBezTo>
                  <a:cubicBezTo>
                    <a:pt x="849" y="2"/>
                    <a:pt x="865" y="1"/>
                    <a:pt x="883" y="1"/>
                  </a:cubicBezTo>
                  <a:cubicBezTo>
                    <a:pt x="887" y="1"/>
                    <a:pt x="892" y="1"/>
                    <a:pt x="896" y="1"/>
                  </a:cubicBezTo>
                  <a:cubicBezTo>
                    <a:pt x="896" y="1"/>
                    <a:pt x="896" y="1"/>
                    <a:pt x="896" y="1"/>
                  </a:cubicBezTo>
                  <a:cubicBezTo>
                    <a:pt x="896" y="1"/>
                    <a:pt x="896" y="0"/>
                    <a:pt x="896" y="0"/>
                  </a:cubicBezTo>
                  <a:cubicBezTo>
                    <a:pt x="892" y="0"/>
                    <a:pt x="887" y="0"/>
                    <a:pt x="883" y="0"/>
                  </a:cubicBezTo>
                  <a:moveTo>
                    <a:pt x="897" y="0"/>
                  </a:moveTo>
                  <a:cubicBezTo>
                    <a:pt x="897" y="0"/>
                    <a:pt x="897" y="1"/>
                    <a:pt x="897" y="1"/>
                  </a:cubicBezTo>
                  <a:cubicBezTo>
                    <a:pt x="897" y="1"/>
                    <a:pt x="897" y="1"/>
                    <a:pt x="897" y="1"/>
                  </a:cubicBezTo>
                  <a:cubicBezTo>
                    <a:pt x="916" y="2"/>
                    <a:pt x="937" y="4"/>
                    <a:pt x="957" y="8"/>
                  </a:cubicBezTo>
                  <a:cubicBezTo>
                    <a:pt x="957" y="8"/>
                    <a:pt x="957" y="7"/>
                    <a:pt x="957" y="7"/>
                  </a:cubicBezTo>
                  <a:cubicBezTo>
                    <a:pt x="937" y="3"/>
                    <a:pt x="916" y="1"/>
                    <a:pt x="897" y="0"/>
                  </a:cubicBezTo>
                  <a:moveTo>
                    <a:pt x="833" y="5"/>
                  </a:moveTo>
                  <a:cubicBezTo>
                    <a:pt x="817" y="8"/>
                    <a:pt x="804" y="13"/>
                    <a:pt x="794" y="20"/>
                  </a:cubicBezTo>
                  <a:cubicBezTo>
                    <a:pt x="794" y="21"/>
                    <a:pt x="794" y="21"/>
                    <a:pt x="794" y="21"/>
                  </a:cubicBezTo>
                  <a:cubicBezTo>
                    <a:pt x="804" y="14"/>
                    <a:pt x="818" y="9"/>
                    <a:pt x="834" y="5"/>
                  </a:cubicBezTo>
                  <a:cubicBezTo>
                    <a:pt x="833" y="5"/>
                    <a:pt x="833" y="5"/>
                    <a:pt x="833" y="5"/>
                  </a:cubicBezTo>
                  <a:moveTo>
                    <a:pt x="958" y="7"/>
                  </a:moveTo>
                  <a:cubicBezTo>
                    <a:pt x="958" y="7"/>
                    <a:pt x="958" y="8"/>
                    <a:pt x="958" y="8"/>
                  </a:cubicBezTo>
                  <a:cubicBezTo>
                    <a:pt x="977" y="11"/>
                    <a:pt x="996" y="16"/>
                    <a:pt x="1014" y="22"/>
                  </a:cubicBezTo>
                  <a:cubicBezTo>
                    <a:pt x="1014" y="21"/>
                    <a:pt x="1014" y="21"/>
                    <a:pt x="1014" y="20"/>
                  </a:cubicBezTo>
                  <a:cubicBezTo>
                    <a:pt x="996" y="15"/>
                    <a:pt x="977" y="10"/>
                    <a:pt x="958" y="7"/>
                  </a:cubicBezTo>
                  <a:moveTo>
                    <a:pt x="1015" y="21"/>
                  </a:moveTo>
                  <a:cubicBezTo>
                    <a:pt x="1015" y="21"/>
                    <a:pt x="1015" y="21"/>
                    <a:pt x="1015" y="22"/>
                  </a:cubicBezTo>
                  <a:cubicBezTo>
                    <a:pt x="1026" y="26"/>
                    <a:pt x="1038" y="30"/>
                    <a:pt x="1049" y="34"/>
                  </a:cubicBezTo>
                  <a:cubicBezTo>
                    <a:pt x="1054" y="36"/>
                    <a:pt x="1060" y="39"/>
                    <a:pt x="1065" y="41"/>
                  </a:cubicBezTo>
                  <a:cubicBezTo>
                    <a:pt x="1065" y="41"/>
                    <a:pt x="1065" y="40"/>
                    <a:pt x="1065" y="40"/>
                  </a:cubicBezTo>
                  <a:cubicBezTo>
                    <a:pt x="1049" y="33"/>
                    <a:pt x="1032" y="26"/>
                    <a:pt x="1015" y="21"/>
                  </a:cubicBezTo>
                  <a:moveTo>
                    <a:pt x="793" y="21"/>
                  </a:moveTo>
                  <a:cubicBezTo>
                    <a:pt x="790" y="23"/>
                    <a:pt x="787" y="26"/>
                    <a:pt x="785" y="28"/>
                  </a:cubicBezTo>
                  <a:cubicBezTo>
                    <a:pt x="784" y="29"/>
                    <a:pt x="784" y="29"/>
                    <a:pt x="784" y="29"/>
                  </a:cubicBezTo>
                  <a:cubicBezTo>
                    <a:pt x="784" y="29"/>
                    <a:pt x="784" y="30"/>
                    <a:pt x="784" y="31"/>
                  </a:cubicBezTo>
                  <a:cubicBezTo>
                    <a:pt x="784" y="30"/>
                    <a:pt x="785" y="30"/>
                    <a:pt x="785" y="29"/>
                  </a:cubicBezTo>
                  <a:cubicBezTo>
                    <a:pt x="785" y="29"/>
                    <a:pt x="786" y="29"/>
                    <a:pt x="786" y="29"/>
                  </a:cubicBezTo>
                  <a:cubicBezTo>
                    <a:pt x="788" y="26"/>
                    <a:pt x="790" y="24"/>
                    <a:pt x="793" y="22"/>
                  </a:cubicBezTo>
                  <a:cubicBezTo>
                    <a:pt x="793" y="22"/>
                    <a:pt x="793" y="21"/>
                    <a:pt x="793" y="21"/>
                  </a:cubicBezTo>
                  <a:moveTo>
                    <a:pt x="783" y="30"/>
                  </a:moveTo>
                  <a:cubicBezTo>
                    <a:pt x="783" y="31"/>
                    <a:pt x="782" y="31"/>
                    <a:pt x="782" y="32"/>
                  </a:cubicBezTo>
                  <a:cubicBezTo>
                    <a:pt x="782" y="32"/>
                    <a:pt x="782" y="32"/>
                    <a:pt x="782" y="32"/>
                  </a:cubicBezTo>
                  <a:cubicBezTo>
                    <a:pt x="781" y="32"/>
                    <a:pt x="781" y="33"/>
                    <a:pt x="781" y="33"/>
                  </a:cubicBezTo>
                  <a:cubicBezTo>
                    <a:pt x="780" y="34"/>
                    <a:pt x="779" y="36"/>
                    <a:pt x="778" y="38"/>
                  </a:cubicBezTo>
                  <a:cubicBezTo>
                    <a:pt x="778" y="38"/>
                    <a:pt x="778" y="38"/>
                    <a:pt x="778" y="39"/>
                  </a:cubicBezTo>
                  <a:cubicBezTo>
                    <a:pt x="777" y="41"/>
                    <a:pt x="776" y="43"/>
                    <a:pt x="775" y="46"/>
                  </a:cubicBezTo>
                  <a:cubicBezTo>
                    <a:pt x="775" y="46"/>
                    <a:pt x="775" y="47"/>
                    <a:pt x="775" y="48"/>
                  </a:cubicBezTo>
                  <a:cubicBezTo>
                    <a:pt x="775" y="48"/>
                    <a:pt x="774" y="48"/>
                    <a:pt x="774" y="49"/>
                  </a:cubicBezTo>
                  <a:cubicBezTo>
                    <a:pt x="774" y="49"/>
                    <a:pt x="774" y="49"/>
                    <a:pt x="774" y="50"/>
                  </a:cubicBezTo>
                  <a:cubicBezTo>
                    <a:pt x="774" y="51"/>
                    <a:pt x="774" y="53"/>
                    <a:pt x="774" y="55"/>
                  </a:cubicBezTo>
                  <a:cubicBezTo>
                    <a:pt x="774" y="55"/>
                    <a:pt x="774" y="55"/>
                    <a:pt x="774" y="56"/>
                  </a:cubicBezTo>
                  <a:cubicBezTo>
                    <a:pt x="773" y="56"/>
                    <a:pt x="773" y="56"/>
                    <a:pt x="773" y="56"/>
                  </a:cubicBezTo>
                  <a:cubicBezTo>
                    <a:pt x="773" y="57"/>
                    <a:pt x="773" y="58"/>
                    <a:pt x="773" y="58"/>
                  </a:cubicBezTo>
                  <a:cubicBezTo>
                    <a:pt x="773" y="61"/>
                    <a:pt x="774" y="64"/>
                    <a:pt x="774" y="68"/>
                  </a:cubicBezTo>
                  <a:cubicBezTo>
                    <a:pt x="774" y="68"/>
                    <a:pt x="774" y="68"/>
                    <a:pt x="774" y="69"/>
                  </a:cubicBezTo>
                  <a:cubicBezTo>
                    <a:pt x="775" y="73"/>
                    <a:pt x="776" y="77"/>
                    <a:pt x="778" y="82"/>
                  </a:cubicBezTo>
                  <a:cubicBezTo>
                    <a:pt x="779" y="85"/>
                    <a:pt x="780" y="88"/>
                    <a:pt x="781" y="91"/>
                  </a:cubicBezTo>
                  <a:cubicBezTo>
                    <a:pt x="781" y="91"/>
                    <a:pt x="781" y="91"/>
                    <a:pt x="781" y="92"/>
                  </a:cubicBezTo>
                  <a:cubicBezTo>
                    <a:pt x="789" y="115"/>
                    <a:pt x="794" y="138"/>
                    <a:pt x="796" y="159"/>
                  </a:cubicBezTo>
                  <a:cubicBezTo>
                    <a:pt x="796" y="158"/>
                    <a:pt x="797" y="157"/>
                    <a:pt x="797" y="156"/>
                  </a:cubicBezTo>
                  <a:cubicBezTo>
                    <a:pt x="794" y="136"/>
                    <a:pt x="790" y="115"/>
                    <a:pt x="783" y="92"/>
                  </a:cubicBezTo>
                  <a:cubicBezTo>
                    <a:pt x="782" y="92"/>
                    <a:pt x="782" y="91"/>
                    <a:pt x="782" y="91"/>
                  </a:cubicBezTo>
                  <a:cubicBezTo>
                    <a:pt x="781" y="88"/>
                    <a:pt x="780" y="84"/>
                    <a:pt x="779" y="81"/>
                  </a:cubicBezTo>
                  <a:cubicBezTo>
                    <a:pt x="777" y="77"/>
                    <a:pt x="776" y="73"/>
                    <a:pt x="776" y="69"/>
                  </a:cubicBezTo>
                  <a:cubicBezTo>
                    <a:pt x="775" y="69"/>
                    <a:pt x="775" y="68"/>
                    <a:pt x="775" y="68"/>
                  </a:cubicBezTo>
                  <a:cubicBezTo>
                    <a:pt x="775" y="65"/>
                    <a:pt x="774" y="61"/>
                    <a:pt x="774" y="58"/>
                  </a:cubicBezTo>
                  <a:cubicBezTo>
                    <a:pt x="774" y="57"/>
                    <a:pt x="774" y="57"/>
                    <a:pt x="774" y="56"/>
                  </a:cubicBezTo>
                  <a:cubicBezTo>
                    <a:pt x="774" y="56"/>
                    <a:pt x="774" y="55"/>
                    <a:pt x="775" y="55"/>
                  </a:cubicBezTo>
                  <a:cubicBezTo>
                    <a:pt x="775" y="55"/>
                    <a:pt x="775" y="54"/>
                    <a:pt x="775" y="54"/>
                  </a:cubicBezTo>
                  <a:cubicBezTo>
                    <a:pt x="775" y="53"/>
                    <a:pt x="775" y="51"/>
                    <a:pt x="775" y="50"/>
                  </a:cubicBezTo>
                  <a:cubicBezTo>
                    <a:pt x="775" y="49"/>
                    <a:pt x="775" y="49"/>
                    <a:pt x="775" y="49"/>
                  </a:cubicBezTo>
                  <a:cubicBezTo>
                    <a:pt x="775" y="48"/>
                    <a:pt x="776" y="47"/>
                    <a:pt x="776" y="47"/>
                  </a:cubicBezTo>
                  <a:cubicBezTo>
                    <a:pt x="776" y="47"/>
                    <a:pt x="776" y="46"/>
                    <a:pt x="776" y="46"/>
                  </a:cubicBezTo>
                  <a:cubicBezTo>
                    <a:pt x="776" y="46"/>
                    <a:pt x="776" y="45"/>
                    <a:pt x="777" y="44"/>
                  </a:cubicBezTo>
                  <a:cubicBezTo>
                    <a:pt x="777" y="42"/>
                    <a:pt x="778" y="40"/>
                    <a:pt x="779" y="39"/>
                  </a:cubicBezTo>
                  <a:cubicBezTo>
                    <a:pt x="779" y="38"/>
                    <a:pt x="779" y="38"/>
                    <a:pt x="779" y="38"/>
                  </a:cubicBezTo>
                  <a:cubicBezTo>
                    <a:pt x="780" y="36"/>
                    <a:pt x="781" y="34"/>
                    <a:pt x="782" y="33"/>
                  </a:cubicBezTo>
                  <a:cubicBezTo>
                    <a:pt x="782" y="33"/>
                    <a:pt x="782" y="33"/>
                    <a:pt x="782" y="33"/>
                  </a:cubicBezTo>
                  <a:cubicBezTo>
                    <a:pt x="782" y="33"/>
                    <a:pt x="783" y="32"/>
                    <a:pt x="783" y="32"/>
                  </a:cubicBezTo>
                  <a:cubicBezTo>
                    <a:pt x="783" y="32"/>
                    <a:pt x="783" y="32"/>
                    <a:pt x="783" y="32"/>
                  </a:cubicBezTo>
                  <a:cubicBezTo>
                    <a:pt x="783" y="32"/>
                    <a:pt x="783" y="32"/>
                    <a:pt x="783" y="31"/>
                  </a:cubicBezTo>
                  <a:cubicBezTo>
                    <a:pt x="783" y="31"/>
                    <a:pt x="783" y="31"/>
                    <a:pt x="783" y="30"/>
                  </a:cubicBezTo>
                  <a:moveTo>
                    <a:pt x="1066" y="40"/>
                  </a:moveTo>
                  <a:cubicBezTo>
                    <a:pt x="1066" y="41"/>
                    <a:pt x="1066" y="41"/>
                    <a:pt x="1066" y="41"/>
                  </a:cubicBezTo>
                  <a:cubicBezTo>
                    <a:pt x="1076" y="47"/>
                    <a:pt x="1086" y="52"/>
                    <a:pt x="1095" y="58"/>
                  </a:cubicBezTo>
                  <a:cubicBezTo>
                    <a:pt x="1095" y="58"/>
                    <a:pt x="1095" y="58"/>
                    <a:pt x="1096" y="57"/>
                  </a:cubicBezTo>
                  <a:cubicBezTo>
                    <a:pt x="1087" y="51"/>
                    <a:pt x="1077" y="46"/>
                    <a:pt x="1066" y="40"/>
                  </a:cubicBezTo>
                  <a:moveTo>
                    <a:pt x="1097" y="58"/>
                  </a:moveTo>
                  <a:cubicBezTo>
                    <a:pt x="1097" y="58"/>
                    <a:pt x="1097" y="58"/>
                    <a:pt x="1097" y="58"/>
                  </a:cubicBezTo>
                  <a:cubicBezTo>
                    <a:pt x="1097" y="58"/>
                    <a:pt x="1096" y="59"/>
                    <a:pt x="1096" y="59"/>
                  </a:cubicBezTo>
                  <a:cubicBezTo>
                    <a:pt x="1097" y="60"/>
                    <a:pt x="1098" y="60"/>
                    <a:pt x="1099" y="61"/>
                  </a:cubicBezTo>
                  <a:cubicBezTo>
                    <a:pt x="1100" y="61"/>
                    <a:pt x="1100" y="61"/>
                    <a:pt x="1100" y="61"/>
                  </a:cubicBezTo>
                  <a:cubicBezTo>
                    <a:pt x="1099" y="60"/>
                    <a:pt x="1098" y="59"/>
                    <a:pt x="1097" y="58"/>
                  </a:cubicBezTo>
                  <a:moveTo>
                    <a:pt x="1101" y="61"/>
                  </a:moveTo>
                  <a:cubicBezTo>
                    <a:pt x="1101" y="61"/>
                    <a:pt x="1101" y="62"/>
                    <a:pt x="1100" y="62"/>
                  </a:cubicBezTo>
                  <a:cubicBezTo>
                    <a:pt x="1100" y="62"/>
                    <a:pt x="1101" y="62"/>
                    <a:pt x="1101" y="62"/>
                  </a:cubicBezTo>
                  <a:cubicBezTo>
                    <a:pt x="1101" y="62"/>
                    <a:pt x="1101" y="62"/>
                    <a:pt x="1101" y="61"/>
                  </a:cubicBezTo>
                  <a:cubicBezTo>
                    <a:pt x="1101" y="61"/>
                    <a:pt x="1101" y="61"/>
                    <a:pt x="1101" y="61"/>
                  </a:cubicBezTo>
                  <a:moveTo>
                    <a:pt x="1102" y="62"/>
                  </a:moveTo>
                  <a:cubicBezTo>
                    <a:pt x="1102" y="62"/>
                    <a:pt x="1102" y="62"/>
                    <a:pt x="1102" y="63"/>
                  </a:cubicBezTo>
                  <a:cubicBezTo>
                    <a:pt x="1103" y="64"/>
                    <a:pt x="1105" y="65"/>
                    <a:pt x="1106" y="67"/>
                  </a:cubicBezTo>
                  <a:cubicBezTo>
                    <a:pt x="1107" y="66"/>
                    <a:pt x="1107" y="66"/>
                    <a:pt x="1107" y="66"/>
                  </a:cubicBezTo>
                  <a:cubicBezTo>
                    <a:pt x="1105" y="64"/>
                    <a:pt x="1104" y="63"/>
                    <a:pt x="1102" y="62"/>
                  </a:cubicBezTo>
                  <a:moveTo>
                    <a:pt x="1108" y="66"/>
                  </a:moveTo>
                  <a:cubicBezTo>
                    <a:pt x="1108" y="67"/>
                    <a:pt x="1107" y="67"/>
                    <a:pt x="1107" y="67"/>
                  </a:cubicBezTo>
                  <a:cubicBezTo>
                    <a:pt x="1109" y="68"/>
                    <a:pt x="1110" y="69"/>
                    <a:pt x="1111" y="70"/>
                  </a:cubicBezTo>
                  <a:cubicBezTo>
                    <a:pt x="1111" y="70"/>
                    <a:pt x="1112" y="70"/>
                    <a:pt x="1112" y="70"/>
                  </a:cubicBezTo>
                  <a:cubicBezTo>
                    <a:pt x="1111" y="69"/>
                    <a:pt x="1109" y="68"/>
                    <a:pt x="1108" y="66"/>
                  </a:cubicBezTo>
                  <a:moveTo>
                    <a:pt x="1113" y="71"/>
                  </a:moveTo>
                  <a:cubicBezTo>
                    <a:pt x="1113" y="71"/>
                    <a:pt x="1112" y="71"/>
                    <a:pt x="1112" y="71"/>
                  </a:cubicBezTo>
                  <a:cubicBezTo>
                    <a:pt x="1114" y="74"/>
                    <a:pt x="1117" y="76"/>
                    <a:pt x="1119" y="78"/>
                  </a:cubicBezTo>
                  <a:cubicBezTo>
                    <a:pt x="1119" y="78"/>
                    <a:pt x="1119" y="78"/>
                    <a:pt x="1119" y="77"/>
                  </a:cubicBezTo>
                  <a:cubicBezTo>
                    <a:pt x="1117" y="75"/>
                    <a:pt x="1115" y="73"/>
                    <a:pt x="1113" y="71"/>
                  </a:cubicBezTo>
                  <a:moveTo>
                    <a:pt x="1120" y="78"/>
                  </a:moveTo>
                  <a:cubicBezTo>
                    <a:pt x="1120" y="78"/>
                    <a:pt x="1120" y="79"/>
                    <a:pt x="1120" y="79"/>
                  </a:cubicBezTo>
                  <a:cubicBezTo>
                    <a:pt x="1121" y="81"/>
                    <a:pt x="1122" y="82"/>
                    <a:pt x="1124" y="84"/>
                  </a:cubicBezTo>
                  <a:cubicBezTo>
                    <a:pt x="1124" y="84"/>
                    <a:pt x="1124" y="83"/>
                    <a:pt x="1124" y="83"/>
                  </a:cubicBezTo>
                  <a:cubicBezTo>
                    <a:pt x="1123" y="81"/>
                    <a:pt x="1122" y="80"/>
                    <a:pt x="1120" y="78"/>
                  </a:cubicBezTo>
                  <a:moveTo>
                    <a:pt x="1125" y="84"/>
                  </a:moveTo>
                  <a:cubicBezTo>
                    <a:pt x="1125" y="84"/>
                    <a:pt x="1125" y="85"/>
                    <a:pt x="1125" y="85"/>
                  </a:cubicBezTo>
                  <a:cubicBezTo>
                    <a:pt x="1125" y="86"/>
                    <a:pt x="1125" y="86"/>
                    <a:pt x="1126" y="87"/>
                  </a:cubicBezTo>
                  <a:cubicBezTo>
                    <a:pt x="1126" y="86"/>
                    <a:pt x="1126" y="86"/>
                    <a:pt x="1126" y="86"/>
                  </a:cubicBezTo>
                  <a:cubicBezTo>
                    <a:pt x="1126" y="85"/>
                    <a:pt x="1125" y="85"/>
                    <a:pt x="1125" y="84"/>
                  </a:cubicBezTo>
                  <a:moveTo>
                    <a:pt x="1127" y="87"/>
                  </a:moveTo>
                  <a:cubicBezTo>
                    <a:pt x="1127" y="87"/>
                    <a:pt x="1127" y="87"/>
                    <a:pt x="1126" y="88"/>
                  </a:cubicBezTo>
                  <a:cubicBezTo>
                    <a:pt x="1129" y="91"/>
                    <a:pt x="1130" y="95"/>
                    <a:pt x="1132" y="98"/>
                  </a:cubicBezTo>
                  <a:cubicBezTo>
                    <a:pt x="1132" y="98"/>
                    <a:pt x="1133" y="98"/>
                    <a:pt x="1133" y="98"/>
                  </a:cubicBezTo>
                  <a:cubicBezTo>
                    <a:pt x="1131" y="94"/>
                    <a:pt x="1129" y="91"/>
                    <a:pt x="1127" y="87"/>
                  </a:cubicBezTo>
                  <a:moveTo>
                    <a:pt x="1133" y="99"/>
                  </a:moveTo>
                  <a:cubicBezTo>
                    <a:pt x="1133" y="99"/>
                    <a:pt x="1133" y="99"/>
                    <a:pt x="1132" y="99"/>
                  </a:cubicBezTo>
                  <a:cubicBezTo>
                    <a:pt x="1132" y="100"/>
                    <a:pt x="1133" y="100"/>
                    <a:pt x="1133" y="101"/>
                  </a:cubicBezTo>
                  <a:cubicBezTo>
                    <a:pt x="1133" y="100"/>
                    <a:pt x="1133" y="100"/>
                    <a:pt x="1133" y="100"/>
                  </a:cubicBezTo>
                  <a:cubicBezTo>
                    <a:pt x="1133" y="100"/>
                    <a:pt x="1133" y="99"/>
                    <a:pt x="1133" y="99"/>
                  </a:cubicBezTo>
                  <a:moveTo>
                    <a:pt x="1134" y="101"/>
                  </a:moveTo>
                  <a:cubicBezTo>
                    <a:pt x="1134" y="101"/>
                    <a:pt x="1133" y="102"/>
                    <a:pt x="1133" y="102"/>
                  </a:cubicBezTo>
                  <a:cubicBezTo>
                    <a:pt x="1134" y="106"/>
                    <a:pt x="1135" y="110"/>
                    <a:pt x="1135" y="114"/>
                  </a:cubicBezTo>
                  <a:cubicBezTo>
                    <a:pt x="1135" y="116"/>
                    <a:pt x="1135" y="118"/>
                    <a:pt x="1134" y="120"/>
                  </a:cubicBezTo>
                  <a:cubicBezTo>
                    <a:pt x="1134" y="120"/>
                    <a:pt x="1134" y="121"/>
                    <a:pt x="1134" y="121"/>
                  </a:cubicBezTo>
                  <a:cubicBezTo>
                    <a:pt x="1134" y="123"/>
                    <a:pt x="1133" y="126"/>
                    <a:pt x="1132" y="128"/>
                  </a:cubicBezTo>
                  <a:cubicBezTo>
                    <a:pt x="1133" y="128"/>
                    <a:pt x="1133" y="128"/>
                    <a:pt x="1133" y="128"/>
                  </a:cubicBezTo>
                  <a:cubicBezTo>
                    <a:pt x="1134" y="126"/>
                    <a:pt x="1135" y="124"/>
                    <a:pt x="1135" y="123"/>
                  </a:cubicBezTo>
                  <a:cubicBezTo>
                    <a:pt x="1135" y="122"/>
                    <a:pt x="1135" y="122"/>
                    <a:pt x="1135" y="121"/>
                  </a:cubicBezTo>
                  <a:cubicBezTo>
                    <a:pt x="1136" y="119"/>
                    <a:pt x="1136" y="116"/>
                    <a:pt x="1136" y="114"/>
                  </a:cubicBezTo>
                  <a:cubicBezTo>
                    <a:pt x="1136" y="109"/>
                    <a:pt x="1135" y="105"/>
                    <a:pt x="1134" y="101"/>
                  </a:cubicBezTo>
                  <a:moveTo>
                    <a:pt x="1132" y="129"/>
                  </a:moveTo>
                  <a:cubicBezTo>
                    <a:pt x="1131" y="131"/>
                    <a:pt x="1130" y="133"/>
                    <a:pt x="1129" y="135"/>
                  </a:cubicBezTo>
                  <a:cubicBezTo>
                    <a:pt x="1129" y="136"/>
                    <a:pt x="1129" y="136"/>
                    <a:pt x="1128" y="136"/>
                  </a:cubicBezTo>
                  <a:cubicBezTo>
                    <a:pt x="1127" y="139"/>
                    <a:pt x="1125" y="142"/>
                    <a:pt x="1123" y="144"/>
                  </a:cubicBezTo>
                  <a:cubicBezTo>
                    <a:pt x="1123" y="145"/>
                    <a:pt x="1122" y="145"/>
                    <a:pt x="1122" y="145"/>
                  </a:cubicBezTo>
                  <a:cubicBezTo>
                    <a:pt x="1121" y="146"/>
                    <a:pt x="1120" y="147"/>
                    <a:pt x="1120" y="148"/>
                  </a:cubicBezTo>
                  <a:cubicBezTo>
                    <a:pt x="1119" y="149"/>
                    <a:pt x="1119" y="149"/>
                    <a:pt x="1119" y="149"/>
                  </a:cubicBezTo>
                  <a:cubicBezTo>
                    <a:pt x="1117" y="151"/>
                    <a:pt x="1114" y="154"/>
                    <a:pt x="1112" y="156"/>
                  </a:cubicBezTo>
                  <a:cubicBezTo>
                    <a:pt x="1112" y="156"/>
                    <a:pt x="1112" y="156"/>
                    <a:pt x="1111" y="156"/>
                  </a:cubicBezTo>
                  <a:cubicBezTo>
                    <a:pt x="1112" y="156"/>
                    <a:pt x="1112" y="157"/>
                    <a:pt x="1112" y="157"/>
                  </a:cubicBezTo>
                  <a:cubicBezTo>
                    <a:pt x="1112" y="157"/>
                    <a:pt x="1112" y="157"/>
                    <a:pt x="1112" y="157"/>
                  </a:cubicBezTo>
                  <a:cubicBezTo>
                    <a:pt x="1115" y="154"/>
                    <a:pt x="1117" y="152"/>
                    <a:pt x="1120" y="150"/>
                  </a:cubicBezTo>
                  <a:cubicBezTo>
                    <a:pt x="1120" y="149"/>
                    <a:pt x="1120" y="149"/>
                    <a:pt x="1120" y="149"/>
                  </a:cubicBezTo>
                  <a:cubicBezTo>
                    <a:pt x="1121" y="148"/>
                    <a:pt x="1122" y="147"/>
                    <a:pt x="1123" y="146"/>
                  </a:cubicBezTo>
                  <a:cubicBezTo>
                    <a:pt x="1123" y="146"/>
                    <a:pt x="1123" y="145"/>
                    <a:pt x="1124" y="145"/>
                  </a:cubicBezTo>
                  <a:cubicBezTo>
                    <a:pt x="1126" y="142"/>
                    <a:pt x="1128" y="140"/>
                    <a:pt x="1129" y="137"/>
                  </a:cubicBezTo>
                  <a:cubicBezTo>
                    <a:pt x="1129" y="137"/>
                    <a:pt x="1130" y="136"/>
                    <a:pt x="1130" y="136"/>
                  </a:cubicBezTo>
                  <a:cubicBezTo>
                    <a:pt x="1131" y="134"/>
                    <a:pt x="1132" y="131"/>
                    <a:pt x="1133" y="129"/>
                  </a:cubicBezTo>
                  <a:cubicBezTo>
                    <a:pt x="1133" y="129"/>
                    <a:pt x="1132" y="129"/>
                    <a:pt x="1132" y="129"/>
                  </a:cubicBezTo>
                  <a:moveTo>
                    <a:pt x="1111" y="157"/>
                  </a:moveTo>
                  <a:cubicBezTo>
                    <a:pt x="1109" y="159"/>
                    <a:pt x="1106" y="161"/>
                    <a:pt x="1104" y="163"/>
                  </a:cubicBezTo>
                  <a:cubicBezTo>
                    <a:pt x="1104" y="163"/>
                    <a:pt x="1104" y="163"/>
                    <a:pt x="1103" y="163"/>
                  </a:cubicBezTo>
                  <a:cubicBezTo>
                    <a:pt x="1103" y="164"/>
                    <a:pt x="1103" y="164"/>
                    <a:pt x="1102" y="165"/>
                  </a:cubicBezTo>
                  <a:cubicBezTo>
                    <a:pt x="1102" y="165"/>
                    <a:pt x="1102" y="166"/>
                    <a:pt x="1102" y="166"/>
                  </a:cubicBezTo>
                  <a:cubicBezTo>
                    <a:pt x="1103" y="165"/>
                    <a:pt x="1103" y="165"/>
                    <a:pt x="1104" y="164"/>
                  </a:cubicBezTo>
                  <a:cubicBezTo>
                    <a:pt x="1104" y="164"/>
                    <a:pt x="1105" y="164"/>
                    <a:pt x="1105" y="163"/>
                  </a:cubicBezTo>
                  <a:cubicBezTo>
                    <a:pt x="1107" y="161"/>
                    <a:pt x="1109" y="159"/>
                    <a:pt x="1112" y="157"/>
                  </a:cubicBezTo>
                  <a:cubicBezTo>
                    <a:pt x="1111" y="157"/>
                    <a:pt x="1111" y="157"/>
                    <a:pt x="1111" y="157"/>
                  </a:cubicBezTo>
                  <a:moveTo>
                    <a:pt x="797" y="159"/>
                  </a:moveTo>
                  <a:cubicBezTo>
                    <a:pt x="797" y="160"/>
                    <a:pt x="797" y="161"/>
                    <a:pt x="796" y="162"/>
                  </a:cubicBezTo>
                  <a:cubicBezTo>
                    <a:pt x="797" y="166"/>
                    <a:pt x="797" y="171"/>
                    <a:pt x="797" y="175"/>
                  </a:cubicBezTo>
                  <a:cubicBezTo>
                    <a:pt x="798" y="175"/>
                    <a:pt x="798" y="175"/>
                    <a:pt x="798" y="175"/>
                  </a:cubicBezTo>
                  <a:cubicBezTo>
                    <a:pt x="798" y="170"/>
                    <a:pt x="798" y="164"/>
                    <a:pt x="797" y="159"/>
                  </a:cubicBezTo>
                  <a:moveTo>
                    <a:pt x="1101" y="166"/>
                  </a:moveTo>
                  <a:cubicBezTo>
                    <a:pt x="1100" y="167"/>
                    <a:pt x="1098" y="168"/>
                    <a:pt x="1097" y="169"/>
                  </a:cubicBezTo>
                  <a:cubicBezTo>
                    <a:pt x="1097" y="169"/>
                    <a:pt x="1097" y="169"/>
                    <a:pt x="1096" y="170"/>
                  </a:cubicBezTo>
                  <a:cubicBezTo>
                    <a:pt x="1093" y="173"/>
                    <a:pt x="1090" y="176"/>
                    <a:pt x="1087" y="179"/>
                  </a:cubicBezTo>
                  <a:cubicBezTo>
                    <a:pt x="1086" y="179"/>
                    <a:pt x="1086" y="179"/>
                    <a:pt x="1086" y="179"/>
                  </a:cubicBezTo>
                  <a:cubicBezTo>
                    <a:pt x="1085" y="180"/>
                    <a:pt x="1085" y="180"/>
                    <a:pt x="1084" y="181"/>
                  </a:cubicBezTo>
                  <a:cubicBezTo>
                    <a:pt x="1084" y="181"/>
                    <a:pt x="1085" y="181"/>
                    <a:pt x="1085" y="181"/>
                  </a:cubicBezTo>
                  <a:cubicBezTo>
                    <a:pt x="1086" y="181"/>
                    <a:pt x="1086" y="180"/>
                    <a:pt x="1087" y="180"/>
                  </a:cubicBezTo>
                  <a:cubicBezTo>
                    <a:pt x="1087" y="180"/>
                    <a:pt x="1087" y="180"/>
                    <a:pt x="1087" y="179"/>
                  </a:cubicBezTo>
                  <a:cubicBezTo>
                    <a:pt x="1090" y="176"/>
                    <a:pt x="1094" y="173"/>
                    <a:pt x="1097" y="170"/>
                  </a:cubicBezTo>
                  <a:cubicBezTo>
                    <a:pt x="1097" y="170"/>
                    <a:pt x="1098" y="170"/>
                    <a:pt x="1098" y="170"/>
                  </a:cubicBezTo>
                  <a:cubicBezTo>
                    <a:pt x="1099" y="169"/>
                    <a:pt x="1100" y="168"/>
                    <a:pt x="1101" y="167"/>
                  </a:cubicBezTo>
                  <a:cubicBezTo>
                    <a:pt x="1101" y="167"/>
                    <a:pt x="1101" y="166"/>
                    <a:pt x="1101" y="166"/>
                  </a:cubicBezTo>
                  <a:moveTo>
                    <a:pt x="1265" y="170"/>
                  </a:moveTo>
                  <a:cubicBezTo>
                    <a:pt x="1263" y="170"/>
                    <a:pt x="1259" y="173"/>
                    <a:pt x="1253" y="178"/>
                  </a:cubicBezTo>
                  <a:cubicBezTo>
                    <a:pt x="1253" y="178"/>
                    <a:pt x="1254" y="179"/>
                    <a:pt x="1254" y="179"/>
                  </a:cubicBezTo>
                  <a:cubicBezTo>
                    <a:pt x="1260" y="173"/>
                    <a:pt x="1263" y="171"/>
                    <a:pt x="1265" y="171"/>
                  </a:cubicBezTo>
                  <a:cubicBezTo>
                    <a:pt x="1265" y="171"/>
                    <a:pt x="1265" y="171"/>
                    <a:pt x="1265" y="171"/>
                  </a:cubicBezTo>
                  <a:cubicBezTo>
                    <a:pt x="1265" y="171"/>
                    <a:pt x="1265" y="171"/>
                    <a:pt x="1265" y="172"/>
                  </a:cubicBezTo>
                  <a:cubicBezTo>
                    <a:pt x="1265" y="174"/>
                    <a:pt x="1264" y="177"/>
                    <a:pt x="1261" y="183"/>
                  </a:cubicBezTo>
                  <a:cubicBezTo>
                    <a:pt x="1261" y="183"/>
                    <a:pt x="1261" y="183"/>
                    <a:pt x="1261" y="183"/>
                  </a:cubicBezTo>
                  <a:cubicBezTo>
                    <a:pt x="1265" y="178"/>
                    <a:pt x="1266" y="174"/>
                    <a:pt x="1266" y="172"/>
                  </a:cubicBezTo>
                  <a:cubicBezTo>
                    <a:pt x="1266" y="171"/>
                    <a:pt x="1266" y="170"/>
                    <a:pt x="1265" y="170"/>
                  </a:cubicBezTo>
                  <a:moveTo>
                    <a:pt x="798" y="176"/>
                  </a:moveTo>
                  <a:cubicBezTo>
                    <a:pt x="798" y="176"/>
                    <a:pt x="798" y="176"/>
                    <a:pt x="797" y="176"/>
                  </a:cubicBezTo>
                  <a:cubicBezTo>
                    <a:pt x="798" y="180"/>
                    <a:pt x="798" y="183"/>
                    <a:pt x="798" y="186"/>
                  </a:cubicBezTo>
                  <a:cubicBezTo>
                    <a:pt x="798" y="185"/>
                    <a:pt x="798" y="183"/>
                    <a:pt x="799" y="181"/>
                  </a:cubicBezTo>
                  <a:cubicBezTo>
                    <a:pt x="799" y="179"/>
                    <a:pt x="798" y="178"/>
                    <a:pt x="798" y="176"/>
                  </a:cubicBezTo>
                  <a:moveTo>
                    <a:pt x="1252" y="179"/>
                  </a:moveTo>
                  <a:cubicBezTo>
                    <a:pt x="1246" y="185"/>
                    <a:pt x="1236" y="195"/>
                    <a:pt x="1224" y="209"/>
                  </a:cubicBezTo>
                  <a:cubicBezTo>
                    <a:pt x="1224" y="209"/>
                    <a:pt x="1224" y="209"/>
                    <a:pt x="1224" y="210"/>
                  </a:cubicBezTo>
                  <a:cubicBezTo>
                    <a:pt x="1224" y="210"/>
                    <a:pt x="1224" y="210"/>
                    <a:pt x="1224" y="210"/>
                  </a:cubicBezTo>
                  <a:cubicBezTo>
                    <a:pt x="1237" y="196"/>
                    <a:pt x="1246" y="186"/>
                    <a:pt x="1253" y="179"/>
                  </a:cubicBezTo>
                  <a:cubicBezTo>
                    <a:pt x="1253" y="179"/>
                    <a:pt x="1252" y="179"/>
                    <a:pt x="1252" y="179"/>
                  </a:cubicBezTo>
                  <a:moveTo>
                    <a:pt x="1083" y="182"/>
                  </a:moveTo>
                  <a:cubicBezTo>
                    <a:pt x="1078" y="186"/>
                    <a:pt x="1074" y="190"/>
                    <a:pt x="1070" y="195"/>
                  </a:cubicBezTo>
                  <a:cubicBezTo>
                    <a:pt x="1069" y="195"/>
                    <a:pt x="1069" y="195"/>
                    <a:pt x="1069" y="195"/>
                  </a:cubicBezTo>
                  <a:cubicBezTo>
                    <a:pt x="1065" y="199"/>
                    <a:pt x="1062" y="202"/>
                    <a:pt x="1058" y="206"/>
                  </a:cubicBezTo>
                  <a:cubicBezTo>
                    <a:pt x="1060" y="205"/>
                    <a:pt x="1061" y="204"/>
                    <a:pt x="1063" y="203"/>
                  </a:cubicBezTo>
                  <a:cubicBezTo>
                    <a:pt x="1065" y="200"/>
                    <a:pt x="1067" y="198"/>
                    <a:pt x="1070" y="196"/>
                  </a:cubicBezTo>
                  <a:cubicBezTo>
                    <a:pt x="1070" y="196"/>
                    <a:pt x="1070" y="195"/>
                    <a:pt x="1070" y="195"/>
                  </a:cubicBezTo>
                  <a:cubicBezTo>
                    <a:pt x="1075" y="191"/>
                    <a:pt x="1079" y="187"/>
                    <a:pt x="1084" y="182"/>
                  </a:cubicBezTo>
                  <a:cubicBezTo>
                    <a:pt x="1084" y="182"/>
                    <a:pt x="1083" y="182"/>
                    <a:pt x="1083" y="182"/>
                  </a:cubicBezTo>
                  <a:moveTo>
                    <a:pt x="1260" y="183"/>
                  </a:moveTo>
                  <a:cubicBezTo>
                    <a:pt x="1255" y="193"/>
                    <a:pt x="1245" y="207"/>
                    <a:pt x="1232" y="222"/>
                  </a:cubicBezTo>
                  <a:cubicBezTo>
                    <a:pt x="1232" y="223"/>
                    <a:pt x="1232" y="223"/>
                    <a:pt x="1233" y="224"/>
                  </a:cubicBezTo>
                  <a:cubicBezTo>
                    <a:pt x="1245" y="208"/>
                    <a:pt x="1255" y="194"/>
                    <a:pt x="1261" y="184"/>
                  </a:cubicBezTo>
                  <a:cubicBezTo>
                    <a:pt x="1261" y="184"/>
                    <a:pt x="1260" y="184"/>
                    <a:pt x="1260" y="183"/>
                  </a:cubicBezTo>
                  <a:moveTo>
                    <a:pt x="799" y="186"/>
                  </a:moveTo>
                  <a:cubicBezTo>
                    <a:pt x="798" y="188"/>
                    <a:pt x="798" y="190"/>
                    <a:pt x="798" y="191"/>
                  </a:cubicBezTo>
                  <a:cubicBezTo>
                    <a:pt x="798" y="192"/>
                    <a:pt x="798" y="193"/>
                    <a:pt x="798" y="194"/>
                  </a:cubicBezTo>
                  <a:cubicBezTo>
                    <a:pt x="798" y="194"/>
                    <a:pt x="798" y="193"/>
                    <a:pt x="799" y="193"/>
                  </a:cubicBezTo>
                  <a:cubicBezTo>
                    <a:pt x="799" y="191"/>
                    <a:pt x="799" y="189"/>
                    <a:pt x="799" y="187"/>
                  </a:cubicBezTo>
                  <a:cubicBezTo>
                    <a:pt x="799" y="186"/>
                    <a:pt x="799" y="186"/>
                    <a:pt x="799" y="186"/>
                  </a:cubicBezTo>
                  <a:moveTo>
                    <a:pt x="799" y="195"/>
                  </a:moveTo>
                  <a:cubicBezTo>
                    <a:pt x="798" y="195"/>
                    <a:pt x="798" y="196"/>
                    <a:pt x="797" y="196"/>
                  </a:cubicBezTo>
                  <a:cubicBezTo>
                    <a:pt x="797" y="208"/>
                    <a:pt x="796" y="219"/>
                    <a:pt x="793" y="230"/>
                  </a:cubicBezTo>
                  <a:cubicBezTo>
                    <a:pt x="793" y="232"/>
                    <a:pt x="793" y="234"/>
                    <a:pt x="792" y="236"/>
                  </a:cubicBezTo>
                  <a:cubicBezTo>
                    <a:pt x="791" y="240"/>
                    <a:pt x="790" y="245"/>
                    <a:pt x="789" y="249"/>
                  </a:cubicBezTo>
                  <a:cubicBezTo>
                    <a:pt x="789" y="248"/>
                    <a:pt x="790" y="248"/>
                    <a:pt x="790" y="248"/>
                  </a:cubicBezTo>
                  <a:cubicBezTo>
                    <a:pt x="791" y="246"/>
                    <a:pt x="791" y="244"/>
                    <a:pt x="792" y="242"/>
                  </a:cubicBezTo>
                  <a:cubicBezTo>
                    <a:pt x="792" y="240"/>
                    <a:pt x="793" y="238"/>
                    <a:pt x="793" y="236"/>
                  </a:cubicBezTo>
                  <a:cubicBezTo>
                    <a:pt x="796" y="223"/>
                    <a:pt x="798" y="209"/>
                    <a:pt x="799" y="195"/>
                  </a:cubicBezTo>
                  <a:moveTo>
                    <a:pt x="1059" y="206"/>
                  </a:moveTo>
                  <a:cubicBezTo>
                    <a:pt x="1058" y="207"/>
                    <a:pt x="1056" y="208"/>
                    <a:pt x="1055" y="209"/>
                  </a:cubicBezTo>
                  <a:cubicBezTo>
                    <a:pt x="1054" y="210"/>
                    <a:pt x="1054" y="210"/>
                    <a:pt x="1053" y="211"/>
                  </a:cubicBezTo>
                  <a:cubicBezTo>
                    <a:pt x="1053" y="211"/>
                    <a:pt x="1053" y="211"/>
                    <a:pt x="1053" y="211"/>
                  </a:cubicBezTo>
                  <a:cubicBezTo>
                    <a:pt x="1048" y="216"/>
                    <a:pt x="1044" y="220"/>
                    <a:pt x="1041" y="224"/>
                  </a:cubicBezTo>
                  <a:cubicBezTo>
                    <a:pt x="1041" y="224"/>
                    <a:pt x="1042" y="224"/>
                    <a:pt x="1042" y="224"/>
                  </a:cubicBezTo>
                  <a:cubicBezTo>
                    <a:pt x="1045" y="220"/>
                    <a:pt x="1049" y="216"/>
                    <a:pt x="1053" y="212"/>
                  </a:cubicBezTo>
                  <a:cubicBezTo>
                    <a:pt x="1054" y="212"/>
                    <a:pt x="1054" y="212"/>
                    <a:pt x="1054" y="211"/>
                  </a:cubicBezTo>
                  <a:cubicBezTo>
                    <a:pt x="1056" y="210"/>
                    <a:pt x="1057" y="208"/>
                    <a:pt x="1059" y="206"/>
                  </a:cubicBezTo>
                  <a:moveTo>
                    <a:pt x="1223" y="211"/>
                  </a:moveTo>
                  <a:cubicBezTo>
                    <a:pt x="1222" y="212"/>
                    <a:pt x="1221" y="213"/>
                    <a:pt x="1220" y="215"/>
                  </a:cubicBezTo>
                  <a:cubicBezTo>
                    <a:pt x="1221" y="213"/>
                    <a:pt x="1222" y="212"/>
                    <a:pt x="1223" y="211"/>
                  </a:cubicBezTo>
                  <a:cubicBezTo>
                    <a:pt x="1223" y="211"/>
                    <a:pt x="1223" y="211"/>
                    <a:pt x="1223" y="211"/>
                  </a:cubicBezTo>
                  <a:moveTo>
                    <a:pt x="1218" y="215"/>
                  </a:moveTo>
                  <a:cubicBezTo>
                    <a:pt x="1213" y="222"/>
                    <a:pt x="1207" y="229"/>
                    <a:pt x="1200" y="237"/>
                  </a:cubicBezTo>
                  <a:cubicBezTo>
                    <a:pt x="1194" y="244"/>
                    <a:pt x="1188" y="251"/>
                    <a:pt x="1182" y="258"/>
                  </a:cubicBezTo>
                  <a:cubicBezTo>
                    <a:pt x="1182" y="259"/>
                    <a:pt x="1183" y="259"/>
                    <a:pt x="1183" y="259"/>
                  </a:cubicBezTo>
                  <a:cubicBezTo>
                    <a:pt x="1189" y="252"/>
                    <a:pt x="1195" y="245"/>
                    <a:pt x="1201" y="237"/>
                  </a:cubicBezTo>
                  <a:cubicBezTo>
                    <a:pt x="1206" y="232"/>
                    <a:pt x="1210" y="226"/>
                    <a:pt x="1214" y="221"/>
                  </a:cubicBezTo>
                  <a:cubicBezTo>
                    <a:pt x="1216" y="219"/>
                    <a:pt x="1217" y="218"/>
                    <a:pt x="1218" y="216"/>
                  </a:cubicBezTo>
                  <a:cubicBezTo>
                    <a:pt x="1218" y="215"/>
                    <a:pt x="1218" y="215"/>
                    <a:pt x="1218" y="215"/>
                  </a:cubicBezTo>
                  <a:moveTo>
                    <a:pt x="1231" y="223"/>
                  </a:moveTo>
                  <a:cubicBezTo>
                    <a:pt x="1227" y="228"/>
                    <a:pt x="1223" y="234"/>
                    <a:pt x="1218" y="239"/>
                  </a:cubicBezTo>
                  <a:cubicBezTo>
                    <a:pt x="1218" y="240"/>
                    <a:pt x="1218" y="240"/>
                    <a:pt x="1218" y="241"/>
                  </a:cubicBezTo>
                  <a:cubicBezTo>
                    <a:pt x="1223" y="235"/>
                    <a:pt x="1228" y="230"/>
                    <a:pt x="1232" y="224"/>
                  </a:cubicBezTo>
                  <a:cubicBezTo>
                    <a:pt x="1232" y="224"/>
                    <a:pt x="1232" y="224"/>
                    <a:pt x="1231" y="223"/>
                  </a:cubicBezTo>
                  <a:moveTo>
                    <a:pt x="1040" y="225"/>
                  </a:moveTo>
                  <a:cubicBezTo>
                    <a:pt x="1039" y="226"/>
                    <a:pt x="1038" y="227"/>
                    <a:pt x="1037" y="228"/>
                  </a:cubicBezTo>
                  <a:cubicBezTo>
                    <a:pt x="1037" y="228"/>
                    <a:pt x="1037" y="228"/>
                    <a:pt x="1037" y="228"/>
                  </a:cubicBezTo>
                  <a:cubicBezTo>
                    <a:pt x="1036" y="229"/>
                    <a:pt x="1036" y="229"/>
                    <a:pt x="1036" y="230"/>
                  </a:cubicBezTo>
                  <a:cubicBezTo>
                    <a:pt x="1036" y="230"/>
                    <a:pt x="1036" y="230"/>
                    <a:pt x="1036" y="231"/>
                  </a:cubicBezTo>
                  <a:cubicBezTo>
                    <a:pt x="1036" y="230"/>
                    <a:pt x="1037" y="230"/>
                    <a:pt x="1038" y="229"/>
                  </a:cubicBezTo>
                  <a:cubicBezTo>
                    <a:pt x="1038" y="229"/>
                    <a:pt x="1038" y="229"/>
                    <a:pt x="1038" y="228"/>
                  </a:cubicBezTo>
                  <a:cubicBezTo>
                    <a:pt x="1039" y="227"/>
                    <a:pt x="1040" y="226"/>
                    <a:pt x="1041" y="225"/>
                  </a:cubicBezTo>
                  <a:cubicBezTo>
                    <a:pt x="1041" y="225"/>
                    <a:pt x="1040" y="225"/>
                    <a:pt x="1040" y="225"/>
                  </a:cubicBezTo>
                  <a:moveTo>
                    <a:pt x="1035" y="231"/>
                  </a:moveTo>
                  <a:cubicBezTo>
                    <a:pt x="1033" y="233"/>
                    <a:pt x="1031" y="235"/>
                    <a:pt x="1029" y="237"/>
                  </a:cubicBezTo>
                  <a:cubicBezTo>
                    <a:pt x="1030" y="237"/>
                    <a:pt x="1031" y="236"/>
                    <a:pt x="1032" y="236"/>
                  </a:cubicBezTo>
                  <a:cubicBezTo>
                    <a:pt x="1033" y="235"/>
                    <a:pt x="1034" y="233"/>
                    <a:pt x="1035" y="232"/>
                  </a:cubicBezTo>
                  <a:cubicBezTo>
                    <a:pt x="1035" y="232"/>
                    <a:pt x="1035" y="231"/>
                    <a:pt x="1035" y="231"/>
                  </a:cubicBezTo>
                  <a:moveTo>
                    <a:pt x="1030" y="238"/>
                  </a:moveTo>
                  <a:cubicBezTo>
                    <a:pt x="1029" y="239"/>
                    <a:pt x="1028" y="239"/>
                    <a:pt x="1027" y="240"/>
                  </a:cubicBezTo>
                  <a:cubicBezTo>
                    <a:pt x="1022" y="246"/>
                    <a:pt x="1017" y="253"/>
                    <a:pt x="1014" y="259"/>
                  </a:cubicBezTo>
                  <a:cubicBezTo>
                    <a:pt x="1014" y="258"/>
                    <a:pt x="1015" y="258"/>
                    <a:pt x="1016" y="258"/>
                  </a:cubicBezTo>
                  <a:cubicBezTo>
                    <a:pt x="1019" y="252"/>
                    <a:pt x="1024" y="245"/>
                    <a:pt x="1030" y="238"/>
                  </a:cubicBezTo>
                  <a:moveTo>
                    <a:pt x="1217" y="240"/>
                  </a:moveTo>
                  <a:cubicBezTo>
                    <a:pt x="1208" y="250"/>
                    <a:pt x="1198" y="261"/>
                    <a:pt x="1188" y="271"/>
                  </a:cubicBezTo>
                  <a:cubicBezTo>
                    <a:pt x="1188" y="272"/>
                    <a:pt x="1188" y="272"/>
                    <a:pt x="1188" y="272"/>
                  </a:cubicBezTo>
                  <a:cubicBezTo>
                    <a:pt x="1199" y="262"/>
                    <a:pt x="1208" y="252"/>
                    <a:pt x="1217" y="242"/>
                  </a:cubicBezTo>
                  <a:cubicBezTo>
                    <a:pt x="1217" y="241"/>
                    <a:pt x="1217" y="241"/>
                    <a:pt x="1217" y="240"/>
                  </a:cubicBezTo>
                  <a:moveTo>
                    <a:pt x="790" y="249"/>
                  </a:moveTo>
                  <a:cubicBezTo>
                    <a:pt x="789" y="250"/>
                    <a:pt x="789" y="250"/>
                    <a:pt x="788" y="250"/>
                  </a:cubicBezTo>
                  <a:cubicBezTo>
                    <a:pt x="788" y="251"/>
                    <a:pt x="788" y="252"/>
                    <a:pt x="788" y="252"/>
                  </a:cubicBezTo>
                  <a:cubicBezTo>
                    <a:pt x="786" y="257"/>
                    <a:pt x="785" y="261"/>
                    <a:pt x="783" y="265"/>
                  </a:cubicBezTo>
                  <a:cubicBezTo>
                    <a:pt x="783" y="266"/>
                    <a:pt x="782" y="266"/>
                    <a:pt x="782" y="267"/>
                  </a:cubicBezTo>
                  <a:cubicBezTo>
                    <a:pt x="781" y="270"/>
                    <a:pt x="779" y="274"/>
                    <a:pt x="778" y="277"/>
                  </a:cubicBezTo>
                  <a:cubicBezTo>
                    <a:pt x="778" y="277"/>
                    <a:pt x="779" y="276"/>
                    <a:pt x="779" y="276"/>
                  </a:cubicBezTo>
                  <a:cubicBezTo>
                    <a:pt x="780" y="274"/>
                    <a:pt x="781" y="272"/>
                    <a:pt x="782" y="269"/>
                  </a:cubicBezTo>
                  <a:cubicBezTo>
                    <a:pt x="783" y="269"/>
                    <a:pt x="783" y="268"/>
                    <a:pt x="783" y="267"/>
                  </a:cubicBezTo>
                  <a:cubicBezTo>
                    <a:pt x="785" y="263"/>
                    <a:pt x="786" y="259"/>
                    <a:pt x="788" y="255"/>
                  </a:cubicBezTo>
                  <a:cubicBezTo>
                    <a:pt x="788" y="254"/>
                    <a:pt x="788" y="253"/>
                    <a:pt x="789" y="252"/>
                  </a:cubicBezTo>
                  <a:cubicBezTo>
                    <a:pt x="789" y="251"/>
                    <a:pt x="789" y="250"/>
                    <a:pt x="790" y="249"/>
                  </a:cubicBezTo>
                  <a:moveTo>
                    <a:pt x="1182" y="259"/>
                  </a:moveTo>
                  <a:cubicBezTo>
                    <a:pt x="1175" y="267"/>
                    <a:pt x="1168" y="275"/>
                    <a:pt x="1162" y="283"/>
                  </a:cubicBezTo>
                  <a:cubicBezTo>
                    <a:pt x="1162" y="284"/>
                    <a:pt x="1162" y="284"/>
                    <a:pt x="1162" y="285"/>
                  </a:cubicBezTo>
                  <a:cubicBezTo>
                    <a:pt x="1168" y="277"/>
                    <a:pt x="1175" y="269"/>
                    <a:pt x="1182" y="260"/>
                  </a:cubicBezTo>
                  <a:cubicBezTo>
                    <a:pt x="1182" y="260"/>
                    <a:pt x="1182" y="259"/>
                    <a:pt x="1182" y="259"/>
                  </a:cubicBezTo>
                  <a:moveTo>
                    <a:pt x="1014" y="259"/>
                  </a:moveTo>
                  <a:cubicBezTo>
                    <a:pt x="1014" y="260"/>
                    <a:pt x="1013" y="260"/>
                    <a:pt x="1013" y="260"/>
                  </a:cubicBezTo>
                  <a:cubicBezTo>
                    <a:pt x="1013" y="260"/>
                    <a:pt x="1013" y="261"/>
                    <a:pt x="1014" y="261"/>
                  </a:cubicBezTo>
                  <a:cubicBezTo>
                    <a:pt x="1014" y="260"/>
                    <a:pt x="1014" y="260"/>
                    <a:pt x="1014" y="259"/>
                  </a:cubicBezTo>
                  <a:moveTo>
                    <a:pt x="1012" y="261"/>
                  </a:moveTo>
                  <a:cubicBezTo>
                    <a:pt x="1010" y="265"/>
                    <a:pt x="1008" y="269"/>
                    <a:pt x="1006" y="273"/>
                  </a:cubicBezTo>
                  <a:cubicBezTo>
                    <a:pt x="1007" y="273"/>
                    <a:pt x="1007" y="273"/>
                    <a:pt x="1008" y="272"/>
                  </a:cubicBezTo>
                  <a:cubicBezTo>
                    <a:pt x="1009" y="269"/>
                    <a:pt x="1011" y="266"/>
                    <a:pt x="1013" y="262"/>
                  </a:cubicBezTo>
                  <a:cubicBezTo>
                    <a:pt x="1013" y="262"/>
                    <a:pt x="1013" y="261"/>
                    <a:pt x="1012" y="261"/>
                  </a:cubicBezTo>
                  <a:moveTo>
                    <a:pt x="1187" y="272"/>
                  </a:moveTo>
                  <a:cubicBezTo>
                    <a:pt x="1179" y="280"/>
                    <a:pt x="1171" y="288"/>
                    <a:pt x="1162" y="295"/>
                  </a:cubicBezTo>
                  <a:cubicBezTo>
                    <a:pt x="1162" y="295"/>
                    <a:pt x="1162" y="296"/>
                    <a:pt x="1162" y="296"/>
                  </a:cubicBezTo>
                  <a:cubicBezTo>
                    <a:pt x="1171" y="289"/>
                    <a:pt x="1179" y="281"/>
                    <a:pt x="1188" y="273"/>
                  </a:cubicBezTo>
                  <a:cubicBezTo>
                    <a:pt x="1187" y="273"/>
                    <a:pt x="1187" y="272"/>
                    <a:pt x="1187" y="272"/>
                  </a:cubicBezTo>
                  <a:moveTo>
                    <a:pt x="1007" y="274"/>
                  </a:moveTo>
                  <a:cubicBezTo>
                    <a:pt x="1006" y="274"/>
                    <a:pt x="1006" y="275"/>
                    <a:pt x="1006" y="275"/>
                  </a:cubicBezTo>
                  <a:cubicBezTo>
                    <a:pt x="1005" y="275"/>
                    <a:pt x="1005" y="276"/>
                    <a:pt x="1005" y="277"/>
                  </a:cubicBezTo>
                  <a:cubicBezTo>
                    <a:pt x="1005" y="277"/>
                    <a:pt x="1006" y="277"/>
                    <a:pt x="1006" y="276"/>
                  </a:cubicBezTo>
                  <a:cubicBezTo>
                    <a:pt x="1006" y="276"/>
                    <a:pt x="1007" y="275"/>
                    <a:pt x="1007" y="274"/>
                  </a:cubicBezTo>
                  <a:moveTo>
                    <a:pt x="1006" y="278"/>
                  </a:moveTo>
                  <a:cubicBezTo>
                    <a:pt x="1005" y="278"/>
                    <a:pt x="1005" y="278"/>
                    <a:pt x="1004" y="278"/>
                  </a:cubicBezTo>
                  <a:cubicBezTo>
                    <a:pt x="1003" y="283"/>
                    <a:pt x="1002" y="288"/>
                    <a:pt x="1002" y="292"/>
                  </a:cubicBezTo>
                  <a:cubicBezTo>
                    <a:pt x="1002" y="293"/>
                    <a:pt x="1002" y="293"/>
                    <a:pt x="1002" y="294"/>
                  </a:cubicBezTo>
                  <a:cubicBezTo>
                    <a:pt x="1002" y="294"/>
                    <a:pt x="1003" y="294"/>
                    <a:pt x="1003" y="293"/>
                  </a:cubicBezTo>
                  <a:cubicBezTo>
                    <a:pt x="1003" y="293"/>
                    <a:pt x="1003" y="292"/>
                    <a:pt x="1003" y="292"/>
                  </a:cubicBezTo>
                  <a:cubicBezTo>
                    <a:pt x="1003" y="287"/>
                    <a:pt x="1004" y="283"/>
                    <a:pt x="1006" y="278"/>
                  </a:cubicBezTo>
                  <a:moveTo>
                    <a:pt x="778" y="278"/>
                  </a:moveTo>
                  <a:cubicBezTo>
                    <a:pt x="778" y="278"/>
                    <a:pt x="777" y="278"/>
                    <a:pt x="777" y="278"/>
                  </a:cubicBezTo>
                  <a:cubicBezTo>
                    <a:pt x="776" y="279"/>
                    <a:pt x="776" y="281"/>
                    <a:pt x="775" y="282"/>
                  </a:cubicBezTo>
                  <a:cubicBezTo>
                    <a:pt x="775" y="282"/>
                    <a:pt x="775" y="283"/>
                    <a:pt x="774" y="284"/>
                  </a:cubicBezTo>
                  <a:cubicBezTo>
                    <a:pt x="774" y="284"/>
                    <a:pt x="774" y="284"/>
                    <a:pt x="774" y="284"/>
                  </a:cubicBezTo>
                  <a:cubicBezTo>
                    <a:pt x="774" y="284"/>
                    <a:pt x="775" y="284"/>
                    <a:pt x="775" y="284"/>
                  </a:cubicBezTo>
                  <a:cubicBezTo>
                    <a:pt x="775" y="284"/>
                    <a:pt x="775" y="284"/>
                    <a:pt x="775" y="284"/>
                  </a:cubicBezTo>
                  <a:cubicBezTo>
                    <a:pt x="776" y="282"/>
                    <a:pt x="777" y="280"/>
                    <a:pt x="778" y="278"/>
                  </a:cubicBezTo>
                  <a:moveTo>
                    <a:pt x="1161" y="284"/>
                  </a:moveTo>
                  <a:cubicBezTo>
                    <a:pt x="1156" y="289"/>
                    <a:pt x="1152" y="294"/>
                    <a:pt x="1148" y="299"/>
                  </a:cubicBezTo>
                  <a:cubicBezTo>
                    <a:pt x="1148" y="300"/>
                    <a:pt x="1147" y="301"/>
                    <a:pt x="1146" y="302"/>
                  </a:cubicBezTo>
                  <a:cubicBezTo>
                    <a:pt x="1148" y="300"/>
                    <a:pt x="1150" y="298"/>
                    <a:pt x="1152" y="296"/>
                  </a:cubicBezTo>
                  <a:cubicBezTo>
                    <a:pt x="1155" y="292"/>
                    <a:pt x="1158" y="289"/>
                    <a:pt x="1161" y="286"/>
                  </a:cubicBezTo>
                  <a:cubicBezTo>
                    <a:pt x="1161" y="285"/>
                    <a:pt x="1161" y="285"/>
                    <a:pt x="1161" y="284"/>
                  </a:cubicBezTo>
                  <a:moveTo>
                    <a:pt x="773" y="285"/>
                  </a:moveTo>
                  <a:cubicBezTo>
                    <a:pt x="772" y="287"/>
                    <a:pt x="771" y="288"/>
                    <a:pt x="771" y="290"/>
                  </a:cubicBezTo>
                  <a:cubicBezTo>
                    <a:pt x="771" y="290"/>
                    <a:pt x="771" y="290"/>
                    <a:pt x="771" y="290"/>
                  </a:cubicBezTo>
                  <a:cubicBezTo>
                    <a:pt x="771" y="290"/>
                    <a:pt x="772" y="290"/>
                    <a:pt x="772" y="290"/>
                  </a:cubicBezTo>
                  <a:cubicBezTo>
                    <a:pt x="773" y="288"/>
                    <a:pt x="773" y="287"/>
                    <a:pt x="774" y="285"/>
                  </a:cubicBezTo>
                  <a:cubicBezTo>
                    <a:pt x="774" y="285"/>
                    <a:pt x="774" y="285"/>
                    <a:pt x="774" y="285"/>
                  </a:cubicBezTo>
                  <a:cubicBezTo>
                    <a:pt x="774" y="285"/>
                    <a:pt x="774" y="285"/>
                    <a:pt x="773" y="285"/>
                  </a:cubicBezTo>
                  <a:moveTo>
                    <a:pt x="771" y="291"/>
                  </a:moveTo>
                  <a:cubicBezTo>
                    <a:pt x="771" y="291"/>
                    <a:pt x="770" y="291"/>
                    <a:pt x="770" y="291"/>
                  </a:cubicBezTo>
                  <a:cubicBezTo>
                    <a:pt x="769" y="292"/>
                    <a:pt x="769" y="293"/>
                    <a:pt x="768" y="294"/>
                  </a:cubicBezTo>
                  <a:cubicBezTo>
                    <a:pt x="768" y="294"/>
                    <a:pt x="768" y="294"/>
                    <a:pt x="768" y="294"/>
                  </a:cubicBezTo>
                  <a:cubicBezTo>
                    <a:pt x="768" y="294"/>
                    <a:pt x="769" y="294"/>
                    <a:pt x="769" y="294"/>
                  </a:cubicBezTo>
                  <a:cubicBezTo>
                    <a:pt x="770" y="293"/>
                    <a:pt x="770" y="292"/>
                    <a:pt x="771" y="291"/>
                  </a:cubicBezTo>
                  <a:moveTo>
                    <a:pt x="1003" y="295"/>
                  </a:moveTo>
                  <a:cubicBezTo>
                    <a:pt x="1003" y="295"/>
                    <a:pt x="1002" y="295"/>
                    <a:pt x="1002" y="295"/>
                  </a:cubicBezTo>
                  <a:cubicBezTo>
                    <a:pt x="1002" y="298"/>
                    <a:pt x="1003" y="300"/>
                    <a:pt x="1004" y="302"/>
                  </a:cubicBezTo>
                  <a:cubicBezTo>
                    <a:pt x="1004" y="302"/>
                    <a:pt x="1005" y="303"/>
                    <a:pt x="1005" y="303"/>
                  </a:cubicBezTo>
                  <a:cubicBezTo>
                    <a:pt x="1005" y="303"/>
                    <a:pt x="1005" y="303"/>
                    <a:pt x="1005" y="302"/>
                  </a:cubicBezTo>
                  <a:cubicBezTo>
                    <a:pt x="1004" y="300"/>
                    <a:pt x="1003" y="297"/>
                    <a:pt x="1003" y="295"/>
                  </a:cubicBezTo>
                  <a:moveTo>
                    <a:pt x="1161" y="296"/>
                  </a:moveTo>
                  <a:cubicBezTo>
                    <a:pt x="1157" y="299"/>
                    <a:pt x="1153" y="302"/>
                    <a:pt x="1150" y="305"/>
                  </a:cubicBezTo>
                  <a:cubicBezTo>
                    <a:pt x="1152" y="304"/>
                    <a:pt x="1154" y="302"/>
                    <a:pt x="1156" y="301"/>
                  </a:cubicBezTo>
                  <a:cubicBezTo>
                    <a:pt x="1158" y="300"/>
                    <a:pt x="1159" y="298"/>
                    <a:pt x="1161" y="297"/>
                  </a:cubicBezTo>
                  <a:cubicBezTo>
                    <a:pt x="1161" y="296"/>
                    <a:pt x="1161" y="296"/>
                    <a:pt x="1161" y="296"/>
                  </a:cubicBezTo>
                  <a:moveTo>
                    <a:pt x="768" y="296"/>
                  </a:moveTo>
                  <a:cubicBezTo>
                    <a:pt x="767" y="296"/>
                    <a:pt x="767" y="296"/>
                    <a:pt x="767" y="296"/>
                  </a:cubicBezTo>
                  <a:cubicBezTo>
                    <a:pt x="765" y="298"/>
                    <a:pt x="764" y="300"/>
                    <a:pt x="762" y="302"/>
                  </a:cubicBezTo>
                  <a:cubicBezTo>
                    <a:pt x="763" y="302"/>
                    <a:pt x="763" y="302"/>
                    <a:pt x="763" y="302"/>
                  </a:cubicBezTo>
                  <a:cubicBezTo>
                    <a:pt x="765" y="300"/>
                    <a:pt x="766" y="298"/>
                    <a:pt x="768" y="296"/>
                  </a:cubicBezTo>
                  <a:cubicBezTo>
                    <a:pt x="768" y="296"/>
                    <a:pt x="768" y="296"/>
                    <a:pt x="768" y="296"/>
                  </a:cubicBezTo>
                  <a:moveTo>
                    <a:pt x="1146" y="303"/>
                  </a:moveTo>
                  <a:cubicBezTo>
                    <a:pt x="1146" y="303"/>
                    <a:pt x="1146" y="303"/>
                    <a:pt x="1146" y="303"/>
                  </a:cubicBezTo>
                  <a:cubicBezTo>
                    <a:pt x="1146" y="303"/>
                    <a:pt x="1146" y="303"/>
                    <a:pt x="1146" y="303"/>
                  </a:cubicBezTo>
                  <a:cubicBezTo>
                    <a:pt x="1146" y="303"/>
                    <a:pt x="1146" y="303"/>
                    <a:pt x="1146" y="303"/>
                  </a:cubicBezTo>
                  <a:moveTo>
                    <a:pt x="763" y="303"/>
                  </a:moveTo>
                  <a:cubicBezTo>
                    <a:pt x="762" y="303"/>
                    <a:pt x="762" y="303"/>
                    <a:pt x="762" y="303"/>
                  </a:cubicBezTo>
                  <a:cubicBezTo>
                    <a:pt x="760" y="306"/>
                    <a:pt x="758" y="308"/>
                    <a:pt x="757" y="310"/>
                  </a:cubicBezTo>
                  <a:cubicBezTo>
                    <a:pt x="756" y="310"/>
                    <a:pt x="756" y="311"/>
                    <a:pt x="756" y="311"/>
                  </a:cubicBezTo>
                  <a:cubicBezTo>
                    <a:pt x="753" y="314"/>
                    <a:pt x="750" y="317"/>
                    <a:pt x="747" y="320"/>
                  </a:cubicBezTo>
                  <a:cubicBezTo>
                    <a:pt x="748" y="320"/>
                    <a:pt x="748" y="320"/>
                    <a:pt x="749" y="320"/>
                  </a:cubicBezTo>
                  <a:cubicBezTo>
                    <a:pt x="751" y="318"/>
                    <a:pt x="753" y="315"/>
                    <a:pt x="755" y="313"/>
                  </a:cubicBezTo>
                  <a:cubicBezTo>
                    <a:pt x="756" y="312"/>
                    <a:pt x="756" y="312"/>
                    <a:pt x="757" y="312"/>
                  </a:cubicBezTo>
                  <a:cubicBezTo>
                    <a:pt x="759" y="309"/>
                    <a:pt x="761" y="306"/>
                    <a:pt x="763" y="303"/>
                  </a:cubicBezTo>
                  <a:moveTo>
                    <a:pt x="1004" y="304"/>
                  </a:moveTo>
                  <a:cubicBezTo>
                    <a:pt x="1004" y="304"/>
                    <a:pt x="1004" y="304"/>
                    <a:pt x="1004" y="304"/>
                  </a:cubicBezTo>
                  <a:cubicBezTo>
                    <a:pt x="1004" y="304"/>
                    <a:pt x="1004" y="304"/>
                    <a:pt x="1004" y="304"/>
                  </a:cubicBezTo>
                  <a:cubicBezTo>
                    <a:pt x="1005" y="304"/>
                    <a:pt x="1005" y="304"/>
                    <a:pt x="1005" y="304"/>
                  </a:cubicBezTo>
                  <a:cubicBezTo>
                    <a:pt x="1005" y="304"/>
                    <a:pt x="1004" y="304"/>
                    <a:pt x="1004" y="304"/>
                  </a:cubicBezTo>
                  <a:moveTo>
                    <a:pt x="1145" y="304"/>
                  </a:moveTo>
                  <a:cubicBezTo>
                    <a:pt x="1144" y="305"/>
                    <a:pt x="1143" y="306"/>
                    <a:pt x="1141" y="307"/>
                  </a:cubicBezTo>
                  <a:cubicBezTo>
                    <a:pt x="1140" y="309"/>
                    <a:pt x="1139" y="311"/>
                    <a:pt x="1137" y="312"/>
                  </a:cubicBezTo>
                  <a:cubicBezTo>
                    <a:pt x="1138" y="312"/>
                    <a:pt x="1139" y="312"/>
                    <a:pt x="1139" y="311"/>
                  </a:cubicBezTo>
                  <a:cubicBezTo>
                    <a:pt x="1141" y="309"/>
                    <a:pt x="1143" y="307"/>
                    <a:pt x="1145" y="304"/>
                  </a:cubicBezTo>
                  <a:cubicBezTo>
                    <a:pt x="1145" y="304"/>
                    <a:pt x="1145" y="304"/>
                    <a:pt x="1145" y="304"/>
                  </a:cubicBezTo>
                  <a:moveTo>
                    <a:pt x="1006" y="305"/>
                  </a:moveTo>
                  <a:cubicBezTo>
                    <a:pt x="1006" y="305"/>
                    <a:pt x="1005" y="306"/>
                    <a:pt x="1005" y="306"/>
                  </a:cubicBezTo>
                  <a:cubicBezTo>
                    <a:pt x="1006" y="307"/>
                    <a:pt x="1006" y="308"/>
                    <a:pt x="1007" y="309"/>
                  </a:cubicBezTo>
                  <a:cubicBezTo>
                    <a:pt x="1007" y="309"/>
                    <a:pt x="1007" y="309"/>
                    <a:pt x="1007" y="309"/>
                  </a:cubicBezTo>
                  <a:cubicBezTo>
                    <a:pt x="1007" y="310"/>
                    <a:pt x="1008" y="310"/>
                    <a:pt x="1008" y="310"/>
                  </a:cubicBezTo>
                  <a:cubicBezTo>
                    <a:pt x="1008" y="311"/>
                    <a:pt x="1008" y="311"/>
                    <a:pt x="1009" y="312"/>
                  </a:cubicBezTo>
                  <a:cubicBezTo>
                    <a:pt x="1009" y="312"/>
                    <a:pt x="1009" y="311"/>
                    <a:pt x="1010" y="311"/>
                  </a:cubicBezTo>
                  <a:cubicBezTo>
                    <a:pt x="1009" y="311"/>
                    <a:pt x="1009" y="310"/>
                    <a:pt x="1009" y="310"/>
                  </a:cubicBezTo>
                  <a:cubicBezTo>
                    <a:pt x="1008" y="309"/>
                    <a:pt x="1008" y="309"/>
                    <a:pt x="1008" y="309"/>
                  </a:cubicBezTo>
                  <a:cubicBezTo>
                    <a:pt x="1008" y="309"/>
                    <a:pt x="1008" y="309"/>
                    <a:pt x="1008" y="308"/>
                  </a:cubicBezTo>
                  <a:cubicBezTo>
                    <a:pt x="1007" y="307"/>
                    <a:pt x="1006" y="306"/>
                    <a:pt x="1006" y="305"/>
                  </a:cubicBezTo>
                  <a:moveTo>
                    <a:pt x="1150" y="306"/>
                  </a:moveTo>
                  <a:cubicBezTo>
                    <a:pt x="1149" y="306"/>
                    <a:pt x="1149" y="307"/>
                    <a:pt x="1149" y="307"/>
                  </a:cubicBezTo>
                  <a:cubicBezTo>
                    <a:pt x="1149" y="307"/>
                    <a:pt x="1149" y="307"/>
                    <a:pt x="1149" y="307"/>
                  </a:cubicBezTo>
                  <a:cubicBezTo>
                    <a:pt x="1149" y="307"/>
                    <a:pt x="1149" y="306"/>
                    <a:pt x="1150" y="306"/>
                  </a:cubicBezTo>
                  <a:moveTo>
                    <a:pt x="1148" y="307"/>
                  </a:moveTo>
                  <a:cubicBezTo>
                    <a:pt x="1146" y="308"/>
                    <a:pt x="1144" y="309"/>
                    <a:pt x="1142" y="310"/>
                  </a:cubicBezTo>
                  <a:cubicBezTo>
                    <a:pt x="1140" y="312"/>
                    <a:pt x="1138" y="314"/>
                    <a:pt x="1136" y="315"/>
                  </a:cubicBezTo>
                  <a:cubicBezTo>
                    <a:pt x="1137" y="314"/>
                    <a:pt x="1137" y="314"/>
                    <a:pt x="1138" y="313"/>
                  </a:cubicBezTo>
                  <a:cubicBezTo>
                    <a:pt x="1137" y="314"/>
                    <a:pt x="1136" y="314"/>
                    <a:pt x="1135" y="315"/>
                  </a:cubicBezTo>
                  <a:cubicBezTo>
                    <a:pt x="1133" y="317"/>
                    <a:pt x="1131" y="320"/>
                    <a:pt x="1128" y="323"/>
                  </a:cubicBezTo>
                  <a:cubicBezTo>
                    <a:pt x="1124" y="328"/>
                    <a:pt x="1120" y="332"/>
                    <a:pt x="1116" y="337"/>
                  </a:cubicBezTo>
                  <a:cubicBezTo>
                    <a:pt x="1116" y="337"/>
                    <a:pt x="1117" y="337"/>
                    <a:pt x="1117" y="337"/>
                  </a:cubicBezTo>
                  <a:cubicBezTo>
                    <a:pt x="1122" y="331"/>
                    <a:pt x="1128" y="325"/>
                    <a:pt x="1134" y="318"/>
                  </a:cubicBezTo>
                  <a:cubicBezTo>
                    <a:pt x="1139" y="314"/>
                    <a:pt x="1143" y="311"/>
                    <a:pt x="1148" y="307"/>
                  </a:cubicBezTo>
                  <a:cubicBezTo>
                    <a:pt x="1148" y="307"/>
                    <a:pt x="1148" y="307"/>
                    <a:pt x="1148" y="307"/>
                  </a:cubicBezTo>
                  <a:moveTo>
                    <a:pt x="1010" y="312"/>
                  </a:moveTo>
                  <a:cubicBezTo>
                    <a:pt x="1010" y="312"/>
                    <a:pt x="1010" y="312"/>
                    <a:pt x="1009" y="313"/>
                  </a:cubicBezTo>
                  <a:cubicBezTo>
                    <a:pt x="1010" y="313"/>
                    <a:pt x="1011" y="314"/>
                    <a:pt x="1012" y="315"/>
                  </a:cubicBezTo>
                  <a:cubicBezTo>
                    <a:pt x="1012" y="315"/>
                    <a:pt x="1012" y="316"/>
                    <a:pt x="1012" y="316"/>
                  </a:cubicBezTo>
                  <a:cubicBezTo>
                    <a:pt x="1013" y="316"/>
                    <a:pt x="1013" y="316"/>
                    <a:pt x="1013" y="317"/>
                  </a:cubicBezTo>
                  <a:cubicBezTo>
                    <a:pt x="1013" y="316"/>
                    <a:pt x="1014" y="316"/>
                    <a:pt x="1014" y="316"/>
                  </a:cubicBezTo>
                  <a:cubicBezTo>
                    <a:pt x="1014" y="316"/>
                    <a:pt x="1013" y="316"/>
                    <a:pt x="1013" y="315"/>
                  </a:cubicBezTo>
                  <a:cubicBezTo>
                    <a:pt x="1013" y="315"/>
                    <a:pt x="1013" y="315"/>
                    <a:pt x="1012" y="315"/>
                  </a:cubicBezTo>
                  <a:cubicBezTo>
                    <a:pt x="1012" y="314"/>
                    <a:pt x="1011" y="313"/>
                    <a:pt x="1010" y="312"/>
                  </a:cubicBezTo>
                  <a:moveTo>
                    <a:pt x="9" y="313"/>
                  </a:moveTo>
                  <a:cubicBezTo>
                    <a:pt x="4" y="313"/>
                    <a:pt x="0" y="314"/>
                    <a:pt x="0" y="317"/>
                  </a:cubicBezTo>
                  <a:cubicBezTo>
                    <a:pt x="1" y="326"/>
                    <a:pt x="32" y="347"/>
                    <a:pt x="110" y="388"/>
                  </a:cubicBezTo>
                  <a:cubicBezTo>
                    <a:pt x="153" y="411"/>
                    <a:pt x="195" y="430"/>
                    <a:pt x="236" y="446"/>
                  </a:cubicBezTo>
                  <a:cubicBezTo>
                    <a:pt x="235" y="445"/>
                    <a:pt x="235" y="445"/>
                    <a:pt x="235" y="444"/>
                  </a:cubicBezTo>
                  <a:cubicBezTo>
                    <a:pt x="194" y="428"/>
                    <a:pt x="153" y="410"/>
                    <a:pt x="111" y="387"/>
                  </a:cubicBezTo>
                  <a:cubicBezTo>
                    <a:pt x="32" y="346"/>
                    <a:pt x="1" y="324"/>
                    <a:pt x="1" y="317"/>
                  </a:cubicBezTo>
                  <a:cubicBezTo>
                    <a:pt x="1" y="315"/>
                    <a:pt x="4" y="314"/>
                    <a:pt x="9" y="314"/>
                  </a:cubicBezTo>
                  <a:cubicBezTo>
                    <a:pt x="9" y="314"/>
                    <a:pt x="9" y="314"/>
                    <a:pt x="9" y="314"/>
                  </a:cubicBezTo>
                  <a:cubicBezTo>
                    <a:pt x="11" y="314"/>
                    <a:pt x="12" y="314"/>
                    <a:pt x="14" y="314"/>
                  </a:cubicBezTo>
                  <a:cubicBezTo>
                    <a:pt x="16" y="314"/>
                    <a:pt x="19" y="315"/>
                    <a:pt x="21" y="315"/>
                  </a:cubicBezTo>
                  <a:cubicBezTo>
                    <a:pt x="23" y="315"/>
                    <a:pt x="25" y="316"/>
                    <a:pt x="27" y="316"/>
                  </a:cubicBezTo>
                  <a:cubicBezTo>
                    <a:pt x="46" y="320"/>
                    <a:pt x="73" y="328"/>
                    <a:pt x="106" y="338"/>
                  </a:cubicBezTo>
                  <a:cubicBezTo>
                    <a:pt x="104" y="338"/>
                    <a:pt x="103" y="337"/>
                    <a:pt x="103" y="336"/>
                  </a:cubicBezTo>
                  <a:cubicBezTo>
                    <a:pt x="67" y="325"/>
                    <a:pt x="38" y="317"/>
                    <a:pt x="20" y="314"/>
                  </a:cubicBezTo>
                  <a:cubicBezTo>
                    <a:pt x="18" y="314"/>
                    <a:pt x="16" y="313"/>
                    <a:pt x="14" y="313"/>
                  </a:cubicBezTo>
                  <a:cubicBezTo>
                    <a:pt x="13" y="313"/>
                    <a:pt x="11" y="313"/>
                    <a:pt x="10" y="313"/>
                  </a:cubicBezTo>
                  <a:cubicBezTo>
                    <a:pt x="9" y="313"/>
                    <a:pt x="9" y="313"/>
                    <a:pt x="9" y="313"/>
                  </a:cubicBezTo>
                  <a:moveTo>
                    <a:pt x="1015" y="317"/>
                  </a:moveTo>
                  <a:cubicBezTo>
                    <a:pt x="1014" y="317"/>
                    <a:pt x="1014" y="317"/>
                    <a:pt x="1014" y="317"/>
                  </a:cubicBezTo>
                  <a:cubicBezTo>
                    <a:pt x="1014" y="317"/>
                    <a:pt x="1014" y="318"/>
                    <a:pt x="1014" y="318"/>
                  </a:cubicBezTo>
                  <a:cubicBezTo>
                    <a:pt x="1014" y="318"/>
                    <a:pt x="1015" y="318"/>
                    <a:pt x="1015" y="318"/>
                  </a:cubicBezTo>
                  <a:cubicBezTo>
                    <a:pt x="1015" y="318"/>
                    <a:pt x="1015" y="319"/>
                    <a:pt x="1015" y="319"/>
                  </a:cubicBezTo>
                  <a:cubicBezTo>
                    <a:pt x="1016" y="319"/>
                    <a:pt x="1016" y="320"/>
                    <a:pt x="1017" y="320"/>
                  </a:cubicBezTo>
                  <a:cubicBezTo>
                    <a:pt x="1017" y="320"/>
                    <a:pt x="1017" y="320"/>
                    <a:pt x="1018" y="319"/>
                  </a:cubicBezTo>
                  <a:cubicBezTo>
                    <a:pt x="1017" y="319"/>
                    <a:pt x="1017" y="319"/>
                    <a:pt x="1016" y="318"/>
                  </a:cubicBezTo>
                  <a:cubicBezTo>
                    <a:pt x="1016" y="318"/>
                    <a:pt x="1016" y="318"/>
                    <a:pt x="1015" y="318"/>
                  </a:cubicBezTo>
                  <a:cubicBezTo>
                    <a:pt x="1015" y="317"/>
                    <a:pt x="1015" y="317"/>
                    <a:pt x="1015" y="317"/>
                  </a:cubicBezTo>
                  <a:cubicBezTo>
                    <a:pt x="1015" y="317"/>
                    <a:pt x="1015" y="317"/>
                    <a:pt x="1015" y="317"/>
                  </a:cubicBezTo>
                  <a:moveTo>
                    <a:pt x="1130" y="319"/>
                  </a:moveTo>
                  <a:cubicBezTo>
                    <a:pt x="1127" y="321"/>
                    <a:pt x="1123" y="323"/>
                    <a:pt x="1120" y="325"/>
                  </a:cubicBezTo>
                  <a:cubicBezTo>
                    <a:pt x="1118" y="327"/>
                    <a:pt x="1117" y="328"/>
                    <a:pt x="1115" y="329"/>
                  </a:cubicBezTo>
                  <a:cubicBezTo>
                    <a:pt x="1119" y="327"/>
                    <a:pt x="1124" y="324"/>
                    <a:pt x="1128" y="322"/>
                  </a:cubicBezTo>
                  <a:cubicBezTo>
                    <a:pt x="1129" y="321"/>
                    <a:pt x="1129" y="320"/>
                    <a:pt x="1130" y="319"/>
                  </a:cubicBezTo>
                  <a:moveTo>
                    <a:pt x="1019" y="320"/>
                  </a:moveTo>
                  <a:cubicBezTo>
                    <a:pt x="1018" y="320"/>
                    <a:pt x="1018" y="321"/>
                    <a:pt x="1018" y="321"/>
                  </a:cubicBezTo>
                  <a:cubicBezTo>
                    <a:pt x="1018" y="321"/>
                    <a:pt x="1018" y="321"/>
                    <a:pt x="1018" y="321"/>
                  </a:cubicBezTo>
                  <a:cubicBezTo>
                    <a:pt x="1018" y="321"/>
                    <a:pt x="1019" y="322"/>
                    <a:pt x="1019" y="322"/>
                  </a:cubicBezTo>
                  <a:cubicBezTo>
                    <a:pt x="1019" y="322"/>
                    <a:pt x="1020" y="321"/>
                    <a:pt x="1020" y="321"/>
                  </a:cubicBezTo>
                  <a:cubicBezTo>
                    <a:pt x="1020" y="321"/>
                    <a:pt x="1019" y="321"/>
                    <a:pt x="1019" y="320"/>
                  </a:cubicBezTo>
                  <a:cubicBezTo>
                    <a:pt x="1019" y="320"/>
                    <a:pt x="1019" y="320"/>
                    <a:pt x="1019" y="320"/>
                  </a:cubicBezTo>
                  <a:moveTo>
                    <a:pt x="748" y="321"/>
                  </a:moveTo>
                  <a:cubicBezTo>
                    <a:pt x="747" y="321"/>
                    <a:pt x="747" y="321"/>
                    <a:pt x="747" y="321"/>
                  </a:cubicBezTo>
                  <a:cubicBezTo>
                    <a:pt x="743" y="325"/>
                    <a:pt x="740" y="328"/>
                    <a:pt x="737" y="331"/>
                  </a:cubicBezTo>
                  <a:cubicBezTo>
                    <a:pt x="737" y="331"/>
                    <a:pt x="736" y="332"/>
                    <a:pt x="736" y="332"/>
                  </a:cubicBezTo>
                  <a:cubicBezTo>
                    <a:pt x="729" y="338"/>
                    <a:pt x="721" y="344"/>
                    <a:pt x="713" y="350"/>
                  </a:cubicBezTo>
                  <a:cubicBezTo>
                    <a:pt x="712" y="350"/>
                    <a:pt x="712" y="350"/>
                    <a:pt x="711" y="351"/>
                  </a:cubicBezTo>
                  <a:cubicBezTo>
                    <a:pt x="707" y="353"/>
                    <a:pt x="703" y="356"/>
                    <a:pt x="699" y="358"/>
                  </a:cubicBezTo>
                  <a:cubicBezTo>
                    <a:pt x="700" y="358"/>
                    <a:pt x="701" y="358"/>
                    <a:pt x="702" y="358"/>
                  </a:cubicBezTo>
                  <a:cubicBezTo>
                    <a:pt x="704" y="356"/>
                    <a:pt x="707" y="355"/>
                    <a:pt x="710" y="353"/>
                  </a:cubicBezTo>
                  <a:cubicBezTo>
                    <a:pt x="710" y="352"/>
                    <a:pt x="711" y="352"/>
                    <a:pt x="712" y="352"/>
                  </a:cubicBezTo>
                  <a:cubicBezTo>
                    <a:pt x="720" y="346"/>
                    <a:pt x="728" y="340"/>
                    <a:pt x="735" y="334"/>
                  </a:cubicBezTo>
                  <a:cubicBezTo>
                    <a:pt x="736" y="333"/>
                    <a:pt x="736" y="333"/>
                    <a:pt x="737" y="332"/>
                  </a:cubicBezTo>
                  <a:cubicBezTo>
                    <a:pt x="741" y="329"/>
                    <a:pt x="744" y="325"/>
                    <a:pt x="748" y="321"/>
                  </a:cubicBezTo>
                  <a:moveTo>
                    <a:pt x="1021" y="322"/>
                  </a:moveTo>
                  <a:cubicBezTo>
                    <a:pt x="1020" y="322"/>
                    <a:pt x="1020" y="322"/>
                    <a:pt x="1020" y="322"/>
                  </a:cubicBezTo>
                  <a:cubicBezTo>
                    <a:pt x="1020" y="323"/>
                    <a:pt x="1020" y="323"/>
                    <a:pt x="1020" y="323"/>
                  </a:cubicBezTo>
                  <a:cubicBezTo>
                    <a:pt x="1021" y="323"/>
                    <a:pt x="1021" y="322"/>
                    <a:pt x="1021" y="322"/>
                  </a:cubicBezTo>
                  <a:cubicBezTo>
                    <a:pt x="1021" y="322"/>
                    <a:pt x="1021" y="322"/>
                    <a:pt x="1021" y="322"/>
                  </a:cubicBezTo>
                  <a:moveTo>
                    <a:pt x="1022" y="323"/>
                  </a:moveTo>
                  <a:cubicBezTo>
                    <a:pt x="1022" y="323"/>
                    <a:pt x="1022" y="323"/>
                    <a:pt x="1021" y="323"/>
                  </a:cubicBezTo>
                  <a:cubicBezTo>
                    <a:pt x="1022" y="324"/>
                    <a:pt x="1022" y="324"/>
                    <a:pt x="1023" y="324"/>
                  </a:cubicBezTo>
                  <a:cubicBezTo>
                    <a:pt x="1023" y="325"/>
                    <a:pt x="1023" y="325"/>
                    <a:pt x="1024" y="325"/>
                  </a:cubicBezTo>
                  <a:cubicBezTo>
                    <a:pt x="1024" y="325"/>
                    <a:pt x="1024" y="325"/>
                    <a:pt x="1024" y="325"/>
                  </a:cubicBezTo>
                  <a:cubicBezTo>
                    <a:pt x="1024" y="325"/>
                    <a:pt x="1024" y="325"/>
                    <a:pt x="1025" y="325"/>
                  </a:cubicBezTo>
                  <a:cubicBezTo>
                    <a:pt x="1025" y="324"/>
                    <a:pt x="1024" y="324"/>
                    <a:pt x="1024" y="324"/>
                  </a:cubicBezTo>
                  <a:cubicBezTo>
                    <a:pt x="1024" y="324"/>
                    <a:pt x="1024" y="324"/>
                    <a:pt x="1023" y="324"/>
                  </a:cubicBezTo>
                  <a:cubicBezTo>
                    <a:pt x="1023" y="323"/>
                    <a:pt x="1023" y="323"/>
                    <a:pt x="1022" y="323"/>
                  </a:cubicBezTo>
                  <a:moveTo>
                    <a:pt x="1026" y="325"/>
                  </a:moveTo>
                  <a:cubicBezTo>
                    <a:pt x="1025" y="325"/>
                    <a:pt x="1025" y="326"/>
                    <a:pt x="1025" y="326"/>
                  </a:cubicBezTo>
                  <a:cubicBezTo>
                    <a:pt x="1025" y="326"/>
                    <a:pt x="1025" y="326"/>
                    <a:pt x="1026" y="326"/>
                  </a:cubicBezTo>
                  <a:cubicBezTo>
                    <a:pt x="1026" y="327"/>
                    <a:pt x="1026" y="327"/>
                    <a:pt x="1027" y="327"/>
                  </a:cubicBezTo>
                  <a:cubicBezTo>
                    <a:pt x="1027" y="327"/>
                    <a:pt x="1027" y="327"/>
                    <a:pt x="1027" y="327"/>
                  </a:cubicBezTo>
                  <a:cubicBezTo>
                    <a:pt x="1027" y="327"/>
                    <a:pt x="1028" y="327"/>
                    <a:pt x="1028" y="327"/>
                  </a:cubicBezTo>
                  <a:cubicBezTo>
                    <a:pt x="1028" y="327"/>
                    <a:pt x="1028" y="326"/>
                    <a:pt x="1028" y="326"/>
                  </a:cubicBezTo>
                  <a:cubicBezTo>
                    <a:pt x="1027" y="326"/>
                    <a:pt x="1027" y="326"/>
                    <a:pt x="1027" y="326"/>
                  </a:cubicBezTo>
                  <a:cubicBezTo>
                    <a:pt x="1026" y="326"/>
                    <a:pt x="1026" y="325"/>
                    <a:pt x="1026" y="325"/>
                  </a:cubicBezTo>
                  <a:moveTo>
                    <a:pt x="1029" y="327"/>
                  </a:moveTo>
                  <a:cubicBezTo>
                    <a:pt x="1029" y="327"/>
                    <a:pt x="1028" y="328"/>
                    <a:pt x="1028" y="328"/>
                  </a:cubicBezTo>
                  <a:cubicBezTo>
                    <a:pt x="1029" y="328"/>
                    <a:pt x="1030" y="329"/>
                    <a:pt x="1030" y="329"/>
                  </a:cubicBezTo>
                  <a:cubicBezTo>
                    <a:pt x="1031" y="329"/>
                    <a:pt x="1031" y="329"/>
                    <a:pt x="1031" y="328"/>
                  </a:cubicBezTo>
                  <a:cubicBezTo>
                    <a:pt x="1031" y="328"/>
                    <a:pt x="1030" y="328"/>
                    <a:pt x="1029" y="327"/>
                  </a:cubicBezTo>
                  <a:moveTo>
                    <a:pt x="1114" y="329"/>
                  </a:moveTo>
                  <a:cubicBezTo>
                    <a:pt x="1112" y="330"/>
                    <a:pt x="1110" y="331"/>
                    <a:pt x="1108" y="332"/>
                  </a:cubicBezTo>
                  <a:cubicBezTo>
                    <a:pt x="1108" y="332"/>
                    <a:pt x="1108" y="332"/>
                    <a:pt x="1108" y="332"/>
                  </a:cubicBezTo>
                  <a:cubicBezTo>
                    <a:pt x="1108" y="333"/>
                    <a:pt x="1108" y="333"/>
                    <a:pt x="1108" y="333"/>
                  </a:cubicBezTo>
                  <a:cubicBezTo>
                    <a:pt x="1109" y="332"/>
                    <a:pt x="1109" y="332"/>
                    <a:pt x="1109" y="332"/>
                  </a:cubicBezTo>
                  <a:cubicBezTo>
                    <a:pt x="1111" y="331"/>
                    <a:pt x="1112" y="330"/>
                    <a:pt x="1114" y="329"/>
                  </a:cubicBezTo>
                  <a:moveTo>
                    <a:pt x="1032" y="329"/>
                  </a:moveTo>
                  <a:cubicBezTo>
                    <a:pt x="1032" y="329"/>
                    <a:pt x="1032" y="329"/>
                    <a:pt x="1031" y="330"/>
                  </a:cubicBezTo>
                  <a:cubicBezTo>
                    <a:pt x="1033" y="330"/>
                    <a:pt x="1034" y="331"/>
                    <a:pt x="1035" y="332"/>
                  </a:cubicBezTo>
                  <a:cubicBezTo>
                    <a:pt x="1034" y="331"/>
                    <a:pt x="1034" y="330"/>
                    <a:pt x="1033" y="329"/>
                  </a:cubicBezTo>
                  <a:cubicBezTo>
                    <a:pt x="1033" y="329"/>
                    <a:pt x="1032" y="329"/>
                    <a:pt x="1032" y="329"/>
                  </a:cubicBezTo>
                  <a:moveTo>
                    <a:pt x="1036" y="331"/>
                  </a:moveTo>
                  <a:cubicBezTo>
                    <a:pt x="1037" y="332"/>
                    <a:pt x="1037" y="332"/>
                    <a:pt x="1038" y="333"/>
                  </a:cubicBezTo>
                  <a:cubicBezTo>
                    <a:pt x="1039" y="333"/>
                    <a:pt x="1040" y="334"/>
                    <a:pt x="1041" y="334"/>
                  </a:cubicBezTo>
                  <a:cubicBezTo>
                    <a:pt x="1041" y="334"/>
                    <a:pt x="1042" y="335"/>
                    <a:pt x="1042" y="335"/>
                  </a:cubicBezTo>
                  <a:cubicBezTo>
                    <a:pt x="1046" y="337"/>
                    <a:pt x="1050" y="338"/>
                    <a:pt x="1054" y="340"/>
                  </a:cubicBezTo>
                  <a:cubicBezTo>
                    <a:pt x="1054" y="339"/>
                    <a:pt x="1054" y="339"/>
                    <a:pt x="1054" y="339"/>
                  </a:cubicBezTo>
                  <a:cubicBezTo>
                    <a:pt x="1050" y="337"/>
                    <a:pt x="1047" y="336"/>
                    <a:pt x="1043" y="334"/>
                  </a:cubicBezTo>
                  <a:cubicBezTo>
                    <a:pt x="1043" y="334"/>
                    <a:pt x="1042" y="334"/>
                    <a:pt x="1042" y="334"/>
                  </a:cubicBezTo>
                  <a:cubicBezTo>
                    <a:pt x="1040" y="333"/>
                    <a:pt x="1038" y="332"/>
                    <a:pt x="1036" y="331"/>
                  </a:cubicBezTo>
                  <a:moveTo>
                    <a:pt x="1106" y="333"/>
                  </a:moveTo>
                  <a:cubicBezTo>
                    <a:pt x="1097" y="337"/>
                    <a:pt x="1088" y="340"/>
                    <a:pt x="1079" y="342"/>
                  </a:cubicBezTo>
                  <a:cubicBezTo>
                    <a:pt x="1078" y="343"/>
                    <a:pt x="1076" y="343"/>
                    <a:pt x="1075" y="344"/>
                  </a:cubicBezTo>
                  <a:cubicBezTo>
                    <a:pt x="1085" y="342"/>
                    <a:pt x="1096" y="339"/>
                    <a:pt x="1107" y="333"/>
                  </a:cubicBezTo>
                  <a:cubicBezTo>
                    <a:pt x="1107" y="333"/>
                    <a:pt x="1107" y="333"/>
                    <a:pt x="1107" y="333"/>
                  </a:cubicBezTo>
                  <a:cubicBezTo>
                    <a:pt x="1107" y="333"/>
                    <a:pt x="1107" y="333"/>
                    <a:pt x="1106" y="333"/>
                  </a:cubicBezTo>
                  <a:moveTo>
                    <a:pt x="106" y="337"/>
                  </a:moveTo>
                  <a:cubicBezTo>
                    <a:pt x="107" y="338"/>
                    <a:pt x="108" y="339"/>
                    <a:pt x="110" y="340"/>
                  </a:cubicBezTo>
                  <a:cubicBezTo>
                    <a:pt x="148" y="352"/>
                    <a:pt x="194" y="369"/>
                    <a:pt x="239" y="387"/>
                  </a:cubicBezTo>
                  <a:cubicBezTo>
                    <a:pt x="239" y="387"/>
                    <a:pt x="239" y="387"/>
                    <a:pt x="240" y="387"/>
                  </a:cubicBezTo>
                  <a:cubicBezTo>
                    <a:pt x="193" y="368"/>
                    <a:pt x="146" y="350"/>
                    <a:pt x="106" y="337"/>
                  </a:cubicBezTo>
                  <a:moveTo>
                    <a:pt x="1115" y="338"/>
                  </a:moveTo>
                  <a:cubicBezTo>
                    <a:pt x="1114" y="340"/>
                    <a:pt x="1112" y="341"/>
                    <a:pt x="1111" y="343"/>
                  </a:cubicBezTo>
                  <a:cubicBezTo>
                    <a:pt x="1111" y="343"/>
                    <a:pt x="1112" y="343"/>
                    <a:pt x="1113" y="342"/>
                  </a:cubicBezTo>
                  <a:cubicBezTo>
                    <a:pt x="1114" y="341"/>
                    <a:pt x="1115" y="340"/>
                    <a:pt x="1116" y="338"/>
                  </a:cubicBezTo>
                  <a:cubicBezTo>
                    <a:pt x="1116" y="338"/>
                    <a:pt x="1116" y="338"/>
                    <a:pt x="1115" y="338"/>
                  </a:cubicBezTo>
                  <a:moveTo>
                    <a:pt x="1055" y="339"/>
                  </a:moveTo>
                  <a:cubicBezTo>
                    <a:pt x="1055" y="339"/>
                    <a:pt x="1055" y="340"/>
                    <a:pt x="1055" y="340"/>
                  </a:cubicBezTo>
                  <a:cubicBezTo>
                    <a:pt x="1059" y="342"/>
                    <a:pt x="1064" y="343"/>
                    <a:pt x="1068" y="345"/>
                  </a:cubicBezTo>
                  <a:cubicBezTo>
                    <a:pt x="1069" y="345"/>
                    <a:pt x="1070" y="345"/>
                    <a:pt x="1071" y="345"/>
                  </a:cubicBezTo>
                  <a:cubicBezTo>
                    <a:pt x="1072" y="344"/>
                    <a:pt x="1073" y="344"/>
                    <a:pt x="1074" y="343"/>
                  </a:cubicBezTo>
                  <a:cubicBezTo>
                    <a:pt x="1072" y="344"/>
                    <a:pt x="1070" y="344"/>
                    <a:pt x="1068" y="344"/>
                  </a:cubicBezTo>
                  <a:cubicBezTo>
                    <a:pt x="1064" y="342"/>
                    <a:pt x="1059" y="341"/>
                    <a:pt x="1055" y="339"/>
                  </a:cubicBezTo>
                  <a:moveTo>
                    <a:pt x="1111" y="344"/>
                  </a:moveTo>
                  <a:cubicBezTo>
                    <a:pt x="1111" y="344"/>
                    <a:pt x="1110" y="344"/>
                    <a:pt x="1110" y="345"/>
                  </a:cubicBezTo>
                  <a:cubicBezTo>
                    <a:pt x="1106" y="349"/>
                    <a:pt x="1102" y="353"/>
                    <a:pt x="1099" y="357"/>
                  </a:cubicBezTo>
                  <a:cubicBezTo>
                    <a:pt x="1099" y="357"/>
                    <a:pt x="1100" y="357"/>
                    <a:pt x="1101" y="356"/>
                  </a:cubicBezTo>
                  <a:cubicBezTo>
                    <a:pt x="1104" y="352"/>
                    <a:pt x="1108" y="348"/>
                    <a:pt x="1111" y="344"/>
                  </a:cubicBezTo>
                  <a:moveTo>
                    <a:pt x="1099" y="358"/>
                  </a:moveTo>
                  <a:cubicBezTo>
                    <a:pt x="1099" y="358"/>
                    <a:pt x="1098" y="358"/>
                    <a:pt x="1097" y="359"/>
                  </a:cubicBezTo>
                  <a:cubicBezTo>
                    <a:pt x="1093" y="364"/>
                    <a:pt x="1088" y="369"/>
                    <a:pt x="1084" y="374"/>
                  </a:cubicBezTo>
                  <a:cubicBezTo>
                    <a:pt x="1085" y="373"/>
                    <a:pt x="1085" y="373"/>
                    <a:pt x="1086" y="373"/>
                  </a:cubicBezTo>
                  <a:cubicBezTo>
                    <a:pt x="1090" y="368"/>
                    <a:pt x="1095" y="363"/>
                    <a:pt x="1099" y="358"/>
                  </a:cubicBezTo>
                  <a:moveTo>
                    <a:pt x="700" y="359"/>
                  </a:moveTo>
                  <a:cubicBezTo>
                    <a:pt x="699" y="359"/>
                    <a:pt x="698" y="359"/>
                    <a:pt x="697" y="359"/>
                  </a:cubicBezTo>
                  <a:cubicBezTo>
                    <a:pt x="695" y="361"/>
                    <a:pt x="692" y="362"/>
                    <a:pt x="689" y="364"/>
                  </a:cubicBezTo>
                  <a:cubicBezTo>
                    <a:pt x="688" y="364"/>
                    <a:pt x="687" y="365"/>
                    <a:pt x="686" y="365"/>
                  </a:cubicBezTo>
                  <a:cubicBezTo>
                    <a:pt x="686" y="365"/>
                    <a:pt x="685" y="366"/>
                    <a:pt x="684" y="366"/>
                  </a:cubicBezTo>
                  <a:cubicBezTo>
                    <a:pt x="683" y="367"/>
                    <a:pt x="681" y="367"/>
                    <a:pt x="680" y="368"/>
                  </a:cubicBezTo>
                  <a:cubicBezTo>
                    <a:pt x="679" y="368"/>
                    <a:pt x="679" y="368"/>
                    <a:pt x="678" y="369"/>
                  </a:cubicBezTo>
                  <a:cubicBezTo>
                    <a:pt x="676" y="370"/>
                    <a:pt x="674" y="371"/>
                    <a:pt x="672" y="372"/>
                  </a:cubicBezTo>
                  <a:cubicBezTo>
                    <a:pt x="671" y="372"/>
                    <a:pt x="671" y="372"/>
                    <a:pt x="670" y="372"/>
                  </a:cubicBezTo>
                  <a:cubicBezTo>
                    <a:pt x="658" y="377"/>
                    <a:pt x="645" y="381"/>
                    <a:pt x="632" y="385"/>
                  </a:cubicBezTo>
                  <a:cubicBezTo>
                    <a:pt x="634" y="384"/>
                    <a:pt x="637" y="384"/>
                    <a:pt x="639" y="384"/>
                  </a:cubicBezTo>
                  <a:cubicBezTo>
                    <a:pt x="650" y="381"/>
                    <a:pt x="660" y="377"/>
                    <a:pt x="670" y="373"/>
                  </a:cubicBezTo>
                  <a:cubicBezTo>
                    <a:pt x="671" y="373"/>
                    <a:pt x="671" y="373"/>
                    <a:pt x="671" y="373"/>
                  </a:cubicBezTo>
                  <a:cubicBezTo>
                    <a:pt x="674" y="372"/>
                    <a:pt x="676" y="371"/>
                    <a:pt x="678" y="370"/>
                  </a:cubicBezTo>
                  <a:cubicBezTo>
                    <a:pt x="678" y="370"/>
                    <a:pt x="679" y="370"/>
                    <a:pt x="679" y="369"/>
                  </a:cubicBezTo>
                  <a:cubicBezTo>
                    <a:pt x="681" y="369"/>
                    <a:pt x="682" y="368"/>
                    <a:pt x="683" y="368"/>
                  </a:cubicBezTo>
                  <a:cubicBezTo>
                    <a:pt x="683" y="368"/>
                    <a:pt x="683" y="367"/>
                    <a:pt x="684" y="367"/>
                  </a:cubicBezTo>
                  <a:cubicBezTo>
                    <a:pt x="685" y="367"/>
                    <a:pt x="686" y="366"/>
                    <a:pt x="687" y="366"/>
                  </a:cubicBezTo>
                  <a:cubicBezTo>
                    <a:pt x="691" y="364"/>
                    <a:pt x="695" y="361"/>
                    <a:pt x="700" y="359"/>
                  </a:cubicBezTo>
                  <a:moveTo>
                    <a:pt x="1084" y="375"/>
                  </a:moveTo>
                  <a:cubicBezTo>
                    <a:pt x="1084" y="375"/>
                    <a:pt x="1083" y="375"/>
                    <a:pt x="1082" y="375"/>
                  </a:cubicBezTo>
                  <a:cubicBezTo>
                    <a:pt x="1077" y="381"/>
                    <a:pt x="1072" y="386"/>
                    <a:pt x="1067" y="391"/>
                  </a:cubicBezTo>
                  <a:cubicBezTo>
                    <a:pt x="1067" y="392"/>
                    <a:pt x="1067" y="392"/>
                    <a:pt x="1066" y="392"/>
                  </a:cubicBezTo>
                  <a:cubicBezTo>
                    <a:pt x="1066" y="393"/>
                    <a:pt x="1065" y="394"/>
                    <a:pt x="1064" y="395"/>
                  </a:cubicBezTo>
                  <a:cubicBezTo>
                    <a:pt x="1065" y="395"/>
                    <a:pt x="1065" y="394"/>
                    <a:pt x="1066" y="394"/>
                  </a:cubicBezTo>
                  <a:cubicBezTo>
                    <a:pt x="1067" y="394"/>
                    <a:pt x="1067" y="393"/>
                    <a:pt x="1068" y="392"/>
                  </a:cubicBezTo>
                  <a:cubicBezTo>
                    <a:pt x="1068" y="392"/>
                    <a:pt x="1069" y="392"/>
                    <a:pt x="1069" y="391"/>
                  </a:cubicBezTo>
                  <a:cubicBezTo>
                    <a:pt x="1074" y="386"/>
                    <a:pt x="1079" y="380"/>
                    <a:pt x="1084" y="375"/>
                  </a:cubicBezTo>
                  <a:moveTo>
                    <a:pt x="632" y="386"/>
                  </a:moveTo>
                  <a:cubicBezTo>
                    <a:pt x="629" y="386"/>
                    <a:pt x="626" y="387"/>
                    <a:pt x="622" y="387"/>
                  </a:cubicBezTo>
                  <a:cubicBezTo>
                    <a:pt x="596" y="393"/>
                    <a:pt x="563" y="401"/>
                    <a:pt x="530" y="410"/>
                  </a:cubicBezTo>
                  <a:cubicBezTo>
                    <a:pt x="530" y="410"/>
                    <a:pt x="531" y="410"/>
                    <a:pt x="531" y="410"/>
                  </a:cubicBezTo>
                  <a:cubicBezTo>
                    <a:pt x="565" y="401"/>
                    <a:pt x="596" y="394"/>
                    <a:pt x="623" y="388"/>
                  </a:cubicBezTo>
                  <a:cubicBezTo>
                    <a:pt x="626" y="387"/>
                    <a:pt x="629" y="386"/>
                    <a:pt x="632" y="386"/>
                  </a:cubicBezTo>
                  <a:moveTo>
                    <a:pt x="241" y="387"/>
                  </a:moveTo>
                  <a:cubicBezTo>
                    <a:pt x="240" y="387"/>
                    <a:pt x="240" y="387"/>
                    <a:pt x="240" y="388"/>
                  </a:cubicBezTo>
                  <a:cubicBezTo>
                    <a:pt x="242" y="388"/>
                    <a:pt x="243" y="389"/>
                    <a:pt x="245" y="390"/>
                  </a:cubicBezTo>
                  <a:cubicBezTo>
                    <a:pt x="245" y="390"/>
                    <a:pt x="246" y="389"/>
                    <a:pt x="246" y="389"/>
                  </a:cubicBezTo>
                  <a:cubicBezTo>
                    <a:pt x="244" y="388"/>
                    <a:pt x="242" y="388"/>
                    <a:pt x="241" y="387"/>
                  </a:cubicBezTo>
                  <a:moveTo>
                    <a:pt x="247" y="389"/>
                  </a:moveTo>
                  <a:cubicBezTo>
                    <a:pt x="246" y="390"/>
                    <a:pt x="246" y="390"/>
                    <a:pt x="246" y="390"/>
                  </a:cubicBezTo>
                  <a:cubicBezTo>
                    <a:pt x="249" y="391"/>
                    <a:pt x="252" y="392"/>
                    <a:pt x="254" y="393"/>
                  </a:cubicBezTo>
                  <a:cubicBezTo>
                    <a:pt x="254" y="393"/>
                    <a:pt x="254" y="393"/>
                    <a:pt x="254" y="392"/>
                  </a:cubicBezTo>
                  <a:cubicBezTo>
                    <a:pt x="252" y="391"/>
                    <a:pt x="249" y="390"/>
                    <a:pt x="247" y="389"/>
                  </a:cubicBezTo>
                  <a:moveTo>
                    <a:pt x="255" y="393"/>
                  </a:moveTo>
                  <a:cubicBezTo>
                    <a:pt x="255" y="393"/>
                    <a:pt x="255" y="394"/>
                    <a:pt x="255" y="394"/>
                  </a:cubicBezTo>
                  <a:cubicBezTo>
                    <a:pt x="257" y="395"/>
                    <a:pt x="260" y="396"/>
                    <a:pt x="262" y="397"/>
                  </a:cubicBezTo>
                  <a:cubicBezTo>
                    <a:pt x="263" y="397"/>
                    <a:pt x="265" y="398"/>
                    <a:pt x="266" y="398"/>
                  </a:cubicBezTo>
                  <a:cubicBezTo>
                    <a:pt x="266" y="398"/>
                    <a:pt x="266" y="398"/>
                    <a:pt x="266" y="397"/>
                  </a:cubicBezTo>
                  <a:cubicBezTo>
                    <a:pt x="265" y="397"/>
                    <a:pt x="263" y="396"/>
                    <a:pt x="262" y="396"/>
                  </a:cubicBezTo>
                  <a:cubicBezTo>
                    <a:pt x="260" y="395"/>
                    <a:pt x="258" y="394"/>
                    <a:pt x="255" y="393"/>
                  </a:cubicBezTo>
                  <a:moveTo>
                    <a:pt x="1064" y="396"/>
                  </a:moveTo>
                  <a:cubicBezTo>
                    <a:pt x="1064" y="396"/>
                    <a:pt x="1063" y="396"/>
                    <a:pt x="1062" y="397"/>
                  </a:cubicBezTo>
                  <a:cubicBezTo>
                    <a:pt x="1050" y="409"/>
                    <a:pt x="1039" y="419"/>
                    <a:pt x="1028" y="428"/>
                  </a:cubicBezTo>
                  <a:cubicBezTo>
                    <a:pt x="1028" y="428"/>
                    <a:pt x="1028" y="428"/>
                    <a:pt x="1028" y="429"/>
                  </a:cubicBezTo>
                  <a:cubicBezTo>
                    <a:pt x="1018" y="436"/>
                    <a:pt x="1009" y="443"/>
                    <a:pt x="1000" y="448"/>
                  </a:cubicBezTo>
                  <a:cubicBezTo>
                    <a:pt x="999" y="449"/>
                    <a:pt x="999" y="449"/>
                    <a:pt x="999" y="449"/>
                  </a:cubicBezTo>
                  <a:cubicBezTo>
                    <a:pt x="992" y="453"/>
                    <a:pt x="985" y="457"/>
                    <a:pt x="978" y="460"/>
                  </a:cubicBezTo>
                  <a:cubicBezTo>
                    <a:pt x="977" y="460"/>
                    <a:pt x="977" y="460"/>
                    <a:pt x="977" y="461"/>
                  </a:cubicBezTo>
                  <a:cubicBezTo>
                    <a:pt x="968" y="465"/>
                    <a:pt x="958" y="469"/>
                    <a:pt x="948" y="473"/>
                  </a:cubicBezTo>
                  <a:cubicBezTo>
                    <a:pt x="947" y="473"/>
                    <a:pt x="947" y="473"/>
                    <a:pt x="947" y="473"/>
                  </a:cubicBezTo>
                  <a:cubicBezTo>
                    <a:pt x="938" y="476"/>
                    <a:pt x="928" y="479"/>
                    <a:pt x="918" y="482"/>
                  </a:cubicBezTo>
                  <a:cubicBezTo>
                    <a:pt x="918" y="482"/>
                    <a:pt x="917" y="483"/>
                    <a:pt x="917" y="483"/>
                  </a:cubicBezTo>
                  <a:cubicBezTo>
                    <a:pt x="910" y="485"/>
                    <a:pt x="903" y="487"/>
                    <a:pt x="896" y="489"/>
                  </a:cubicBezTo>
                  <a:cubicBezTo>
                    <a:pt x="895" y="488"/>
                    <a:pt x="895" y="488"/>
                    <a:pt x="895" y="488"/>
                  </a:cubicBezTo>
                  <a:cubicBezTo>
                    <a:pt x="894" y="488"/>
                    <a:pt x="892" y="489"/>
                    <a:pt x="888" y="490"/>
                  </a:cubicBezTo>
                  <a:cubicBezTo>
                    <a:pt x="888" y="490"/>
                    <a:pt x="887" y="490"/>
                    <a:pt x="887" y="490"/>
                  </a:cubicBezTo>
                  <a:cubicBezTo>
                    <a:pt x="883" y="491"/>
                    <a:pt x="878" y="492"/>
                    <a:pt x="872" y="494"/>
                  </a:cubicBezTo>
                  <a:cubicBezTo>
                    <a:pt x="873" y="494"/>
                    <a:pt x="873" y="494"/>
                    <a:pt x="873" y="495"/>
                  </a:cubicBezTo>
                  <a:cubicBezTo>
                    <a:pt x="879" y="493"/>
                    <a:pt x="884" y="492"/>
                    <a:pt x="887" y="491"/>
                  </a:cubicBezTo>
                  <a:cubicBezTo>
                    <a:pt x="888" y="491"/>
                    <a:pt x="888" y="491"/>
                    <a:pt x="888" y="491"/>
                  </a:cubicBezTo>
                  <a:cubicBezTo>
                    <a:pt x="892" y="490"/>
                    <a:pt x="894" y="489"/>
                    <a:pt x="895" y="489"/>
                  </a:cubicBezTo>
                  <a:cubicBezTo>
                    <a:pt x="896" y="490"/>
                    <a:pt x="896" y="490"/>
                    <a:pt x="896" y="490"/>
                  </a:cubicBezTo>
                  <a:cubicBezTo>
                    <a:pt x="903" y="488"/>
                    <a:pt x="911" y="486"/>
                    <a:pt x="917" y="484"/>
                  </a:cubicBezTo>
                  <a:cubicBezTo>
                    <a:pt x="918" y="483"/>
                    <a:pt x="918" y="483"/>
                    <a:pt x="918" y="483"/>
                  </a:cubicBezTo>
                  <a:cubicBezTo>
                    <a:pt x="929" y="480"/>
                    <a:pt x="938" y="477"/>
                    <a:pt x="947" y="474"/>
                  </a:cubicBezTo>
                  <a:cubicBezTo>
                    <a:pt x="948" y="474"/>
                    <a:pt x="948" y="473"/>
                    <a:pt x="948" y="473"/>
                  </a:cubicBezTo>
                  <a:cubicBezTo>
                    <a:pt x="959" y="470"/>
                    <a:pt x="968" y="466"/>
                    <a:pt x="977" y="461"/>
                  </a:cubicBezTo>
                  <a:cubicBezTo>
                    <a:pt x="978" y="461"/>
                    <a:pt x="978" y="461"/>
                    <a:pt x="978" y="461"/>
                  </a:cubicBezTo>
                  <a:cubicBezTo>
                    <a:pt x="986" y="457"/>
                    <a:pt x="993" y="454"/>
                    <a:pt x="999" y="450"/>
                  </a:cubicBezTo>
                  <a:cubicBezTo>
                    <a:pt x="1000" y="449"/>
                    <a:pt x="1000" y="449"/>
                    <a:pt x="1000" y="449"/>
                  </a:cubicBezTo>
                  <a:cubicBezTo>
                    <a:pt x="1010" y="443"/>
                    <a:pt x="1019" y="437"/>
                    <a:pt x="1029" y="429"/>
                  </a:cubicBezTo>
                  <a:cubicBezTo>
                    <a:pt x="1029" y="429"/>
                    <a:pt x="1029" y="429"/>
                    <a:pt x="1029" y="428"/>
                  </a:cubicBezTo>
                  <a:cubicBezTo>
                    <a:pt x="1041" y="419"/>
                    <a:pt x="1052" y="409"/>
                    <a:pt x="1064" y="396"/>
                  </a:cubicBezTo>
                  <a:moveTo>
                    <a:pt x="267" y="398"/>
                  </a:moveTo>
                  <a:cubicBezTo>
                    <a:pt x="267" y="398"/>
                    <a:pt x="267" y="399"/>
                    <a:pt x="268" y="399"/>
                  </a:cubicBezTo>
                  <a:cubicBezTo>
                    <a:pt x="269" y="400"/>
                    <a:pt x="270" y="400"/>
                    <a:pt x="271" y="401"/>
                  </a:cubicBezTo>
                  <a:cubicBezTo>
                    <a:pt x="272" y="400"/>
                    <a:pt x="272" y="400"/>
                    <a:pt x="273" y="400"/>
                  </a:cubicBezTo>
                  <a:cubicBezTo>
                    <a:pt x="271" y="399"/>
                    <a:pt x="269" y="398"/>
                    <a:pt x="267" y="398"/>
                  </a:cubicBezTo>
                  <a:moveTo>
                    <a:pt x="274" y="401"/>
                  </a:moveTo>
                  <a:cubicBezTo>
                    <a:pt x="274" y="401"/>
                    <a:pt x="273" y="401"/>
                    <a:pt x="273" y="401"/>
                  </a:cubicBezTo>
                  <a:cubicBezTo>
                    <a:pt x="277" y="403"/>
                    <a:pt x="281" y="405"/>
                    <a:pt x="285" y="406"/>
                  </a:cubicBezTo>
                  <a:cubicBezTo>
                    <a:pt x="285" y="406"/>
                    <a:pt x="284" y="405"/>
                    <a:pt x="284" y="405"/>
                  </a:cubicBezTo>
                  <a:cubicBezTo>
                    <a:pt x="280" y="403"/>
                    <a:pt x="277" y="402"/>
                    <a:pt x="274" y="401"/>
                  </a:cubicBezTo>
                  <a:moveTo>
                    <a:pt x="286" y="406"/>
                  </a:moveTo>
                  <a:cubicBezTo>
                    <a:pt x="286" y="406"/>
                    <a:pt x="287" y="407"/>
                    <a:pt x="288" y="407"/>
                  </a:cubicBezTo>
                  <a:cubicBezTo>
                    <a:pt x="294" y="410"/>
                    <a:pt x="301" y="413"/>
                    <a:pt x="308" y="416"/>
                  </a:cubicBezTo>
                  <a:cubicBezTo>
                    <a:pt x="308" y="416"/>
                    <a:pt x="308" y="416"/>
                    <a:pt x="308" y="416"/>
                  </a:cubicBezTo>
                  <a:cubicBezTo>
                    <a:pt x="308" y="416"/>
                    <a:pt x="308" y="416"/>
                    <a:pt x="308" y="415"/>
                  </a:cubicBezTo>
                  <a:cubicBezTo>
                    <a:pt x="301" y="412"/>
                    <a:pt x="293" y="409"/>
                    <a:pt x="286" y="406"/>
                  </a:cubicBezTo>
                  <a:moveTo>
                    <a:pt x="528" y="410"/>
                  </a:moveTo>
                  <a:cubicBezTo>
                    <a:pt x="521" y="412"/>
                    <a:pt x="515" y="414"/>
                    <a:pt x="508" y="416"/>
                  </a:cubicBezTo>
                  <a:cubicBezTo>
                    <a:pt x="509" y="416"/>
                    <a:pt x="509" y="416"/>
                    <a:pt x="509" y="416"/>
                  </a:cubicBezTo>
                  <a:cubicBezTo>
                    <a:pt x="516" y="414"/>
                    <a:pt x="523" y="412"/>
                    <a:pt x="530" y="411"/>
                  </a:cubicBezTo>
                  <a:cubicBezTo>
                    <a:pt x="529" y="411"/>
                    <a:pt x="529" y="410"/>
                    <a:pt x="528" y="410"/>
                  </a:cubicBezTo>
                  <a:moveTo>
                    <a:pt x="309" y="416"/>
                  </a:moveTo>
                  <a:cubicBezTo>
                    <a:pt x="309" y="416"/>
                    <a:pt x="309" y="416"/>
                    <a:pt x="309" y="416"/>
                  </a:cubicBezTo>
                  <a:cubicBezTo>
                    <a:pt x="309" y="416"/>
                    <a:pt x="309" y="417"/>
                    <a:pt x="309" y="417"/>
                  </a:cubicBezTo>
                  <a:cubicBezTo>
                    <a:pt x="311" y="418"/>
                    <a:pt x="314" y="419"/>
                    <a:pt x="316" y="420"/>
                  </a:cubicBezTo>
                  <a:cubicBezTo>
                    <a:pt x="315" y="419"/>
                    <a:pt x="314" y="418"/>
                    <a:pt x="313" y="417"/>
                  </a:cubicBezTo>
                  <a:cubicBezTo>
                    <a:pt x="311" y="417"/>
                    <a:pt x="310" y="416"/>
                    <a:pt x="309" y="416"/>
                  </a:cubicBezTo>
                  <a:moveTo>
                    <a:pt x="507" y="416"/>
                  </a:moveTo>
                  <a:cubicBezTo>
                    <a:pt x="503" y="417"/>
                    <a:pt x="498" y="418"/>
                    <a:pt x="494" y="420"/>
                  </a:cubicBezTo>
                  <a:cubicBezTo>
                    <a:pt x="494" y="420"/>
                    <a:pt x="495" y="420"/>
                    <a:pt x="496" y="420"/>
                  </a:cubicBezTo>
                  <a:cubicBezTo>
                    <a:pt x="500" y="419"/>
                    <a:pt x="504" y="418"/>
                    <a:pt x="508" y="417"/>
                  </a:cubicBezTo>
                  <a:cubicBezTo>
                    <a:pt x="508" y="416"/>
                    <a:pt x="507" y="416"/>
                    <a:pt x="507" y="416"/>
                  </a:cubicBezTo>
                  <a:moveTo>
                    <a:pt x="317" y="419"/>
                  </a:moveTo>
                  <a:cubicBezTo>
                    <a:pt x="317" y="420"/>
                    <a:pt x="318" y="420"/>
                    <a:pt x="319" y="421"/>
                  </a:cubicBezTo>
                  <a:cubicBezTo>
                    <a:pt x="318" y="420"/>
                    <a:pt x="318" y="420"/>
                    <a:pt x="318" y="420"/>
                  </a:cubicBezTo>
                  <a:cubicBezTo>
                    <a:pt x="317" y="419"/>
                    <a:pt x="317" y="419"/>
                    <a:pt x="317" y="419"/>
                  </a:cubicBezTo>
                  <a:moveTo>
                    <a:pt x="492" y="420"/>
                  </a:moveTo>
                  <a:cubicBezTo>
                    <a:pt x="483" y="423"/>
                    <a:pt x="474" y="425"/>
                    <a:pt x="465" y="428"/>
                  </a:cubicBezTo>
                  <a:cubicBezTo>
                    <a:pt x="466" y="428"/>
                    <a:pt x="466" y="428"/>
                    <a:pt x="466" y="429"/>
                  </a:cubicBezTo>
                  <a:cubicBezTo>
                    <a:pt x="475" y="426"/>
                    <a:pt x="485" y="423"/>
                    <a:pt x="494" y="421"/>
                  </a:cubicBezTo>
                  <a:cubicBezTo>
                    <a:pt x="493" y="421"/>
                    <a:pt x="492" y="420"/>
                    <a:pt x="492" y="420"/>
                  </a:cubicBezTo>
                  <a:moveTo>
                    <a:pt x="320" y="421"/>
                  </a:moveTo>
                  <a:cubicBezTo>
                    <a:pt x="321" y="421"/>
                    <a:pt x="321" y="422"/>
                    <a:pt x="322" y="422"/>
                  </a:cubicBezTo>
                  <a:cubicBezTo>
                    <a:pt x="325" y="424"/>
                    <a:pt x="329" y="426"/>
                    <a:pt x="333" y="427"/>
                  </a:cubicBezTo>
                  <a:cubicBezTo>
                    <a:pt x="333" y="427"/>
                    <a:pt x="333" y="427"/>
                    <a:pt x="334" y="427"/>
                  </a:cubicBezTo>
                  <a:cubicBezTo>
                    <a:pt x="329" y="425"/>
                    <a:pt x="325" y="423"/>
                    <a:pt x="320" y="421"/>
                  </a:cubicBezTo>
                  <a:moveTo>
                    <a:pt x="335" y="427"/>
                  </a:moveTo>
                  <a:cubicBezTo>
                    <a:pt x="335" y="428"/>
                    <a:pt x="334" y="428"/>
                    <a:pt x="334" y="428"/>
                  </a:cubicBezTo>
                  <a:cubicBezTo>
                    <a:pt x="335" y="428"/>
                    <a:pt x="336" y="429"/>
                    <a:pt x="338" y="430"/>
                  </a:cubicBezTo>
                  <a:cubicBezTo>
                    <a:pt x="338" y="429"/>
                    <a:pt x="338" y="429"/>
                    <a:pt x="339" y="429"/>
                  </a:cubicBezTo>
                  <a:cubicBezTo>
                    <a:pt x="337" y="429"/>
                    <a:pt x="336" y="428"/>
                    <a:pt x="335" y="427"/>
                  </a:cubicBezTo>
                  <a:moveTo>
                    <a:pt x="464" y="428"/>
                  </a:moveTo>
                  <a:cubicBezTo>
                    <a:pt x="454" y="431"/>
                    <a:pt x="445" y="434"/>
                    <a:pt x="435" y="437"/>
                  </a:cubicBezTo>
                  <a:cubicBezTo>
                    <a:pt x="436" y="437"/>
                    <a:pt x="436" y="438"/>
                    <a:pt x="437" y="438"/>
                  </a:cubicBezTo>
                  <a:cubicBezTo>
                    <a:pt x="446" y="435"/>
                    <a:pt x="456" y="432"/>
                    <a:pt x="465" y="429"/>
                  </a:cubicBezTo>
                  <a:cubicBezTo>
                    <a:pt x="465" y="429"/>
                    <a:pt x="464" y="429"/>
                    <a:pt x="464" y="428"/>
                  </a:cubicBezTo>
                  <a:moveTo>
                    <a:pt x="339" y="429"/>
                  </a:moveTo>
                  <a:cubicBezTo>
                    <a:pt x="339" y="430"/>
                    <a:pt x="339" y="430"/>
                    <a:pt x="339" y="430"/>
                  </a:cubicBezTo>
                  <a:cubicBezTo>
                    <a:pt x="349" y="435"/>
                    <a:pt x="359" y="439"/>
                    <a:pt x="368" y="444"/>
                  </a:cubicBezTo>
                  <a:cubicBezTo>
                    <a:pt x="368" y="444"/>
                    <a:pt x="369" y="444"/>
                    <a:pt x="369" y="444"/>
                  </a:cubicBezTo>
                  <a:cubicBezTo>
                    <a:pt x="368" y="443"/>
                    <a:pt x="366" y="442"/>
                    <a:pt x="364" y="441"/>
                  </a:cubicBezTo>
                  <a:cubicBezTo>
                    <a:pt x="356" y="437"/>
                    <a:pt x="348" y="433"/>
                    <a:pt x="339" y="429"/>
                  </a:cubicBezTo>
                  <a:moveTo>
                    <a:pt x="433" y="438"/>
                  </a:moveTo>
                  <a:cubicBezTo>
                    <a:pt x="431" y="439"/>
                    <a:pt x="429" y="439"/>
                    <a:pt x="427" y="440"/>
                  </a:cubicBezTo>
                  <a:cubicBezTo>
                    <a:pt x="427" y="440"/>
                    <a:pt x="428" y="440"/>
                    <a:pt x="428" y="441"/>
                  </a:cubicBezTo>
                  <a:cubicBezTo>
                    <a:pt x="430" y="440"/>
                    <a:pt x="433" y="439"/>
                    <a:pt x="435" y="438"/>
                  </a:cubicBezTo>
                  <a:cubicBezTo>
                    <a:pt x="435" y="438"/>
                    <a:pt x="434" y="438"/>
                    <a:pt x="433" y="438"/>
                  </a:cubicBezTo>
                  <a:moveTo>
                    <a:pt x="426" y="440"/>
                  </a:moveTo>
                  <a:cubicBezTo>
                    <a:pt x="425" y="441"/>
                    <a:pt x="424" y="441"/>
                    <a:pt x="424" y="441"/>
                  </a:cubicBezTo>
                  <a:cubicBezTo>
                    <a:pt x="423" y="441"/>
                    <a:pt x="422" y="442"/>
                    <a:pt x="422" y="442"/>
                  </a:cubicBezTo>
                  <a:cubicBezTo>
                    <a:pt x="421" y="442"/>
                    <a:pt x="421" y="442"/>
                    <a:pt x="421" y="442"/>
                  </a:cubicBezTo>
                  <a:cubicBezTo>
                    <a:pt x="421" y="442"/>
                    <a:pt x="421" y="442"/>
                    <a:pt x="421" y="442"/>
                  </a:cubicBezTo>
                  <a:cubicBezTo>
                    <a:pt x="420" y="442"/>
                    <a:pt x="420" y="442"/>
                    <a:pt x="420" y="442"/>
                  </a:cubicBezTo>
                  <a:cubicBezTo>
                    <a:pt x="419" y="443"/>
                    <a:pt x="419" y="443"/>
                    <a:pt x="419" y="443"/>
                  </a:cubicBezTo>
                  <a:cubicBezTo>
                    <a:pt x="419" y="443"/>
                    <a:pt x="419" y="443"/>
                    <a:pt x="419" y="443"/>
                  </a:cubicBezTo>
                  <a:cubicBezTo>
                    <a:pt x="418" y="443"/>
                    <a:pt x="418" y="443"/>
                    <a:pt x="417" y="443"/>
                  </a:cubicBezTo>
                  <a:cubicBezTo>
                    <a:pt x="417" y="443"/>
                    <a:pt x="416" y="444"/>
                    <a:pt x="416" y="444"/>
                  </a:cubicBezTo>
                  <a:cubicBezTo>
                    <a:pt x="415" y="444"/>
                    <a:pt x="415" y="444"/>
                    <a:pt x="414" y="444"/>
                  </a:cubicBezTo>
                  <a:cubicBezTo>
                    <a:pt x="414" y="444"/>
                    <a:pt x="414" y="444"/>
                    <a:pt x="413" y="445"/>
                  </a:cubicBezTo>
                  <a:cubicBezTo>
                    <a:pt x="413" y="445"/>
                    <a:pt x="412" y="445"/>
                    <a:pt x="411" y="445"/>
                  </a:cubicBezTo>
                  <a:cubicBezTo>
                    <a:pt x="410" y="446"/>
                    <a:pt x="410" y="446"/>
                    <a:pt x="410" y="446"/>
                  </a:cubicBezTo>
                  <a:cubicBezTo>
                    <a:pt x="409" y="446"/>
                    <a:pt x="407" y="447"/>
                    <a:pt x="406" y="447"/>
                  </a:cubicBezTo>
                  <a:cubicBezTo>
                    <a:pt x="406" y="447"/>
                    <a:pt x="406" y="448"/>
                    <a:pt x="407" y="448"/>
                  </a:cubicBezTo>
                  <a:cubicBezTo>
                    <a:pt x="408" y="447"/>
                    <a:pt x="409" y="447"/>
                    <a:pt x="411" y="447"/>
                  </a:cubicBezTo>
                  <a:cubicBezTo>
                    <a:pt x="411" y="446"/>
                    <a:pt x="411" y="446"/>
                    <a:pt x="412" y="446"/>
                  </a:cubicBezTo>
                  <a:cubicBezTo>
                    <a:pt x="412" y="446"/>
                    <a:pt x="413" y="446"/>
                    <a:pt x="414" y="445"/>
                  </a:cubicBezTo>
                  <a:cubicBezTo>
                    <a:pt x="414" y="445"/>
                    <a:pt x="414" y="445"/>
                    <a:pt x="415" y="445"/>
                  </a:cubicBezTo>
                  <a:cubicBezTo>
                    <a:pt x="415" y="445"/>
                    <a:pt x="416" y="445"/>
                    <a:pt x="416" y="445"/>
                  </a:cubicBezTo>
                  <a:cubicBezTo>
                    <a:pt x="417" y="444"/>
                    <a:pt x="417" y="444"/>
                    <a:pt x="417" y="444"/>
                  </a:cubicBezTo>
                  <a:cubicBezTo>
                    <a:pt x="418" y="444"/>
                    <a:pt x="419" y="444"/>
                    <a:pt x="420" y="443"/>
                  </a:cubicBezTo>
                  <a:cubicBezTo>
                    <a:pt x="420" y="443"/>
                    <a:pt x="420" y="443"/>
                    <a:pt x="420" y="443"/>
                  </a:cubicBezTo>
                  <a:cubicBezTo>
                    <a:pt x="420" y="443"/>
                    <a:pt x="420" y="443"/>
                    <a:pt x="420" y="443"/>
                  </a:cubicBezTo>
                  <a:cubicBezTo>
                    <a:pt x="421" y="443"/>
                    <a:pt x="421" y="443"/>
                    <a:pt x="421" y="443"/>
                  </a:cubicBezTo>
                  <a:cubicBezTo>
                    <a:pt x="421" y="443"/>
                    <a:pt x="421" y="443"/>
                    <a:pt x="421" y="443"/>
                  </a:cubicBezTo>
                  <a:cubicBezTo>
                    <a:pt x="422" y="443"/>
                    <a:pt x="422" y="443"/>
                    <a:pt x="422" y="443"/>
                  </a:cubicBezTo>
                  <a:cubicBezTo>
                    <a:pt x="423" y="442"/>
                    <a:pt x="423" y="442"/>
                    <a:pt x="424" y="442"/>
                  </a:cubicBezTo>
                  <a:cubicBezTo>
                    <a:pt x="425" y="442"/>
                    <a:pt x="426" y="441"/>
                    <a:pt x="427" y="441"/>
                  </a:cubicBezTo>
                  <a:cubicBezTo>
                    <a:pt x="426" y="441"/>
                    <a:pt x="426" y="441"/>
                    <a:pt x="426" y="440"/>
                  </a:cubicBezTo>
                  <a:moveTo>
                    <a:pt x="370" y="444"/>
                  </a:moveTo>
                  <a:cubicBezTo>
                    <a:pt x="370" y="444"/>
                    <a:pt x="369" y="444"/>
                    <a:pt x="369" y="445"/>
                  </a:cubicBezTo>
                  <a:cubicBezTo>
                    <a:pt x="373" y="447"/>
                    <a:pt x="377" y="448"/>
                    <a:pt x="380" y="450"/>
                  </a:cubicBezTo>
                  <a:cubicBezTo>
                    <a:pt x="383" y="451"/>
                    <a:pt x="385" y="453"/>
                    <a:pt x="387" y="454"/>
                  </a:cubicBezTo>
                  <a:cubicBezTo>
                    <a:pt x="387" y="454"/>
                    <a:pt x="387" y="454"/>
                    <a:pt x="387" y="454"/>
                  </a:cubicBezTo>
                  <a:cubicBezTo>
                    <a:pt x="385" y="455"/>
                    <a:pt x="384" y="455"/>
                    <a:pt x="382" y="456"/>
                  </a:cubicBezTo>
                  <a:cubicBezTo>
                    <a:pt x="382" y="456"/>
                    <a:pt x="381" y="456"/>
                    <a:pt x="381" y="456"/>
                  </a:cubicBezTo>
                  <a:cubicBezTo>
                    <a:pt x="381" y="456"/>
                    <a:pt x="380" y="457"/>
                    <a:pt x="380" y="457"/>
                  </a:cubicBezTo>
                  <a:cubicBezTo>
                    <a:pt x="380" y="457"/>
                    <a:pt x="380" y="457"/>
                    <a:pt x="380" y="457"/>
                  </a:cubicBezTo>
                  <a:cubicBezTo>
                    <a:pt x="380" y="457"/>
                    <a:pt x="381" y="457"/>
                    <a:pt x="381" y="457"/>
                  </a:cubicBezTo>
                  <a:cubicBezTo>
                    <a:pt x="382" y="457"/>
                    <a:pt x="382" y="457"/>
                    <a:pt x="382" y="457"/>
                  </a:cubicBezTo>
                  <a:cubicBezTo>
                    <a:pt x="383" y="457"/>
                    <a:pt x="383" y="457"/>
                    <a:pt x="383" y="456"/>
                  </a:cubicBezTo>
                  <a:cubicBezTo>
                    <a:pt x="385" y="456"/>
                    <a:pt x="386" y="455"/>
                    <a:pt x="388" y="455"/>
                  </a:cubicBezTo>
                  <a:cubicBezTo>
                    <a:pt x="388" y="455"/>
                    <a:pt x="388" y="455"/>
                    <a:pt x="388" y="454"/>
                  </a:cubicBezTo>
                  <a:cubicBezTo>
                    <a:pt x="388" y="454"/>
                    <a:pt x="389" y="454"/>
                    <a:pt x="389" y="455"/>
                  </a:cubicBezTo>
                  <a:cubicBezTo>
                    <a:pt x="382" y="451"/>
                    <a:pt x="376" y="448"/>
                    <a:pt x="370" y="444"/>
                  </a:cubicBezTo>
                  <a:moveTo>
                    <a:pt x="236" y="445"/>
                  </a:moveTo>
                  <a:cubicBezTo>
                    <a:pt x="237" y="445"/>
                    <a:pt x="237" y="446"/>
                    <a:pt x="238" y="446"/>
                  </a:cubicBezTo>
                  <a:cubicBezTo>
                    <a:pt x="250" y="451"/>
                    <a:pt x="262" y="456"/>
                    <a:pt x="275" y="460"/>
                  </a:cubicBezTo>
                  <a:cubicBezTo>
                    <a:pt x="275" y="460"/>
                    <a:pt x="275" y="459"/>
                    <a:pt x="275" y="459"/>
                  </a:cubicBezTo>
                  <a:cubicBezTo>
                    <a:pt x="262" y="455"/>
                    <a:pt x="249" y="450"/>
                    <a:pt x="236" y="445"/>
                  </a:cubicBezTo>
                  <a:moveTo>
                    <a:pt x="404" y="448"/>
                  </a:moveTo>
                  <a:cubicBezTo>
                    <a:pt x="404" y="448"/>
                    <a:pt x="404" y="448"/>
                    <a:pt x="404" y="448"/>
                  </a:cubicBezTo>
                  <a:cubicBezTo>
                    <a:pt x="404" y="448"/>
                    <a:pt x="404" y="448"/>
                    <a:pt x="403" y="448"/>
                  </a:cubicBezTo>
                  <a:cubicBezTo>
                    <a:pt x="402" y="449"/>
                    <a:pt x="400" y="449"/>
                    <a:pt x="399" y="450"/>
                  </a:cubicBezTo>
                  <a:cubicBezTo>
                    <a:pt x="400" y="450"/>
                    <a:pt x="400" y="450"/>
                    <a:pt x="400" y="450"/>
                  </a:cubicBezTo>
                  <a:cubicBezTo>
                    <a:pt x="402" y="450"/>
                    <a:pt x="403" y="449"/>
                    <a:pt x="404" y="449"/>
                  </a:cubicBezTo>
                  <a:cubicBezTo>
                    <a:pt x="404" y="449"/>
                    <a:pt x="405" y="449"/>
                    <a:pt x="405" y="448"/>
                  </a:cubicBezTo>
                  <a:cubicBezTo>
                    <a:pt x="405" y="448"/>
                    <a:pt x="405" y="448"/>
                    <a:pt x="406" y="448"/>
                  </a:cubicBezTo>
                  <a:cubicBezTo>
                    <a:pt x="405" y="448"/>
                    <a:pt x="405" y="448"/>
                    <a:pt x="404" y="448"/>
                  </a:cubicBezTo>
                  <a:moveTo>
                    <a:pt x="398" y="450"/>
                  </a:moveTo>
                  <a:cubicBezTo>
                    <a:pt x="395" y="451"/>
                    <a:pt x="392" y="452"/>
                    <a:pt x="389" y="453"/>
                  </a:cubicBezTo>
                  <a:cubicBezTo>
                    <a:pt x="388" y="453"/>
                    <a:pt x="388" y="453"/>
                    <a:pt x="388" y="453"/>
                  </a:cubicBezTo>
                  <a:cubicBezTo>
                    <a:pt x="391" y="455"/>
                    <a:pt x="394" y="456"/>
                    <a:pt x="397" y="458"/>
                  </a:cubicBezTo>
                  <a:cubicBezTo>
                    <a:pt x="397" y="458"/>
                    <a:pt x="397" y="458"/>
                    <a:pt x="397" y="458"/>
                  </a:cubicBezTo>
                  <a:cubicBezTo>
                    <a:pt x="395" y="457"/>
                    <a:pt x="392" y="455"/>
                    <a:pt x="390" y="454"/>
                  </a:cubicBezTo>
                  <a:cubicBezTo>
                    <a:pt x="393" y="453"/>
                    <a:pt x="396" y="452"/>
                    <a:pt x="399" y="451"/>
                  </a:cubicBezTo>
                  <a:cubicBezTo>
                    <a:pt x="399" y="450"/>
                    <a:pt x="398" y="450"/>
                    <a:pt x="398" y="450"/>
                  </a:cubicBezTo>
                  <a:moveTo>
                    <a:pt x="377" y="458"/>
                  </a:moveTo>
                  <a:cubicBezTo>
                    <a:pt x="376" y="458"/>
                    <a:pt x="374" y="459"/>
                    <a:pt x="372" y="460"/>
                  </a:cubicBezTo>
                  <a:cubicBezTo>
                    <a:pt x="373" y="460"/>
                    <a:pt x="373" y="460"/>
                    <a:pt x="373" y="460"/>
                  </a:cubicBezTo>
                  <a:cubicBezTo>
                    <a:pt x="375" y="460"/>
                    <a:pt x="377" y="459"/>
                    <a:pt x="379" y="458"/>
                  </a:cubicBezTo>
                  <a:cubicBezTo>
                    <a:pt x="378" y="458"/>
                    <a:pt x="378" y="458"/>
                    <a:pt x="377" y="458"/>
                  </a:cubicBezTo>
                  <a:moveTo>
                    <a:pt x="398" y="458"/>
                  </a:moveTo>
                  <a:cubicBezTo>
                    <a:pt x="398" y="458"/>
                    <a:pt x="398" y="458"/>
                    <a:pt x="398" y="458"/>
                  </a:cubicBezTo>
                  <a:cubicBezTo>
                    <a:pt x="401" y="460"/>
                    <a:pt x="405" y="462"/>
                    <a:pt x="408" y="464"/>
                  </a:cubicBezTo>
                  <a:cubicBezTo>
                    <a:pt x="405" y="462"/>
                    <a:pt x="402" y="460"/>
                    <a:pt x="398" y="458"/>
                  </a:cubicBezTo>
                  <a:moveTo>
                    <a:pt x="276" y="459"/>
                  </a:moveTo>
                  <a:cubicBezTo>
                    <a:pt x="276" y="460"/>
                    <a:pt x="276" y="460"/>
                    <a:pt x="275" y="460"/>
                  </a:cubicBezTo>
                  <a:cubicBezTo>
                    <a:pt x="290" y="465"/>
                    <a:pt x="305" y="470"/>
                    <a:pt x="319" y="474"/>
                  </a:cubicBezTo>
                  <a:cubicBezTo>
                    <a:pt x="319" y="474"/>
                    <a:pt x="319" y="474"/>
                    <a:pt x="318" y="473"/>
                  </a:cubicBezTo>
                  <a:cubicBezTo>
                    <a:pt x="305" y="469"/>
                    <a:pt x="290" y="464"/>
                    <a:pt x="276" y="459"/>
                  </a:cubicBezTo>
                  <a:moveTo>
                    <a:pt x="371" y="460"/>
                  </a:moveTo>
                  <a:cubicBezTo>
                    <a:pt x="371" y="460"/>
                    <a:pt x="370" y="461"/>
                    <a:pt x="370" y="461"/>
                  </a:cubicBezTo>
                  <a:cubicBezTo>
                    <a:pt x="370" y="461"/>
                    <a:pt x="370" y="461"/>
                    <a:pt x="371" y="461"/>
                  </a:cubicBezTo>
                  <a:cubicBezTo>
                    <a:pt x="371" y="461"/>
                    <a:pt x="372" y="461"/>
                    <a:pt x="372" y="461"/>
                  </a:cubicBezTo>
                  <a:cubicBezTo>
                    <a:pt x="372" y="461"/>
                    <a:pt x="371" y="460"/>
                    <a:pt x="371" y="460"/>
                  </a:cubicBezTo>
                  <a:moveTo>
                    <a:pt x="368" y="461"/>
                  </a:moveTo>
                  <a:cubicBezTo>
                    <a:pt x="366" y="462"/>
                    <a:pt x="364" y="463"/>
                    <a:pt x="361" y="464"/>
                  </a:cubicBezTo>
                  <a:cubicBezTo>
                    <a:pt x="362" y="464"/>
                    <a:pt x="362" y="465"/>
                    <a:pt x="363" y="465"/>
                  </a:cubicBezTo>
                  <a:cubicBezTo>
                    <a:pt x="365" y="464"/>
                    <a:pt x="367" y="463"/>
                    <a:pt x="370" y="462"/>
                  </a:cubicBezTo>
                  <a:cubicBezTo>
                    <a:pt x="369" y="462"/>
                    <a:pt x="369" y="461"/>
                    <a:pt x="368" y="461"/>
                  </a:cubicBezTo>
                  <a:moveTo>
                    <a:pt x="360" y="465"/>
                  </a:moveTo>
                  <a:cubicBezTo>
                    <a:pt x="358" y="466"/>
                    <a:pt x="356" y="466"/>
                    <a:pt x="354" y="467"/>
                  </a:cubicBezTo>
                  <a:cubicBezTo>
                    <a:pt x="354" y="468"/>
                    <a:pt x="355" y="468"/>
                    <a:pt x="355" y="468"/>
                  </a:cubicBezTo>
                  <a:cubicBezTo>
                    <a:pt x="357" y="467"/>
                    <a:pt x="359" y="466"/>
                    <a:pt x="361" y="465"/>
                  </a:cubicBezTo>
                  <a:cubicBezTo>
                    <a:pt x="361" y="465"/>
                    <a:pt x="361" y="465"/>
                    <a:pt x="360" y="465"/>
                  </a:cubicBezTo>
                  <a:moveTo>
                    <a:pt x="408" y="465"/>
                  </a:moveTo>
                  <a:cubicBezTo>
                    <a:pt x="412" y="467"/>
                    <a:pt x="416" y="469"/>
                    <a:pt x="420" y="472"/>
                  </a:cubicBezTo>
                  <a:cubicBezTo>
                    <a:pt x="420" y="471"/>
                    <a:pt x="420" y="471"/>
                    <a:pt x="420" y="471"/>
                  </a:cubicBezTo>
                  <a:cubicBezTo>
                    <a:pt x="416" y="469"/>
                    <a:pt x="412" y="467"/>
                    <a:pt x="408" y="465"/>
                  </a:cubicBezTo>
                  <a:cubicBezTo>
                    <a:pt x="408" y="465"/>
                    <a:pt x="408" y="465"/>
                    <a:pt x="408" y="465"/>
                  </a:cubicBezTo>
                  <a:moveTo>
                    <a:pt x="353" y="468"/>
                  </a:moveTo>
                  <a:cubicBezTo>
                    <a:pt x="352" y="468"/>
                    <a:pt x="351" y="469"/>
                    <a:pt x="350" y="469"/>
                  </a:cubicBezTo>
                  <a:cubicBezTo>
                    <a:pt x="350" y="469"/>
                    <a:pt x="351" y="470"/>
                    <a:pt x="351" y="470"/>
                  </a:cubicBezTo>
                  <a:cubicBezTo>
                    <a:pt x="352" y="469"/>
                    <a:pt x="353" y="469"/>
                    <a:pt x="354" y="468"/>
                  </a:cubicBezTo>
                  <a:cubicBezTo>
                    <a:pt x="354" y="468"/>
                    <a:pt x="353" y="468"/>
                    <a:pt x="353" y="468"/>
                  </a:cubicBezTo>
                  <a:moveTo>
                    <a:pt x="349" y="470"/>
                  </a:moveTo>
                  <a:cubicBezTo>
                    <a:pt x="349" y="470"/>
                    <a:pt x="348" y="470"/>
                    <a:pt x="348" y="470"/>
                  </a:cubicBezTo>
                  <a:cubicBezTo>
                    <a:pt x="348" y="470"/>
                    <a:pt x="349" y="471"/>
                    <a:pt x="349" y="471"/>
                  </a:cubicBezTo>
                  <a:cubicBezTo>
                    <a:pt x="349" y="471"/>
                    <a:pt x="350" y="470"/>
                    <a:pt x="350" y="470"/>
                  </a:cubicBezTo>
                  <a:cubicBezTo>
                    <a:pt x="350" y="470"/>
                    <a:pt x="349" y="470"/>
                    <a:pt x="349" y="470"/>
                  </a:cubicBezTo>
                  <a:moveTo>
                    <a:pt x="346" y="471"/>
                  </a:moveTo>
                  <a:cubicBezTo>
                    <a:pt x="345" y="472"/>
                    <a:pt x="344" y="472"/>
                    <a:pt x="342" y="473"/>
                  </a:cubicBezTo>
                  <a:cubicBezTo>
                    <a:pt x="343" y="473"/>
                    <a:pt x="343" y="473"/>
                    <a:pt x="344" y="473"/>
                  </a:cubicBezTo>
                  <a:cubicBezTo>
                    <a:pt x="345" y="473"/>
                    <a:pt x="346" y="472"/>
                    <a:pt x="348" y="471"/>
                  </a:cubicBezTo>
                  <a:cubicBezTo>
                    <a:pt x="347" y="471"/>
                    <a:pt x="347" y="471"/>
                    <a:pt x="346" y="471"/>
                  </a:cubicBezTo>
                  <a:moveTo>
                    <a:pt x="422" y="472"/>
                  </a:moveTo>
                  <a:cubicBezTo>
                    <a:pt x="421" y="472"/>
                    <a:pt x="421" y="472"/>
                    <a:pt x="421" y="472"/>
                  </a:cubicBezTo>
                  <a:cubicBezTo>
                    <a:pt x="422" y="473"/>
                    <a:pt x="424" y="474"/>
                    <a:pt x="426" y="475"/>
                  </a:cubicBezTo>
                  <a:cubicBezTo>
                    <a:pt x="426" y="475"/>
                    <a:pt x="427" y="476"/>
                    <a:pt x="427" y="476"/>
                  </a:cubicBezTo>
                  <a:cubicBezTo>
                    <a:pt x="427" y="476"/>
                    <a:pt x="428" y="476"/>
                    <a:pt x="428" y="477"/>
                  </a:cubicBezTo>
                  <a:cubicBezTo>
                    <a:pt x="428" y="477"/>
                    <a:pt x="428" y="477"/>
                    <a:pt x="429" y="477"/>
                  </a:cubicBezTo>
                  <a:cubicBezTo>
                    <a:pt x="429" y="477"/>
                    <a:pt x="429" y="477"/>
                    <a:pt x="430" y="478"/>
                  </a:cubicBezTo>
                  <a:cubicBezTo>
                    <a:pt x="432" y="479"/>
                    <a:pt x="435" y="481"/>
                    <a:pt x="437" y="482"/>
                  </a:cubicBezTo>
                  <a:cubicBezTo>
                    <a:pt x="438" y="483"/>
                    <a:pt x="438" y="483"/>
                    <a:pt x="439" y="483"/>
                  </a:cubicBezTo>
                  <a:cubicBezTo>
                    <a:pt x="439" y="484"/>
                    <a:pt x="439" y="484"/>
                    <a:pt x="440" y="484"/>
                  </a:cubicBezTo>
                  <a:cubicBezTo>
                    <a:pt x="440" y="484"/>
                    <a:pt x="441" y="484"/>
                    <a:pt x="441" y="484"/>
                  </a:cubicBezTo>
                  <a:cubicBezTo>
                    <a:pt x="441" y="484"/>
                    <a:pt x="441" y="484"/>
                    <a:pt x="441" y="484"/>
                  </a:cubicBezTo>
                  <a:cubicBezTo>
                    <a:pt x="440" y="483"/>
                    <a:pt x="439" y="482"/>
                    <a:pt x="438" y="482"/>
                  </a:cubicBezTo>
                  <a:cubicBezTo>
                    <a:pt x="437" y="481"/>
                    <a:pt x="436" y="481"/>
                    <a:pt x="436" y="480"/>
                  </a:cubicBezTo>
                  <a:cubicBezTo>
                    <a:pt x="434" y="479"/>
                    <a:pt x="432" y="478"/>
                    <a:pt x="429" y="476"/>
                  </a:cubicBezTo>
                  <a:cubicBezTo>
                    <a:pt x="429" y="476"/>
                    <a:pt x="429" y="476"/>
                    <a:pt x="429" y="476"/>
                  </a:cubicBezTo>
                  <a:cubicBezTo>
                    <a:pt x="429" y="476"/>
                    <a:pt x="428" y="476"/>
                    <a:pt x="428" y="475"/>
                  </a:cubicBezTo>
                  <a:cubicBezTo>
                    <a:pt x="428" y="475"/>
                    <a:pt x="427" y="475"/>
                    <a:pt x="426" y="474"/>
                  </a:cubicBezTo>
                  <a:cubicBezTo>
                    <a:pt x="426" y="474"/>
                    <a:pt x="426" y="474"/>
                    <a:pt x="425" y="474"/>
                  </a:cubicBezTo>
                  <a:cubicBezTo>
                    <a:pt x="425" y="474"/>
                    <a:pt x="425" y="473"/>
                    <a:pt x="425" y="473"/>
                  </a:cubicBezTo>
                  <a:cubicBezTo>
                    <a:pt x="424" y="473"/>
                    <a:pt x="423" y="472"/>
                    <a:pt x="422" y="472"/>
                  </a:cubicBezTo>
                  <a:moveTo>
                    <a:pt x="341" y="473"/>
                  </a:moveTo>
                  <a:cubicBezTo>
                    <a:pt x="338" y="475"/>
                    <a:pt x="336" y="476"/>
                    <a:pt x="333" y="478"/>
                  </a:cubicBezTo>
                  <a:cubicBezTo>
                    <a:pt x="332" y="477"/>
                    <a:pt x="331" y="477"/>
                    <a:pt x="329" y="476"/>
                  </a:cubicBezTo>
                  <a:cubicBezTo>
                    <a:pt x="329" y="477"/>
                    <a:pt x="329" y="477"/>
                    <a:pt x="329" y="477"/>
                  </a:cubicBezTo>
                  <a:cubicBezTo>
                    <a:pt x="330" y="478"/>
                    <a:pt x="331" y="478"/>
                    <a:pt x="332" y="478"/>
                  </a:cubicBezTo>
                  <a:cubicBezTo>
                    <a:pt x="330" y="479"/>
                    <a:pt x="329" y="480"/>
                    <a:pt x="327" y="481"/>
                  </a:cubicBezTo>
                  <a:cubicBezTo>
                    <a:pt x="327" y="482"/>
                    <a:pt x="327" y="482"/>
                    <a:pt x="327" y="483"/>
                  </a:cubicBezTo>
                  <a:cubicBezTo>
                    <a:pt x="329" y="481"/>
                    <a:pt x="331" y="480"/>
                    <a:pt x="334" y="479"/>
                  </a:cubicBezTo>
                  <a:cubicBezTo>
                    <a:pt x="339" y="480"/>
                    <a:pt x="345" y="482"/>
                    <a:pt x="351" y="483"/>
                  </a:cubicBezTo>
                  <a:cubicBezTo>
                    <a:pt x="351" y="483"/>
                    <a:pt x="352" y="483"/>
                    <a:pt x="352" y="483"/>
                  </a:cubicBezTo>
                  <a:cubicBezTo>
                    <a:pt x="346" y="481"/>
                    <a:pt x="341" y="480"/>
                    <a:pt x="335" y="478"/>
                  </a:cubicBezTo>
                  <a:cubicBezTo>
                    <a:pt x="337" y="477"/>
                    <a:pt x="340" y="475"/>
                    <a:pt x="343" y="474"/>
                  </a:cubicBezTo>
                  <a:cubicBezTo>
                    <a:pt x="342" y="474"/>
                    <a:pt x="342" y="474"/>
                    <a:pt x="341" y="473"/>
                  </a:cubicBezTo>
                  <a:moveTo>
                    <a:pt x="320" y="473"/>
                  </a:moveTo>
                  <a:cubicBezTo>
                    <a:pt x="320" y="474"/>
                    <a:pt x="320" y="474"/>
                    <a:pt x="320" y="475"/>
                  </a:cubicBezTo>
                  <a:cubicBezTo>
                    <a:pt x="323" y="475"/>
                    <a:pt x="325" y="476"/>
                    <a:pt x="328" y="477"/>
                  </a:cubicBezTo>
                  <a:cubicBezTo>
                    <a:pt x="328" y="477"/>
                    <a:pt x="328" y="476"/>
                    <a:pt x="328" y="476"/>
                  </a:cubicBezTo>
                  <a:cubicBezTo>
                    <a:pt x="325" y="475"/>
                    <a:pt x="323" y="474"/>
                    <a:pt x="320" y="473"/>
                  </a:cubicBezTo>
                  <a:moveTo>
                    <a:pt x="326" y="482"/>
                  </a:moveTo>
                  <a:cubicBezTo>
                    <a:pt x="325" y="482"/>
                    <a:pt x="325" y="482"/>
                    <a:pt x="325" y="483"/>
                  </a:cubicBezTo>
                  <a:cubicBezTo>
                    <a:pt x="325" y="483"/>
                    <a:pt x="325" y="483"/>
                    <a:pt x="325" y="483"/>
                  </a:cubicBezTo>
                  <a:cubicBezTo>
                    <a:pt x="325" y="483"/>
                    <a:pt x="325" y="483"/>
                    <a:pt x="326" y="483"/>
                  </a:cubicBezTo>
                  <a:cubicBezTo>
                    <a:pt x="326" y="483"/>
                    <a:pt x="326" y="482"/>
                    <a:pt x="326" y="482"/>
                  </a:cubicBezTo>
                  <a:moveTo>
                    <a:pt x="353" y="483"/>
                  </a:moveTo>
                  <a:cubicBezTo>
                    <a:pt x="353" y="483"/>
                    <a:pt x="352" y="484"/>
                    <a:pt x="352" y="484"/>
                  </a:cubicBezTo>
                  <a:cubicBezTo>
                    <a:pt x="361" y="486"/>
                    <a:pt x="370" y="489"/>
                    <a:pt x="379" y="491"/>
                  </a:cubicBezTo>
                  <a:cubicBezTo>
                    <a:pt x="379" y="490"/>
                    <a:pt x="380" y="490"/>
                    <a:pt x="380" y="490"/>
                  </a:cubicBezTo>
                  <a:cubicBezTo>
                    <a:pt x="371" y="488"/>
                    <a:pt x="362" y="485"/>
                    <a:pt x="353" y="483"/>
                  </a:cubicBezTo>
                  <a:moveTo>
                    <a:pt x="323" y="484"/>
                  </a:moveTo>
                  <a:cubicBezTo>
                    <a:pt x="317" y="488"/>
                    <a:pt x="313" y="491"/>
                    <a:pt x="310" y="495"/>
                  </a:cubicBezTo>
                  <a:cubicBezTo>
                    <a:pt x="311" y="495"/>
                    <a:pt x="311" y="495"/>
                    <a:pt x="311" y="495"/>
                  </a:cubicBezTo>
                  <a:cubicBezTo>
                    <a:pt x="314" y="492"/>
                    <a:pt x="318" y="488"/>
                    <a:pt x="324" y="484"/>
                  </a:cubicBezTo>
                  <a:cubicBezTo>
                    <a:pt x="324" y="484"/>
                    <a:pt x="324" y="484"/>
                    <a:pt x="324" y="484"/>
                  </a:cubicBezTo>
                  <a:cubicBezTo>
                    <a:pt x="324" y="484"/>
                    <a:pt x="324" y="484"/>
                    <a:pt x="323" y="484"/>
                  </a:cubicBezTo>
                  <a:moveTo>
                    <a:pt x="443" y="485"/>
                  </a:moveTo>
                  <a:cubicBezTo>
                    <a:pt x="442" y="485"/>
                    <a:pt x="442" y="485"/>
                    <a:pt x="441" y="485"/>
                  </a:cubicBezTo>
                  <a:cubicBezTo>
                    <a:pt x="442" y="486"/>
                    <a:pt x="442" y="486"/>
                    <a:pt x="442" y="486"/>
                  </a:cubicBezTo>
                  <a:cubicBezTo>
                    <a:pt x="443" y="486"/>
                    <a:pt x="444" y="487"/>
                    <a:pt x="445" y="488"/>
                  </a:cubicBezTo>
                  <a:cubicBezTo>
                    <a:pt x="446" y="489"/>
                    <a:pt x="448" y="490"/>
                    <a:pt x="449" y="491"/>
                  </a:cubicBezTo>
                  <a:cubicBezTo>
                    <a:pt x="450" y="491"/>
                    <a:pt x="450" y="491"/>
                    <a:pt x="451" y="492"/>
                  </a:cubicBezTo>
                  <a:cubicBezTo>
                    <a:pt x="451" y="491"/>
                    <a:pt x="451" y="491"/>
                    <a:pt x="451" y="491"/>
                  </a:cubicBezTo>
                  <a:cubicBezTo>
                    <a:pt x="449" y="489"/>
                    <a:pt x="446" y="487"/>
                    <a:pt x="443" y="485"/>
                  </a:cubicBezTo>
                  <a:cubicBezTo>
                    <a:pt x="443" y="485"/>
                    <a:pt x="443" y="485"/>
                    <a:pt x="443" y="485"/>
                  </a:cubicBezTo>
                  <a:moveTo>
                    <a:pt x="381" y="490"/>
                  </a:moveTo>
                  <a:cubicBezTo>
                    <a:pt x="381" y="491"/>
                    <a:pt x="381" y="491"/>
                    <a:pt x="380" y="491"/>
                  </a:cubicBezTo>
                  <a:cubicBezTo>
                    <a:pt x="382" y="491"/>
                    <a:pt x="383" y="492"/>
                    <a:pt x="385" y="492"/>
                  </a:cubicBezTo>
                  <a:cubicBezTo>
                    <a:pt x="384" y="492"/>
                    <a:pt x="383" y="491"/>
                    <a:pt x="382" y="490"/>
                  </a:cubicBezTo>
                  <a:cubicBezTo>
                    <a:pt x="382" y="490"/>
                    <a:pt x="382" y="490"/>
                    <a:pt x="381" y="490"/>
                  </a:cubicBezTo>
                  <a:moveTo>
                    <a:pt x="385" y="491"/>
                  </a:moveTo>
                  <a:cubicBezTo>
                    <a:pt x="386" y="492"/>
                    <a:pt x="388" y="492"/>
                    <a:pt x="389" y="493"/>
                  </a:cubicBezTo>
                  <a:cubicBezTo>
                    <a:pt x="389" y="493"/>
                    <a:pt x="390" y="493"/>
                    <a:pt x="390" y="493"/>
                  </a:cubicBezTo>
                  <a:cubicBezTo>
                    <a:pt x="396" y="495"/>
                    <a:pt x="402" y="496"/>
                    <a:pt x="409" y="498"/>
                  </a:cubicBezTo>
                  <a:cubicBezTo>
                    <a:pt x="409" y="497"/>
                    <a:pt x="410" y="497"/>
                    <a:pt x="410" y="497"/>
                  </a:cubicBezTo>
                  <a:cubicBezTo>
                    <a:pt x="404" y="495"/>
                    <a:pt x="398" y="494"/>
                    <a:pt x="392" y="493"/>
                  </a:cubicBezTo>
                  <a:cubicBezTo>
                    <a:pt x="391" y="493"/>
                    <a:pt x="390" y="492"/>
                    <a:pt x="390" y="492"/>
                  </a:cubicBezTo>
                  <a:cubicBezTo>
                    <a:pt x="388" y="492"/>
                    <a:pt x="387" y="492"/>
                    <a:pt x="385" y="491"/>
                  </a:cubicBezTo>
                  <a:moveTo>
                    <a:pt x="452" y="492"/>
                  </a:moveTo>
                  <a:cubicBezTo>
                    <a:pt x="452" y="492"/>
                    <a:pt x="452" y="492"/>
                    <a:pt x="452" y="492"/>
                  </a:cubicBezTo>
                  <a:cubicBezTo>
                    <a:pt x="452" y="492"/>
                    <a:pt x="452" y="492"/>
                    <a:pt x="453" y="493"/>
                  </a:cubicBezTo>
                  <a:cubicBezTo>
                    <a:pt x="453" y="492"/>
                    <a:pt x="452" y="492"/>
                    <a:pt x="452" y="492"/>
                  </a:cubicBezTo>
                  <a:moveTo>
                    <a:pt x="452" y="493"/>
                  </a:moveTo>
                  <a:cubicBezTo>
                    <a:pt x="454" y="494"/>
                    <a:pt x="455" y="496"/>
                    <a:pt x="456" y="497"/>
                  </a:cubicBezTo>
                  <a:cubicBezTo>
                    <a:pt x="456" y="496"/>
                    <a:pt x="457" y="496"/>
                    <a:pt x="457" y="496"/>
                  </a:cubicBezTo>
                  <a:cubicBezTo>
                    <a:pt x="456" y="496"/>
                    <a:pt x="456" y="495"/>
                    <a:pt x="455" y="495"/>
                  </a:cubicBezTo>
                  <a:cubicBezTo>
                    <a:pt x="454" y="494"/>
                    <a:pt x="453" y="494"/>
                    <a:pt x="452" y="493"/>
                  </a:cubicBezTo>
                  <a:moveTo>
                    <a:pt x="871" y="494"/>
                  </a:moveTo>
                  <a:cubicBezTo>
                    <a:pt x="867" y="495"/>
                    <a:pt x="862" y="496"/>
                    <a:pt x="856" y="497"/>
                  </a:cubicBezTo>
                  <a:cubicBezTo>
                    <a:pt x="856" y="498"/>
                    <a:pt x="856" y="498"/>
                    <a:pt x="855" y="498"/>
                  </a:cubicBezTo>
                  <a:cubicBezTo>
                    <a:pt x="847" y="500"/>
                    <a:pt x="836" y="502"/>
                    <a:pt x="825" y="504"/>
                  </a:cubicBezTo>
                  <a:cubicBezTo>
                    <a:pt x="825" y="504"/>
                    <a:pt x="824" y="504"/>
                    <a:pt x="824" y="504"/>
                  </a:cubicBezTo>
                  <a:cubicBezTo>
                    <a:pt x="817" y="505"/>
                    <a:pt x="809" y="507"/>
                    <a:pt x="801" y="508"/>
                  </a:cubicBezTo>
                  <a:cubicBezTo>
                    <a:pt x="801" y="508"/>
                    <a:pt x="800" y="508"/>
                    <a:pt x="800" y="508"/>
                  </a:cubicBezTo>
                  <a:cubicBezTo>
                    <a:pt x="797" y="509"/>
                    <a:pt x="795" y="509"/>
                    <a:pt x="792" y="509"/>
                  </a:cubicBezTo>
                  <a:cubicBezTo>
                    <a:pt x="793" y="510"/>
                    <a:pt x="793" y="510"/>
                    <a:pt x="793" y="510"/>
                  </a:cubicBezTo>
                  <a:cubicBezTo>
                    <a:pt x="795" y="510"/>
                    <a:pt x="797" y="510"/>
                    <a:pt x="800" y="509"/>
                  </a:cubicBezTo>
                  <a:cubicBezTo>
                    <a:pt x="800" y="509"/>
                    <a:pt x="800" y="509"/>
                    <a:pt x="801" y="509"/>
                  </a:cubicBezTo>
                  <a:cubicBezTo>
                    <a:pt x="809" y="508"/>
                    <a:pt x="817" y="506"/>
                    <a:pt x="824" y="505"/>
                  </a:cubicBezTo>
                  <a:cubicBezTo>
                    <a:pt x="824" y="505"/>
                    <a:pt x="825" y="505"/>
                    <a:pt x="825" y="505"/>
                  </a:cubicBezTo>
                  <a:cubicBezTo>
                    <a:pt x="837" y="503"/>
                    <a:pt x="847" y="501"/>
                    <a:pt x="856" y="499"/>
                  </a:cubicBezTo>
                  <a:cubicBezTo>
                    <a:pt x="856" y="499"/>
                    <a:pt x="856" y="499"/>
                    <a:pt x="857" y="498"/>
                  </a:cubicBezTo>
                  <a:cubicBezTo>
                    <a:pt x="862" y="497"/>
                    <a:pt x="868" y="496"/>
                    <a:pt x="872" y="495"/>
                  </a:cubicBezTo>
                  <a:cubicBezTo>
                    <a:pt x="872" y="495"/>
                    <a:pt x="872" y="494"/>
                    <a:pt x="871" y="494"/>
                  </a:cubicBezTo>
                  <a:moveTo>
                    <a:pt x="310" y="496"/>
                  </a:moveTo>
                  <a:cubicBezTo>
                    <a:pt x="310" y="496"/>
                    <a:pt x="309" y="497"/>
                    <a:pt x="309" y="497"/>
                  </a:cubicBezTo>
                  <a:cubicBezTo>
                    <a:pt x="309" y="497"/>
                    <a:pt x="309" y="498"/>
                    <a:pt x="309" y="498"/>
                  </a:cubicBezTo>
                  <a:cubicBezTo>
                    <a:pt x="308" y="499"/>
                    <a:pt x="308" y="501"/>
                    <a:pt x="308" y="502"/>
                  </a:cubicBezTo>
                  <a:cubicBezTo>
                    <a:pt x="308" y="509"/>
                    <a:pt x="316" y="515"/>
                    <a:pt x="333" y="519"/>
                  </a:cubicBezTo>
                  <a:cubicBezTo>
                    <a:pt x="333" y="518"/>
                    <a:pt x="333" y="518"/>
                    <a:pt x="333" y="518"/>
                  </a:cubicBezTo>
                  <a:cubicBezTo>
                    <a:pt x="316" y="514"/>
                    <a:pt x="309" y="508"/>
                    <a:pt x="309" y="502"/>
                  </a:cubicBezTo>
                  <a:cubicBezTo>
                    <a:pt x="309" y="501"/>
                    <a:pt x="309" y="500"/>
                    <a:pt x="310" y="498"/>
                  </a:cubicBezTo>
                  <a:cubicBezTo>
                    <a:pt x="310" y="498"/>
                    <a:pt x="310" y="498"/>
                    <a:pt x="310" y="497"/>
                  </a:cubicBezTo>
                  <a:cubicBezTo>
                    <a:pt x="310" y="497"/>
                    <a:pt x="310" y="497"/>
                    <a:pt x="311" y="496"/>
                  </a:cubicBezTo>
                  <a:cubicBezTo>
                    <a:pt x="310" y="496"/>
                    <a:pt x="310" y="496"/>
                    <a:pt x="310" y="496"/>
                  </a:cubicBezTo>
                  <a:moveTo>
                    <a:pt x="458" y="497"/>
                  </a:moveTo>
                  <a:cubicBezTo>
                    <a:pt x="458" y="497"/>
                    <a:pt x="457" y="497"/>
                    <a:pt x="457" y="497"/>
                  </a:cubicBezTo>
                  <a:cubicBezTo>
                    <a:pt x="457" y="498"/>
                    <a:pt x="457" y="498"/>
                    <a:pt x="458" y="498"/>
                  </a:cubicBezTo>
                  <a:cubicBezTo>
                    <a:pt x="458" y="498"/>
                    <a:pt x="458" y="499"/>
                    <a:pt x="458" y="499"/>
                  </a:cubicBezTo>
                  <a:cubicBezTo>
                    <a:pt x="459" y="499"/>
                    <a:pt x="459" y="499"/>
                    <a:pt x="459" y="499"/>
                  </a:cubicBezTo>
                  <a:cubicBezTo>
                    <a:pt x="459" y="499"/>
                    <a:pt x="460" y="499"/>
                    <a:pt x="460" y="499"/>
                  </a:cubicBezTo>
                  <a:cubicBezTo>
                    <a:pt x="460" y="499"/>
                    <a:pt x="459" y="498"/>
                    <a:pt x="459" y="498"/>
                  </a:cubicBezTo>
                  <a:cubicBezTo>
                    <a:pt x="459" y="498"/>
                    <a:pt x="459" y="498"/>
                    <a:pt x="459" y="498"/>
                  </a:cubicBezTo>
                  <a:cubicBezTo>
                    <a:pt x="458" y="497"/>
                    <a:pt x="458" y="497"/>
                    <a:pt x="458" y="497"/>
                  </a:cubicBezTo>
                  <a:moveTo>
                    <a:pt x="412" y="497"/>
                  </a:moveTo>
                  <a:cubicBezTo>
                    <a:pt x="411" y="497"/>
                    <a:pt x="411" y="498"/>
                    <a:pt x="410" y="498"/>
                  </a:cubicBezTo>
                  <a:cubicBezTo>
                    <a:pt x="410" y="498"/>
                    <a:pt x="410" y="498"/>
                    <a:pt x="410" y="498"/>
                  </a:cubicBezTo>
                  <a:cubicBezTo>
                    <a:pt x="411" y="498"/>
                    <a:pt x="411" y="497"/>
                    <a:pt x="412" y="497"/>
                  </a:cubicBezTo>
                  <a:cubicBezTo>
                    <a:pt x="412" y="497"/>
                    <a:pt x="412" y="497"/>
                    <a:pt x="412" y="497"/>
                  </a:cubicBezTo>
                  <a:moveTo>
                    <a:pt x="414" y="498"/>
                  </a:moveTo>
                  <a:cubicBezTo>
                    <a:pt x="413" y="498"/>
                    <a:pt x="413" y="498"/>
                    <a:pt x="412" y="498"/>
                  </a:cubicBezTo>
                  <a:cubicBezTo>
                    <a:pt x="418" y="499"/>
                    <a:pt x="423" y="501"/>
                    <a:pt x="428" y="502"/>
                  </a:cubicBezTo>
                  <a:cubicBezTo>
                    <a:pt x="429" y="501"/>
                    <a:pt x="429" y="501"/>
                    <a:pt x="430" y="501"/>
                  </a:cubicBezTo>
                  <a:cubicBezTo>
                    <a:pt x="425" y="500"/>
                    <a:pt x="419" y="499"/>
                    <a:pt x="414" y="498"/>
                  </a:cubicBezTo>
                  <a:moveTo>
                    <a:pt x="461" y="500"/>
                  </a:moveTo>
                  <a:cubicBezTo>
                    <a:pt x="460" y="500"/>
                    <a:pt x="460" y="500"/>
                    <a:pt x="460" y="500"/>
                  </a:cubicBezTo>
                  <a:cubicBezTo>
                    <a:pt x="460" y="500"/>
                    <a:pt x="460" y="501"/>
                    <a:pt x="461" y="501"/>
                  </a:cubicBezTo>
                  <a:cubicBezTo>
                    <a:pt x="461" y="501"/>
                    <a:pt x="462" y="502"/>
                    <a:pt x="463" y="502"/>
                  </a:cubicBezTo>
                  <a:cubicBezTo>
                    <a:pt x="462" y="501"/>
                    <a:pt x="461" y="500"/>
                    <a:pt x="461" y="500"/>
                  </a:cubicBezTo>
                  <a:moveTo>
                    <a:pt x="432" y="501"/>
                  </a:moveTo>
                  <a:cubicBezTo>
                    <a:pt x="431" y="501"/>
                    <a:pt x="431" y="502"/>
                    <a:pt x="430" y="502"/>
                  </a:cubicBezTo>
                  <a:cubicBezTo>
                    <a:pt x="430" y="502"/>
                    <a:pt x="431" y="502"/>
                    <a:pt x="431" y="502"/>
                  </a:cubicBezTo>
                  <a:cubicBezTo>
                    <a:pt x="431" y="502"/>
                    <a:pt x="432" y="502"/>
                    <a:pt x="432" y="502"/>
                  </a:cubicBezTo>
                  <a:cubicBezTo>
                    <a:pt x="434" y="503"/>
                    <a:pt x="436" y="503"/>
                    <a:pt x="438" y="503"/>
                  </a:cubicBezTo>
                  <a:cubicBezTo>
                    <a:pt x="439" y="504"/>
                    <a:pt x="439" y="504"/>
                    <a:pt x="439" y="504"/>
                  </a:cubicBezTo>
                  <a:cubicBezTo>
                    <a:pt x="439" y="503"/>
                    <a:pt x="440" y="503"/>
                    <a:pt x="441" y="503"/>
                  </a:cubicBezTo>
                  <a:cubicBezTo>
                    <a:pt x="440" y="503"/>
                    <a:pt x="440" y="503"/>
                    <a:pt x="440" y="503"/>
                  </a:cubicBezTo>
                  <a:cubicBezTo>
                    <a:pt x="439" y="503"/>
                    <a:pt x="439" y="503"/>
                    <a:pt x="439" y="503"/>
                  </a:cubicBezTo>
                  <a:cubicBezTo>
                    <a:pt x="439" y="503"/>
                    <a:pt x="438" y="502"/>
                    <a:pt x="438" y="502"/>
                  </a:cubicBezTo>
                  <a:cubicBezTo>
                    <a:pt x="436" y="502"/>
                    <a:pt x="434" y="502"/>
                    <a:pt x="432" y="501"/>
                  </a:cubicBezTo>
                  <a:cubicBezTo>
                    <a:pt x="432" y="501"/>
                    <a:pt x="432" y="501"/>
                    <a:pt x="432" y="501"/>
                  </a:cubicBezTo>
                  <a:moveTo>
                    <a:pt x="442" y="503"/>
                  </a:moveTo>
                  <a:cubicBezTo>
                    <a:pt x="442" y="503"/>
                    <a:pt x="441" y="504"/>
                    <a:pt x="441" y="504"/>
                  </a:cubicBezTo>
                  <a:cubicBezTo>
                    <a:pt x="442" y="504"/>
                    <a:pt x="443" y="504"/>
                    <a:pt x="444" y="504"/>
                  </a:cubicBezTo>
                  <a:cubicBezTo>
                    <a:pt x="444" y="504"/>
                    <a:pt x="444" y="504"/>
                    <a:pt x="444" y="505"/>
                  </a:cubicBezTo>
                  <a:cubicBezTo>
                    <a:pt x="445" y="505"/>
                    <a:pt x="445" y="505"/>
                    <a:pt x="446" y="505"/>
                  </a:cubicBezTo>
                  <a:cubicBezTo>
                    <a:pt x="446" y="505"/>
                    <a:pt x="446" y="505"/>
                    <a:pt x="446" y="505"/>
                  </a:cubicBezTo>
                  <a:cubicBezTo>
                    <a:pt x="447" y="505"/>
                    <a:pt x="447" y="504"/>
                    <a:pt x="448" y="504"/>
                  </a:cubicBezTo>
                  <a:cubicBezTo>
                    <a:pt x="448" y="504"/>
                    <a:pt x="447" y="504"/>
                    <a:pt x="447" y="504"/>
                  </a:cubicBezTo>
                  <a:cubicBezTo>
                    <a:pt x="447" y="504"/>
                    <a:pt x="446" y="504"/>
                    <a:pt x="446" y="504"/>
                  </a:cubicBezTo>
                  <a:cubicBezTo>
                    <a:pt x="445" y="504"/>
                    <a:pt x="445" y="504"/>
                    <a:pt x="444" y="504"/>
                  </a:cubicBezTo>
                  <a:cubicBezTo>
                    <a:pt x="444" y="504"/>
                    <a:pt x="444" y="504"/>
                    <a:pt x="444" y="504"/>
                  </a:cubicBezTo>
                  <a:cubicBezTo>
                    <a:pt x="444" y="503"/>
                    <a:pt x="443" y="503"/>
                    <a:pt x="443" y="503"/>
                  </a:cubicBezTo>
                  <a:cubicBezTo>
                    <a:pt x="443" y="503"/>
                    <a:pt x="443" y="503"/>
                    <a:pt x="442" y="503"/>
                  </a:cubicBezTo>
                  <a:moveTo>
                    <a:pt x="463" y="503"/>
                  </a:moveTo>
                  <a:cubicBezTo>
                    <a:pt x="463" y="504"/>
                    <a:pt x="464" y="505"/>
                    <a:pt x="465" y="506"/>
                  </a:cubicBezTo>
                  <a:cubicBezTo>
                    <a:pt x="465" y="506"/>
                    <a:pt x="466" y="506"/>
                    <a:pt x="466" y="507"/>
                  </a:cubicBezTo>
                  <a:cubicBezTo>
                    <a:pt x="466" y="506"/>
                    <a:pt x="465" y="505"/>
                    <a:pt x="464" y="504"/>
                  </a:cubicBezTo>
                  <a:cubicBezTo>
                    <a:pt x="464" y="504"/>
                    <a:pt x="463" y="503"/>
                    <a:pt x="463" y="503"/>
                  </a:cubicBezTo>
                  <a:moveTo>
                    <a:pt x="450" y="504"/>
                  </a:moveTo>
                  <a:cubicBezTo>
                    <a:pt x="449" y="505"/>
                    <a:pt x="448" y="505"/>
                    <a:pt x="448" y="505"/>
                  </a:cubicBezTo>
                  <a:cubicBezTo>
                    <a:pt x="449" y="505"/>
                    <a:pt x="451" y="506"/>
                    <a:pt x="453" y="506"/>
                  </a:cubicBezTo>
                  <a:cubicBezTo>
                    <a:pt x="453" y="506"/>
                    <a:pt x="453" y="506"/>
                    <a:pt x="454" y="506"/>
                  </a:cubicBezTo>
                  <a:cubicBezTo>
                    <a:pt x="455" y="506"/>
                    <a:pt x="457" y="507"/>
                    <a:pt x="458" y="507"/>
                  </a:cubicBezTo>
                  <a:cubicBezTo>
                    <a:pt x="458" y="507"/>
                    <a:pt x="459" y="507"/>
                    <a:pt x="459" y="507"/>
                  </a:cubicBezTo>
                  <a:cubicBezTo>
                    <a:pt x="460" y="507"/>
                    <a:pt x="461" y="508"/>
                    <a:pt x="462" y="508"/>
                  </a:cubicBezTo>
                  <a:cubicBezTo>
                    <a:pt x="462" y="508"/>
                    <a:pt x="462" y="507"/>
                    <a:pt x="461" y="507"/>
                  </a:cubicBezTo>
                  <a:cubicBezTo>
                    <a:pt x="460" y="507"/>
                    <a:pt x="458" y="506"/>
                    <a:pt x="456" y="506"/>
                  </a:cubicBezTo>
                  <a:cubicBezTo>
                    <a:pt x="455" y="505"/>
                    <a:pt x="454" y="505"/>
                    <a:pt x="453" y="505"/>
                  </a:cubicBezTo>
                  <a:cubicBezTo>
                    <a:pt x="453" y="505"/>
                    <a:pt x="452" y="505"/>
                    <a:pt x="452" y="505"/>
                  </a:cubicBezTo>
                  <a:cubicBezTo>
                    <a:pt x="451" y="505"/>
                    <a:pt x="450" y="505"/>
                    <a:pt x="450" y="504"/>
                  </a:cubicBezTo>
                  <a:moveTo>
                    <a:pt x="466" y="508"/>
                  </a:moveTo>
                  <a:cubicBezTo>
                    <a:pt x="466" y="508"/>
                    <a:pt x="466" y="508"/>
                    <a:pt x="466" y="508"/>
                  </a:cubicBezTo>
                  <a:cubicBezTo>
                    <a:pt x="466" y="508"/>
                    <a:pt x="466" y="508"/>
                    <a:pt x="466" y="508"/>
                  </a:cubicBezTo>
                  <a:cubicBezTo>
                    <a:pt x="466" y="508"/>
                    <a:pt x="466" y="508"/>
                    <a:pt x="466" y="508"/>
                  </a:cubicBezTo>
                  <a:moveTo>
                    <a:pt x="470" y="508"/>
                  </a:moveTo>
                  <a:cubicBezTo>
                    <a:pt x="470" y="508"/>
                    <a:pt x="471" y="508"/>
                    <a:pt x="471" y="508"/>
                  </a:cubicBezTo>
                  <a:cubicBezTo>
                    <a:pt x="471" y="508"/>
                    <a:pt x="471" y="508"/>
                    <a:pt x="471" y="508"/>
                  </a:cubicBezTo>
                  <a:cubicBezTo>
                    <a:pt x="471" y="508"/>
                    <a:pt x="470" y="508"/>
                    <a:pt x="470" y="508"/>
                  </a:cubicBezTo>
                  <a:moveTo>
                    <a:pt x="479" y="509"/>
                  </a:moveTo>
                  <a:cubicBezTo>
                    <a:pt x="478" y="509"/>
                    <a:pt x="477" y="509"/>
                    <a:pt x="477" y="509"/>
                  </a:cubicBezTo>
                  <a:cubicBezTo>
                    <a:pt x="476" y="509"/>
                    <a:pt x="476" y="509"/>
                    <a:pt x="476" y="509"/>
                  </a:cubicBezTo>
                  <a:cubicBezTo>
                    <a:pt x="477" y="510"/>
                    <a:pt x="478" y="510"/>
                    <a:pt x="479" y="510"/>
                  </a:cubicBezTo>
                  <a:cubicBezTo>
                    <a:pt x="480" y="510"/>
                    <a:pt x="480" y="510"/>
                    <a:pt x="481" y="511"/>
                  </a:cubicBezTo>
                  <a:cubicBezTo>
                    <a:pt x="481" y="510"/>
                    <a:pt x="481" y="510"/>
                    <a:pt x="481" y="510"/>
                  </a:cubicBezTo>
                  <a:cubicBezTo>
                    <a:pt x="481" y="510"/>
                    <a:pt x="481" y="510"/>
                    <a:pt x="481" y="510"/>
                  </a:cubicBezTo>
                  <a:cubicBezTo>
                    <a:pt x="480" y="510"/>
                    <a:pt x="480" y="510"/>
                    <a:pt x="479" y="509"/>
                  </a:cubicBezTo>
                  <a:moveTo>
                    <a:pt x="791" y="510"/>
                  </a:moveTo>
                  <a:cubicBezTo>
                    <a:pt x="789" y="510"/>
                    <a:pt x="786" y="510"/>
                    <a:pt x="784" y="511"/>
                  </a:cubicBezTo>
                  <a:cubicBezTo>
                    <a:pt x="784" y="511"/>
                    <a:pt x="783" y="511"/>
                    <a:pt x="783" y="511"/>
                  </a:cubicBezTo>
                  <a:cubicBezTo>
                    <a:pt x="764" y="514"/>
                    <a:pt x="743" y="516"/>
                    <a:pt x="720" y="518"/>
                  </a:cubicBezTo>
                  <a:cubicBezTo>
                    <a:pt x="721" y="518"/>
                    <a:pt x="721" y="518"/>
                    <a:pt x="721" y="519"/>
                  </a:cubicBezTo>
                  <a:cubicBezTo>
                    <a:pt x="743" y="517"/>
                    <a:pt x="764" y="515"/>
                    <a:pt x="782" y="512"/>
                  </a:cubicBezTo>
                  <a:cubicBezTo>
                    <a:pt x="783" y="512"/>
                    <a:pt x="783" y="512"/>
                    <a:pt x="783" y="512"/>
                  </a:cubicBezTo>
                  <a:cubicBezTo>
                    <a:pt x="786" y="511"/>
                    <a:pt x="789" y="511"/>
                    <a:pt x="792" y="511"/>
                  </a:cubicBezTo>
                  <a:cubicBezTo>
                    <a:pt x="792" y="510"/>
                    <a:pt x="791" y="510"/>
                    <a:pt x="791" y="510"/>
                  </a:cubicBezTo>
                  <a:moveTo>
                    <a:pt x="467" y="510"/>
                  </a:moveTo>
                  <a:cubicBezTo>
                    <a:pt x="467" y="510"/>
                    <a:pt x="467" y="510"/>
                    <a:pt x="467" y="510"/>
                  </a:cubicBezTo>
                  <a:cubicBezTo>
                    <a:pt x="467" y="510"/>
                    <a:pt x="467" y="510"/>
                    <a:pt x="467" y="510"/>
                  </a:cubicBezTo>
                  <a:cubicBezTo>
                    <a:pt x="467" y="510"/>
                    <a:pt x="467" y="510"/>
                    <a:pt x="467" y="510"/>
                  </a:cubicBezTo>
                  <a:moveTo>
                    <a:pt x="484" y="510"/>
                  </a:moveTo>
                  <a:cubicBezTo>
                    <a:pt x="484" y="510"/>
                    <a:pt x="484" y="510"/>
                    <a:pt x="484" y="510"/>
                  </a:cubicBezTo>
                  <a:cubicBezTo>
                    <a:pt x="485" y="511"/>
                    <a:pt x="486" y="511"/>
                    <a:pt x="487" y="511"/>
                  </a:cubicBezTo>
                  <a:cubicBezTo>
                    <a:pt x="487" y="511"/>
                    <a:pt x="488" y="512"/>
                    <a:pt x="488" y="512"/>
                  </a:cubicBezTo>
                  <a:cubicBezTo>
                    <a:pt x="489" y="512"/>
                    <a:pt x="490" y="512"/>
                    <a:pt x="491" y="512"/>
                  </a:cubicBezTo>
                  <a:cubicBezTo>
                    <a:pt x="491" y="512"/>
                    <a:pt x="492" y="512"/>
                    <a:pt x="493" y="512"/>
                  </a:cubicBezTo>
                  <a:cubicBezTo>
                    <a:pt x="493" y="512"/>
                    <a:pt x="493" y="512"/>
                    <a:pt x="494" y="512"/>
                  </a:cubicBezTo>
                  <a:cubicBezTo>
                    <a:pt x="494" y="512"/>
                    <a:pt x="495" y="512"/>
                    <a:pt x="495" y="512"/>
                  </a:cubicBezTo>
                  <a:cubicBezTo>
                    <a:pt x="495" y="512"/>
                    <a:pt x="495" y="512"/>
                    <a:pt x="495" y="511"/>
                  </a:cubicBezTo>
                  <a:cubicBezTo>
                    <a:pt x="494" y="511"/>
                    <a:pt x="492" y="511"/>
                    <a:pt x="491" y="511"/>
                  </a:cubicBezTo>
                  <a:cubicBezTo>
                    <a:pt x="491" y="511"/>
                    <a:pt x="490" y="511"/>
                    <a:pt x="490" y="511"/>
                  </a:cubicBezTo>
                  <a:cubicBezTo>
                    <a:pt x="489" y="511"/>
                    <a:pt x="488" y="511"/>
                    <a:pt x="487" y="510"/>
                  </a:cubicBezTo>
                  <a:cubicBezTo>
                    <a:pt x="487" y="510"/>
                    <a:pt x="487" y="510"/>
                    <a:pt x="487" y="510"/>
                  </a:cubicBezTo>
                  <a:cubicBezTo>
                    <a:pt x="486" y="510"/>
                    <a:pt x="486" y="510"/>
                    <a:pt x="485" y="510"/>
                  </a:cubicBezTo>
                  <a:cubicBezTo>
                    <a:pt x="485" y="510"/>
                    <a:pt x="485" y="510"/>
                    <a:pt x="484" y="510"/>
                  </a:cubicBezTo>
                  <a:moveTo>
                    <a:pt x="468" y="510"/>
                  </a:moveTo>
                  <a:cubicBezTo>
                    <a:pt x="468" y="511"/>
                    <a:pt x="467" y="511"/>
                    <a:pt x="467" y="511"/>
                  </a:cubicBezTo>
                  <a:cubicBezTo>
                    <a:pt x="467" y="512"/>
                    <a:pt x="468" y="513"/>
                    <a:pt x="468" y="514"/>
                  </a:cubicBezTo>
                  <a:cubicBezTo>
                    <a:pt x="468" y="514"/>
                    <a:pt x="467" y="515"/>
                    <a:pt x="467" y="515"/>
                  </a:cubicBezTo>
                  <a:cubicBezTo>
                    <a:pt x="468" y="515"/>
                    <a:pt x="468" y="515"/>
                    <a:pt x="468" y="515"/>
                  </a:cubicBezTo>
                  <a:cubicBezTo>
                    <a:pt x="468" y="515"/>
                    <a:pt x="468" y="514"/>
                    <a:pt x="468" y="514"/>
                  </a:cubicBezTo>
                  <a:cubicBezTo>
                    <a:pt x="468" y="513"/>
                    <a:pt x="468" y="512"/>
                    <a:pt x="468" y="510"/>
                  </a:cubicBezTo>
                  <a:moveTo>
                    <a:pt x="482" y="511"/>
                  </a:moveTo>
                  <a:cubicBezTo>
                    <a:pt x="482" y="511"/>
                    <a:pt x="482" y="511"/>
                    <a:pt x="482" y="511"/>
                  </a:cubicBezTo>
                  <a:cubicBezTo>
                    <a:pt x="482" y="511"/>
                    <a:pt x="483" y="511"/>
                    <a:pt x="483" y="511"/>
                  </a:cubicBezTo>
                  <a:cubicBezTo>
                    <a:pt x="483" y="511"/>
                    <a:pt x="483" y="511"/>
                    <a:pt x="482" y="511"/>
                  </a:cubicBezTo>
                  <a:moveTo>
                    <a:pt x="498" y="512"/>
                  </a:moveTo>
                  <a:cubicBezTo>
                    <a:pt x="499" y="512"/>
                    <a:pt x="500" y="512"/>
                    <a:pt x="500" y="513"/>
                  </a:cubicBezTo>
                  <a:cubicBezTo>
                    <a:pt x="501" y="513"/>
                    <a:pt x="501" y="512"/>
                    <a:pt x="501" y="512"/>
                  </a:cubicBezTo>
                  <a:cubicBezTo>
                    <a:pt x="500" y="512"/>
                    <a:pt x="499" y="512"/>
                    <a:pt x="498" y="512"/>
                  </a:cubicBezTo>
                  <a:moveTo>
                    <a:pt x="497" y="512"/>
                  </a:moveTo>
                  <a:cubicBezTo>
                    <a:pt x="496" y="512"/>
                    <a:pt x="496" y="513"/>
                    <a:pt x="496" y="513"/>
                  </a:cubicBezTo>
                  <a:cubicBezTo>
                    <a:pt x="497" y="513"/>
                    <a:pt x="498" y="513"/>
                    <a:pt x="498" y="513"/>
                  </a:cubicBezTo>
                  <a:cubicBezTo>
                    <a:pt x="498" y="513"/>
                    <a:pt x="497" y="513"/>
                    <a:pt x="497" y="512"/>
                  </a:cubicBezTo>
                  <a:moveTo>
                    <a:pt x="504" y="513"/>
                  </a:moveTo>
                  <a:cubicBezTo>
                    <a:pt x="503" y="513"/>
                    <a:pt x="502" y="513"/>
                    <a:pt x="502" y="513"/>
                  </a:cubicBezTo>
                  <a:cubicBezTo>
                    <a:pt x="502" y="513"/>
                    <a:pt x="502" y="513"/>
                    <a:pt x="502" y="513"/>
                  </a:cubicBezTo>
                  <a:cubicBezTo>
                    <a:pt x="502" y="513"/>
                    <a:pt x="503" y="514"/>
                    <a:pt x="503" y="514"/>
                  </a:cubicBezTo>
                  <a:cubicBezTo>
                    <a:pt x="504" y="514"/>
                    <a:pt x="504" y="514"/>
                    <a:pt x="505" y="514"/>
                  </a:cubicBezTo>
                  <a:cubicBezTo>
                    <a:pt x="506" y="514"/>
                    <a:pt x="507" y="514"/>
                    <a:pt x="508" y="514"/>
                  </a:cubicBezTo>
                  <a:cubicBezTo>
                    <a:pt x="509" y="514"/>
                    <a:pt x="510" y="514"/>
                    <a:pt x="510" y="513"/>
                  </a:cubicBezTo>
                  <a:cubicBezTo>
                    <a:pt x="509" y="513"/>
                    <a:pt x="507" y="513"/>
                    <a:pt x="506" y="513"/>
                  </a:cubicBezTo>
                  <a:cubicBezTo>
                    <a:pt x="506" y="513"/>
                    <a:pt x="505" y="513"/>
                    <a:pt x="505" y="513"/>
                  </a:cubicBezTo>
                  <a:cubicBezTo>
                    <a:pt x="504" y="513"/>
                    <a:pt x="504" y="513"/>
                    <a:pt x="504" y="513"/>
                  </a:cubicBezTo>
                  <a:moveTo>
                    <a:pt x="512" y="514"/>
                  </a:moveTo>
                  <a:cubicBezTo>
                    <a:pt x="512" y="514"/>
                    <a:pt x="511" y="514"/>
                    <a:pt x="510" y="514"/>
                  </a:cubicBezTo>
                  <a:cubicBezTo>
                    <a:pt x="511" y="515"/>
                    <a:pt x="511" y="515"/>
                    <a:pt x="511" y="515"/>
                  </a:cubicBezTo>
                  <a:cubicBezTo>
                    <a:pt x="512" y="515"/>
                    <a:pt x="512" y="515"/>
                    <a:pt x="513" y="515"/>
                  </a:cubicBezTo>
                  <a:cubicBezTo>
                    <a:pt x="514" y="515"/>
                    <a:pt x="515" y="515"/>
                    <a:pt x="516" y="515"/>
                  </a:cubicBezTo>
                  <a:cubicBezTo>
                    <a:pt x="514" y="515"/>
                    <a:pt x="513" y="514"/>
                    <a:pt x="512" y="514"/>
                  </a:cubicBezTo>
                  <a:moveTo>
                    <a:pt x="516" y="514"/>
                  </a:moveTo>
                  <a:cubicBezTo>
                    <a:pt x="517" y="515"/>
                    <a:pt x="518" y="515"/>
                    <a:pt x="519" y="515"/>
                  </a:cubicBezTo>
                  <a:cubicBezTo>
                    <a:pt x="519" y="515"/>
                    <a:pt x="519" y="515"/>
                    <a:pt x="519" y="515"/>
                  </a:cubicBezTo>
                  <a:cubicBezTo>
                    <a:pt x="519" y="515"/>
                    <a:pt x="520" y="516"/>
                    <a:pt x="520" y="516"/>
                  </a:cubicBezTo>
                  <a:cubicBezTo>
                    <a:pt x="520" y="515"/>
                    <a:pt x="521" y="515"/>
                    <a:pt x="522" y="515"/>
                  </a:cubicBezTo>
                  <a:cubicBezTo>
                    <a:pt x="522" y="515"/>
                    <a:pt x="522" y="515"/>
                    <a:pt x="521" y="515"/>
                  </a:cubicBezTo>
                  <a:cubicBezTo>
                    <a:pt x="521" y="515"/>
                    <a:pt x="521" y="515"/>
                    <a:pt x="520" y="515"/>
                  </a:cubicBezTo>
                  <a:cubicBezTo>
                    <a:pt x="519" y="514"/>
                    <a:pt x="517" y="514"/>
                    <a:pt x="516" y="514"/>
                  </a:cubicBezTo>
                  <a:moveTo>
                    <a:pt x="524" y="515"/>
                  </a:moveTo>
                  <a:cubicBezTo>
                    <a:pt x="523" y="515"/>
                    <a:pt x="523" y="516"/>
                    <a:pt x="522" y="516"/>
                  </a:cubicBezTo>
                  <a:cubicBezTo>
                    <a:pt x="524" y="516"/>
                    <a:pt x="526" y="516"/>
                    <a:pt x="528" y="516"/>
                  </a:cubicBezTo>
                  <a:cubicBezTo>
                    <a:pt x="528" y="516"/>
                    <a:pt x="529" y="516"/>
                    <a:pt x="529" y="517"/>
                  </a:cubicBezTo>
                  <a:cubicBezTo>
                    <a:pt x="530" y="516"/>
                    <a:pt x="530" y="516"/>
                    <a:pt x="531" y="516"/>
                  </a:cubicBezTo>
                  <a:cubicBezTo>
                    <a:pt x="531" y="516"/>
                    <a:pt x="531" y="516"/>
                    <a:pt x="531" y="516"/>
                  </a:cubicBezTo>
                  <a:cubicBezTo>
                    <a:pt x="530" y="516"/>
                    <a:pt x="530" y="516"/>
                    <a:pt x="530" y="516"/>
                  </a:cubicBezTo>
                  <a:cubicBezTo>
                    <a:pt x="529" y="516"/>
                    <a:pt x="529" y="515"/>
                    <a:pt x="529" y="515"/>
                  </a:cubicBezTo>
                  <a:cubicBezTo>
                    <a:pt x="527" y="515"/>
                    <a:pt x="525" y="515"/>
                    <a:pt x="524" y="515"/>
                  </a:cubicBezTo>
                  <a:moveTo>
                    <a:pt x="534" y="516"/>
                  </a:moveTo>
                  <a:cubicBezTo>
                    <a:pt x="534" y="516"/>
                    <a:pt x="535" y="517"/>
                    <a:pt x="536" y="517"/>
                  </a:cubicBezTo>
                  <a:cubicBezTo>
                    <a:pt x="537" y="517"/>
                    <a:pt x="537" y="517"/>
                    <a:pt x="538" y="516"/>
                  </a:cubicBezTo>
                  <a:cubicBezTo>
                    <a:pt x="536" y="516"/>
                    <a:pt x="535" y="516"/>
                    <a:pt x="534" y="516"/>
                  </a:cubicBezTo>
                  <a:moveTo>
                    <a:pt x="467" y="516"/>
                  </a:moveTo>
                  <a:cubicBezTo>
                    <a:pt x="467" y="516"/>
                    <a:pt x="467" y="516"/>
                    <a:pt x="467" y="516"/>
                  </a:cubicBezTo>
                  <a:cubicBezTo>
                    <a:pt x="467" y="516"/>
                    <a:pt x="467" y="516"/>
                    <a:pt x="467" y="516"/>
                  </a:cubicBezTo>
                  <a:cubicBezTo>
                    <a:pt x="467" y="516"/>
                    <a:pt x="467" y="516"/>
                    <a:pt x="467" y="516"/>
                  </a:cubicBezTo>
                  <a:moveTo>
                    <a:pt x="532" y="516"/>
                  </a:moveTo>
                  <a:cubicBezTo>
                    <a:pt x="532" y="516"/>
                    <a:pt x="532" y="517"/>
                    <a:pt x="531" y="517"/>
                  </a:cubicBezTo>
                  <a:cubicBezTo>
                    <a:pt x="532" y="517"/>
                    <a:pt x="533" y="517"/>
                    <a:pt x="533" y="517"/>
                  </a:cubicBezTo>
                  <a:cubicBezTo>
                    <a:pt x="533" y="517"/>
                    <a:pt x="533" y="517"/>
                    <a:pt x="532" y="516"/>
                  </a:cubicBezTo>
                  <a:moveTo>
                    <a:pt x="540" y="517"/>
                  </a:moveTo>
                  <a:cubicBezTo>
                    <a:pt x="539" y="517"/>
                    <a:pt x="539" y="517"/>
                    <a:pt x="538" y="517"/>
                  </a:cubicBezTo>
                  <a:cubicBezTo>
                    <a:pt x="539" y="518"/>
                    <a:pt x="541" y="518"/>
                    <a:pt x="543" y="518"/>
                  </a:cubicBezTo>
                  <a:cubicBezTo>
                    <a:pt x="543" y="518"/>
                    <a:pt x="543" y="518"/>
                    <a:pt x="544" y="518"/>
                  </a:cubicBezTo>
                  <a:cubicBezTo>
                    <a:pt x="550" y="518"/>
                    <a:pt x="556" y="519"/>
                    <a:pt x="562" y="519"/>
                  </a:cubicBezTo>
                  <a:cubicBezTo>
                    <a:pt x="563" y="519"/>
                    <a:pt x="563" y="519"/>
                    <a:pt x="563" y="519"/>
                  </a:cubicBezTo>
                  <a:cubicBezTo>
                    <a:pt x="568" y="520"/>
                    <a:pt x="572" y="520"/>
                    <a:pt x="576" y="520"/>
                  </a:cubicBezTo>
                  <a:cubicBezTo>
                    <a:pt x="576" y="520"/>
                    <a:pt x="577" y="520"/>
                    <a:pt x="577" y="520"/>
                  </a:cubicBezTo>
                  <a:cubicBezTo>
                    <a:pt x="580" y="520"/>
                    <a:pt x="583" y="521"/>
                    <a:pt x="585" y="521"/>
                  </a:cubicBezTo>
                  <a:cubicBezTo>
                    <a:pt x="586" y="521"/>
                    <a:pt x="586" y="521"/>
                    <a:pt x="586" y="521"/>
                  </a:cubicBezTo>
                  <a:cubicBezTo>
                    <a:pt x="604" y="522"/>
                    <a:pt x="621" y="522"/>
                    <a:pt x="638" y="522"/>
                  </a:cubicBezTo>
                  <a:cubicBezTo>
                    <a:pt x="641" y="522"/>
                    <a:pt x="645" y="522"/>
                    <a:pt x="649" y="522"/>
                  </a:cubicBezTo>
                  <a:cubicBezTo>
                    <a:pt x="649" y="522"/>
                    <a:pt x="648" y="521"/>
                    <a:pt x="648" y="521"/>
                  </a:cubicBezTo>
                  <a:cubicBezTo>
                    <a:pt x="645" y="521"/>
                    <a:pt x="641" y="521"/>
                    <a:pt x="638" y="521"/>
                  </a:cubicBezTo>
                  <a:cubicBezTo>
                    <a:pt x="621" y="521"/>
                    <a:pt x="604" y="521"/>
                    <a:pt x="586" y="520"/>
                  </a:cubicBezTo>
                  <a:cubicBezTo>
                    <a:pt x="586" y="520"/>
                    <a:pt x="586" y="520"/>
                    <a:pt x="585" y="520"/>
                  </a:cubicBezTo>
                  <a:cubicBezTo>
                    <a:pt x="583" y="520"/>
                    <a:pt x="580" y="519"/>
                    <a:pt x="577" y="519"/>
                  </a:cubicBezTo>
                  <a:cubicBezTo>
                    <a:pt x="577" y="519"/>
                    <a:pt x="577" y="519"/>
                    <a:pt x="576" y="519"/>
                  </a:cubicBezTo>
                  <a:cubicBezTo>
                    <a:pt x="572" y="519"/>
                    <a:pt x="568" y="519"/>
                    <a:pt x="564" y="518"/>
                  </a:cubicBezTo>
                  <a:cubicBezTo>
                    <a:pt x="563" y="518"/>
                    <a:pt x="563" y="518"/>
                    <a:pt x="563" y="518"/>
                  </a:cubicBezTo>
                  <a:cubicBezTo>
                    <a:pt x="557" y="518"/>
                    <a:pt x="551" y="517"/>
                    <a:pt x="544" y="517"/>
                  </a:cubicBezTo>
                  <a:cubicBezTo>
                    <a:pt x="544" y="517"/>
                    <a:pt x="544" y="517"/>
                    <a:pt x="543" y="517"/>
                  </a:cubicBezTo>
                  <a:cubicBezTo>
                    <a:pt x="542" y="517"/>
                    <a:pt x="541" y="517"/>
                    <a:pt x="540" y="517"/>
                  </a:cubicBezTo>
                  <a:moveTo>
                    <a:pt x="468" y="517"/>
                  </a:moveTo>
                  <a:cubicBezTo>
                    <a:pt x="467" y="517"/>
                    <a:pt x="466" y="518"/>
                    <a:pt x="466" y="518"/>
                  </a:cubicBezTo>
                  <a:cubicBezTo>
                    <a:pt x="464" y="520"/>
                    <a:pt x="462" y="521"/>
                    <a:pt x="458" y="523"/>
                  </a:cubicBezTo>
                  <a:cubicBezTo>
                    <a:pt x="456" y="523"/>
                    <a:pt x="454" y="524"/>
                    <a:pt x="452" y="524"/>
                  </a:cubicBezTo>
                  <a:cubicBezTo>
                    <a:pt x="452" y="524"/>
                    <a:pt x="452" y="524"/>
                    <a:pt x="452" y="524"/>
                  </a:cubicBezTo>
                  <a:cubicBezTo>
                    <a:pt x="452" y="524"/>
                    <a:pt x="453" y="525"/>
                    <a:pt x="454" y="525"/>
                  </a:cubicBezTo>
                  <a:cubicBezTo>
                    <a:pt x="461" y="523"/>
                    <a:pt x="466" y="521"/>
                    <a:pt x="467" y="517"/>
                  </a:cubicBezTo>
                  <a:cubicBezTo>
                    <a:pt x="468" y="517"/>
                    <a:pt x="468" y="517"/>
                    <a:pt x="468" y="517"/>
                  </a:cubicBezTo>
                  <a:moveTo>
                    <a:pt x="719" y="518"/>
                  </a:moveTo>
                  <a:cubicBezTo>
                    <a:pt x="697" y="520"/>
                    <a:pt x="674" y="521"/>
                    <a:pt x="649" y="521"/>
                  </a:cubicBezTo>
                  <a:cubicBezTo>
                    <a:pt x="649" y="521"/>
                    <a:pt x="650" y="522"/>
                    <a:pt x="650" y="522"/>
                  </a:cubicBezTo>
                  <a:cubicBezTo>
                    <a:pt x="675" y="522"/>
                    <a:pt x="698" y="521"/>
                    <a:pt x="720" y="519"/>
                  </a:cubicBezTo>
                  <a:cubicBezTo>
                    <a:pt x="720" y="518"/>
                    <a:pt x="719" y="518"/>
                    <a:pt x="719" y="518"/>
                  </a:cubicBezTo>
                  <a:moveTo>
                    <a:pt x="334" y="518"/>
                  </a:moveTo>
                  <a:cubicBezTo>
                    <a:pt x="334" y="518"/>
                    <a:pt x="334" y="519"/>
                    <a:pt x="334" y="519"/>
                  </a:cubicBezTo>
                  <a:cubicBezTo>
                    <a:pt x="336" y="519"/>
                    <a:pt x="337" y="520"/>
                    <a:pt x="339" y="520"/>
                  </a:cubicBezTo>
                  <a:cubicBezTo>
                    <a:pt x="339" y="520"/>
                    <a:pt x="338" y="519"/>
                    <a:pt x="338" y="519"/>
                  </a:cubicBezTo>
                  <a:cubicBezTo>
                    <a:pt x="337" y="519"/>
                    <a:pt x="335" y="518"/>
                    <a:pt x="334" y="518"/>
                  </a:cubicBezTo>
                  <a:moveTo>
                    <a:pt x="340" y="519"/>
                  </a:moveTo>
                  <a:cubicBezTo>
                    <a:pt x="340" y="520"/>
                    <a:pt x="340" y="520"/>
                    <a:pt x="341" y="520"/>
                  </a:cubicBezTo>
                  <a:cubicBezTo>
                    <a:pt x="342" y="521"/>
                    <a:pt x="343" y="521"/>
                    <a:pt x="344" y="521"/>
                  </a:cubicBezTo>
                  <a:cubicBezTo>
                    <a:pt x="345" y="521"/>
                    <a:pt x="345" y="521"/>
                    <a:pt x="345" y="521"/>
                  </a:cubicBezTo>
                  <a:cubicBezTo>
                    <a:pt x="345" y="521"/>
                    <a:pt x="345" y="521"/>
                    <a:pt x="345" y="520"/>
                  </a:cubicBezTo>
                  <a:cubicBezTo>
                    <a:pt x="345" y="520"/>
                    <a:pt x="345" y="520"/>
                    <a:pt x="345" y="520"/>
                  </a:cubicBezTo>
                  <a:cubicBezTo>
                    <a:pt x="343" y="520"/>
                    <a:pt x="341" y="519"/>
                    <a:pt x="340" y="519"/>
                  </a:cubicBezTo>
                  <a:moveTo>
                    <a:pt x="346" y="520"/>
                  </a:moveTo>
                  <a:cubicBezTo>
                    <a:pt x="346" y="521"/>
                    <a:pt x="346" y="521"/>
                    <a:pt x="346" y="521"/>
                  </a:cubicBezTo>
                  <a:cubicBezTo>
                    <a:pt x="350" y="522"/>
                    <a:pt x="354" y="523"/>
                    <a:pt x="358" y="523"/>
                  </a:cubicBezTo>
                  <a:cubicBezTo>
                    <a:pt x="359" y="523"/>
                    <a:pt x="359" y="523"/>
                    <a:pt x="360" y="522"/>
                  </a:cubicBezTo>
                  <a:cubicBezTo>
                    <a:pt x="355" y="522"/>
                    <a:pt x="351" y="521"/>
                    <a:pt x="346" y="520"/>
                  </a:cubicBezTo>
                  <a:moveTo>
                    <a:pt x="362" y="522"/>
                  </a:moveTo>
                  <a:cubicBezTo>
                    <a:pt x="361" y="523"/>
                    <a:pt x="361" y="523"/>
                    <a:pt x="360" y="523"/>
                  </a:cubicBezTo>
                  <a:cubicBezTo>
                    <a:pt x="362" y="524"/>
                    <a:pt x="364" y="524"/>
                    <a:pt x="367" y="524"/>
                  </a:cubicBezTo>
                  <a:cubicBezTo>
                    <a:pt x="367" y="524"/>
                    <a:pt x="367" y="523"/>
                    <a:pt x="368" y="523"/>
                  </a:cubicBezTo>
                  <a:cubicBezTo>
                    <a:pt x="366" y="523"/>
                    <a:pt x="364" y="523"/>
                    <a:pt x="362" y="522"/>
                  </a:cubicBezTo>
                  <a:moveTo>
                    <a:pt x="369" y="523"/>
                  </a:moveTo>
                  <a:cubicBezTo>
                    <a:pt x="368" y="524"/>
                    <a:pt x="368" y="524"/>
                    <a:pt x="368" y="524"/>
                  </a:cubicBezTo>
                  <a:cubicBezTo>
                    <a:pt x="370" y="524"/>
                    <a:pt x="371" y="524"/>
                    <a:pt x="373" y="525"/>
                  </a:cubicBezTo>
                  <a:cubicBezTo>
                    <a:pt x="372" y="524"/>
                    <a:pt x="372" y="524"/>
                    <a:pt x="371" y="523"/>
                  </a:cubicBezTo>
                  <a:cubicBezTo>
                    <a:pt x="370" y="523"/>
                    <a:pt x="370" y="523"/>
                    <a:pt x="369" y="523"/>
                  </a:cubicBezTo>
                  <a:moveTo>
                    <a:pt x="374" y="524"/>
                  </a:moveTo>
                  <a:cubicBezTo>
                    <a:pt x="374" y="524"/>
                    <a:pt x="375" y="524"/>
                    <a:pt x="375" y="525"/>
                  </a:cubicBezTo>
                  <a:cubicBezTo>
                    <a:pt x="377" y="525"/>
                    <a:pt x="378" y="525"/>
                    <a:pt x="379" y="525"/>
                  </a:cubicBezTo>
                  <a:cubicBezTo>
                    <a:pt x="380" y="525"/>
                    <a:pt x="380" y="525"/>
                    <a:pt x="381" y="524"/>
                  </a:cubicBezTo>
                  <a:cubicBezTo>
                    <a:pt x="378" y="524"/>
                    <a:pt x="376" y="524"/>
                    <a:pt x="374" y="524"/>
                  </a:cubicBezTo>
                  <a:moveTo>
                    <a:pt x="383" y="524"/>
                  </a:moveTo>
                  <a:cubicBezTo>
                    <a:pt x="382" y="525"/>
                    <a:pt x="382" y="525"/>
                    <a:pt x="381" y="525"/>
                  </a:cubicBezTo>
                  <a:cubicBezTo>
                    <a:pt x="386" y="526"/>
                    <a:pt x="390" y="526"/>
                    <a:pt x="395" y="526"/>
                  </a:cubicBezTo>
                  <a:cubicBezTo>
                    <a:pt x="396" y="526"/>
                    <a:pt x="396" y="525"/>
                    <a:pt x="397" y="525"/>
                  </a:cubicBezTo>
                  <a:cubicBezTo>
                    <a:pt x="392" y="525"/>
                    <a:pt x="387" y="525"/>
                    <a:pt x="383" y="524"/>
                  </a:cubicBezTo>
                  <a:moveTo>
                    <a:pt x="451" y="525"/>
                  </a:moveTo>
                  <a:cubicBezTo>
                    <a:pt x="450" y="525"/>
                    <a:pt x="449" y="525"/>
                    <a:pt x="448" y="526"/>
                  </a:cubicBezTo>
                  <a:cubicBezTo>
                    <a:pt x="449" y="526"/>
                    <a:pt x="449" y="526"/>
                    <a:pt x="449" y="526"/>
                  </a:cubicBezTo>
                  <a:cubicBezTo>
                    <a:pt x="450" y="526"/>
                    <a:pt x="451" y="525"/>
                    <a:pt x="452" y="525"/>
                  </a:cubicBezTo>
                  <a:cubicBezTo>
                    <a:pt x="451" y="525"/>
                    <a:pt x="451" y="525"/>
                    <a:pt x="451" y="525"/>
                  </a:cubicBezTo>
                  <a:moveTo>
                    <a:pt x="448" y="525"/>
                  </a:moveTo>
                  <a:cubicBezTo>
                    <a:pt x="448" y="525"/>
                    <a:pt x="447" y="525"/>
                    <a:pt x="447" y="525"/>
                  </a:cubicBezTo>
                  <a:cubicBezTo>
                    <a:pt x="446" y="525"/>
                    <a:pt x="446" y="525"/>
                    <a:pt x="445" y="525"/>
                  </a:cubicBezTo>
                  <a:cubicBezTo>
                    <a:pt x="443" y="525"/>
                    <a:pt x="440" y="526"/>
                    <a:pt x="437" y="526"/>
                  </a:cubicBezTo>
                  <a:cubicBezTo>
                    <a:pt x="437" y="526"/>
                    <a:pt x="436" y="526"/>
                    <a:pt x="436" y="526"/>
                  </a:cubicBezTo>
                  <a:cubicBezTo>
                    <a:pt x="435" y="526"/>
                    <a:pt x="434" y="526"/>
                    <a:pt x="434" y="526"/>
                  </a:cubicBezTo>
                  <a:cubicBezTo>
                    <a:pt x="434" y="526"/>
                    <a:pt x="433" y="526"/>
                    <a:pt x="433" y="526"/>
                  </a:cubicBezTo>
                  <a:cubicBezTo>
                    <a:pt x="433" y="526"/>
                    <a:pt x="432" y="527"/>
                    <a:pt x="431" y="527"/>
                  </a:cubicBezTo>
                  <a:cubicBezTo>
                    <a:pt x="431" y="527"/>
                    <a:pt x="431" y="527"/>
                    <a:pt x="431" y="527"/>
                  </a:cubicBezTo>
                  <a:cubicBezTo>
                    <a:pt x="432" y="527"/>
                    <a:pt x="432" y="527"/>
                    <a:pt x="432" y="527"/>
                  </a:cubicBezTo>
                  <a:cubicBezTo>
                    <a:pt x="433" y="527"/>
                    <a:pt x="433" y="527"/>
                    <a:pt x="434" y="527"/>
                  </a:cubicBezTo>
                  <a:cubicBezTo>
                    <a:pt x="435" y="527"/>
                    <a:pt x="437" y="527"/>
                    <a:pt x="438" y="527"/>
                  </a:cubicBezTo>
                  <a:cubicBezTo>
                    <a:pt x="440" y="527"/>
                    <a:pt x="442" y="527"/>
                    <a:pt x="444" y="526"/>
                  </a:cubicBezTo>
                  <a:cubicBezTo>
                    <a:pt x="444" y="526"/>
                    <a:pt x="445" y="526"/>
                    <a:pt x="445" y="526"/>
                  </a:cubicBezTo>
                  <a:cubicBezTo>
                    <a:pt x="446" y="526"/>
                    <a:pt x="447" y="525"/>
                    <a:pt x="448" y="525"/>
                  </a:cubicBezTo>
                  <a:moveTo>
                    <a:pt x="398" y="525"/>
                  </a:moveTo>
                  <a:cubicBezTo>
                    <a:pt x="398" y="526"/>
                    <a:pt x="397" y="526"/>
                    <a:pt x="397" y="526"/>
                  </a:cubicBezTo>
                  <a:cubicBezTo>
                    <a:pt x="398" y="526"/>
                    <a:pt x="399" y="526"/>
                    <a:pt x="400" y="526"/>
                  </a:cubicBezTo>
                  <a:cubicBezTo>
                    <a:pt x="401" y="526"/>
                    <a:pt x="401" y="526"/>
                    <a:pt x="402" y="525"/>
                  </a:cubicBezTo>
                  <a:cubicBezTo>
                    <a:pt x="401" y="525"/>
                    <a:pt x="400" y="525"/>
                    <a:pt x="398" y="525"/>
                  </a:cubicBezTo>
                  <a:moveTo>
                    <a:pt x="404" y="526"/>
                  </a:moveTo>
                  <a:cubicBezTo>
                    <a:pt x="404" y="526"/>
                    <a:pt x="403" y="526"/>
                    <a:pt x="402" y="526"/>
                  </a:cubicBezTo>
                  <a:cubicBezTo>
                    <a:pt x="402" y="526"/>
                    <a:pt x="402" y="526"/>
                    <a:pt x="403" y="526"/>
                  </a:cubicBezTo>
                  <a:cubicBezTo>
                    <a:pt x="403" y="526"/>
                    <a:pt x="404" y="526"/>
                    <a:pt x="405" y="527"/>
                  </a:cubicBezTo>
                  <a:cubicBezTo>
                    <a:pt x="409" y="527"/>
                    <a:pt x="413" y="527"/>
                    <a:pt x="418" y="527"/>
                  </a:cubicBezTo>
                  <a:cubicBezTo>
                    <a:pt x="420" y="527"/>
                    <a:pt x="422" y="527"/>
                    <a:pt x="424" y="527"/>
                  </a:cubicBezTo>
                  <a:cubicBezTo>
                    <a:pt x="424" y="527"/>
                    <a:pt x="425" y="526"/>
                    <a:pt x="426" y="526"/>
                  </a:cubicBezTo>
                  <a:cubicBezTo>
                    <a:pt x="423" y="526"/>
                    <a:pt x="421" y="526"/>
                    <a:pt x="418" y="526"/>
                  </a:cubicBezTo>
                  <a:cubicBezTo>
                    <a:pt x="414" y="526"/>
                    <a:pt x="410" y="526"/>
                    <a:pt x="406" y="526"/>
                  </a:cubicBezTo>
                  <a:cubicBezTo>
                    <a:pt x="405" y="526"/>
                    <a:pt x="405" y="526"/>
                    <a:pt x="404" y="526"/>
                  </a:cubicBezTo>
                  <a:close/>
                  <a:moveTo>
                    <a:pt x="431" y="526"/>
                  </a:moveTo>
                  <a:cubicBezTo>
                    <a:pt x="430" y="526"/>
                    <a:pt x="429" y="526"/>
                    <a:pt x="429" y="526"/>
                  </a:cubicBezTo>
                  <a:cubicBezTo>
                    <a:pt x="428" y="526"/>
                    <a:pt x="428" y="526"/>
                    <a:pt x="428" y="526"/>
                  </a:cubicBezTo>
                  <a:cubicBezTo>
                    <a:pt x="427" y="526"/>
                    <a:pt x="426" y="527"/>
                    <a:pt x="426" y="527"/>
                  </a:cubicBezTo>
                  <a:cubicBezTo>
                    <a:pt x="426" y="527"/>
                    <a:pt x="426" y="527"/>
                    <a:pt x="426" y="527"/>
                  </a:cubicBezTo>
                  <a:cubicBezTo>
                    <a:pt x="427" y="527"/>
                    <a:pt x="428" y="527"/>
                    <a:pt x="429" y="527"/>
                  </a:cubicBezTo>
                  <a:cubicBezTo>
                    <a:pt x="430" y="527"/>
                    <a:pt x="430" y="526"/>
                    <a:pt x="431" y="526"/>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45" name="Freeform 74"/>
            <p:cNvSpPr>
              <a:spLocks noEditPoints="1"/>
            </p:cNvSpPr>
            <p:nvPr userDrawn="1"/>
          </p:nvSpPr>
          <p:spPr bwMode="auto">
            <a:xfrm>
              <a:off x="1504" y="4052"/>
              <a:ext cx="2449" cy="1111"/>
            </a:xfrm>
            <a:custGeom>
              <a:avLst/>
              <a:gdLst>
                <a:gd name="T0" fmla="*/ 2147483646 w 1209"/>
                <a:gd name="T1" fmla="*/ 2147483646 h 548"/>
                <a:gd name="T2" fmla="*/ 2147483646 w 1209"/>
                <a:gd name="T3" fmla="*/ 2147483646 h 548"/>
                <a:gd name="T4" fmla="*/ 2147483646 w 1209"/>
                <a:gd name="T5" fmla="*/ 2147483646 h 548"/>
                <a:gd name="T6" fmla="*/ 2147483646 w 1209"/>
                <a:gd name="T7" fmla="*/ 2147483646 h 548"/>
                <a:gd name="T8" fmla="*/ 2147483646 w 1209"/>
                <a:gd name="T9" fmla="*/ 2147483646 h 548"/>
                <a:gd name="T10" fmla="*/ 2147483646 w 1209"/>
                <a:gd name="T11" fmla="*/ 2147483646 h 548"/>
                <a:gd name="T12" fmla="*/ 2147483646 w 1209"/>
                <a:gd name="T13" fmla="*/ 2147483646 h 548"/>
                <a:gd name="T14" fmla="*/ 2147483646 w 1209"/>
                <a:gd name="T15" fmla="*/ 2147483646 h 548"/>
                <a:gd name="T16" fmla="*/ 2147483646 w 1209"/>
                <a:gd name="T17" fmla="*/ 2147483646 h 548"/>
                <a:gd name="T18" fmla="*/ 2147483646 w 1209"/>
                <a:gd name="T19" fmla="*/ 2147483646 h 548"/>
                <a:gd name="T20" fmla="*/ 2147483646 w 1209"/>
                <a:gd name="T21" fmla="*/ 2147483646 h 548"/>
                <a:gd name="T22" fmla="*/ 2147483646 w 1209"/>
                <a:gd name="T23" fmla="*/ 2147483646 h 548"/>
                <a:gd name="T24" fmla="*/ 2147483646 w 1209"/>
                <a:gd name="T25" fmla="*/ 2147483646 h 548"/>
                <a:gd name="T26" fmla="*/ 2147483646 w 1209"/>
                <a:gd name="T27" fmla="*/ 2147483646 h 548"/>
                <a:gd name="T28" fmla="*/ 2147483646 w 1209"/>
                <a:gd name="T29" fmla="*/ 2147483646 h 548"/>
                <a:gd name="T30" fmla="*/ 2147483646 w 1209"/>
                <a:gd name="T31" fmla="*/ 2147483646 h 548"/>
                <a:gd name="T32" fmla="*/ 2147483646 w 1209"/>
                <a:gd name="T33" fmla="*/ 2147483646 h 548"/>
                <a:gd name="T34" fmla="*/ 2147483646 w 1209"/>
                <a:gd name="T35" fmla="*/ 2147483646 h 548"/>
                <a:gd name="T36" fmla="*/ 2147483646 w 1209"/>
                <a:gd name="T37" fmla="*/ 2147483646 h 548"/>
                <a:gd name="T38" fmla="*/ 2147483646 w 1209"/>
                <a:gd name="T39" fmla="*/ 2147483646 h 548"/>
                <a:gd name="T40" fmla="*/ 2147483646 w 1209"/>
                <a:gd name="T41" fmla="*/ 2147483646 h 548"/>
                <a:gd name="T42" fmla="*/ 2147483646 w 1209"/>
                <a:gd name="T43" fmla="*/ 2147483646 h 548"/>
                <a:gd name="T44" fmla="*/ 2147483646 w 1209"/>
                <a:gd name="T45" fmla="*/ 2147483646 h 548"/>
                <a:gd name="T46" fmla="*/ 2147483646 w 1209"/>
                <a:gd name="T47" fmla="*/ 2147483646 h 548"/>
                <a:gd name="T48" fmla="*/ 2147483646 w 1209"/>
                <a:gd name="T49" fmla="*/ 2147483646 h 548"/>
                <a:gd name="T50" fmla="*/ 2147483646 w 1209"/>
                <a:gd name="T51" fmla="*/ 2147483646 h 548"/>
                <a:gd name="T52" fmla="*/ 2147483646 w 1209"/>
                <a:gd name="T53" fmla="*/ 2147483646 h 548"/>
                <a:gd name="T54" fmla="*/ 2147483646 w 1209"/>
                <a:gd name="T55" fmla="*/ 2147483646 h 548"/>
                <a:gd name="T56" fmla="*/ 2147483646 w 1209"/>
                <a:gd name="T57" fmla="*/ 2147483646 h 548"/>
                <a:gd name="T58" fmla="*/ 2147483646 w 1209"/>
                <a:gd name="T59" fmla="*/ 2147483646 h 548"/>
                <a:gd name="T60" fmla="*/ 2147483646 w 1209"/>
                <a:gd name="T61" fmla="*/ 2147483646 h 548"/>
                <a:gd name="T62" fmla="*/ 2147483646 w 1209"/>
                <a:gd name="T63" fmla="*/ 2147483646 h 548"/>
                <a:gd name="T64" fmla="*/ 2147483646 w 1209"/>
                <a:gd name="T65" fmla="*/ 2147483646 h 548"/>
                <a:gd name="T66" fmla="*/ 2147483646 w 1209"/>
                <a:gd name="T67" fmla="*/ 2147483646 h 548"/>
                <a:gd name="T68" fmla="*/ 2147483646 w 1209"/>
                <a:gd name="T69" fmla="*/ 2147483646 h 548"/>
                <a:gd name="T70" fmla="*/ 2147483646 w 1209"/>
                <a:gd name="T71" fmla="*/ 2147483646 h 548"/>
                <a:gd name="T72" fmla="*/ 2147483646 w 1209"/>
                <a:gd name="T73" fmla="*/ 2147483646 h 548"/>
                <a:gd name="T74" fmla="*/ 2147483646 w 1209"/>
                <a:gd name="T75" fmla="*/ 2147483646 h 548"/>
                <a:gd name="T76" fmla="*/ 2147483646 w 1209"/>
                <a:gd name="T77" fmla="*/ 2147483646 h 548"/>
                <a:gd name="T78" fmla="*/ 2147483646 w 1209"/>
                <a:gd name="T79" fmla="*/ 2147483646 h 548"/>
                <a:gd name="T80" fmla="*/ 2147483646 w 1209"/>
                <a:gd name="T81" fmla="*/ 2147483646 h 548"/>
                <a:gd name="T82" fmla="*/ 2147483646 w 1209"/>
                <a:gd name="T83" fmla="*/ 2147483646 h 548"/>
                <a:gd name="T84" fmla="*/ 2147483646 w 1209"/>
                <a:gd name="T85" fmla="*/ 2147483646 h 548"/>
                <a:gd name="T86" fmla="*/ 2147483646 w 1209"/>
                <a:gd name="T87" fmla="*/ 2147483646 h 548"/>
                <a:gd name="T88" fmla="*/ 2147483646 w 1209"/>
                <a:gd name="T89" fmla="*/ 2147483646 h 548"/>
                <a:gd name="T90" fmla="*/ 2147483646 w 1209"/>
                <a:gd name="T91" fmla="*/ 2147483646 h 548"/>
                <a:gd name="T92" fmla="*/ 2147483646 w 1209"/>
                <a:gd name="T93" fmla="*/ 2147483646 h 548"/>
                <a:gd name="T94" fmla="*/ 2147483646 w 1209"/>
                <a:gd name="T95" fmla="*/ 2147483646 h 548"/>
                <a:gd name="T96" fmla="*/ 2147483646 w 1209"/>
                <a:gd name="T97" fmla="*/ 2147483646 h 548"/>
                <a:gd name="T98" fmla="*/ 2147483646 w 1209"/>
                <a:gd name="T99" fmla="*/ 2147483646 h 548"/>
                <a:gd name="T100" fmla="*/ 2147483646 w 1209"/>
                <a:gd name="T101" fmla="*/ 2147483646 h 548"/>
                <a:gd name="T102" fmla="*/ 2147483646 w 1209"/>
                <a:gd name="T103" fmla="*/ 2147483646 h 548"/>
                <a:gd name="T104" fmla="*/ 2147483646 w 1209"/>
                <a:gd name="T105" fmla="*/ 2147483646 h 548"/>
                <a:gd name="T106" fmla="*/ 2147483646 w 1209"/>
                <a:gd name="T107" fmla="*/ 2147483646 h 548"/>
                <a:gd name="T108" fmla="*/ 2147483646 w 1209"/>
                <a:gd name="T109" fmla="*/ 2147483646 h 548"/>
                <a:gd name="T110" fmla="*/ 2147483646 w 1209"/>
                <a:gd name="T111" fmla="*/ 2147483646 h 548"/>
                <a:gd name="T112" fmla="*/ 2147483646 w 1209"/>
                <a:gd name="T113" fmla="*/ 2147483646 h 548"/>
                <a:gd name="T114" fmla="*/ 2147483646 w 1209"/>
                <a:gd name="T115" fmla="*/ 2147483646 h 548"/>
                <a:gd name="T116" fmla="*/ 2147483646 w 1209"/>
                <a:gd name="T117" fmla="*/ 2147483646 h 548"/>
                <a:gd name="T118" fmla="*/ 2147483646 w 1209"/>
                <a:gd name="T119" fmla="*/ 2147483646 h 548"/>
                <a:gd name="T120" fmla="*/ 2147483646 w 1209"/>
                <a:gd name="T121" fmla="*/ 2147483646 h 548"/>
                <a:gd name="T122" fmla="*/ 2147483646 w 1209"/>
                <a:gd name="T123" fmla="*/ 2147483646 h 548"/>
                <a:gd name="T124" fmla="*/ 2147483646 w 1209"/>
                <a:gd name="T125" fmla="*/ 2147483646 h 5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209" h="548">
                  <a:moveTo>
                    <a:pt x="810" y="0"/>
                  </a:moveTo>
                  <a:cubicBezTo>
                    <a:pt x="809" y="0"/>
                    <a:pt x="808" y="0"/>
                    <a:pt x="807" y="0"/>
                  </a:cubicBezTo>
                  <a:cubicBezTo>
                    <a:pt x="807" y="0"/>
                    <a:pt x="807" y="1"/>
                    <a:pt x="807" y="1"/>
                  </a:cubicBezTo>
                  <a:cubicBezTo>
                    <a:pt x="808" y="1"/>
                    <a:pt x="808" y="1"/>
                    <a:pt x="809" y="1"/>
                  </a:cubicBezTo>
                  <a:cubicBezTo>
                    <a:pt x="810" y="1"/>
                    <a:pt x="810" y="1"/>
                    <a:pt x="810" y="1"/>
                  </a:cubicBezTo>
                  <a:cubicBezTo>
                    <a:pt x="827" y="1"/>
                    <a:pt x="846" y="2"/>
                    <a:pt x="865" y="5"/>
                  </a:cubicBezTo>
                  <a:cubicBezTo>
                    <a:pt x="865" y="5"/>
                    <a:pt x="865" y="4"/>
                    <a:pt x="865" y="4"/>
                  </a:cubicBezTo>
                  <a:cubicBezTo>
                    <a:pt x="846" y="1"/>
                    <a:pt x="827" y="0"/>
                    <a:pt x="810" y="0"/>
                  </a:cubicBezTo>
                  <a:moveTo>
                    <a:pt x="806" y="0"/>
                  </a:moveTo>
                  <a:cubicBezTo>
                    <a:pt x="782" y="0"/>
                    <a:pt x="760" y="3"/>
                    <a:pt x="741" y="9"/>
                  </a:cubicBezTo>
                  <a:cubicBezTo>
                    <a:pt x="741" y="10"/>
                    <a:pt x="741" y="10"/>
                    <a:pt x="741" y="10"/>
                  </a:cubicBezTo>
                  <a:cubicBezTo>
                    <a:pt x="760" y="4"/>
                    <a:pt x="782" y="1"/>
                    <a:pt x="806" y="1"/>
                  </a:cubicBezTo>
                  <a:cubicBezTo>
                    <a:pt x="806" y="1"/>
                    <a:pt x="806" y="0"/>
                    <a:pt x="806" y="0"/>
                  </a:cubicBezTo>
                  <a:moveTo>
                    <a:pt x="866" y="4"/>
                  </a:moveTo>
                  <a:cubicBezTo>
                    <a:pt x="866" y="5"/>
                    <a:pt x="866" y="5"/>
                    <a:pt x="866" y="5"/>
                  </a:cubicBezTo>
                  <a:cubicBezTo>
                    <a:pt x="884" y="8"/>
                    <a:pt x="903" y="12"/>
                    <a:pt x="920" y="17"/>
                  </a:cubicBezTo>
                  <a:cubicBezTo>
                    <a:pt x="920" y="16"/>
                    <a:pt x="920" y="16"/>
                    <a:pt x="920" y="16"/>
                  </a:cubicBezTo>
                  <a:cubicBezTo>
                    <a:pt x="903" y="11"/>
                    <a:pt x="884" y="7"/>
                    <a:pt x="866" y="4"/>
                  </a:cubicBezTo>
                  <a:moveTo>
                    <a:pt x="740" y="9"/>
                  </a:moveTo>
                  <a:cubicBezTo>
                    <a:pt x="723" y="15"/>
                    <a:pt x="709" y="24"/>
                    <a:pt x="701" y="35"/>
                  </a:cubicBezTo>
                  <a:cubicBezTo>
                    <a:pt x="701" y="36"/>
                    <a:pt x="701" y="37"/>
                    <a:pt x="701" y="37"/>
                  </a:cubicBezTo>
                  <a:cubicBezTo>
                    <a:pt x="707" y="28"/>
                    <a:pt x="716" y="21"/>
                    <a:pt x="728" y="16"/>
                  </a:cubicBezTo>
                  <a:cubicBezTo>
                    <a:pt x="732" y="14"/>
                    <a:pt x="736" y="12"/>
                    <a:pt x="740" y="11"/>
                  </a:cubicBezTo>
                  <a:cubicBezTo>
                    <a:pt x="740" y="10"/>
                    <a:pt x="740" y="10"/>
                    <a:pt x="740" y="9"/>
                  </a:cubicBezTo>
                  <a:moveTo>
                    <a:pt x="921" y="16"/>
                  </a:moveTo>
                  <a:cubicBezTo>
                    <a:pt x="921" y="16"/>
                    <a:pt x="921" y="17"/>
                    <a:pt x="921" y="17"/>
                  </a:cubicBezTo>
                  <a:cubicBezTo>
                    <a:pt x="935" y="21"/>
                    <a:pt x="948" y="25"/>
                    <a:pt x="960" y="30"/>
                  </a:cubicBezTo>
                  <a:cubicBezTo>
                    <a:pt x="966" y="33"/>
                    <a:pt x="972" y="35"/>
                    <a:pt x="977" y="38"/>
                  </a:cubicBezTo>
                  <a:cubicBezTo>
                    <a:pt x="977" y="38"/>
                    <a:pt x="977" y="37"/>
                    <a:pt x="977" y="37"/>
                  </a:cubicBezTo>
                  <a:cubicBezTo>
                    <a:pt x="960" y="29"/>
                    <a:pt x="941" y="22"/>
                    <a:pt x="921" y="16"/>
                  </a:cubicBezTo>
                  <a:moveTo>
                    <a:pt x="700" y="37"/>
                  </a:moveTo>
                  <a:cubicBezTo>
                    <a:pt x="696" y="43"/>
                    <a:pt x="694" y="51"/>
                    <a:pt x="693" y="59"/>
                  </a:cubicBezTo>
                  <a:cubicBezTo>
                    <a:pt x="693" y="59"/>
                    <a:pt x="693" y="60"/>
                    <a:pt x="693" y="60"/>
                  </a:cubicBezTo>
                  <a:cubicBezTo>
                    <a:pt x="693" y="60"/>
                    <a:pt x="693" y="61"/>
                    <a:pt x="693" y="61"/>
                  </a:cubicBezTo>
                  <a:cubicBezTo>
                    <a:pt x="693" y="62"/>
                    <a:pt x="693" y="62"/>
                    <a:pt x="693" y="62"/>
                  </a:cubicBezTo>
                  <a:cubicBezTo>
                    <a:pt x="693" y="63"/>
                    <a:pt x="693" y="63"/>
                    <a:pt x="693" y="63"/>
                  </a:cubicBezTo>
                  <a:cubicBezTo>
                    <a:pt x="693" y="63"/>
                    <a:pt x="693" y="63"/>
                    <a:pt x="693" y="63"/>
                  </a:cubicBezTo>
                  <a:cubicBezTo>
                    <a:pt x="693" y="63"/>
                    <a:pt x="693" y="64"/>
                    <a:pt x="693" y="64"/>
                  </a:cubicBezTo>
                  <a:cubicBezTo>
                    <a:pt x="693" y="64"/>
                    <a:pt x="693" y="64"/>
                    <a:pt x="693" y="64"/>
                  </a:cubicBezTo>
                  <a:cubicBezTo>
                    <a:pt x="693" y="66"/>
                    <a:pt x="693" y="67"/>
                    <a:pt x="693" y="69"/>
                  </a:cubicBezTo>
                  <a:cubicBezTo>
                    <a:pt x="693" y="69"/>
                    <a:pt x="693" y="69"/>
                    <a:pt x="693" y="70"/>
                  </a:cubicBezTo>
                  <a:cubicBezTo>
                    <a:pt x="693" y="70"/>
                    <a:pt x="694" y="70"/>
                    <a:pt x="694" y="70"/>
                  </a:cubicBezTo>
                  <a:cubicBezTo>
                    <a:pt x="694" y="70"/>
                    <a:pt x="694" y="71"/>
                    <a:pt x="694" y="71"/>
                  </a:cubicBezTo>
                  <a:cubicBezTo>
                    <a:pt x="694" y="73"/>
                    <a:pt x="694" y="74"/>
                    <a:pt x="695" y="76"/>
                  </a:cubicBezTo>
                  <a:cubicBezTo>
                    <a:pt x="695" y="76"/>
                    <a:pt x="695" y="77"/>
                    <a:pt x="695" y="77"/>
                  </a:cubicBezTo>
                  <a:cubicBezTo>
                    <a:pt x="695" y="78"/>
                    <a:pt x="695" y="79"/>
                    <a:pt x="696" y="80"/>
                  </a:cubicBezTo>
                  <a:cubicBezTo>
                    <a:pt x="696" y="81"/>
                    <a:pt x="696" y="81"/>
                    <a:pt x="696" y="81"/>
                  </a:cubicBezTo>
                  <a:cubicBezTo>
                    <a:pt x="696" y="82"/>
                    <a:pt x="696" y="82"/>
                    <a:pt x="696" y="83"/>
                  </a:cubicBezTo>
                  <a:cubicBezTo>
                    <a:pt x="696" y="83"/>
                    <a:pt x="696" y="83"/>
                    <a:pt x="696" y="83"/>
                  </a:cubicBezTo>
                  <a:cubicBezTo>
                    <a:pt x="696" y="83"/>
                    <a:pt x="697" y="84"/>
                    <a:pt x="697" y="84"/>
                  </a:cubicBezTo>
                  <a:cubicBezTo>
                    <a:pt x="697" y="84"/>
                    <a:pt x="697" y="84"/>
                    <a:pt x="697" y="84"/>
                  </a:cubicBezTo>
                  <a:cubicBezTo>
                    <a:pt x="697" y="84"/>
                    <a:pt x="697" y="84"/>
                    <a:pt x="697" y="85"/>
                  </a:cubicBezTo>
                  <a:cubicBezTo>
                    <a:pt x="699" y="91"/>
                    <a:pt x="701" y="98"/>
                    <a:pt x="703" y="105"/>
                  </a:cubicBezTo>
                  <a:cubicBezTo>
                    <a:pt x="703" y="105"/>
                    <a:pt x="703" y="106"/>
                    <a:pt x="703" y="106"/>
                  </a:cubicBezTo>
                  <a:cubicBezTo>
                    <a:pt x="705" y="113"/>
                    <a:pt x="707" y="121"/>
                    <a:pt x="708" y="128"/>
                  </a:cubicBezTo>
                  <a:cubicBezTo>
                    <a:pt x="708" y="128"/>
                    <a:pt x="708" y="129"/>
                    <a:pt x="708" y="129"/>
                  </a:cubicBezTo>
                  <a:cubicBezTo>
                    <a:pt x="710" y="141"/>
                    <a:pt x="711" y="153"/>
                    <a:pt x="712" y="165"/>
                  </a:cubicBezTo>
                  <a:cubicBezTo>
                    <a:pt x="712" y="163"/>
                    <a:pt x="712" y="162"/>
                    <a:pt x="712" y="160"/>
                  </a:cubicBezTo>
                  <a:cubicBezTo>
                    <a:pt x="712" y="150"/>
                    <a:pt x="711" y="140"/>
                    <a:pt x="709" y="129"/>
                  </a:cubicBezTo>
                  <a:cubicBezTo>
                    <a:pt x="709" y="129"/>
                    <a:pt x="709" y="129"/>
                    <a:pt x="709" y="128"/>
                  </a:cubicBezTo>
                  <a:cubicBezTo>
                    <a:pt x="708" y="121"/>
                    <a:pt x="706" y="114"/>
                    <a:pt x="704" y="106"/>
                  </a:cubicBezTo>
                  <a:cubicBezTo>
                    <a:pt x="704" y="106"/>
                    <a:pt x="704" y="106"/>
                    <a:pt x="704" y="105"/>
                  </a:cubicBezTo>
                  <a:cubicBezTo>
                    <a:pt x="702" y="98"/>
                    <a:pt x="700" y="92"/>
                    <a:pt x="698" y="85"/>
                  </a:cubicBezTo>
                  <a:cubicBezTo>
                    <a:pt x="698" y="84"/>
                    <a:pt x="698" y="84"/>
                    <a:pt x="698" y="84"/>
                  </a:cubicBezTo>
                  <a:cubicBezTo>
                    <a:pt x="698" y="84"/>
                    <a:pt x="698" y="84"/>
                    <a:pt x="698" y="84"/>
                  </a:cubicBezTo>
                  <a:cubicBezTo>
                    <a:pt x="698" y="84"/>
                    <a:pt x="697" y="83"/>
                    <a:pt x="697" y="83"/>
                  </a:cubicBezTo>
                  <a:cubicBezTo>
                    <a:pt x="697" y="82"/>
                    <a:pt x="697" y="82"/>
                    <a:pt x="697" y="81"/>
                  </a:cubicBezTo>
                  <a:cubicBezTo>
                    <a:pt x="697" y="81"/>
                    <a:pt x="697" y="80"/>
                    <a:pt x="697" y="80"/>
                  </a:cubicBezTo>
                  <a:cubicBezTo>
                    <a:pt x="696" y="79"/>
                    <a:pt x="696" y="78"/>
                    <a:pt x="696" y="77"/>
                  </a:cubicBezTo>
                  <a:cubicBezTo>
                    <a:pt x="696" y="76"/>
                    <a:pt x="696" y="76"/>
                    <a:pt x="696" y="76"/>
                  </a:cubicBezTo>
                  <a:cubicBezTo>
                    <a:pt x="695" y="74"/>
                    <a:pt x="695" y="72"/>
                    <a:pt x="695" y="71"/>
                  </a:cubicBezTo>
                  <a:cubicBezTo>
                    <a:pt x="695" y="70"/>
                    <a:pt x="694" y="70"/>
                    <a:pt x="694" y="69"/>
                  </a:cubicBezTo>
                  <a:cubicBezTo>
                    <a:pt x="694" y="69"/>
                    <a:pt x="694" y="69"/>
                    <a:pt x="694" y="69"/>
                  </a:cubicBezTo>
                  <a:cubicBezTo>
                    <a:pt x="694" y="67"/>
                    <a:pt x="694" y="66"/>
                    <a:pt x="694" y="64"/>
                  </a:cubicBezTo>
                  <a:cubicBezTo>
                    <a:pt x="694" y="64"/>
                    <a:pt x="694" y="64"/>
                    <a:pt x="694" y="64"/>
                  </a:cubicBezTo>
                  <a:cubicBezTo>
                    <a:pt x="694" y="64"/>
                    <a:pt x="694" y="64"/>
                    <a:pt x="694" y="63"/>
                  </a:cubicBezTo>
                  <a:cubicBezTo>
                    <a:pt x="694" y="63"/>
                    <a:pt x="694" y="63"/>
                    <a:pt x="694" y="62"/>
                  </a:cubicBezTo>
                  <a:cubicBezTo>
                    <a:pt x="694" y="62"/>
                    <a:pt x="694" y="62"/>
                    <a:pt x="694" y="62"/>
                  </a:cubicBezTo>
                  <a:cubicBezTo>
                    <a:pt x="694" y="61"/>
                    <a:pt x="694" y="60"/>
                    <a:pt x="694" y="60"/>
                  </a:cubicBezTo>
                  <a:cubicBezTo>
                    <a:pt x="694" y="60"/>
                    <a:pt x="694" y="59"/>
                    <a:pt x="694" y="59"/>
                  </a:cubicBezTo>
                  <a:cubicBezTo>
                    <a:pt x="695" y="51"/>
                    <a:pt x="697" y="45"/>
                    <a:pt x="700" y="39"/>
                  </a:cubicBezTo>
                  <a:cubicBezTo>
                    <a:pt x="700" y="38"/>
                    <a:pt x="700" y="37"/>
                    <a:pt x="700" y="37"/>
                  </a:cubicBezTo>
                  <a:moveTo>
                    <a:pt x="978" y="37"/>
                  </a:moveTo>
                  <a:cubicBezTo>
                    <a:pt x="978" y="38"/>
                    <a:pt x="978" y="38"/>
                    <a:pt x="978" y="38"/>
                  </a:cubicBezTo>
                  <a:cubicBezTo>
                    <a:pt x="997" y="48"/>
                    <a:pt x="1012" y="59"/>
                    <a:pt x="1022" y="71"/>
                  </a:cubicBezTo>
                  <a:cubicBezTo>
                    <a:pt x="1022" y="70"/>
                    <a:pt x="1022" y="70"/>
                    <a:pt x="1023" y="70"/>
                  </a:cubicBezTo>
                  <a:cubicBezTo>
                    <a:pt x="1012" y="58"/>
                    <a:pt x="997" y="47"/>
                    <a:pt x="978" y="37"/>
                  </a:cubicBezTo>
                  <a:moveTo>
                    <a:pt x="1024" y="71"/>
                  </a:moveTo>
                  <a:cubicBezTo>
                    <a:pt x="1023" y="71"/>
                    <a:pt x="1023" y="72"/>
                    <a:pt x="1023" y="72"/>
                  </a:cubicBezTo>
                  <a:cubicBezTo>
                    <a:pt x="1024" y="73"/>
                    <a:pt x="1024" y="73"/>
                    <a:pt x="1025" y="74"/>
                  </a:cubicBezTo>
                  <a:cubicBezTo>
                    <a:pt x="1025" y="73"/>
                    <a:pt x="1025" y="73"/>
                    <a:pt x="1025" y="72"/>
                  </a:cubicBezTo>
                  <a:cubicBezTo>
                    <a:pt x="1024" y="72"/>
                    <a:pt x="1024" y="71"/>
                    <a:pt x="1024" y="71"/>
                  </a:cubicBezTo>
                  <a:moveTo>
                    <a:pt x="1026" y="73"/>
                  </a:moveTo>
                  <a:cubicBezTo>
                    <a:pt x="1026" y="74"/>
                    <a:pt x="1025" y="74"/>
                    <a:pt x="1025" y="75"/>
                  </a:cubicBezTo>
                  <a:cubicBezTo>
                    <a:pt x="1027" y="76"/>
                    <a:pt x="1028" y="78"/>
                    <a:pt x="1029" y="80"/>
                  </a:cubicBezTo>
                  <a:cubicBezTo>
                    <a:pt x="1029" y="80"/>
                    <a:pt x="1029" y="80"/>
                    <a:pt x="1030" y="79"/>
                  </a:cubicBezTo>
                  <a:cubicBezTo>
                    <a:pt x="1028" y="77"/>
                    <a:pt x="1027" y="75"/>
                    <a:pt x="1026" y="73"/>
                  </a:cubicBezTo>
                  <a:moveTo>
                    <a:pt x="1030" y="80"/>
                  </a:moveTo>
                  <a:cubicBezTo>
                    <a:pt x="1030" y="80"/>
                    <a:pt x="1030" y="81"/>
                    <a:pt x="1029" y="81"/>
                  </a:cubicBezTo>
                  <a:cubicBezTo>
                    <a:pt x="1030" y="81"/>
                    <a:pt x="1030" y="82"/>
                    <a:pt x="1030" y="82"/>
                  </a:cubicBezTo>
                  <a:cubicBezTo>
                    <a:pt x="1031" y="82"/>
                    <a:pt x="1031" y="82"/>
                    <a:pt x="1031" y="82"/>
                  </a:cubicBezTo>
                  <a:cubicBezTo>
                    <a:pt x="1031" y="82"/>
                    <a:pt x="1031" y="81"/>
                    <a:pt x="1030" y="80"/>
                  </a:cubicBezTo>
                  <a:moveTo>
                    <a:pt x="1032" y="83"/>
                  </a:moveTo>
                  <a:cubicBezTo>
                    <a:pt x="1031" y="83"/>
                    <a:pt x="1031" y="83"/>
                    <a:pt x="1031" y="83"/>
                  </a:cubicBezTo>
                  <a:cubicBezTo>
                    <a:pt x="1033" y="88"/>
                    <a:pt x="1035" y="93"/>
                    <a:pt x="1035" y="99"/>
                  </a:cubicBezTo>
                  <a:cubicBezTo>
                    <a:pt x="1036" y="98"/>
                    <a:pt x="1036" y="98"/>
                    <a:pt x="1036" y="97"/>
                  </a:cubicBezTo>
                  <a:cubicBezTo>
                    <a:pt x="1036" y="93"/>
                    <a:pt x="1034" y="88"/>
                    <a:pt x="1032" y="83"/>
                  </a:cubicBezTo>
                  <a:moveTo>
                    <a:pt x="1036" y="99"/>
                  </a:moveTo>
                  <a:cubicBezTo>
                    <a:pt x="1036" y="99"/>
                    <a:pt x="1036" y="100"/>
                    <a:pt x="1036" y="100"/>
                  </a:cubicBezTo>
                  <a:cubicBezTo>
                    <a:pt x="1036" y="100"/>
                    <a:pt x="1036" y="101"/>
                    <a:pt x="1036" y="101"/>
                  </a:cubicBezTo>
                  <a:cubicBezTo>
                    <a:pt x="1036" y="101"/>
                    <a:pt x="1036" y="101"/>
                    <a:pt x="1037" y="101"/>
                  </a:cubicBezTo>
                  <a:cubicBezTo>
                    <a:pt x="1037" y="100"/>
                    <a:pt x="1036" y="100"/>
                    <a:pt x="1036" y="99"/>
                  </a:cubicBezTo>
                  <a:moveTo>
                    <a:pt x="1037" y="102"/>
                  </a:moveTo>
                  <a:cubicBezTo>
                    <a:pt x="1036" y="102"/>
                    <a:pt x="1036" y="102"/>
                    <a:pt x="1036" y="102"/>
                  </a:cubicBezTo>
                  <a:cubicBezTo>
                    <a:pt x="1036" y="102"/>
                    <a:pt x="1036" y="103"/>
                    <a:pt x="1036" y="103"/>
                  </a:cubicBezTo>
                  <a:cubicBezTo>
                    <a:pt x="1036" y="107"/>
                    <a:pt x="1035" y="110"/>
                    <a:pt x="1034" y="114"/>
                  </a:cubicBezTo>
                  <a:cubicBezTo>
                    <a:pt x="1034" y="114"/>
                    <a:pt x="1034" y="115"/>
                    <a:pt x="1034" y="115"/>
                  </a:cubicBezTo>
                  <a:cubicBezTo>
                    <a:pt x="1032" y="120"/>
                    <a:pt x="1030" y="125"/>
                    <a:pt x="1027" y="129"/>
                  </a:cubicBezTo>
                  <a:cubicBezTo>
                    <a:pt x="1027" y="129"/>
                    <a:pt x="1028" y="129"/>
                    <a:pt x="1028" y="129"/>
                  </a:cubicBezTo>
                  <a:cubicBezTo>
                    <a:pt x="1031" y="125"/>
                    <a:pt x="1033" y="120"/>
                    <a:pt x="1035" y="116"/>
                  </a:cubicBezTo>
                  <a:cubicBezTo>
                    <a:pt x="1035" y="116"/>
                    <a:pt x="1035" y="115"/>
                    <a:pt x="1035" y="115"/>
                  </a:cubicBezTo>
                  <a:cubicBezTo>
                    <a:pt x="1036" y="111"/>
                    <a:pt x="1037" y="107"/>
                    <a:pt x="1037" y="103"/>
                  </a:cubicBezTo>
                  <a:cubicBezTo>
                    <a:pt x="1037" y="103"/>
                    <a:pt x="1037" y="102"/>
                    <a:pt x="1037" y="102"/>
                  </a:cubicBezTo>
                  <a:moveTo>
                    <a:pt x="1208" y="107"/>
                  </a:moveTo>
                  <a:cubicBezTo>
                    <a:pt x="1208" y="107"/>
                    <a:pt x="1208" y="107"/>
                    <a:pt x="1208" y="107"/>
                  </a:cubicBezTo>
                  <a:cubicBezTo>
                    <a:pt x="1208" y="107"/>
                    <a:pt x="1208" y="107"/>
                    <a:pt x="1208" y="107"/>
                  </a:cubicBezTo>
                  <a:cubicBezTo>
                    <a:pt x="1207" y="107"/>
                    <a:pt x="1206" y="110"/>
                    <a:pt x="1203" y="113"/>
                  </a:cubicBezTo>
                  <a:cubicBezTo>
                    <a:pt x="1202" y="116"/>
                    <a:pt x="1201" y="119"/>
                    <a:pt x="1199" y="121"/>
                  </a:cubicBezTo>
                  <a:cubicBezTo>
                    <a:pt x="1204" y="114"/>
                    <a:pt x="1207" y="110"/>
                    <a:pt x="1208" y="108"/>
                  </a:cubicBezTo>
                  <a:cubicBezTo>
                    <a:pt x="1209" y="108"/>
                    <a:pt x="1209" y="108"/>
                    <a:pt x="1209" y="108"/>
                  </a:cubicBezTo>
                  <a:cubicBezTo>
                    <a:pt x="1209" y="107"/>
                    <a:pt x="1209" y="107"/>
                    <a:pt x="1209" y="107"/>
                  </a:cubicBezTo>
                  <a:cubicBezTo>
                    <a:pt x="1209" y="107"/>
                    <a:pt x="1209" y="107"/>
                    <a:pt x="1209" y="107"/>
                  </a:cubicBezTo>
                  <a:cubicBezTo>
                    <a:pt x="1209" y="107"/>
                    <a:pt x="1209" y="107"/>
                    <a:pt x="1209" y="107"/>
                  </a:cubicBezTo>
                  <a:cubicBezTo>
                    <a:pt x="1209" y="107"/>
                    <a:pt x="1209" y="107"/>
                    <a:pt x="1209" y="107"/>
                  </a:cubicBezTo>
                  <a:cubicBezTo>
                    <a:pt x="1208" y="107"/>
                    <a:pt x="1208" y="107"/>
                    <a:pt x="1208" y="107"/>
                  </a:cubicBezTo>
                  <a:moveTo>
                    <a:pt x="1200" y="118"/>
                  </a:moveTo>
                  <a:cubicBezTo>
                    <a:pt x="1199" y="120"/>
                    <a:pt x="1197" y="122"/>
                    <a:pt x="1196" y="124"/>
                  </a:cubicBezTo>
                  <a:cubicBezTo>
                    <a:pt x="1196" y="124"/>
                    <a:pt x="1197" y="124"/>
                    <a:pt x="1197" y="124"/>
                  </a:cubicBezTo>
                  <a:cubicBezTo>
                    <a:pt x="1198" y="122"/>
                    <a:pt x="1199" y="120"/>
                    <a:pt x="1200" y="118"/>
                  </a:cubicBezTo>
                  <a:moveTo>
                    <a:pt x="1197" y="125"/>
                  </a:moveTo>
                  <a:cubicBezTo>
                    <a:pt x="1196" y="125"/>
                    <a:pt x="1195" y="125"/>
                    <a:pt x="1195" y="125"/>
                  </a:cubicBezTo>
                  <a:cubicBezTo>
                    <a:pt x="1194" y="127"/>
                    <a:pt x="1192" y="129"/>
                    <a:pt x="1191" y="130"/>
                  </a:cubicBezTo>
                  <a:cubicBezTo>
                    <a:pt x="1191" y="131"/>
                    <a:pt x="1191" y="131"/>
                    <a:pt x="1192" y="131"/>
                  </a:cubicBezTo>
                  <a:cubicBezTo>
                    <a:pt x="1193" y="129"/>
                    <a:pt x="1194" y="127"/>
                    <a:pt x="1195" y="126"/>
                  </a:cubicBezTo>
                  <a:cubicBezTo>
                    <a:pt x="1194" y="127"/>
                    <a:pt x="1193" y="129"/>
                    <a:pt x="1192" y="131"/>
                  </a:cubicBezTo>
                  <a:cubicBezTo>
                    <a:pt x="1192" y="131"/>
                    <a:pt x="1192" y="131"/>
                    <a:pt x="1193" y="131"/>
                  </a:cubicBezTo>
                  <a:cubicBezTo>
                    <a:pt x="1193" y="131"/>
                    <a:pt x="1193" y="130"/>
                    <a:pt x="1194" y="130"/>
                  </a:cubicBezTo>
                  <a:cubicBezTo>
                    <a:pt x="1194" y="129"/>
                    <a:pt x="1195" y="129"/>
                    <a:pt x="1195" y="128"/>
                  </a:cubicBezTo>
                  <a:cubicBezTo>
                    <a:pt x="1196" y="127"/>
                    <a:pt x="1196" y="126"/>
                    <a:pt x="1197" y="125"/>
                  </a:cubicBezTo>
                  <a:moveTo>
                    <a:pt x="1028" y="130"/>
                  </a:moveTo>
                  <a:cubicBezTo>
                    <a:pt x="1027" y="130"/>
                    <a:pt x="1027" y="130"/>
                    <a:pt x="1026" y="130"/>
                  </a:cubicBezTo>
                  <a:cubicBezTo>
                    <a:pt x="1026" y="130"/>
                    <a:pt x="1026" y="131"/>
                    <a:pt x="1026" y="131"/>
                  </a:cubicBezTo>
                  <a:cubicBezTo>
                    <a:pt x="1026" y="131"/>
                    <a:pt x="1026" y="131"/>
                    <a:pt x="1026" y="132"/>
                  </a:cubicBezTo>
                  <a:cubicBezTo>
                    <a:pt x="1022" y="136"/>
                    <a:pt x="1018" y="141"/>
                    <a:pt x="1013" y="146"/>
                  </a:cubicBezTo>
                  <a:cubicBezTo>
                    <a:pt x="1013" y="146"/>
                    <a:pt x="1013" y="146"/>
                    <a:pt x="1013" y="146"/>
                  </a:cubicBezTo>
                  <a:cubicBezTo>
                    <a:pt x="1013" y="146"/>
                    <a:pt x="1013" y="146"/>
                    <a:pt x="1013" y="146"/>
                  </a:cubicBezTo>
                  <a:cubicBezTo>
                    <a:pt x="1012" y="147"/>
                    <a:pt x="1012" y="147"/>
                    <a:pt x="1012" y="148"/>
                  </a:cubicBezTo>
                  <a:cubicBezTo>
                    <a:pt x="1013" y="148"/>
                    <a:pt x="1013" y="147"/>
                    <a:pt x="1013" y="147"/>
                  </a:cubicBezTo>
                  <a:cubicBezTo>
                    <a:pt x="1013" y="147"/>
                    <a:pt x="1014" y="147"/>
                    <a:pt x="1014" y="147"/>
                  </a:cubicBezTo>
                  <a:cubicBezTo>
                    <a:pt x="1014" y="146"/>
                    <a:pt x="1014" y="146"/>
                    <a:pt x="1014" y="146"/>
                  </a:cubicBezTo>
                  <a:cubicBezTo>
                    <a:pt x="1019" y="141"/>
                    <a:pt x="1023" y="137"/>
                    <a:pt x="1026" y="132"/>
                  </a:cubicBezTo>
                  <a:cubicBezTo>
                    <a:pt x="1027" y="132"/>
                    <a:pt x="1027" y="132"/>
                    <a:pt x="1027" y="131"/>
                  </a:cubicBezTo>
                  <a:cubicBezTo>
                    <a:pt x="1027" y="131"/>
                    <a:pt x="1027" y="131"/>
                    <a:pt x="1028" y="130"/>
                  </a:cubicBezTo>
                  <a:moveTo>
                    <a:pt x="1190" y="131"/>
                  </a:moveTo>
                  <a:cubicBezTo>
                    <a:pt x="1190" y="132"/>
                    <a:pt x="1189" y="132"/>
                    <a:pt x="1189" y="133"/>
                  </a:cubicBezTo>
                  <a:cubicBezTo>
                    <a:pt x="1190" y="132"/>
                    <a:pt x="1190" y="132"/>
                    <a:pt x="1191" y="132"/>
                  </a:cubicBezTo>
                  <a:cubicBezTo>
                    <a:pt x="1191" y="132"/>
                    <a:pt x="1191" y="132"/>
                    <a:pt x="1191" y="132"/>
                  </a:cubicBezTo>
                  <a:cubicBezTo>
                    <a:pt x="1191" y="131"/>
                    <a:pt x="1190" y="131"/>
                    <a:pt x="1190" y="131"/>
                  </a:cubicBezTo>
                  <a:moveTo>
                    <a:pt x="1193" y="132"/>
                  </a:moveTo>
                  <a:cubicBezTo>
                    <a:pt x="1192" y="132"/>
                    <a:pt x="1191" y="133"/>
                    <a:pt x="1191" y="133"/>
                  </a:cubicBezTo>
                  <a:cubicBezTo>
                    <a:pt x="1190" y="135"/>
                    <a:pt x="1188" y="137"/>
                    <a:pt x="1187" y="139"/>
                  </a:cubicBezTo>
                  <a:cubicBezTo>
                    <a:pt x="1187" y="139"/>
                    <a:pt x="1188" y="139"/>
                    <a:pt x="1188" y="139"/>
                  </a:cubicBezTo>
                  <a:cubicBezTo>
                    <a:pt x="1190" y="137"/>
                    <a:pt x="1191" y="134"/>
                    <a:pt x="1193" y="132"/>
                  </a:cubicBezTo>
                  <a:moveTo>
                    <a:pt x="1190" y="134"/>
                  </a:moveTo>
                  <a:cubicBezTo>
                    <a:pt x="1189" y="134"/>
                    <a:pt x="1188" y="134"/>
                    <a:pt x="1188" y="135"/>
                  </a:cubicBezTo>
                  <a:cubicBezTo>
                    <a:pt x="1187" y="136"/>
                    <a:pt x="1186" y="137"/>
                    <a:pt x="1185" y="139"/>
                  </a:cubicBezTo>
                  <a:cubicBezTo>
                    <a:pt x="1185" y="139"/>
                    <a:pt x="1185" y="139"/>
                    <a:pt x="1186" y="139"/>
                  </a:cubicBezTo>
                  <a:cubicBezTo>
                    <a:pt x="1186" y="139"/>
                    <a:pt x="1186" y="138"/>
                    <a:pt x="1186" y="138"/>
                  </a:cubicBezTo>
                  <a:cubicBezTo>
                    <a:pt x="1188" y="136"/>
                    <a:pt x="1189" y="135"/>
                    <a:pt x="1190" y="134"/>
                  </a:cubicBezTo>
                  <a:moveTo>
                    <a:pt x="1184" y="139"/>
                  </a:moveTo>
                  <a:cubicBezTo>
                    <a:pt x="1180" y="144"/>
                    <a:pt x="1176" y="150"/>
                    <a:pt x="1172" y="155"/>
                  </a:cubicBezTo>
                  <a:cubicBezTo>
                    <a:pt x="1172" y="155"/>
                    <a:pt x="1173" y="155"/>
                    <a:pt x="1173" y="156"/>
                  </a:cubicBezTo>
                  <a:cubicBezTo>
                    <a:pt x="1177" y="150"/>
                    <a:pt x="1181" y="145"/>
                    <a:pt x="1185" y="140"/>
                  </a:cubicBezTo>
                  <a:cubicBezTo>
                    <a:pt x="1185" y="140"/>
                    <a:pt x="1184" y="140"/>
                    <a:pt x="1184" y="139"/>
                  </a:cubicBezTo>
                  <a:moveTo>
                    <a:pt x="1186" y="140"/>
                  </a:moveTo>
                  <a:cubicBezTo>
                    <a:pt x="1183" y="145"/>
                    <a:pt x="1180" y="150"/>
                    <a:pt x="1176" y="156"/>
                  </a:cubicBezTo>
                  <a:cubicBezTo>
                    <a:pt x="1176" y="156"/>
                    <a:pt x="1177" y="156"/>
                    <a:pt x="1177" y="156"/>
                  </a:cubicBezTo>
                  <a:cubicBezTo>
                    <a:pt x="1181" y="150"/>
                    <a:pt x="1184" y="145"/>
                    <a:pt x="1187" y="140"/>
                  </a:cubicBezTo>
                  <a:cubicBezTo>
                    <a:pt x="1187" y="140"/>
                    <a:pt x="1187" y="140"/>
                    <a:pt x="1186" y="140"/>
                  </a:cubicBezTo>
                  <a:moveTo>
                    <a:pt x="1011" y="148"/>
                  </a:moveTo>
                  <a:cubicBezTo>
                    <a:pt x="1009" y="150"/>
                    <a:pt x="1006" y="152"/>
                    <a:pt x="1004" y="155"/>
                  </a:cubicBezTo>
                  <a:cubicBezTo>
                    <a:pt x="1003" y="155"/>
                    <a:pt x="1003" y="155"/>
                    <a:pt x="1003" y="155"/>
                  </a:cubicBezTo>
                  <a:cubicBezTo>
                    <a:pt x="1002" y="156"/>
                    <a:pt x="1001" y="157"/>
                    <a:pt x="1000" y="158"/>
                  </a:cubicBezTo>
                  <a:cubicBezTo>
                    <a:pt x="1001" y="158"/>
                    <a:pt x="1001" y="158"/>
                    <a:pt x="1002" y="158"/>
                  </a:cubicBezTo>
                  <a:cubicBezTo>
                    <a:pt x="1002" y="157"/>
                    <a:pt x="1003" y="157"/>
                    <a:pt x="1004" y="156"/>
                  </a:cubicBezTo>
                  <a:cubicBezTo>
                    <a:pt x="1004" y="156"/>
                    <a:pt x="1004" y="156"/>
                    <a:pt x="1004" y="155"/>
                  </a:cubicBezTo>
                  <a:cubicBezTo>
                    <a:pt x="1007" y="153"/>
                    <a:pt x="1009" y="151"/>
                    <a:pt x="1011" y="149"/>
                  </a:cubicBezTo>
                  <a:cubicBezTo>
                    <a:pt x="1011" y="149"/>
                    <a:pt x="1011" y="148"/>
                    <a:pt x="1011" y="148"/>
                  </a:cubicBezTo>
                  <a:moveTo>
                    <a:pt x="1171" y="156"/>
                  </a:moveTo>
                  <a:cubicBezTo>
                    <a:pt x="1167" y="162"/>
                    <a:pt x="1163" y="167"/>
                    <a:pt x="1158" y="172"/>
                  </a:cubicBezTo>
                  <a:cubicBezTo>
                    <a:pt x="1159" y="172"/>
                    <a:pt x="1159" y="172"/>
                    <a:pt x="1159" y="173"/>
                  </a:cubicBezTo>
                  <a:cubicBezTo>
                    <a:pt x="1164" y="167"/>
                    <a:pt x="1168" y="162"/>
                    <a:pt x="1172" y="156"/>
                  </a:cubicBezTo>
                  <a:cubicBezTo>
                    <a:pt x="1172" y="156"/>
                    <a:pt x="1171" y="156"/>
                    <a:pt x="1171" y="156"/>
                  </a:cubicBezTo>
                  <a:moveTo>
                    <a:pt x="1175" y="157"/>
                  </a:moveTo>
                  <a:cubicBezTo>
                    <a:pt x="1173" y="161"/>
                    <a:pt x="1170" y="165"/>
                    <a:pt x="1167" y="170"/>
                  </a:cubicBezTo>
                  <a:cubicBezTo>
                    <a:pt x="1166" y="171"/>
                    <a:pt x="1165" y="172"/>
                    <a:pt x="1165" y="174"/>
                  </a:cubicBezTo>
                  <a:cubicBezTo>
                    <a:pt x="1165" y="174"/>
                    <a:pt x="1165" y="174"/>
                    <a:pt x="1166" y="174"/>
                  </a:cubicBezTo>
                  <a:cubicBezTo>
                    <a:pt x="1166" y="173"/>
                    <a:pt x="1167" y="172"/>
                    <a:pt x="1168" y="170"/>
                  </a:cubicBezTo>
                  <a:cubicBezTo>
                    <a:pt x="1171" y="166"/>
                    <a:pt x="1174" y="161"/>
                    <a:pt x="1177" y="157"/>
                  </a:cubicBezTo>
                  <a:cubicBezTo>
                    <a:pt x="1176" y="157"/>
                    <a:pt x="1176" y="157"/>
                    <a:pt x="1175" y="157"/>
                  </a:cubicBezTo>
                  <a:moveTo>
                    <a:pt x="1001" y="159"/>
                  </a:moveTo>
                  <a:cubicBezTo>
                    <a:pt x="1000" y="159"/>
                    <a:pt x="1000" y="159"/>
                    <a:pt x="999" y="159"/>
                  </a:cubicBezTo>
                  <a:cubicBezTo>
                    <a:pt x="999" y="159"/>
                    <a:pt x="999" y="159"/>
                    <a:pt x="999" y="159"/>
                  </a:cubicBezTo>
                  <a:cubicBezTo>
                    <a:pt x="997" y="161"/>
                    <a:pt x="995" y="163"/>
                    <a:pt x="993" y="165"/>
                  </a:cubicBezTo>
                  <a:cubicBezTo>
                    <a:pt x="992" y="166"/>
                    <a:pt x="992" y="166"/>
                    <a:pt x="992" y="166"/>
                  </a:cubicBezTo>
                  <a:cubicBezTo>
                    <a:pt x="990" y="168"/>
                    <a:pt x="988" y="170"/>
                    <a:pt x="987" y="171"/>
                  </a:cubicBezTo>
                  <a:cubicBezTo>
                    <a:pt x="986" y="172"/>
                    <a:pt x="986" y="172"/>
                    <a:pt x="986" y="172"/>
                  </a:cubicBezTo>
                  <a:cubicBezTo>
                    <a:pt x="984" y="174"/>
                    <a:pt x="982" y="176"/>
                    <a:pt x="981" y="177"/>
                  </a:cubicBezTo>
                  <a:cubicBezTo>
                    <a:pt x="981" y="177"/>
                    <a:pt x="980" y="178"/>
                    <a:pt x="980" y="178"/>
                  </a:cubicBezTo>
                  <a:cubicBezTo>
                    <a:pt x="977" y="181"/>
                    <a:pt x="974" y="184"/>
                    <a:pt x="971" y="187"/>
                  </a:cubicBezTo>
                  <a:cubicBezTo>
                    <a:pt x="971" y="187"/>
                    <a:pt x="971" y="187"/>
                    <a:pt x="971" y="188"/>
                  </a:cubicBezTo>
                  <a:cubicBezTo>
                    <a:pt x="967" y="192"/>
                    <a:pt x="963" y="196"/>
                    <a:pt x="959" y="200"/>
                  </a:cubicBezTo>
                  <a:cubicBezTo>
                    <a:pt x="959" y="201"/>
                    <a:pt x="960" y="201"/>
                    <a:pt x="960" y="201"/>
                  </a:cubicBezTo>
                  <a:cubicBezTo>
                    <a:pt x="964" y="197"/>
                    <a:pt x="967" y="193"/>
                    <a:pt x="972" y="188"/>
                  </a:cubicBezTo>
                  <a:cubicBezTo>
                    <a:pt x="972" y="188"/>
                    <a:pt x="972" y="188"/>
                    <a:pt x="972" y="188"/>
                  </a:cubicBezTo>
                  <a:cubicBezTo>
                    <a:pt x="975" y="185"/>
                    <a:pt x="978" y="182"/>
                    <a:pt x="981" y="178"/>
                  </a:cubicBezTo>
                  <a:cubicBezTo>
                    <a:pt x="981" y="178"/>
                    <a:pt x="981" y="178"/>
                    <a:pt x="982" y="178"/>
                  </a:cubicBezTo>
                  <a:cubicBezTo>
                    <a:pt x="983" y="176"/>
                    <a:pt x="985" y="174"/>
                    <a:pt x="987" y="173"/>
                  </a:cubicBezTo>
                  <a:cubicBezTo>
                    <a:pt x="987" y="172"/>
                    <a:pt x="987" y="172"/>
                    <a:pt x="987" y="172"/>
                  </a:cubicBezTo>
                  <a:cubicBezTo>
                    <a:pt x="989" y="170"/>
                    <a:pt x="991" y="168"/>
                    <a:pt x="993" y="167"/>
                  </a:cubicBezTo>
                  <a:cubicBezTo>
                    <a:pt x="993" y="166"/>
                    <a:pt x="993" y="166"/>
                    <a:pt x="994" y="166"/>
                  </a:cubicBezTo>
                  <a:cubicBezTo>
                    <a:pt x="996" y="164"/>
                    <a:pt x="998" y="162"/>
                    <a:pt x="1000" y="160"/>
                  </a:cubicBezTo>
                  <a:cubicBezTo>
                    <a:pt x="1000" y="159"/>
                    <a:pt x="1000" y="159"/>
                    <a:pt x="1001" y="159"/>
                  </a:cubicBezTo>
                  <a:moveTo>
                    <a:pt x="713" y="165"/>
                  </a:moveTo>
                  <a:cubicBezTo>
                    <a:pt x="712" y="167"/>
                    <a:pt x="712" y="168"/>
                    <a:pt x="712" y="170"/>
                  </a:cubicBezTo>
                  <a:cubicBezTo>
                    <a:pt x="712" y="171"/>
                    <a:pt x="712" y="172"/>
                    <a:pt x="712" y="173"/>
                  </a:cubicBezTo>
                  <a:cubicBezTo>
                    <a:pt x="712" y="184"/>
                    <a:pt x="711" y="195"/>
                    <a:pt x="710" y="205"/>
                  </a:cubicBezTo>
                  <a:cubicBezTo>
                    <a:pt x="710" y="205"/>
                    <a:pt x="710" y="204"/>
                    <a:pt x="711" y="204"/>
                  </a:cubicBezTo>
                  <a:cubicBezTo>
                    <a:pt x="712" y="194"/>
                    <a:pt x="713" y="184"/>
                    <a:pt x="713" y="173"/>
                  </a:cubicBezTo>
                  <a:cubicBezTo>
                    <a:pt x="713" y="171"/>
                    <a:pt x="713" y="168"/>
                    <a:pt x="713" y="165"/>
                  </a:cubicBezTo>
                  <a:moveTo>
                    <a:pt x="1158" y="173"/>
                  </a:moveTo>
                  <a:cubicBezTo>
                    <a:pt x="1156" y="176"/>
                    <a:pt x="1154" y="178"/>
                    <a:pt x="1151" y="181"/>
                  </a:cubicBezTo>
                  <a:cubicBezTo>
                    <a:pt x="1152" y="181"/>
                    <a:pt x="1152" y="181"/>
                    <a:pt x="1153" y="181"/>
                  </a:cubicBezTo>
                  <a:cubicBezTo>
                    <a:pt x="1155" y="178"/>
                    <a:pt x="1157" y="176"/>
                    <a:pt x="1159" y="173"/>
                  </a:cubicBezTo>
                  <a:cubicBezTo>
                    <a:pt x="1158" y="173"/>
                    <a:pt x="1158" y="173"/>
                    <a:pt x="1158" y="173"/>
                  </a:cubicBezTo>
                  <a:moveTo>
                    <a:pt x="1164" y="175"/>
                  </a:moveTo>
                  <a:cubicBezTo>
                    <a:pt x="1163" y="177"/>
                    <a:pt x="1161" y="179"/>
                    <a:pt x="1160" y="181"/>
                  </a:cubicBezTo>
                  <a:cubicBezTo>
                    <a:pt x="1161" y="181"/>
                    <a:pt x="1161" y="181"/>
                    <a:pt x="1161" y="181"/>
                  </a:cubicBezTo>
                  <a:cubicBezTo>
                    <a:pt x="1163" y="179"/>
                    <a:pt x="1164" y="177"/>
                    <a:pt x="1165" y="175"/>
                  </a:cubicBezTo>
                  <a:cubicBezTo>
                    <a:pt x="1165" y="175"/>
                    <a:pt x="1164" y="175"/>
                    <a:pt x="1164" y="175"/>
                  </a:cubicBezTo>
                  <a:moveTo>
                    <a:pt x="1160" y="182"/>
                  </a:moveTo>
                  <a:cubicBezTo>
                    <a:pt x="1154" y="190"/>
                    <a:pt x="1149" y="198"/>
                    <a:pt x="1144" y="206"/>
                  </a:cubicBezTo>
                  <a:cubicBezTo>
                    <a:pt x="1145" y="206"/>
                    <a:pt x="1145" y="206"/>
                    <a:pt x="1145" y="206"/>
                  </a:cubicBezTo>
                  <a:cubicBezTo>
                    <a:pt x="1150" y="198"/>
                    <a:pt x="1155" y="190"/>
                    <a:pt x="1161" y="182"/>
                  </a:cubicBezTo>
                  <a:cubicBezTo>
                    <a:pt x="1160" y="182"/>
                    <a:pt x="1160" y="182"/>
                    <a:pt x="1160" y="182"/>
                  </a:cubicBezTo>
                  <a:moveTo>
                    <a:pt x="1152" y="182"/>
                  </a:moveTo>
                  <a:cubicBezTo>
                    <a:pt x="1151" y="182"/>
                    <a:pt x="1151" y="182"/>
                    <a:pt x="1151" y="182"/>
                  </a:cubicBezTo>
                  <a:cubicBezTo>
                    <a:pt x="1145" y="188"/>
                    <a:pt x="1139" y="195"/>
                    <a:pt x="1133" y="202"/>
                  </a:cubicBezTo>
                  <a:cubicBezTo>
                    <a:pt x="1133" y="203"/>
                    <a:pt x="1133" y="203"/>
                    <a:pt x="1133" y="204"/>
                  </a:cubicBezTo>
                  <a:cubicBezTo>
                    <a:pt x="1140" y="196"/>
                    <a:pt x="1146" y="189"/>
                    <a:pt x="1152" y="182"/>
                  </a:cubicBezTo>
                  <a:moveTo>
                    <a:pt x="958" y="201"/>
                  </a:moveTo>
                  <a:cubicBezTo>
                    <a:pt x="957" y="202"/>
                    <a:pt x="956" y="203"/>
                    <a:pt x="955" y="205"/>
                  </a:cubicBezTo>
                  <a:cubicBezTo>
                    <a:pt x="955" y="205"/>
                    <a:pt x="955" y="205"/>
                    <a:pt x="955" y="205"/>
                  </a:cubicBezTo>
                  <a:cubicBezTo>
                    <a:pt x="951" y="209"/>
                    <a:pt x="948" y="213"/>
                    <a:pt x="945" y="217"/>
                  </a:cubicBezTo>
                  <a:cubicBezTo>
                    <a:pt x="945" y="217"/>
                    <a:pt x="945" y="218"/>
                    <a:pt x="945" y="219"/>
                  </a:cubicBezTo>
                  <a:cubicBezTo>
                    <a:pt x="948" y="215"/>
                    <a:pt x="952" y="210"/>
                    <a:pt x="956" y="206"/>
                  </a:cubicBezTo>
                  <a:cubicBezTo>
                    <a:pt x="956" y="206"/>
                    <a:pt x="956" y="205"/>
                    <a:pt x="956" y="205"/>
                  </a:cubicBezTo>
                  <a:cubicBezTo>
                    <a:pt x="957" y="204"/>
                    <a:pt x="958" y="203"/>
                    <a:pt x="959" y="202"/>
                  </a:cubicBezTo>
                  <a:cubicBezTo>
                    <a:pt x="959" y="201"/>
                    <a:pt x="959" y="201"/>
                    <a:pt x="958" y="201"/>
                  </a:cubicBezTo>
                  <a:moveTo>
                    <a:pt x="1132" y="204"/>
                  </a:moveTo>
                  <a:cubicBezTo>
                    <a:pt x="1131" y="205"/>
                    <a:pt x="1130" y="206"/>
                    <a:pt x="1130" y="207"/>
                  </a:cubicBezTo>
                  <a:cubicBezTo>
                    <a:pt x="1130" y="207"/>
                    <a:pt x="1131" y="206"/>
                    <a:pt x="1131" y="206"/>
                  </a:cubicBezTo>
                  <a:cubicBezTo>
                    <a:pt x="1131" y="206"/>
                    <a:pt x="1132" y="206"/>
                    <a:pt x="1132" y="205"/>
                  </a:cubicBezTo>
                  <a:cubicBezTo>
                    <a:pt x="1132" y="205"/>
                    <a:pt x="1132" y="204"/>
                    <a:pt x="1132" y="204"/>
                  </a:cubicBezTo>
                  <a:moveTo>
                    <a:pt x="711" y="205"/>
                  </a:moveTo>
                  <a:cubicBezTo>
                    <a:pt x="710" y="206"/>
                    <a:pt x="710" y="206"/>
                    <a:pt x="710" y="206"/>
                  </a:cubicBezTo>
                  <a:cubicBezTo>
                    <a:pt x="709" y="208"/>
                    <a:pt x="709" y="210"/>
                    <a:pt x="709" y="212"/>
                  </a:cubicBezTo>
                  <a:cubicBezTo>
                    <a:pt x="708" y="214"/>
                    <a:pt x="708" y="216"/>
                    <a:pt x="708" y="217"/>
                  </a:cubicBezTo>
                  <a:cubicBezTo>
                    <a:pt x="707" y="221"/>
                    <a:pt x="706" y="225"/>
                    <a:pt x="705" y="229"/>
                  </a:cubicBezTo>
                  <a:cubicBezTo>
                    <a:pt x="706" y="228"/>
                    <a:pt x="706" y="227"/>
                    <a:pt x="707" y="227"/>
                  </a:cubicBezTo>
                  <a:cubicBezTo>
                    <a:pt x="707" y="225"/>
                    <a:pt x="707" y="224"/>
                    <a:pt x="708" y="222"/>
                  </a:cubicBezTo>
                  <a:cubicBezTo>
                    <a:pt x="708" y="221"/>
                    <a:pt x="708" y="219"/>
                    <a:pt x="709" y="217"/>
                  </a:cubicBezTo>
                  <a:cubicBezTo>
                    <a:pt x="709" y="213"/>
                    <a:pt x="710" y="209"/>
                    <a:pt x="711" y="205"/>
                  </a:cubicBezTo>
                  <a:moveTo>
                    <a:pt x="1144" y="207"/>
                  </a:moveTo>
                  <a:cubicBezTo>
                    <a:pt x="1139" y="213"/>
                    <a:pt x="1135" y="220"/>
                    <a:pt x="1131" y="226"/>
                  </a:cubicBezTo>
                  <a:cubicBezTo>
                    <a:pt x="1131" y="227"/>
                    <a:pt x="1131" y="227"/>
                    <a:pt x="1131" y="228"/>
                  </a:cubicBezTo>
                  <a:cubicBezTo>
                    <a:pt x="1135" y="221"/>
                    <a:pt x="1140" y="214"/>
                    <a:pt x="1145" y="207"/>
                  </a:cubicBezTo>
                  <a:cubicBezTo>
                    <a:pt x="1144" y="207"/>
                    <a:pt x="1144" y="207"/>
                    <a:pt x="1144" y="207"/>
                  </a:cubicBezTo>
                  <a:moveTo>
                    <a:pt x="1130" y="208"/>
                  </a:moveTo>
                  <a:cubicBezTo>
                    <a:pt x="1130" y="208"/>
                    <a:pt x="1129" y="208"/>
                    <a:pt x="1128" y="208"/>
                  </a:cubicBezTo>
                  <a:cubicBezTo>
                    <a:pt x="1122" y="215"/>
                    <a:pt x="1115" y="223"/>
                    <a:pt x="1108" y="231"/>
                  </a:cubicBezTo>
                  <a:cubicBezTo>
                    <a:pt x="1108" y="231"/>
                    <a:pt x="1108" y="231"/>
                    <a:pt x="1109" y="231"/>
                  </a:cubicBezTo>
                  <a:cubicBezTo>
                    <a:pt x="1116" y="223"/>
                    <a:pt x="1123" y="215"/>
                    <a:pt x="1130" y="208"/>
                  </a:cubicBezTo>
                  <a:moveTo>
                    <a:pt x="944" y="218"/>
                  </a:moveTo>
                  <a:cubicBezTo>
                    <a:pt x="943" y="220"/>
                    <a:pt x="942" y="221"/>
                    <a:pt x="941" y="223"/>
                  </a:cubicBezTo>
                  <a:cubicBezTo>
                    <a:pt x="940" y="223"/>
                    <a:pt x="940" y="223"/>
                    <a:pt x="940" y="223"/>
                  </a:cubicBezTo>
                  <a:cubicBezTo>
                    <a:pt x="935" y="230"/>
                    <a:pt x="931" y="236"/>
                    <a:pt x="927" y="242"/>
                  </a:cubicBezTo>
                  <a:cubicBezTo>
                    <a:pt x="927" y="242"/>
                    <a:pt x="927" y="243"/>
                    <a:pt x="927" y="243"/>
                  </a:cubicBezTo>
                  <a:cubicBezTo>
                    <a:pt x="927" y="243"/>
                    <a:pt x="927" y="243"/>
                    <a:pt x="927" y="243"/>
                  </a:cubicBezTo>
                  <a:cubicBezTo>
                    <a:pt x="927" y="243"/>
                    <a:pt x="927" y="243"/>
                    <a:pt x="927" y="243"/>
                  </a:cubicBezTo>
                  <a:cubicBezTo>
                    <a:pt x="927" y="243"/>
                    <a:pt x="928" y="243"/>
                    <a:pt x="928" y="242"/>
                  </a:cubicBezTo>
                  <a:cubicBezTo>
                    <a:pt x="932" y="237"/>
                    <a:pt x="936" y="231"/>
                    <a:pt x="941" y="224"/>
                  </a:cubicBezTo>
                  <a:cubicBezTo>
                    <a:pt x="941" y="224"/>
                    <a:pt x="941" y="224"/>
                    <a:pt x="941" y="223"/>
                  </a:cubicBezTo>
                  <a:cubicBezTo>
                    <a:pt x="942" y="222"/>
                    <a:pt x="943" y="221"/>
                    <a:pt x="944" y="220"/>
                  </a:cubicBezTo>
                  <a:cubicBezTo>
                    <a:pt x="944" y="219"/>
                    <a:pt x="944" y="219"/>
                    <a:pt x="944" y="218"/>
                  </a:cubicBezTo>
                  <a:moveTo>
                    <a:pt x="1130" y="228"/>
                  </a:moveTo>
                  <a:cubicBezTo>
                    <a:pt x="1128" y="230"/>
                    <a:pt x="1127" y="233"/>
                    <a:pt x="1125" y="235"/>
                  </a:cubicBezTo>
                  <a:cubicBezTo>
                    <a:pt x="1125" y="235"/>
                    <a:pt x="1126" y="235"/>
                    <a:pt x="1126" y="236"/>
                  </a:cubicBezTo>
                  <a:cubicBezTo>
                    <a:pt x="1127" y="234"/>
                    <a:pt x="1128" y="232"/>
                    <a:pt x="1130" y="230"/>
                  </a:cubicBezTo>
                  <a:cubicBezTo>
                    <a:pt x="1130" y="229"/>
                    <a:pt x="1130" y="228"/>
                    <a:pt x="1130" y="228"/>
                  </a:cubicBezTo>
                  <a:moveTo>
                    <a:pt x="706" y="229"/>
                  </a:moveTo>
                  <a:cubicBezTo>
                    <a:pt x="705" y="230"/>
                    <a:pt x="705" y="231"/>
                    <a:pt x="704" y="231"/>
                  </a:cubicBezTo>
                  <a:cubicBezTo>
                    <a:pt x="704" y="233"/>
                    <a:pt x="703" y="235"/>
                    <a:pt x="703" y="236"/>
                  </a:cubicBezTo>
                  <a:cubicBezTo>
                    <a:pt x="703" y="237"/>
                    <a:pt x="702" y="238"/>
                    <a:pt x="702" y="239"/>
                  </a:cubicBezTo>
                  <a:cubicBezTo>
                    <a:pt x="700" y="244"/>
                    <a:pt x="699" y="250"/>
                    <a:pt x="696" y="255"/>
                  </a:cubicBezTo>
                  <a:cubicBezTo>
                    <a:pt x="696" y="255"/>
                    <a:pt x="696" y="256"/>
                    <a:pt x="696" y="257"/>
                  </a:cubicBezTo>
                  <a:cubicBezTo>
                    <a:pt x="694" y="261"/>
                    <a:pt x="692" y="265"/>
                    <a:pt x="690" y="270"/>
                  </a:cubicBezTo>
                  <a:cubicBezTo>
                    <a:pt x="689" y="270"/>
                    <a:pt x="689" y="271"/>
                    <a:pt x="689" y="271"/>
                  </a:cubicBezTo>
                  <a:cubicBezTo>
                    <a:pt x="687" y="276"/>
                    <a:pt x="684" y="280"/>
                    <a:pt x="682" y="284"/>
                  </a:cubicBezTo>
                  <a:cubicBezTo>
                    <a:pt x="681" y="284"/>
                    <a:pt x="681" y="285"/>
                    <a:pt x="681" y="285"/>
                  </a:cubicBezTo>
                  <a:cubicBezTo>
                    <a:pt x="679" y="289"/>
                    <a:pt x="676" y="292"/>
                    <a:pt x="674" y="296"/>
                  </a:cubicBezTo>
                  <a:cubicBezTo>
                    <a:pt x="674" y="295"/>
                    <a:pt x="675" y="295"/>
                    <a:pt x="676" y="295"/>
                  </a:cubicBezTo>
                  <a:cubicBezTo>
                    <a:pt x="678" y="292"/>
                    <a:pt x="679" y="289"/>
                    <a:pt x="681" y="287"/>
                  </a:cubicBezTo>
                  <a:cubicBezTo>
                    <a:pt x="681" y="286"/>
                    <a:pt x="682" y="286"/>
                    <a:pt x="682" y="286"/>
                  </a:cubicBezTo>
                  <a:cubicBezTo>
                    <a:pt x="684" y="281"/>
                    <a:pt x="687" y="277"/>
                    <a:pt x="689" y="273"/>
                  </a:cubicBezTo>
                  <a:cubicBezTo>
                    <a:pt x="689" y="272"/>
                    <a:pt x="690" y="272"/>
                    <a:pt x="690" y="271"/>
                  </a:cubicBezTo>
                  <a:cubicBezTo>
                    <a:pt x="692" y="267"/>
                    <a:pt x="694" y="263"/>
                    <a:pt x="696" y="259"/>
                  </a:cubicBezTo>
                  <a:cubicBezTo>
                    <a:pt x="696" y="258"/>
                    <a:pt x="696" y="257"/>
                    <a:pt x="697" y="257"/>
                  </a:cubicBezTo>
                  <a:cubicBezTo>
                    <a:pt x="699" y="252"/>
                    <a:pt x="701" y="247"/>
                    <a:pt x="702" y="242"/>
                  </a:cubicBezTo>
                  <a:cubicBezTo>
                    <a:pt x="703" y="241"/>
                    <a:pt x="703" y="240"/>
                    <a:pt x="703" y="239"/>
                  </a:cubicBezTo>
                  <a:cubicBezTo>
                    <a:pt x="704" y="236"/>
                    <a:pt x="705" y="233"/>
                    <a:pt x="706" y="229"/>
                  </a:cubicBezTo>
                  <a:moveTo>
                    <a:pt x="1107" y="232"/>
                  </a:moveTo>
                  <a:cubicBezTo>
                    <a:pt x="1097" y="242"/>
                    <a:pt x="1086" y="253"/>
                    <a:pt x="1076" y="262"/>
                  </a:cubicBezTo>
                  <a:cubicBezTo>
                    <a:pt x="1076" y="263"/>
                    <a:pt x="1076" y="263"/>
                    <a:pt x="1077" y="263"/>
                  </a:cubicBezTo>
                  <a:cubicBezTo>
                    <a:pt x="1087" y="253"/>
                    <a:pt x="1098" y="243"/>
                    <a:pt x="1108" y="232"/>
                  </a:cubicBezTo>
                  <a:cubicBezTo>
                    <a:pt x="1108" y="232"/>
                    <a:pt x="1107" y="232"/>
                    <a:pt x="1107" y="232"/>
                  </a:cubicBezTo>
                  <a:moveTo>
                    <a:pt x="1124" y="236"/>
                  </a:moveTo>
                  <a:cubicBezTo>
                    <a:pt x="1113" y="253"/>
                    <a:pt x="1102" y="269"/>
                    <a:pt x="1091" y="284"/>
                  </a:cubicBezTo>
                  <a:cubicBezTo>
                    <a:pt x="1092" y="285"/>
                    <a:pt x="1092" y="285"/>
                    <a:pt x="1092" y="285"/>
                  </a:cubicBezTo>
                  <a:cubicBezTo>
                    <a:pt x="1102" y="270"/>
                    <a:pt x="1114" y="254"/>
                    <a:pt x="1125" y="236"/>
                  </a:cubicBezTo>
                  <a:cubicBezTo>
                    <a:pt x="1125" y="236"/>
                    <a:pt x="1125" y="236"/>
                    <a:pt x="1124" y="236"/>
                  </a:cubicBezTo>
                  <a:moveTo>
                    <a:pt x="927" y="245"/>
                  </a:moveTo>
                  <a:cubicBezTo>
                    <a:pt x="926" y="245"/>
                    <a:pt x="926" y="245"/>
                    <a:pt x="925" y="246"/>
                  </a:cubicBezTo>
                  <a:cubicBezTo>
                    <a:pt x="921" y="253"/>
                    <a:pt x="918" y="260"/>
                    <a:pt x="917" y="267"/>
                  </a:cubicBezTo>
                  <a:cubicBezTo>
                    <a:pt x="917" y="267"/>
                    <a:pt x="918" y="266"/>
                    <a:pt x="918" y="266"/>
                  </a:cubicBezTo>
                  <a:cubicBezTo>
                    <a:pt x="920" y="260"/>
                    <a:pt x="922" y="253"/>
                    <a:pt x="927" y="245"/>
                  </a:cubicBezTo>
                  <a:cubicBezTo>
                    <a:pt x="927" y="245"/>
                    <a:pt x="927" y="245"/>
                    <a:pt x="927" y="245"/>
                  </a:cubicBezTo>
                  <a:moveTo>
                    <a:pt x="1075" y="263"/>
                  </a:moveTo>
                  <a:cubicBezTo>
                    <a:pt x="1074" y="265"/>
                    <a:pt x="1072" y="266"/>
                    <a:pt x="1070" y="267"/>
                  </a:cubicBezTo>
                  <a:cubicBezTo>
                    <a:pt x="1070" y="268"/>
                    <a:pt x="1070" y="268"/>
                    <a:pt x="1070" y="269"/>
                  </a:cubicBezTo>
                  <a:cubicBezTo>
                    <a:pt x="1072" y="267"/>
                    <a:pt x="1074" y="265"/>
                    <a:pt x="1076" y="264"/>
                  </a:cubicBezTo>
                  <a:cubicBezTo>
                    <a:pt x="1076" y="263"/>
                    <a:pt x="1075" y="263"/>
                    <a:pt x="1075" y="263"/>
                  </a:cubicBezTo>
                  <a:moveTo>
                    <a:pt x="918" y="267"/>
                  </a:moveTo>
                  <a:cubicBezTo>
                    <a:pt x="918" y="268"/>
                    <a:pt x="917" y="268"/>
                    <a:pt x="917" y="268"/>
                  </a:cubicBezTo>
                  <a:cubicBezTo>
                    <a:pt x="917" y="270"/>
                    <a:pt x="916" y="272"/>
                    <a:pt x="916" y="274"/>
                  </a:cubicBezTo>
                  <a:cubicBezTo>
                    <a:pt x="916" y="277"/>
                    <a:pt x="917" y="279"/>
                    <a:pt x="917" y="281"/>
                  </a:cubicBezTo>
                  <a:cubicBezTo>
                    <a:pt x="917" y="281"/>
                    <a:pt x="918" y="280"/>
                    <a:pt x="918" y="280"/>
                  </a:cubicBezTo>
                  <a:cubicBezTo>
                    <a:pt x="918" y="278"/>
                    <a:pt x="917" y="276"/>
                    <a:pt x="917" y="274"/>
                  </a:cubicBezTo>
                  <a:cubicBezTo>
                    <a:pt x="917" y="272"/>
                    <a:pt x="918" y="270"/>
                    <a:pt x="918" y="267"/>
                  </a:cubicBezTo>
                  <a:moveTo>
                    <a:pt x="1069" y="268"/>
                  </a:moveTo>
                  <a:cubicBezTo>
                    <a:pt x="1057" y="279"/>
                    <a:pt x="1045" y="289"/>
                    <a:pt x="1033" y="297"/>
                  </a:cubicBezTo>
                  <a:cubicBezTo>
                    <a:pt x="1034" y="297"/>
                    <a:pt x="1034" y="297"/>
                    <a:pt x="1034" y="297"/>
                  </a:cubicBezTo>
                  <a:cubicBezTo>
                    <a:pt x="1046" y="290"/>
                    <a:pt x="1058" y="280"/>
                    <a:pt x="1069" y="270"/>
                  </a:cubicBezTo>
                  <a:cubicBezTo>
                    <a:pt x="1069" y="269"/>
                    <a:pt x="1069" y="269"/>
                    <a:pt x="1069" y="268"/>
                  </a:cubicBezTo>
                  <a:moveTo>
                    <a:pt x="918" y="281"/>
                  </a:moveTo>
                  <a:cubicBezTo>
                    <a:pt x="918" y="281"/>
                    <a:pt x="918" y="282"/>
                    <a:pt x="917" y="282"/>
                  </a:cubicBezTo>
                  <a:cubicBezTo>
                    <a:pt x="918" y="285"/>
                    <a:pt x="920" y="288"/>
                    <a:pt x="922" y="291"/>
                  </a:cubicBezTo>
                  <a:cubicBezTo>
                    <a:pt x="922" y="291"/>
                    <a:pt x="922" y="291"/>
                    <a:pt x="922" y="290"/>
                  </a:cubicBezTo>
                  <a:cubicBezTo>
                    <a:pt x="920" y="288"/>
                    <a:pt x="919" y="285"/>
                    <a:pt x="918" y="281"/>
                  </a:cubicBezTo>
                  <a:moveTo>
                    <a:pt x="1091" y="285"/>
                  </a:moveTo>
                  <a:cubicBezTo>
                    <a:pt x="1084" y="294"/>
                    <a:pt x="1078" y="303"/>
                    <a:pt x="1072" y="311"/>
                  </a:cubicBezTo>
                  <a:cubicBezTo>
                    <a:pt x="1072" y="312"/>
                    <a:pt x="1072" y="312"/>
                    <a:pt x="1072" y="313"/>
                  </a:cubicBezTo>
                  <a:cubicBezTo>
                    <a:pt x="1078" y="305"/>
                    <a:pt x="1084" y="296"/>
                    <a:pt x="1091" y="287"/>
                  </a:cubicBezTo>
                  <a:cubicBezTo>
                    <a:pt x="1091" y="286"/>
                    <a:pt x="1091" y="286"/>
                    <a:pt x="1091" y="285"/>
                  </a:cubicBezTo>
                  <a:moveTo>
                    <a:pt x="923" y="291"/>
                  </a:moveTo>
                  <a:cubicBezTo>
                    <a:pt x="923" y="291"/>
                    <a:pt x="922" y="292"/>
                    <a:pt x="922" y="292"/>
                  </a:cubicBezTo>
                  <a:cubicBezTo>
                    <a:pt x="922" y="292"/>
                    <a:pt x="922" y="292"/>
                    <a:pt x="922" y="292"/>
                  </a:cubicBezTo>
                  <a:cubicBezTo>
                    <a:pt x="923" y="292"/>
                    <a:pt x="923" y="293"/>
                    <a:pt x="923" y="293"/>
                  </a:cubicBezTo>
                  <a:cubicBezTo>
                    <a:pt x="924" y="295"/>
                    <a:pt x="926" y="296"/>
                    <a:pt x="928" y="298"/>
                  </a:cubicBezTo>
                  <a:cubicBezTo>
                    <a:pt x="928" y="298"/>
                    <a:pt x="929" y="297"/>
                    <a:pt x="929" y="297"/>
                  </a:cubicBezTo>
                  <a:cubicBezTo>
                    <a:pt x="927" y="296"/>
                    <a:pt x="925" y="294"/>
                    <a:pt x="924" y="292"/>
                  </a:cubicBezTo>
                  <a:cubicBezTo>
                    <a:pt x="923" y="292"/>
                    <a:pt x="923" y="291"/>
                    <a:pt x="923" y="291"/>
                  </a:cubicBezTo>
                  <a:moveTo>
                    <a:pt x="674" y="297"/>
                  </a:moveTo>
                  <a:cubicBezTo>
                    <a:pt x="674" y="297"/>
                    <a:pt x="673" y="297"/>
                    <a:pt x="672" y="298"/>
                  </a:cubicBezTo>
                  <a:cubicBezTo>
                    <a:pt x="672" y="299"/>
                    <a:pt x="671" y="300"/>
                    <a:pt x="670" y="301"/>
                  </a:cubicBezTo>
                  <a:cubicBezTo>
                    <a:pt x="670" y="301"/>
                    <a:pt x="670" y="302"/>
                    <a:pt x="670" y="302"/>
                  </a:cubicBezTo>
                  <a:cubicBezTo>
                    <a:pt x="672" y="300"/>
                    <a:pt x="673" y="299"/>
                    <a:pt x="674" y="297"/>
                  </a:cubicBezTo>
                  <a:moveTo>
                    <a:pt x="1033" y="297"/>
                  </a:moveTo>
                  <a:cubicBezTo>
                    <a:pt x="1027" y="301"/>
                    <a:pt x="1020" y="305"/>
                    <a:pt x="1014" y="308"/>
                  </a:cubicBezTo>
                  <a:cubicBezTo>
                    <a:pt x="1014" y="309"/>
                    <a:pt x="1014" y="309"/>
                    <a:pt x="1015" y="309"/>
                  </a:cubicBezTo>
                  <a:cubicBezTo>
                    <a:pt x="1021" y="306"/>
                    <a:pt x="1027" y="302"/>
                    <a:pt x="1033" y="298"/>
                  </a:cubicBezTo>
                  <a:cubicBezTo>
                    <a:pt x="1033" y="298"/>
                    <a:pt x="1033" y="297"/>
                    <a:pt x="1033" y="297"/>
                  </a:cubicBezTo>
                  <a:moveTo>
                    <a:pt x="930" y="298"/>
                  </a:moveTo>
                  <a:cubicBezTo>
                    <a:pt x="929" y="298"/>
                    <a:pt x="929" y="298"/>
                    <a:pt x="929" y="298"/>
                  </a:cubicBezTo>
                  <a:cubicBezTo>
                    <a:pt x="931" y="300"/>
                    <a:pt x="934" y="302"/>
                    <a:pt x="937" y="304"/>
                  </a:cubicBezTo>
                  <a:cubicBezTo>
                    <a:pt x="937" y="304"/>
                    <a:pt x="938" y="304"/>
                    <a:pt x="938" y="304"/>
                  </a:cubicBezTo>
                  <a:cubicBezTo>
                    <a:pt x="938" y="305"/>
                    <a:pt x="939" y="305"/>
                    <a:pt x="939" y="305"/>
                  </a:cubicBezTo>
                  <a:cubicBezTo>
                    <a:pt x="940" y="305"/>
                    <a:pt x="941" y="305"/>
                    <a:pt x="941" y="305"/>
                  </a:cubicBezTo>
                  <a:cubicBezTo>
                    <a:pt x="941" y="305"/>
                    <a:pt x="941" y="305"/>
                    <a:pt x="941" y="305"/>
                  </a:cubicBezTo>
                  <a:cubicBezTo>
                    <a:pt x="940" y="305"/>
                    <a:pt x="939" y="304"/>
                    <a:pt x="939" y="304"/>
                  </a:cubicBezTo>
                  <a:cubicBezTo>
                    <a:pt x="938" y="303"/>
                    <a:pt x="938" y="303"/>
                    <a:pt x="938" y="303"/>
                  </a:cubicBezTo>
                  <a:cubicBezTo>
                    <a:pt x="935" y="302"/>
                    <a:pt x="932" y="300"/>
                    <a:pt x="930" y="298"/>
                  </a:cubicBezTo>
                  <a:moveTo>
                    <a:pt x="669" y="302"/>
                  </a:moveTo>
                  <a:cubicBezTo>
                    <a:pt x="668" y="304"/>
                    <a:pt x="666" y="306"/>
                    <a:pt x="665" y="307"/>
                  </a:cubicBezTo>
                  <a:cubicBezTo>
                    <a:pt x="665" y="308"/>
                    <a:pt x="664" y="308"/>
                    <a:pt x="664" y="308"/>
                  </a:cubicBezTo>
                  <a:cubicBezTo>
                    <a:pt x="662" y="310"/>
                    <a:pt x="660" y="313"/>
                    <a:pt x="658" y="315"/>
                  </a:cubicBezTo>
                  <a:cubicBezTo>
                    <a:pt x="659" y="315"/>
                    <a:pt x="659" y="315"/>
                    <a:pt x="660" y="315"/>
                  </a:cubicBezTo>
                  <a:cubicBezTo>
                    <a:pt x="661" y="313"/>
                    <a:pt x="663" y="311"/>
                    <a:pt x="664" y="310"/>
                  </a:cubicBezTo>
                  <a:cubicBezTo>
                    <a:pt x="665" y="309"/>
                    <a:pt x="665" y="309"/>
                    <a:pt x="665" y="309"/>
                  </a:cubicBezTo>
                  <a:cubicBezTo>
                    <a:pt x="667" y="307"/>
                    <a:pt x="668" y="305"/>
                    <a:pt x="670" y="303"/>
                  </a:cubicBezTo>
                  <a:cubicBezTo>
                    <a:pt x="669" y="303"/>
                    <a:pt x="669" y="302"/>
                    <a:pt x="669" y="302"/>
                  </a:cubicBezTo>
                  <a:moveTo>
                    <a:pt x="942" y="306"/>
                  </a:moveTo>
                  <a:cubicBezTo>
                    <a:pt x="942" y="306"/>
                    <a:pt x="942" y="306"/>
                    <a:pt x="942" y="306"/>
                  </a:cubicBezTo>
                  <a:cubicBezTo>
                    <a:pt x="942" y="307"/>
                    <a:pt x="943" y="307"/>
                    <a:pt x="943" y="307"/>
                  </a:cubicBezTo>
                  <a:cubicBezTo>
                    <a:pt x="943" y="307"/>
                    <a:pt x="944" y="307"/>
                    <a:pt x="944" y="306"/>
                  </a:cubicBezTo>
                  <a:cubicBezTo>
                    <a:pt x="944" y="306"/>
                    <a:pt x="944" y="306"/>
                    <a:pt x="944" y="306"/>
                  </a:cubicBezTo>
                  <a:cubicBezTo>
                    <a:pt x="943" y="306"/>
                    <a:pt x="942" y="306"/>
                    <a:pt x="942" y="306"/>
                  </a:cubicBezTo>
                  <a:moveTo>
                    <a:pt x="945" y="307"/>
                  </a:moveTo>
                  <a:cubicBezTo>
                    <a:pt x="945" y="307"/>
                    <a:pt x="945" y="307"/>
                    <a:pt x="944" y="307"/>
                  </a:cubicBezTo>
                  <a:cubicBezTo>
                    <a:pt x="947" y="309"/>
                    <a:pt x="949" y="310"/>
                    <a:pt x="952" y="311"/>
                  </a:cubicBezTo>
                  <a:cubicBezTo>
                    <a:pt x="952" y="310"/>
                    <a:pt x="952" y="310"/>
                    <a:pt x="952" y="310"/>
                  </a:cubicBezTo>
                  <a:cubicBezTo>
                    <a:pt x="950" y="309"/>
                    <a:pt x="947" y="308"/>
                    <a:pt x="945" y="307"/>
                  </a:cubicBezTo>
                  <a:moveTo>
                    <a:pt x="1013" y="309"/>
                  </a:moveTo>
                  <a:cubicBezTo>
                    <a:pt x="1007" y="312"/>
                    <a:pt x="1001" y="315"/>
                    <a:pt x="995" y="317"/>
                  </a:cubicBezTo>
                  <a:cubicBezTo>
                    <a:pt x="994" y="317"/>
                    <a:pt x="994" y="318"/>
                    <a:pt x="993" y="318"/>
                  </a:cubicBezTo>
                  <a:cubicBezTo>
                    <a:pt x="994" y="318"/>
                    <a:pt x="994" y="318"/>
                    <a:pt x="994" y="318"/>
                  </a:cubicBezTo>
                  <a:cubicBezTo>
                    <a:pt x="1000" y="316"/>
                    <a:pt x="1007" y="313"/>
                    <a:pt x="1014" y="310"/>
                  </a:cubicBezTo>
                  <a:cubicBezTo>
                    <a:pt x="1014" y="309"/>
                    <a:pt x="1014" y="309"/>
                    <a:pt x="1013" y="309"/>
                  </a:cubicBezTo>
                  <a:moveTo>
                    <a:pt x="953" y="310"/>
                  </a:moveTo>
                  <a:cubicBezTo>
                    <a:pt x="953" y="310"/>
                    <a:pt x="953" y="311"/>
                    <a:pt x="953" y="311"/>
                  </a:cubicBezTo>
                  <a:cubicBezTo>
                    <a:pt x="954" y="311"/>
                    <a:pt x="954" y="311"/>
                    <a:pt x="954" y="311"/>
                  </a:cubicBezTo>
                  <a:cubicBezTo>
                    <a:pt x="955" y="311"/>
                    <a:pt x="955" y="311"/>
                    <a:pt x="955" y="311"/>
                  </a:cubicBezTo>
                  <a:cubicBezTo>
                    <a:pt x="955" y="310"/>
                    <a:pt x="954" y="310"/>
                    <a:pt x="953" y="310"/>
                  </a:cubicBezTo>
                  <a:moveTo>
                    <a:pt x="957" y="311"/>
                  </a:moveTo>
                  <a:cubicBezTo>
                    <a:pt x="956" y="311"/>
                    <a:pt x="956" y="312"/>
                    <a:pt x="956" y="312"/>
                  </a:cubicBezTo>
                  <a:cubicBezTo>
                    <a:pt x="957" y="312"/>
                    <a:pt x="958" y="313"/>
                    <a:pt x="959" y="313"/>
                  </a:cubicBezTo>
                  <a:cubicBezTo>
                    <a:pt x="959" y="313"/>
                    <a:pt x="960" y="313"/>
                    <a:pt x="960" y="313"/>
                  </a:cubicBezTo>
                  <a:cubicBezTo>
                    <a:pt x="960" y="313"/>
                    <a:pt x="961" y="313"/>
                    <a:pt x="961" y="313"/>
                  </a:cubicBezTo>
                  <a:cubicBezTo>
                    <a:pt x="961" y="314"/>
                    <a:pt x="962" y="314"/>
                    <a:pt x="962" y="314"/>
                  </a:cubicBezTo>
                  <a:cubicBezTo>
                    <a:pt x="962" y="314"/>
                    <a:pt x="963" y="314"/>
                    <a:pt x="963" y="314"/>
                  </a:cubicBezTo>
                  <a:cubicBezTo>
                    <a:pt x="964" y="314"/>
                    <a:pt x="964" y="314"/>
                    <a:pt x="964" y="314"/>
                  </a:cubicBezTo>
                  <a:cubicBezTo>
                    <a:pt x="964" y="313"/>
                    <a:pt x="964" y="313"/>
                    <a:pt x="963" y="313"/>
                  </a:cubicBezTo>
                  <a:cubicBezTo>
                    <a:pt x="963" y="313"/>
                    <a:pt x="962" y="313"/>
                    <a:pt x="962" y="313"/>
                  </a:cubicBezTo>
                  <a:cubicBezTo>
                    <a:pt x="962" y="313"/>
                    <a:pt x="961" y="313"/>
                    <a:pt x="961" y="312"/>
                  </a:cubicBezTo>
                  <a:cubicBezTo>
                    <a:pt x="960" y="312"/>
                    <a:pt x="960" y="312"/>
                    <a:pt x="960" y="312"/>
                  </a:cubicBezTo>
                  <a:cubicBezTo>
                    <a:pt x="959" y="312"/>
                    <a:pt x="958" y="312"/>
                    <a:pt x="957" y="311"/>
                  </a:cubicBezTo>
                  <a:moveTo>
                    <a:pt x="1071" y="313"/>
                  </a:moveTo>
                  <a:cubicBezTo>
                    <a:pt x="1065" y="320"/>
                    <a:pt x="1060" y="326"/>
                    <a:pt x="1055" y="333"/>
                  </a:cubicBezTo>
                  <a:cubicBezTo>
                    <a:pt x="1055" y="333"/>
                    <a:pt x="1055" y="333"/>
                    <a:pt x="1055" y="334"/>
                  </a:cubicBezTo>
                  <a:cubicBezTo>
                    <a:pt x="1055" y="333"/>
                    <a:pt x="1056" y="333"/>
                    <a:pt x="1056" y="333"/>
                  </a:cubicBezTo>
                  <a:cubicBezTo>
                    <a:pt x="1057" y="332"/>
                    <a:pt x="1058" y="331"/>
                    <a:pt x="1058" y="330"/>
                  </a:cubicBezTo>
                  <a:cubicBezTo>
                    <a:pt x="1062" y="325"/>
                    <a:pt x="1066" y="320"/>
                    <a:pt x="1071" y="314"/>
                  </a:cubicBezTo>
                  <a:cubicBezTo>
                    <a:pt x="1071" y="314"/>
                    <a:pt x="1071" y="313"/>
                    <a:pt x="1071" y="313"/>
                  </a:cubicBezTo>
                  <a:moveTo>
                    <a:pt x="966" y="314"/>
                  </a:moveTo>
                  <a:cubicBezTo>
                    <a:pt x="965" y="314"/>
                    <a:pt x="965" y="314"/>
                    <a:pt x="964" y="315"/>
                  </a:cubicBezTo>
                  <a:cubicBezTo>
                    <a:pt x="966" y="315"/>
                    <a:pt x="967" y="315"/>
                    <a:pt x="968" y="315"/>
                  </a:cubicBezTo>
                  <a:cubicBezTo>
                    <a:pt x="968" y="316"/>
                    <a:pt x="969" y="316"/>
                    <a:pt x="969" y="316"/>
                  </a:cubicBezTo>
                  <a:cubicBezTo>
                    <a:pt x="969" y="316"/>
                    <a:pt x="970" y="316"/>
                    <a:pt x="970" y="316"/>
                  </a:cubicBezTo>
                  <a:cubicBezTo>
                    <a:pt x="970" y="316"/>
                    <a:pt x="970" y="316"/>
                    <a:pt x="971" y="315"/>
                  </a:cubicBezTo>
                  <a:cubicBezTo>
                    <a:pt x="971" y="315"/>
                    <a:pt x="971" y="315"/>
                    <a:pt x="971" y="315"/>
                  </a:cubicBezTo>
                  <a:cubicBezTo>
                    <a:pt x="971" y="315"/>
                    <a:pt x="970" y="315"/>
                    <a:pt x="970" y="315"/>
                  </a:cubicBezTo>
                  <a:cubicBezTo>
                    <a:pt x="970" y="315"/>
                    <a:pt x="969" y="315"/>
                    <a:pt x="969" y="315"/>
                  </a:cubicBezTo>
                  <a:cubicBezTo>
                    <a:pt x="968" y="314"/>
                    <a:pt x="967" y="314"/>
                    <a:pt x="966" y="314"/>
                  </a:cubicBezTo>
                  <a:moveTo>
                    <a:pt x="972" y="316"/>
                  </a:moveTo>
                  <a:cubicBezTo>
                    <a:pt x="972" y="316"/>
                    <a:pt x="972" y="316"/>
                    <a:pt x="971" y="316"/>
                  </a:cubicBezTo>
                  <a:cubicBezTo>
                    <a:pt x="971" y="316"/>
                    <a:pt x="971" y="316"/>
                    <a:pt x="971" y="316"/>
                  </a:cubicBezTo>
                  <a:cubicBezTo>
                    <a:pt x="972" y="317"/>
                    <a:pt x="973" y="317"/>
                    <a:pt x="975" y="317"/>
                  </a:cubicBezTo>
                  <a:cubicBezTo>
                    <a:pt x="975" y="317"/>
                    <a:pt x="975" y="317"/>
                    <a:pt x="975" y="317"/>
                  </a:cubicBezTo>
                  <a:cubicBezTo>
                    <a:pt x="975" y="317"/>
                    <a:pt x="975" y="317"/>
                    <a:pt x="976" y="317"/>
                  </a:cubicBezTo>
                  <a:cubicBezTo>
                    <a:pt x="975" y="317"/>
                    <a:pt x="975" y="317"/>
                    <a:pt x="975" y="316"/>
                  </a:cubicBezTo>
                  <a:cubicBezTo>
                    <a:pt x="974" y="316"/>
                    <a:pt x="973" y="316"/>
                    <a:pt x="972" y="316"/>
                  </a:cubicBezTo>
                  <a:moveTo>
                    <a:pt x="658" y="316"/>
                  </a:moveTo>
                  <a:cubicBezTo>
                    <a:pt x="656" y="317"/>
                    <a:pt x="654" y="319"/>
                    <a:pt x="653" y="321"/>
                  </a:cubicBezTo>
                  <a:cubicBezTo>
                    <a:pt x="653" y="321"/>
                    <a:pt x="653" y="321"/>
                    <a:pt x="654" y="321"/>
                  </a:cubicBezTo>
                  <a:cubicBezTo>
                    <a:pt x="654" y="321"/>
                    <a:pt x="654" y="321"/>
                    <a:pt x="654" y="321"/>
                  </a:cubicBezTo>
                  <a:cubicBezTo>
                    <a:pt x="656" y="319"/>
                    <a:pt x="657" y="317"/>
                    <a:pt x="659" y="316"/>
                  </a:cubicBezTo>
                  <a:cubicBezTo>
                    <a:pt x="658" y="316"/>
                    <a:pt x="658" y="316"/>
                    <a:pt x="658" y="316"/>
                  </a:cubicBezTo>
                  <a:moveTo>
                    <a:pt x="977" y="317"/>
                  </a:moveTo>
                  <a:cubicBezTo>
                    <a:pt x="978" y="317"/>
                    <a:pt x="978" y="318"/>
                    <a:pt x="979" y="318"/>
                  </a:cubicBezTo>
                  <a:cubicBezTo>
                    <a:pt x="979" y="318"/>
                    <a:pt x="979" y="318"/>
                    <a:pt x="979" y="318"/>
                  </a:cubicBezTo>
                  <a:cubicBezTo>
                    <a:pt x="980" y="318"/>
                    <a:pt x="980" y="318"/>
                    <a:pt x="980" y="318"/>
                  </a:cubicBezTo>
                  <a:cubicBezTo>
                    <a:pt x="979" y="317"/>
                    <a:pt x="979" y="317"/>
                    <a:pt x="978" y="317"/>
                  </a:cubicBezTo>
                  <a:cubicBezTo>
                    <a:pt x="978" y="317"/>
                    <a:pt x="978" y="317"/>
                    <a:pt x="977" y="317"/>
                  </a:cubicBezTo>
                  <a:moveTo>
                    <a:pt x="993" y="317"/>
                  </a:moveTo>
                  <a:cubicBezTo>
                    <a:pt x="992" y="318"/>
                    <a:pt x="991" y="318"/>
                    <a:pt x="990" y="318"/>
                  </a:cubicBezTo>
                  <a:cubicBezTo>
                    <a:pt x="989" y="319"/>
                    <a:pt x="989" y="319"/>
                    <a:pt x="988" y="319"/>
                  </a:cubicBezTo>
                  <a:cubicBezTo>
                    <a:pt x="989" y="319"/>
                    <a:pt x="990" y="319"/>
                    <a:pt x="991" y="319"/>
                  </a:cubicBezTo>
                  <a:cubicBezTo>
                    <a:pt x="992" y="318"/>
                    <a:pt x="992" y="318"/>
                    <a:pt x="993" y="317"/>
                  </a:cubicBezTo>
                  <a:moveTo>
                    <a:pt x="976" y="318"/>
                  </a:moveTo>
                  <a:cubicBezTo>
                    <a:pt x="976" y="318"/>
                    <a:pt x="976" y="318"/>
                    <a:pt x="976" y="318"/>
                  </a:cubicBezTo>
                  <a:cubicBezTo>
                    <a:pt x="976" y="318"/>
                    <a:pt x="977" y="318"/>
                    <a:pt x="977" y="318"/>
                  </a:cubicBezTo>
                  <a:cubicBezTo>
                    <a:pt x="977" y="318"/>
                    <a:pt x="977" y="318"/>
                    <a:pt x="976" y="318"/>
                  </a:cubicBezTo>
                  <a:moveTo>
                    <a:pt x="981" y="318"/>
                  </a:moveTo>
                  <a:cubicBezTo>
                    <a:pt x="981" y="318"/>
                    <a:pt x="981" y="318"/>
                    <a:pt x="981" y="319"/>
                  </a:cubicBezTo>
                  <a:cubicBezTo>
                    <a:pt x="981" y="319"/>
                    <a:pt x="981" y="319"/>
                    <a:pt x="982" y="319"/>
                  </a:cubicBezTo>
                  <a:cubicBezTo>
                    <a:pt x="982" y="319"/>
                    <a:pt x="982" y="319"/>
                    <a:pt x="982" y="319"/>
                  </a:cubicBezTo>
                  <a:cubicBezTo>
                    <a:pt x="982" y="319"/>
                    <a:pt x="983" y="319"/>
                    <a:pt x="983" y="319"/>
                  </a:cubicBezTo>
                  <a:cubicBezTo>
                    <a:pt x="983" y="319"/>
                    <a:pt x="984" y="319"/>
                    <a:pt x="984" y="318"/>
                  </a:cubicBezTo>
                  <a:cubicBezTo>
                    <a:pt x="984" y="318"/>
                    <a:pt x="983" y="318"/>
                    <a:pt x="983" y="318"/>
                  </a:cubicBezTo>
                  <a:cubicBezTo>
                    <a:pt x="983" y="318"/>
                    <a:pt x="983" y="318"/>
                    <a:pt x="983" y="318"/>
                  </a:cubicBezTo>
                  <a:cubicBezTo>
                    <a:pt x="982" y="318"/>
                    <a:pt x="982" y="318"/>
                    <a:pt x="981" y="318"/>
                  </a:cubicBezTo>
                  <a:moveTo>
                    <a:pt x="988" y="319"/>
                  </a:moveTo>
                  <a:cubicBezTo>
                    <a:pt x="987" y="319"/>
                    <a:pt x="987" y="319"/>
                    <a:pt x="987" y="319"/>
                  </a:cubicBezTo>
                  <a:cubicBezTo>
                    <a:pt x="987" y="319"/>
                    <a:pt x="986" y="319"/>
                    <a:pt x="986" y="319"/>
                  </a:cubicBezTo>
                  <a:cubicBezTo>
                    <a:pt x="986" y="319"/>
                    <a:pt x="986" y="319"/>
                    <a:pt x="986" y="319"/>
                  </a:cubicBezTo>
                  <a:cubicBezTo>
                    <a:pt x="986" y="319"/>
                    <a:pt x="985" y="319"/>
                    <a:pt x="985" y="319"/>
                  </a:cubicBezTo>
                  <a:cubicBezTo>
                    <a:pt x="985" y="319"/>
                    <a:pt x="984" y="319"/>
                    <a:pt x="984" y="320"/>
                  </a:cubicBezTo>
                  <a:cubicBezTo>
                    <a:pt x="985" y="320"/>
                    <a:pt x="985" y="320"/>
                    <a:pt x="986" y="320"/>
                  </a:cubicBezTo>
                  <a:cubicBezTo>
                    <a:pt x="986" y="320"/>
                    <a:pt x="986" y="320"/>
                    <a:pt x="986" y="320"/>
                  </a:cubicBezTo>
                  <a:cubicBezTo>
                    <a:pt x="986" y="320"/>
                    <a:pt x="986" y="320"/>
                    <a:pt x="986" y="320"/>
                  </a:cubicBezTo>
                  <a:cubicBezTo>
                    <a:pt x="987" y="319"/>
                    <a:pt x="987" y="319"/>
                    <a:pt x="988" y="319"/>
                  </a:cubicBezTo>
                  <a:moveTo>
                    <a:pt x="653" y="322"/>
                  </a:moveTo>
                  <a:cubicBezTo>
                    <a:pt x="652" y="323"/>
                    <a:pt x="651" y="323"/>
                    <a:pt x="650" y="323"/>
                  </a:cubicBezTo>
                  <a:cubicBezTo>
                    <a:pt x="650" y="323"/>
                    <a:pt x="650" y="324"/>
                    <a:pt x="649" y="324"/>
                  </a:cubicBezTo>
                  <a:cubicBezTo>
                    <a:pt x="649" y="325"/>
                    <a:pt x="648" y="325"/>
                    <a:pt x="648" y="325"/>
                  </a:cubicBezTo>
                  <a:cubicBezTo>
                    <a:pt x="648" y="326"/>
                    <a:pt x="648" y="326"/>
                    <a:pt x="648" y="326"/>
                  </a:cubicBezTo>
                  <a:cubicBezTo>
                    <a:pt x="648" y="326"/>
                    <a:pt x="649" y="326"/>
                    <a:pt x="649" y="326"/>
                  </a:cubicBezTo>
                  <a:cubicBezTo>
                    <a:pt x="649" y="326"/>
                    <a:pt x="649" y="326"/>
                    <a:pt x="649" y="326"/>
                  </a:cubicBezTo>
                  <a:cubicBezTo>
                    <a:pt x="650" y="325"/>
                    <a:pt x="651" y="323"/>
                    <a:pt x="653" y="322"/>
                  </a:cubicBezTo>
                  <a:moveTo>
                    <a:pt x="648" y="327"/>
                  </a:moveTo>
                  <a:cubicBezTo>
                    <a:pt x="647" y="327"/>
                    <a:pt x="647" y="327"/>
                    <a:pt x="646" y="327"/>
                  </a:cubicBezTo>
                  <a:cubicBezTo>
                    <a:pt x="646" y="328"/>
                    <a:pt x="645" y="328"/>
                    <a:pt x="644" y="329"/>
                  </a:cubicBezTo>
                  <a:cubicBezTo>
                    <a:pt x="644" y="329"/>
                    <a:pt x="644" y="329"/>
                    <a:pt x="645" y="329"/>
                  </a:cubicBezTo>
                  <a:cubicBezTo>
                    <a:pt x="645" y="329"/>
                    <a:pt x="645" y="329"/>
                    <a:pt x="646" y="329"/>
                  </a:cubicBezTo>
                  <a:cubicBezTo>
                    <a:pt x="646" y="328"/>
                    <a:pt x="647" y="328"/>
                    <a:pt x="648" y="327"/>
                  </a:cubicBezTo>
                  <a:moveTo>
                    <a:pt x="644" y="330"/>
                  </a:moveTo>
                  <a:cubicBezTo>
                    <a:pt x="644" y="330"/>
                    <a:pt x="643" y="330"/>
                    <a:pt x="642" y="330"/>
                  </a:cubicBezTo>
                  <a:cubicBezTo>
                    <a:pt x="641" y="332"/>
                    <a:pt x="640" y="333"/>
                    <a:pt x="639" y="334"/>
                  </a:cubicBezTo>
                  <a:cubicBezTo>
                    <a:pt x="639" y="334"/>
                    <a:pt x="640" y="334"/>
                    <a:pt x="640" y="334"/>
                  </a:cubicBezTo>
                  <a:cubicBezTo>
                    <a:pt x="642" y="333"/>
                    <a:pt x="643" y="331"/>
                    <a:pt x="644" y="330"/>
                  </a:cubicBezTo>
                  <a:moveTo>
                    <a:pt x="1054" y="334"/>
                  </a:moveTo>
                  <a:cubicBezTo>
                    <a:pt x="1053" y="335"/>
                    <a:pt x="1052" y="336"/>
                    <a:pt x="1051" y="338"/>
                  </a:cubicBezTo>
                  <a:cubicBezTo>
                    <a:pt x="1052" y="336"/>
                    <a:pt x="1053" y="335"/>
                    <a:pt x="1054" y="334"/>
                  </a:cubicBezTo>
                  <a:cubicBezTo>
                    <a:pt x="1054" y="334"/>
                    <a:pt x="1054" y="334"/>
                    <a:pt x="1054" y="334"/>
                  </a:cubicBezTo>
                  <a:moveTo>
                    <a:pt x="639" y="335"/>
                  </a:moveTo>
                  <a:cubicBezTo>
                    <a:pt x="638" y="335"/>
                    <a:pt x="638" y="335"/>
                    <a:pt x="637" y="335"/>
                  </a:cubicBezTo>
                  <a:cubicBezTo>
                    <a:pt x="636" y="336"/>
                    <a:pt x="635" y="337"/>
                    <a:pt x="634" y="338"/>
                  </a:cubicBezTo>
                  <a:cubicBezTo>
                    <a:pt x="633" y="338"/>
                    <a:pt x="633" y="338"/>
                    <a:pt x="633" y="339"/>
                  </a:cubicBezTo>
                  <a:cubicBezTo>
                    <a:pt x="628" y="342"/>
                    <a:pt x="624" y="345"/>
                    <a:pt x="619" y="349"/>
                  </a:cubicBezTo>
                  <a:cubicBezTo>
                    <a:pt x="619" y="349"/>
                    <a:pt x="619" y="349"/>
                    <a:pt x="618" y="349"/>
                  </a:cubicBezTo>
                  <a:cubicBezTo>
                    <a:pt x="616" y="351"/>
                    <a:pt x="614" y="352"/>
                    <a:pt x="612" y="354"/>
                  </a:cubicBezTo>
                  <a:cubicBezTo>
                    <a:pt x="612" y="353"/>
                    <a:pt x="613" y="353"/>
                    <a:pt x="614" y="353"/>
                  </a:cubicBezTo>
                  <a:cubicBezTo>
                    <a:pt x="615" y="352"/>
                    <a:pt x="617" y="351"/>
                    <a:pt x="618" y="350"/>
                  </a:cubicBezTo>
                  <a:cubicBezTo>
                    <a:pt x="619" y="350"/>
                    <a:pt x="619" y="350"/>
                    <a:pt x="619" y="350"/>
                  </a:cubicBezTo>
                  <a:cubicBezTo>
                    <a:pt x="624" y="347"/>
                    <a:pt x="628" y="343"/>
                    <a:pt x="633" y="340"/>
                  </a:cubicBezTo>
                  <a:cubicBezTo>
                    <a:pt x="633" y="340"/>
                    <a:pt x="633" y="339"/>
                    <a:pt x="634" y="339"/>
                  </a:cubicBezTo>
                  <a:cubicBezTo>
                    <a:pt x="636" y="338"/>
                    <a:pt x="637" y="336"/>
                    <a:pt x="639" y="335"/>
                  </a:cubicBezTo>
                  <a:moveTo>
                    <a:pt x="1051" y="338"/>
                  </a:moveTo>
                  <a:cubicBezTo>
                    <a:pt x="1050" y="340"/>
                    <a:pt x="1048" y="341"/>
                    <a:pt x="1046" y="343"/>
                  </a:cubicBezTo>
                  <a:cubicBezTo>
                    <a:pt x="1046" y="343"/>
                    <a:pt x="1045" y="344"/>
                    <a:pt x="1045" y="345"/>
                  </a:cubicBezTo>
                  <a:cubicBezTo>
                    <a:pt x="1046" y="344"/>
                    <a:pt x="1046" y="344"/>
                    <a:pt x="1047" y="343"/>
                  </a:cubicBezTo>
                  <a:cubicBezTo>
                    <a:pt x="1049" y="342"/>
                    <a:pt x="1050" y="340"/>
                    <a:pt x="1051" y="338"/>
                  </a:cubicBezTo>
                  <a:moveTo>
                    <a:pt x="1045" y="346"/>
                  </a:moveTo>
                  <a:cubicBezTo>
                    <a:pt x="1044" y="346"/>
                    <a:pt x="1044" y="347"/>
                    <a:pt x="1043" y="347"/>
                  </a:cubicBezTo>
                  <a:cubicBezTo>
                    <a:pt x="1042" y="348"/>
                    <a:pt x="1041" y="349"/>
                    <a:pt x="1040" y="350"/>
                  </a:cubicBezTo>
                  <a:cubicBezTo>
                    <a:pt x="1039" y="351"/>
                    <a:pt x="1039" y="352"/>
                    <a:pt x="1038" y="353"/>
                  </a:cubicBezTo>
                  <a:cubicBezTo>
                    <a:pt x="1033" y="358"/>
                    <a:pt x="1029" y="362"/>
                    <a:pt x="1024" y="367"/>
                  </a:cubicBezTo>
                  <a:cubicBezTo>
                    <a:pt x="1025" y="367"/>
                    <a:pt x="1025" y="368"/>
                    <a:pt x="1025" y="368"/>
                  </a:cubicBezTo>
                  <a:cubicBezTo>
                    <a:pt x="1030" y="363"/>
                    <a:pt x="1034" y="359"/>
                    <a:pt x="1038" y="354"/>
                  </a:cubicBezTo>
                  <a:cubicBezTo>
                    <a:pt x="1041" y="351"/>
                    <a:pt x="1043" y="348"/>
                    <a:pt x="1045" y="346"/>
                  </a:cubicBezTo>
                  <a:moveTo>
                    <a:pt x="4" y="353"/>
                  </a:moveTo>
                  <a:cubicBezTo>
                    <a:pt x="1" y="353"/>
                    <a:pt x="0" y="353"/>
                    <a:pt x="0" y="355"/>
                  </a:cubicBezTo>
                  <a:cubicBezTo>
                    <a:pt x="0" y="355"/>
                    <a:pt x="0" y="356"/>
                    <a:pt x="0" y="356"/>
                  </a:cubicBezTo>
                  <a:cubicBezTo>
                    <a:pt x="0" y="357"/>
                    <a:pt x="1" y="357"/>
                    <a:pt x="1" y="358"/>
                  </a:cubicBezTo>
                  <a:cubicBezTo>
                    <a:pt x="3" y="360"/>
                    <a:pt x="7" y="363"/>
                    <a:pt x="13" y="367"/>
                  </a:cubicBezTo>
                  <a:cubicBezTo>
                    <a:pt x="13" y="368"/>
                    <a:pt x="14" y="369"/>
                    <a:pt x="16" y="369"/>
                  </a:cubicBezTo>
                  <a:cubicBezTo>
                    <a:pt x="19" y="372"/>
                    <a:pt x="23" y="374"/>
                    <a:pt x="28" y="377"/>
                  </a:cubicBezTo>
                  <a:cubicBezTo>
                    <a:pt x="30" y="378"/>
                    <a:pt x="31" y="379"/>
                    <a:pt x="33" y="380"/>
                  </a:cubicBezTo>
                  <a:cubicBezTo>
                    <a:pt x="33" y="380"/>
                    <a:pt x="33" y="380"/>
                    <a:pt x="33" y="380"/>
                  </a:cubicBezTo>
                  <a:cubicBezTo>
                    <a:pt x="48" y="389"/>
                    <a:pt x="68" y="399"/>
                    <a:pt x="93" y="413"/>
                  </a:cubicBezTo>
                  <a:cubicBezTo>
                    <a:pt x="108" y="420"/>
                    <a:pt x="122" y="427"/>
                    <a:pt x="136" y="433"/>
                  </a:cubicBezTo>
                  <a:cubicBezTo>
                    <a:pt x="136" y="433"/>
                    <a:pt x="136" y="433"/>
                    <a:pt x="136" y="432"/>
                  </a:cubicBezTo>
                  <a:cubicBezTo>
                    <a:pt x="122" y="426"/>
                    <a:pt x="108" y="419"/>
                    <a:pt x="94" y="412"/>
                  </a:cubicBezTo>
                  <a:cubicBezTo>
                    <a:pt x="71" y="400"/>
                    <a:pt x="53" y="390"/>
                    <a:pt x="39" y="382"/>
                  </a:cubicBezTo>
                  <a:cubicBezTo>
                    <a:pt x="38" y="382"/>
                    <a:pt x="38" y="382"/>
                    <a:pt x="38" y="381"/>
                  </a:cubicBezTo>
                  <a:cubicBezTo>
                    <a:pt x="36" y="380"/>
                    <a:pt x="35" y="380"/>
                    <a:pt x="33" y="379"/>
                  </a:cubicBezTo>
                  <a:cubicBezTo>
                    <a:pt x="28" y="376"/>
                    <a:pt x="23" y="373"/>
                    <a:pt x="20" y="371"/>
                  </a:cubicBezTo>
                  <a:cubicBezTo>
                    <a:pt x="18" y="370"/>
                    <a:pt x="17" y="369"/>
                    <a:pt x="16" y="368"/>
                  </a:cubicBezTo>
                  <a:cubicBezTo>
                    <a:pt x="10" y="364"/>
                    <a:pt x="5" y="361"/>
                    <a:pt x="3" y="358"/>
                  </a:cubicBezTo>
                  <a:cubicBezTo>
                    <a:pt x="2" y="358"/>
                    <a:pt x="2" y="357"/>
                    <a:pt x="1" y="357"/>
                  </a:cubicBezTo>
                  <a:cubicBezTo>
                    <a:pt x="1" y="356"/>
                    <a:pt x="1" y="355"/>
                    <a:pt x="1" y="355"/>
                  </a:cubicBezTo>
                  <a:cubicBezTo>
                    <a:pt x="1" y="354"/>
                    <a:pt x="1" y="354"/>
                    <a:pt x="4" y="354"/>
                  </a:cubicBezTo>
                  <a:cubicBezTo>
                    <a:pt x="4" y="354"/>
                    <a:pt x="4" y="354"/>
                    <a:pt x="4" y="354"/>
                  </a:cubicBezTo>
                  <a:cubicBezTo>
                    <a:pt x="21" y="354"/>
                    <a:pt x="89" y="378"/>
                    <a:pt x="164" y="409"/>
                  </a:cubicBezTo>
                  <a:cubicBezTo>
                    <a:pt x="165" y="409"/>
                    <a:pt x="165" y="409"/>
                    <a:pt x="166" y="409"/>
                  </a:cubicBezTo>
                  <a:cubicBezTo>
                    <a:pt x="90" y="377"/>
                    <a:pt x="21" y="353"/>
                    <a:pt x="4" y="353"/>
                  </a:cubicBezTo>
                  <a:moveTo>
                    <a:pt x="612" y="354"/>
                  </a:moveTo>
                  <a:cubicBezTo>
                    <a:pt x="611" y="354"/>
                    <a:pt x="611" y="354"/>
                    <a:pt x="610" y="355"/>
                  </a:cubicBezTo>
                  <a:cubicBezTo>
                    <a:pt x="609" y="355"/>
                    <a:pt x="607" y="356"/>
                    <a:pt x="606" y="357"/>
                  </a:cubicBezTo>
                  <a:cubicBezTo>
                    <a:pt x="605" y="357"/>
                    <a:pt x="605" y="357"/>
                    <a:pt x="605" y="358"/>
                  </a:cubicBezTo>
                  <a:cubicBezTo>
                    <a:pt x="601" y="360"/>
                    <a:pt x="596" y="362"/>
                    <a:pt x="592" y="365"/>
                  </a:cubicBezTo>
                  <a:cubicBezTo>
                    <a:pt x="592" y="365"/>
                    <a:pt x="591" y="365"/>
                    <a:pt x="591" y="365"/>
                  </a:cubicBezTo>
                  <a:cubicBezTo>
                    <a:pt x="587" y="367"/>
                    <a:pt x="582" y="369"/>
                    <a:pt x="578" y="371"/>
                  </a:cubicBezTo>
                  <a:cubicBezTo>
                    <a:pt x="577" y="371"/>
                    <a:pt x="577" y="371"/>
                    <a:pt x="577" y="372"/>
                  </a:cubicBezTo>
                  <a:cubicBezTo>
                    <a:pt x="558" y="379"/>
                    <a:pt x="538" y="386"/>
                    <a:pt x="517" y="390"/>
                  </a:cubicBezTo>
                  <a:cubicBezTo>
                    <a:pt x="489" y="395"/>
                    <a:pt x="454" y="402"/>
                    <a:pt x="417" y="410"/>
                  </a:cubicBezTo>
                  <a:cubicBezTo>
                    <a:pt x="422" y="410"/>
                    <a:pt x="427" y="409"/>
                    <a:pt x="432" y="408"/>
                  </a:cubicBezTo>
                  <a:cubicBezTo>
                    <a:pt x="464" y="401"/>
                    <a:pt x="493" y="395"/>
                    <a:pt x="517" y="391"/>
                  </a:cubicBezTo>
                  <a:cubicBezTo>
                    <a:pt x="539" y="387"/>
                    <a:pt x="559" y="380"/>
                    <a:pt x="577" y="373"/>
                  </a:cubicBezTo>
                  <a:cubicBezTo>
                    <a:pt x="577" y="372"/>
                    <a:pt x="578" y="372"/>
                    <a:pt x="578" y="372"/>
                  </a:cubicBezTo>
                  <a:cubicBezTo>
                    <a:pt x="583" y="370"/>
                    <a:pt x="587" y="368"/>
                    <a:pt x="591" y="366"/>
                  </a:cubicBezTo>
                  <a:cubicBezTo>
                    <a:pt x="592" y="366"/>
                    <a:pt x="592" y="366"/>
                    <a:pt x="592" y="366"/>
                  </a:cubicBezTo>
                  <a:cubicBezTo>
                    <a:pt x="596" y="363"/>
                    <a:pt x="601" y="361"/>
                    <a:pt x="605" y="359"/>
                  </a:cubicBezTo>
                  <a:cubicBezTo>
                    <a:pt x="605" y="359"/>
                    <a:pt x="605" y="358"/>
                    <a:pt x="606" y="358"/>
                  </a:cubicBezTo>
                  <a:cubicBezTo>
                    <a:pt x="608" y="357"/>
                    <a:pt x="610" y="356"/>
                    <a:pt x="612" y="354"/>
                  </a:cubicBezTo>
                  <a:moveTo>
                    <a:pt x="1024" y="368"/>
                  </a:moveTo>
                  <a:cubicBezTo>
                    <a:pt x="1021" y="371"/>
                    <a:pt x="1019" y="373"/>
                    <a:pt x="1016" y="376"/>
                  </a:cubicBezTo>
                  <a:cubicBezTo>
                    <a:pt x="1017" y="376"/>
                    <a:pt x="1017" y="375"/>
                    <a:pt x="1018" y="375"/>
                  </a:cubicBezTo>
                  <a:cubicBezTo>
                    <a:pt x="1020" y="373"/>
                    <a:pt x="1022" y="371"/>
                    <a:pt x="1025" y="368"/>
                  </a:cubicBezTo>
                  <a:cubicBezTo>
                    <a:pt x="1024" y="368"/>
                    <a:pt x="1024" y="368"/>
                    <a:pt x="1024" y="368"/>
                  </a:cubicBezTo>
                  <a:moveTo>
                    <a:pt x="1017" y="377"/>
                  </a:moveTo>
                  <a:cubicBezTo>
                    <a:pt x="1016" y="377"/>
                    <a:pt x="1015" y="377"/>
                    <a:pt x="1014" y="377"/>
                  </a:cubicBezTo>
                  <a:cubicBezTo>
                    <a:pt x="1009" y="382"/>
                    <a:pt x="1004" y="387"/>
                    <a:pt x="999" y="392"/>
                  </a:cubicBezTo>
                  <a:cubicBezTo>
                    <a:pt x="1000" y="391"/>
                    <a:pt x="1001" y="391"/>
                    <a:pt x="1002" y="391"/>
                  </a:cubicBezTo>
                  <a:cubicBezTo>
                    <a:pt x="1007" y="386"/>
                    <a:pt x="1012" y="382"/>
                    <a:pt x="1017" y="377"/>
                  </a:cubicBezTo>
                  <a:moveTo>
                    <a:pt x="1000" y="393"/>
                  </a:moveTo>
                  <a:cubicBezTo>
                    <a:pt x="999" y="393"/>
                    <a:pt x="998" y="393"/>
                    <a:pt x="997" y="393"/>
                  </a:cubicBezTo>
                  <a:cubicBezTo>
                    <a:pt x="989" y="400"/>
                    <a:pt x="982" y="406"/>
                    <a:pt x="974" y="412"/>
                  </a:cubicBezTo>
                  <a:cubicBezTo>
                    <a:pt x="975" y="411"/>
                    <a:pt x="976" y="411"/>
                    <a:pt x="977" y="411"/>
                  </a:cubicBezTo>
                  <a:cubicBezTo>
                    <a:pt x="985" y="405"/>
                    <a:pt x="992" y="399"/>
                    <a:pt x="1000" y="393"/>
                  </a:cubicBezTo>
                  <a:moveTo>
                    <a:pt x="167" y="409"/>
                  </a:moveTo>
                  <a:cubicBezTo>
                    <a:pt x="166" y="409"/>
                    <a:pt x="166" y="409"/>
                    <a:pt x="166" y="410"/>
                  </a:cubicBezTo>
                  <a:cubicBezTo>
                    <a:pt x="166" y="410"/>
                    <a:pt x="166" y="410"/>
                    <a:pt x="167" y="410"/>
                  </a:cubicBezTo>
                  <a:cubicBezTo>
                    <a:pt x="167" y="410"/>
                    <a:pt x="167" y="410"/>
                    <a:pt x="167" y="409"/>
                  </a:cubicBezTo>
                  <a:cubicBezTo>
                    <a:pt x="167" y="409"/>
                    <a:pt x="167" y="409"/>
                    <a:pt x="167" y="409"/>
                  </a:cubicBezTo>
                  <a:moveTo>
                    <a:pt x="168" y="410"/>
                  </a:moveTo>
                  <a:cubicBezTo>
                    <a:pt x="168" y="410"/>
                    <a:pt x="168" y="410"/>
                    <a:pt x="167" y="410"/>
                  </a:cubicBezTo>
                  <a:cubicBezTo>
                    <a:pt x="168" y="411"/>
                    <a:pt x="169" y="411"/>
                    <a:pt x="170" y="411"/>
                  </a:cubicBezTo>
                  <a:cubicBezTo>
                    <a:pt x="170" y="411"/>
                    <a:pt x="170" y="411"/>
                    <a:pt x="170" y="411"/>
                  </a:cubicBezTo>
                  <a:cubicBezTo>
                    <a:pt x="170" y="410"/>
                    <a:pt x="169" y="410"/>
                    <a:pt x="168" y="410"/>
                  </a:cubicBezTo>
                  <a:moveTo>
                    <a:pt x="171" y="411"/>
                  </a:moveTo>
                  <a:cubicBezTo>
                    <a:pt x="171" y="411"/>
                    <a:pt x="171" y="411"/>
                    <a:pt x="171" y="412"/>
                  </a:cubicBezTo>
                  <a:cubicBezTo>
                    <a:pt x="172" y="412"/>
                    <a:pt x="173" y="413"/>
                    <a:pt x="174" y="413"/>
                  </a:cubicBezTo>
                  <a:cubicBezTo>
                    <a:pt x="174" y="413"/>
                    <a:pt x="174" y="413"/>
                    <a:pt x="174" y="412"/>
                  </a:cubicBezTo>
                  <a:cubicBezTo>
                    <a:pt x="173" y="412"/>
                    <a:pt x="172" y="411"/>
                    <a:pt x="171" y="411"/>
                  </a:cubicBezTo>
                  <a:moveTo>
                    <a:pt x="416" y="412"/>
                  </a:moveTo>
                  <a:cubicBezTo>
                    <a:pt x="410" y="413"/>
                    <a:pt x="404" y="414"/>
                    <a:pt x="398" y="415"/>
                  </a:cubicBezTo>
                  <a:cubicBezTo>
                    <a:pt x="394" y="416"/>
                    <a:pt x="389" y="417"/>
                    <a:pt x="384" y="418"/>
                  </a:cubicBezTo>
                  <a:cubicBezTo>
                    <a:pt x="385" y="418"/>
                    <a:pt x="385" y="418"/>
                    <a:pt x="386" y="419"/>
                  </a:cubicBezTo>
                  <a:cubicBezTo>
                    <a:pt x="396" y="416"/>
                    <a:pt x="406" y="414"/>
                    <a:pt x="416" y="412"/>
                  </a:cubicBezTo>
                  <a:moveTo>
                    <a:pt x="175" y="413"/>
                  </a:moveTo>
                  <a:cubicBezTo>
                    <a:pt x="175" y="413"/>
                    <a:pt x="175" y="413"/>
                    <a:pt x="175" y="414"/>
                  </a:cubicBezTo>
                  <a:cubicBezTo>
                    <a:pt x="178" y="415"/>
                    <a:pt x="180" y="416"/>
                    <a:pt x="183" y="417"/>
                  </a:cubicBezTo>
                  <a:cubicBezTo>
                    <a:pt x="182" y="416"/>
                    <a:pt x="182" y="416"/>
                    <a:pt x="182" y="416"/>
                  </a:cubicBezTo>
                  <a:cubicBezTo>
                    <a:pt x="180" y="415"/>
                    <a:pt x="178" y="414"/>
                    <a:pt x="175" y="413"/>
                  </a:cubicBezTo>
                  <a:moveTo>
                    <a:pt x="974" y="413"/>
                  </a:moveTo>
                  <a:cubicBezTo>
                    <a:pt x="973" y="413"/>
                    <a:pt x="972" y="414"/>
                    <a:pt x="971" y="414"/>
                  </a:cubicBezTo>
                  <a:cubicBezTo>
                    <a:pt x="968" y="416"/>
                    <a:pt x="966" y="418"/>
                    <a:pt x="963" y="420"/>
                  </a:cubicBezTo>
                  <a:cubicBezTo>
                    <a:pt x="962" y="420"/>
                    <a:pt x="962" y="420"/>
                    <a:pt x="962" y="420"/>
                  </a:cubicBezTo>
                  <a:cubicBezTo>
                    <a:pt x="948" y="430"/>
                    <a:pt x="933" y="438"/>
                    <a:pt x="916" y="446"/>
                  </a:cubicBezTo>
                  <a:cubicBezTo>
                    <a:pt x="916" y="446"/>
                    <a:pt x="916" y="446"/>
                    <a:pt x="915" y="447"/>
                  </a:cubicBezTo>
                  <a:cubicBezTo>
                    <a:pt x="912" y="448"/>
                    <a:pt x="908" y="450"/>
                    <a:pt x="905" y="451"/>
                  </a:cubicBezTo>
                  <a:cubicBezTo>
                    <a:pt x="908" y="450"/>
                    <a:pt x="912" y="449"/>
                    <a:pt x="915" y="448"/>
                  </a:cubicBezTo>
                  <a:cubicBezTo>
                    <a:pt x="915" y="448"/>
                    <a:pt x="916" y="447"/>
                    <a:pt x="916" y="447"/>
                  </a:cubicBezTo>
                  <a:cubicBezTo>
                    <a:pt x="917" y="447"/>
                    <a:pt x="917" y="447"/>
                    <a:pt x="917" y="447"/>
                  </a:cubicBezTo>
                  <a:cubicBezTo>
                    <a:pt x="934" y="439"/>
                    <a:pt x="949" y="430"/>
                    <a:pt x="963" y="421"/>
                  </a:cubicBezTo>
                  <a:cubicBezTo>
                    <a:pt x="963" y="421"/>
                    <a:pt x="964" y="420"/>
                    <a:pt x="964" y="420"/>
                  </a:cubicBezTo>
                  <a:cubicBezTo>
                    <a:pt x="967" y="418"/>
                    <a:pt x="971" y="415"/>
                    <a:pt x="974" y="413"/>
                  </a:cubicBezTo>
                  <a:moveTo>
                    <a:pt x="183" y="416"/>
                  </a:moveTo>
                  <a:cubicBezTo>
                    <a:pt x="183" y="416"/>
                    <a:pt x="184" y="417"/>
                    <a:pt x="184" y="417"/>
                  </a:cubicBezTo>
                  <a:cubicBezTo>
                    <a:pt x="188" y="419"/>
                    <a:pt x="193" y="421"/>
                    <a:pt x="197" y="423"/>
                  </a:cubicBezTo>
                  <a:cubicBezTo>
                    <a:pt x="197" y="422"/>
                    <a:pt x="196" y="422"/>
                    <a:pt x="196" y="421"/>
                  </a:cubicBezTo>
                  <a:cubicBezTo>
                    <a:pt x="192" y="420"/>
                    <a:pt x="188" y="418"/>
                    <a:pt x="183" y="416"/>
                  </a:cubicBezTo>
                  <a:moveTo>
                    <a:pt x="383" y="418"/>
                  </a:moveTo>
                  <a:cubicBezTo>
                    <a:pt x="380" y="419"/>
                    <a:pt x="378" y="420"/>
                    <a:pt x="375" y="420"/>
                  </a:cubicBezTo>
                  <a:cubicBezTo>
                    <a:pt x="375" y="420"/>
                    <a:pt x="376" y="421"/>
                    <a:pt x="376" y="421"/>
                  </a:cubicBezTo>
                  <a:cubicBezTo>
                    <a:pt x="379" y="420"/>
                    <a:pt x="382" y="420"/>
                    <a:pt x="384" y="419"/>
                  </a:cubicBezTo>
                  <a:cubicBezTo>
                    <a:pt x="384" y="419"/>
                    <a:pt x="383" y="418"/>
                    <a:pt x="383" y="418"/>
                  </a:cubicBezTo>
                  <a:moveTo>
                    <a:pt x="374" y="420"/>
                  </a:moveTo>
                  <a:cubicBezTo>
                    <a:pt x="360" y="424"/>
                    <a:pt x="346" y="427"/>
                    <a:pt x="333" y="431"/>
                  </a:cubicBezTo>
                  <a:cubicBezTo>
                    <a:pt x="334" y="431"/>
                    <a:pt x="334" y="431"/>
                    <a:pt x="335" y="431"/>
                  </a:cubicBezTo>
                  <a:cubicBezTo>
                    <a:pt x="348" y="428"/>
                    <a:pt x="361" y="424"/>
                    <a:pt x="375" y="421"/>
                  </a:cubicBezTo>
                  <a:cubicBezTo>
                    <a:pt x="374" y="421"/>
                    <a:pt x="374" y="421"/>
                    <a:pt x="374" y="420"/>
                  </a:cubicBezTo>
                  <a:moveTo>
                    <a:pt x="198" y="422"/>
                  </a:moveTo>
                  <a:cubicBezTo>
                    <a:pt x="198" y="423"/>
                    <a:pt x="198" y="423"/>
                    <a:pt x="199" y="424"/>
                  </a:cubicBezTo>
                  <a:cubicBezTo>
                    <a:pt x="199" y="424"/>
                    <a:pt x="200" y="424"/>
                    <a:pt x="200" y="424"/>
                  </a:cubicBezTo>
                  <a:cubicBezTo>
                    <a:pt x="201" y="424"/>
                    <a:pt x="201" y="424"/>
                    <a:pt x="201" y="424"/>
                  </a:cubicBezTo>
                  <a:cubicBezTo>
                    <a:pt x="200" y="423"/>
                    <a:pt x="199" y="423"/>
                    <a:pt x="198" y="422"/>
                  </a:cubicBezTo>
                  <a:moveTo>
                    <a:pt x="203" y="424"/>
                  </a:moveTo>
                  <a:cubicBezTo>
                    <a:pt x="202" y="425"/>
                    <a:pt x="202" y="425"/>
                    <a:pt x="201" y="425"/>
                  </a:cubicBezTo>
                  <a:cubicBezTo>
                    <a:pt x="205" y="427"/>
                    <a:pt x="209" y="428"/>
                    <a:pt x="213" y="430"/>
                  </a:cubicBezTo>
                  <a:cubicBezTo>
                    <a:pt x="213" y="430"/>
                    <a:pt x="213" y="429"/>
                    <a:pt x="213" y="429"/>
                  </a:cubicBezTo>
                  <a:cubicBezTo>
                    <a:pt x="209" y="427"/>
                    <a:pt x="206" y="426"/>
                    <a:pt x="203" y="424"/>
                  </a:cubicBezTo>
                  <a:moveTo>
                    <a:pt x="214" y="429"/>
                  </a:moveTo>
                  <a:cubicBezTo>
                    <a:pt x="214" y="430"/>
                    <a:pt x="214" y="430"/>
                    <a:pt x="215" y="431"/>
                  </a:cubicBezTo>
                  <a:cubicBezTo>
                    <a:pt x="217" y="432"/>
                    <a:pt x="219" y="433"/>
                    <a:pt x="221" y="433"/>
                  </a:cubicBezTo>
                  <a:cubicBezTo>
                    <a:pt x="220" y="433"/>
                    <a:pt x="219" y="432"/>
                    <a:pt x="219" y="431"/>
                  </a:cubicBezTo>
                  <a:cubicBezTo>
                    <a:pt x="217" y="431"/>
                    <a:pt x="216" y="430"/>
                    <a:pt x="214" y="429"/>
                  </a:cubicBezTo>
                  <a:cubicBezTo>
                    <a:pt x="214" y="429"/>
                    <a:pt x="214" y="429"/>
                    <a:pt x="214" y="429"/>
                  </a:cubicBezTo>
                  <a:moveTo>
                    <a:pt x="331" y="431"/>
                  </a:moveTo>
                  <a:cubicBezTo>
                    <a:pt x="330" y="431"/>
                    <a:pt x="329" y="432"/>
                    <a:pt x="327" y="432"/>
                  </a:cubicBezTo>
                  <a:cubicBezTo>
                    <a:pt x="328" y="432"/>
                    <a:pt x="328" y="433"/>
                    <a:pt x="328" y="433"/>
                  </a:cubicBezTo>
                  <a:cubicBezTo>
                    <a:pt x="330" y="432"/>
                    <a:pt x="332" y="432"/>
                    <a:pt x="333" y="432"/>
                  </a:cubicBezTo>
                  <a:cubicBezTo>
                    <a:pt x="333" y="431"/>
                    <a:pt x="332" y="431"/>
                    <a:pt x="331" y="431"/>
                  </a:cubicBezTo>
                  <a:moveTo>
                    <a:pt x="326" y="433"/>
                  </a:moveTo>
                  <a:cubicBezTo>
                    <a:pt x="320" y="434"/>
                    <a:pt x="314" y="436"/>
                    <a:pt x="308" y="438"/>
                  </a:cubicBezTo>
                  <a:cubicBezTo>
                    <a:pt x="307" y="438"/>
                    <a:pt x="307" y="438"/>
                    <a:pt x="306" y="438"/>
                  </a:cubicBezTo>
                  <a:cubicBezTo>
                    <a:pt x="306" y="438"/>
                    <a:pt x="306" y="438"/>
                    <a:pt x="305" y="438"/>
                  </a:cubicBezTo>
                  <a:cubicBezTo>
                    <a:pt x="305" y="438"/>
                    <a:pt x="304" y="439"/>
                    <a:pt x="303" y="439"/>
                  </a:cubicBezTo>
                  <a:cubicBezTo>
                    <a:pt x="303" y="439"/>
                    <a:pt x="303" y="439"/>
                    <a:pt x="302" y="439"/>
                  </a:cubicBezTo>
                  <a:cubicBezTo>
                    <a:pt x="302" y="439"/>
                    <a:pt x="302" y="439"/>
                    <a:pt x="302" y="439"/>
                  </a:cubicBezTo>
                  <a:cubicBezTo>
                    <a:pt x="302" y="439"/>
                    <a:pt x="301" y="439"/>
                    <a:pt x="301" y="439"/>
                  </a:cubicBezTo>
                  <a:cubicBezTo>
                    <a:pt x="300" y="440"/>
                    <a:pt x="300" y="440"/>
                    <a:pt x="299" y="440"/>
                  </a:cubicBezTo>
                  <a:cubicBezTo>
                    <a:pt x="299" y="440"/>
                    <a:pt x="298" y="440"/>
                    <a:pt x="298" y="440"/>
                  </a:cubicBezTo>
                  <a:cubicBezTo>
                    <a:pt x="298" y="440"/>
                    <a:pt x="297" y="440"/>
                    <a:pt x="297" y="441"/>
                  </a:cubicBezTo>
                  <a:cubicBezTo>
                    <a:pt x="297" y="441"/>
                    <a:pt x="296" y="441"/>
                    <a:pt x="296" y="441"/>
                  </a:cubicBezTo>
                  <a:cubicBezTo>
                    <a:pt x="295" y="441"/>
                    <a:pt x="295" y="441"/>
                    <a:pt x="294" y="441"/>
                  </a:cubicBezTo>
                  <a:cubicBezTo>
                    <a:pt x="294" y="442"/>
                    <a:pt x="293" y="442"/>
                    <a:pt x="293" y="442"/>
                  </a:cubicBezTo>
                  <a:cubicBezTo>
                    <a:pt x="291" y="442"/>
                    <a:pt x="288" y="443"/>
                    <a:pt x="286" y="444"/>
                  </a:cubicBezTo>
                  <a:cubicBezTo>
                    <a:pt x="286" y="444"/>
                    <a:pt x="287" y="444"/>
                    <a:pt x="287" y="445"/>
                  </a:cubicBezTo>
                  <a:cubicBezTo>
                    <a:pt x="289" y="444"/>
                    <a:pt x="292" y="443"/>
                    <a:pt x="294" y="442"/>
                  </a:cubicBezTo>
                  <a:cubicBezTo>
                    <a:pt x="294" y="442"/>
                    <a:pt x="295" y="442"/>
                    <a:pt x="295" y="442"/>
                  </a:cubicBezTo>
                  <a:cubicBezTo>
                    <a:pt x="296" y="442"/>
                    <a:pt x="296" y="442"/>
                    <a:pt x="297" y="442"/>
                  </a:cubicBezTo>
                  <a:cubicBezTo>
                    <a:pt x="297" y="442"/>
                    <a:pt x="297" y="441"/>
                    <a:pt x="298" y="441"/>
                  </a:cubicBezTo>
                  <a:cubicBezTo>
                    <a:pt x="298" y="441"/>
                    <a:pt x="298" y="441"/>
                    <a:pt x="299" y="441"/>
                  </a:cubicBezTo>
                  <a:cubicBezTo>
                    <a:pt x="299" y="441"/>
                    <a:pt x="299" y="441"/>
                    <a:pt x="300" y="441"/>
                  </a:cubicBezTo>
                  <a:cubicBezTo>
                    <a:pt x="300" y="441"/>
                    <a:pt x="301" y="440"/>
                    <a:pt x="302" y="440"/>
                  </a:cubicBezTo>
                  <a:cubicBezTo>
                    <a:pt x="302" y="440"/>
                    <a:pt x="302" y="440"/>
                    <a:pt x="303" y="440"/>
                  </a:cubicBezTo>
                  <a:cubicBezTo>
                    <a:pt x="303" y="440"/>
                    <a:pt x="303" y="440"/>
                    <a:pt x="303" y="440"/>
                  </a:cubicBezTo>
                  <a:cubicBezTo>
                    <a:pt x="303" y="440"/>
                    <a:pt x="304" y="440"/>
                    <a:pt x="304" y="440"/>
                  </a:cubicBezTo>
                  <a:cubicBezTo>
                    <a:pt x="305" y="439"/>
                    <a:pt x="305" y="439"/>
                    <a:pt x="306" y="439"/>
                  </a:cubicBezTo>
                  <a:cubicBezTo>
                    <a:pt x="306" y="439"/>
                    <a:pt x="307" y="439"/>
                    <a:pt x="307" y="439"/>
                  </a:cubicBezTo>
                  <a:cubicBezTo>
                    <a:pt x="307" y="439"/>
                    <a:pt x="308" y="439"/>
                    <a:pt x="308" y="439"/>
                  </a:cubicBezTo>
                  <a:cubicBezTo>
                    <a:pt x="314" y="437"/>
                    <a:pt x="320" y="435"/>
                    <a:pt x="327" y="433"/>
                  </a:cubicBezTo>
                  <a:cubicBezTo>
                    <a:pt x="327" y="433"/>
                    <a:pt x="326" y="433"/>
                    <a:pt x="326" y="433"/>
                  </a:cubicBezTo>
                  <a:moveTo>
                    <a:pt x="221" y="433"/>
                  </a:moveTo>
                  <a:cubicBezTo>
                    <a:pt x="222" y="433"/>
                    <a:pt x="222" y="433"/>
                    <a:pt x="222" y="433"/>
                  </a:cubicBezTo>
                  <a:cubicBezTo>
                    <a:pt x="222" y="433"/>
                    <a:pt x="222" y="433"/>
                    <a:pt x="222" y="433"/>
                  </a:cubicBezTo>
                  <a:cubicBezTo>
                    <a:pt x="222" y="433"/>
                    <a:pt x="222" y="433"/>
                    <a:pt x="221" y="433"/>
                  </a:cubicBezTo>
                  <a:moveTo>
                    <a:pt x="137" y="433"/>
                  </a:moveTo>
                  <a:cubicBezTo>
                    <a:pt x="137" y="433"/>
                    <a:pt x="137" y="433"/>
                    <a:pt x="136" y="434"/>
                  </a:cubicBezTo>
                  <a:cubicBezTo>
                    <a:pt x="142" y="436"/>
                    <a:pt x="148" y="439"/>
                    <a:pt x="153" y="441"/>
                  </a:cubicBezTo>
                  <a:cubicBezTo>
                    <a:pt x="153" y="441"/>
                    <a:pt x="153" y="440"/>
                    <a:pt x="153" y="440"/>
                  </a:cubicBezTo>
                  <a:cubicBezTo>
                    <a:pt x="148" y="438"/>
                    <a:pt x="142" y="435"/>
                    <a:pt x="137" y="433"/>
                  </a:cubicBezTo>
                  <a:moveTo>
                    <a:pt x="223" y="433"/>
                  </a:moveTo>
                  <a:cubicBezTo>
                    <a:pt x="223" y="433"/>
                    <a:pt x="223" y="434"/>
                    <a:pt x="223" y="434"/>
                  </a:cubicBezTo>
                  <a:cubicBezTo>
                    <a:pt x="223" y="434"/>
                    <a:pt x="223" y="434"/>
                    <a:pt x="224" y="435"/>
                  </a:cubicBezTo>
                  <a:cubicBezTo>
                    <a:pt x="236" y="440"/>
                    <a:pt x="249" y="446"/>
                    <a:pt x="261" y="452"/>
                  </a:cubicBezTo>
                  <a:cubicBezTo>
                    <a:pt x="257" y="453"/>
                    <a:pt x="254" y="454"/>
                    <a:pt x="251" y="455"/>
                  </a:cubicBezTo>
                  <a:cubicBezTo>
                    <a:pt x="251" y="456"/>
                    <a:pt x="251" y="456"/>
                    <a:pt x="252" y="456"/>
                  </a:cubicBezTo>
                  <a:cubicBezTo>
                    <a:pt x="254" y="455"/>
                    <a:pt x="257" y="454"/>
                    <a:pt x="259" y="453"/>
                  </a:cubicBezTo>
                  <a:cubicBezTo>
                    <a:pt x="260" y="453"/>
                    <a:pt x="261" y="453"/>
                    <a:pt x="262" y="452"/>
                  </a:cubicBezTo>
                  <a:cubicBezTo>
                    <a:pt x="260" y="451"/>
                    <a:pt x="258" y="450"/>
                    <a:pt x="257" y="449"/>
                  </a:cubicBezTo>
                  <a:cubicBezTo>
                    <a:pt x="246" y="444"/>
                    <a:pt x="234" y="438"/>
                    <a:pt x="223" y="433"/>
                  </a:cubicBezTo>
                  <a:moveTo>
                    <a:pt x="154" y="440"/>
                  </a:moveTo>
                  <a:cubicBezTo>
                    <a:pt x="154" y="441"/>
                    <a:pt x="155" y="441"/>
                    <a:pt x="155" y="442"/>
                  </a:cubicBezTo>
                  <a:cubicBezTo>
                    <a:pt x="156" y="442"/>
                    <a:pt x="157" y="443"/>
                    <a:pt x="159" y="443"/>
                  </a:cubicBezTo>
                  <a:cubicBezTo>
                    <a:pt x="159" y="443"/>
                    <a:pt x="159" y="443"/>
                    <a:pt x="160" y="443"/>
                  </a:cubicBezTo>
                  <a:cubicBezTo>
                    <a:pt x="158" y="442"/>
                    <a:pt x="156" y="441"/>
                    <a:pt x="154" y="440"/>
                  </a:cubicBezTo>
                  <a:moveTo>
                    <a:pt x="161" y="443"/>
                  </a:moveTo>
                  <a:cubicBezTo>
                    <a:pt x="160" y="443"/>
                    <a:pt x="160" y="444"/>
                    <a:pt x="160" y="444"/>
                  </a:cubicBezTo>
                  <a:cubicBezTo>
                    <a:pt x="166" y="447"/>
                    <a:pt x="173" y="449"/>
                    <a:pt x="179" y="452"/>
                  </a:cubicBezTo>
                  <a:cubicBezTo>
                    <a:pt x="178" y="451"/>
                    <a:pt x="178" y="451"/>
                    <a:pt x="177" y="450"/>
                  </a:cubicBezTo>
                  <a:cubicBezTo>
                    <a:pt x="172" y="448"/>
                    <a:pt x="166" y="446"/>
                    <a:pt x="161" y="443"/>
                  </a:cubicBezTo>
                  <a:moveTo>
                    <a:pt x="284" y="444"/>
                  </a:moveTo>
                  <a:cubicBezTo>
                    <a:pt x="284" y="445"/>
                    <a:pt x="283" y="445"/>
                    <a:pt x="282" y="445"/>
                  </a:cubicBezTo>
                  <a:cubicBezTo>
                    <a:pt x="282" y="445"/>
                    <a:pt x="282" y="445"/>
                    <a:pt x="281" y="445"/>
                  </a:cubicBezTo>
                  <a:cubicBezTo>
                    <a:pt x="278" y="446"/>
                    <a:pt x="275" y="447"/>
                    <a:pt x="272" y="448"/>
                  </a:cubicBezTo>
                  <a:cubicBezTo>
                    <a:pt x="273" y="448"/>
                    <a:pt x="273" y="448"/>
                    <a:pt x="274" y="449"/>
                  </a:cubicBezTo>
                  <a:cubicBezTo>
                    <a:pt x="277" y="448"/>
                    <a:pt x="279" y="447"/>
                    <a:pt x="282" y="446"/>
                  </a:cubicBezTo>
                  <a:cubicBezTo>
                    <a:pt x="283" y="446"/>
                    <a:pt x="283" y="446"/>
                    <a:pt x="283" y="446"/>
                  </a:cubicBezTo>
                  <a:cubicBezTo>
                    <a:pt x="284" y="445"/>
                    <a:pt x="285" y="445"/>
                    <a:pt x="286" y="445"/>
                  </a:cubicBezTo>
                  <a:cubicBezTo>
                    <a:pt x="285" y="445"/>
                    <a:pt x="285" y="445"/>
                    <a:pt x="284" y="444"/>
                  </a:cubicBezTo>
                  <a:moveTo>
                    <a:pt x="271" y="449"/>
                  </a:moveTo>
                  <a:cubicBezTo>
                    <a:pt x="269" y="450"/>
                    <a:pt x="267" y="451"/>
                    <a:pt x="265" y="452"/>
                  </a:cubicBezTo>
                  <a:cubicBezTo>
                    <a:pt x="266" y="451"/>
                    <a:pt x="267" y="451"/>
                    <a:pt x="268" y="450"/>
                  </a:cubicBezTo>
                  <a:cubicBezTo>
                    <a:pt x="269" y="450"/>
                    <a:pt x="269" y="450"/>
                    <a:pt x="270" y="450"/>
                  </a:cubicBezTo>
                  <a:cubicBezTo>
                    <a:pt x="271" y="450"/>
                    <a:pt x="271" y="449"/>
                    <a:pt x="272" y="449"/>
                  </a:cubicBezTo>
                  <a:cubicBezTo>
                    <a:pt x="272" y="449"/>
                    <a:pt x="271" y="449"/>
                    <a:pt x="271" y="449"/>
                  </a:cubicBezTo>
                  <a:moveTo>
                    <a:pt x="265" y="451"/>
                  </a:moveTo>
                  <a:cubicBezTo>
                    <a:pt x="264" y="451"/>
                    <a:pt x="263" y="451"/>
                    <a:pt x="262" y="451"/>
                  </a:cubicBezTo>
                  <a:cubicBezTo>
                    <a:pt x="262" y="452"/>
                    <a:pt x="262" y="452"/>
                    <a:pt x="263" y="452"/>
                  </a:cubicBezTo>
                  <a:cubicBezTo>
                    <a:pt x="263" y="451"/>
                    <a:pt x="264" y="451"/>
                    <a:pt x="265" y="451"/>
                  </a:cubicBezTo>
                  <a:moveTo>
                    <a:pt x="180" y="451"/>
                  </a:moveTo>
                  <a:cubicBezTo>
                    <a:pt x="180" y="452"/>
                    <a:pt x="181" y="452"/>
                    <a:pt x="182" y="453"/>
                  </a:cubicBezTo>
                  <a:cubicBezTo>
                    <a:pt x="192" y="457"/>
                    <a:pt x="202" y="461"/>
                    <a:pt x="213" y="465"/>
                  </a:cubicBezTo>
                  <a:cubicBezTo>
                    <a:pt x="212" y="464"/>
                    <a:pt x="210" y="463"/>
                    <a:pt x="209" y="462"/>
                  </a:cubicBezTo>
                  <a:cubicBezTo>
                    <a:pt x="200" y="459"/>
                    <a:pt x="190" y="455"/>
                    <a:pt x="180" y="451"/>
                  </a:cubicBezTo>
                  <a:moveTo>
                    <a:pt x="264" y="452"/>
                  </a:moveTo>
                  <a:cubicBezTo>
                    <a:pt x="264" y="452"/>
                    <a:pt x="264" y="452"/>
                    <a:pt x="263" y="452"/>
                  </a:cubicBezTo>
                  <a:cubicBezTo>
                    <a:pt x="265" y="453"/>
                    <a:pt x="266" y="454"/>
                    <a:pt x="267" y="455"/>
                  </a:cubicBezTo>
                  <a:cubicBezTo>
                    <a:pt x="277" y="459"/>
                    <a:pt x="285" y="464"/>
                    <a:pt x="294" y="468"/>
                  </a:cubicBezTo>
                  <a:cubicBezTo>
                    <a:pt x="294" y="468"/>
                    <a:pt x="295" y="468"/>
                    <a:pt x="295" y="468"/>
                  </a:cubicBezTo>
                  <a:cubicBezTo>
                    <a:pt x="285" y="463"/>
                    <a:pt x="275" y="457"/>
                    <a:pt x="264" y="452"/>
                  </a:cubicBezTo>
                  <a:moveTo>
                    <a:pt x="905" y="452"/>
                  </a:moveTo>
                  <a:cubicBezTo>
                    <a:pt x="901" y="454"/>
                    <a:pt x="897" y="455"/>
                    <a:pt x="893" y="456"/>
                  </a:cubicBezTo>
                  <a:cubicBezTo>
                    <a:pt x="892" y="457"/>
                    <a:pt x="891" y="457"/>
                    <a:pt x="890" y="458"/>
                  </a:cubicBezTo>
                  <a:cubicBezTo>
                    <a:pt x="890" y="458"/>
                    <a:pt x="890" y="458"/>
                    <a:pt x="889" y="458"/>
                  </a:cubicBezTo>
                  <a:cubicBezTo>
                    <a:pt x="884" y="460"/>
                    <a:pt x="878" y="463"/>
                    <a:pt x="872" y="465"/>
                  </a:cubicBezTo>
                  <a:cubicBezTo>
                    <a:pt x="871" y="465"/>
                    <a:pt x="871" y="465"/>
                    <a:pt x="871" y="465"/>
                  </a:cubicBezTo>
                  <a:cubicBezTo>
                    <a:pt x="862" y="468"/>
                    <a:pt x="853" y="471"/>
                    <a:pt x="844" y="474"/>
                  </a:cubicBezTo>
                  <a:cubicBezTo>
                    <a:pt x="844" y="474"/>
                    <a:pt x="843" y="474"/>
                    <a:pt x="843" y="474"/>
                  </a:cubicBezTo>
                  <a:cubicBezTo>
                    <a:pt x="838" y="476"/>
                    <a:pt x="834" y="477"/>
                    <a:pt x="829" y="479"/>
                  </a:cubicBezTo>
                  <a:cubicBezTo>
                    <a:pt x="829" y="479"/>
                    <a:pt x="829" y="479"/>
                    <a:pt x="829" y="479"/>
                  </a:cubicBezTo>
                  <a:cubicBezTo>
                    <a:pt x="828" y="479"/>
                    <a:pt x="823" y="480"/>
                    <a:pt x="816" y="482"/>
                  </a:cubicBezTo>
                  <a:cubicBezTo>
                    <a:pt x="816" y="482"/>
                    <a:pt x="816" y="482"/>
                    <a:pt x="815" y="482"/>
                  </a:cubicBezTo>
                  <a:cubicBezTo>
                    <a:pt x="809" y="484"/>
                    <a:pt x="800" y="486"/>
                    <a:pt x="789" y="489"/>
                  </a:cubicBezTo>
                  <a:cubicBezTo>
                    <a:pt x="789" y="489"/>
                    <a:pt x="788" y="489"/>
                    <a:pt x="788" y="489"/>
                  </a:cubicBezTo>
                  <a:cubicBezTo>
                    <a:pt x="781" y="491"/>
                    <a:pt x="772" y="493"/>
                    <a:pt x="762" y="496"/>
                  </a:cubicBezTo>
                  <a:cubicBezTo>
                    <a:pt x="762" y="496"/>
                    <a:pt x="762" y="496"/>
                    <a:pt x="761" y="496"/>
                  </a:cubicBezTo>
                  <a:cubicBezTo>
                    <a:pt x="760" y="496"/>
                    <a:pt x="759" y="496"/>
                    <a:pt x="758" y="497"/>
                  </a:cubicBezTo>
                  <a:cubicBezTo>
                    <a:pt x="758" y="497"/>
                    <a:pt x="758" y="497"/>
                    <a:pt x="758" y="497"/>
                  </a:cubicBezTo>
                  <a:cubicBezTo>
                    <a:pt x="759" y="497"/>
                    <a:pt x="760" y="497"/>
                    <a:pt x="761" y="497"/>
                  </a:cubicBezTo>
                  <a:cubicBezTo>
                    <a:pt x="762" y="497"/>
                    <a:pt x="762" y="497"/>
                    <a:pt x="762" y="497"/>
                  </a:cubicBezTo>
                  <a:cubicBezTo>
                    <a:pt x="772" y="494"/>
                    <a:pt x="781" y="492"/>
                    <a:pt x="788" y="490"/>
                  </a:cubicBezTo>
                  <a:cubicBezTo>
                    <a:pt x="789" y="490"/>
                    <a:pt x="789" y="490"/>
                    <a:pt x="789" y="490"/>
                  </a:cubicBezTo>
                  <a:cubicBezTo>
                    <a:pt x="800" y="487"/>
                    <a:pt x="809" y="485"/>
                    <a:pt x="815" y="483"/>
                  </a:cubicBezTo>
                  <a:cubicBezTo>
                    <a:pt x="816" y="483"/>
                    <a:pt x="816" y="483"/>
                    <a:pt x="816" y="483"/>
                  </a:cubicBezTo>
                  <a:cubicBezTo>
                    <a:pt x="823" y="481"/>
                    <a:pt x="828" y="480"/>
                    <a:pt x="829" y="480"/>
                  </a:cubicBezTo>
                  <a:cubicBezTo>
                    <a:pt x="829" y="480"/>
                    <a:pt x="829" y="480"/>
                    <a:pt x="829" y="480"/>
                  </a:cubicBezTo>
                  <a:cubicBezTo>
                    <a:pt x="829" y="480"/>
                    <a:pt x="829" y="480"/>
                    <a:pt x="829" y="480"/>
                  </a:cubicBezTo>
                  <a:cubicBezTo>
                    <a:pt x="829" y="480"/>
                    <a:pt x="829" y="480"/>
                    <a:pt x="829" y="480"/>
                  </a:cubicBezTo>
                  <a:cubicBezTo>
                    <a:pt x="830" y="480"/>
                    <a:pt x="830" y="480"/>
                    <a:pt x="830" y="480"/>
                  </a:cubicBezTo>
                  <a:cubicBezTo>
                    <a:pt x="834" y="478"/>
                    <a:pt x="839" y="477"/>
                    <a:pt x="843" y="475"/>
                  </a:cubicBezTo>
                  <a:cubicBezTo>
                    <a:pt x="843" y="475"/>
                    <a:pt x="844" y="475"/>
                    <a:pt x="844" y="475"/>
                  </a:cubicBezTo>
                  <a:cubicBezTo>
                    <a:pt x="853" y="472"/>
                    <a:pt x="862" y="469"/>
                    <a:pt x="871" y="466"/>
                  </a:cubicBezTo>
                  <a:cubicBezTo>
                    <a:pt x="871" y="466"/>
                    <a:pt x="872" y="466"/>
                    <a:pt x="872" y="466"/>
                  </a:cubicBezTo>
                  <a:cubicBezTo>
                    <a:pt x="878" y="464"/>
                    <a:pt x="884" y="461"/>
                    <a:pt x="890" y="459"/>
                  </a:cubicBezTo>
                  <a:cubicBezTo>
                    <a:pt x="890" y="459"/>
                    <a:pt x="890" y="459"/>
                    <a:pt x="891" y="459"/>
                  </a:cubicBezTo>
                  <a:cubicBezTo>
                    <a:pt x="896" y="457"/>
                    <a:pt x="900" y="454"/>
                    <a:pt x="905" y="452"/>
                  </a:cubicBezTo>
                  <a:moveTo>
                    <a:pt x="250" y="456"/>
                  </a:moveTo>
                  <a:cubicBezTo>
                    <a:pt x="249" y="456"/>
                    <a:pt x="248" y="456"/>
                    <a:pt x="247" y="457"/>
                  </a:cubicBezTo>
                  <a:cubicBezTo>
                    <a:pt x="247" y="457"/>
                    <a:pt x="246" y="457"/>
                    <a:pt x="246" y="457"/>
                  </a:cubicBezTo>
                  <a:cubicBezTo>
                    <a:pt x="245" y="457"/>
                    <a:pt x="244" y="458"/>
                    <a:pt x="244" y="458"/>
                  </a:cubicBezTo>
                  <a:cubicBezTo>
                    <a:pt x="243" y="458"/>
                    <a:pt x="243" y="458"/>
                    <a:pt x="243" y="458"/>
                  </a:cubicBezTo>
                  <a:cubicBezTo>
                    <a:pt x="242" y="459"/>
                    <a:pt x="241" y="459"/>
                    <a:pt x="240" y="459"/>
                  </a:cubicBezTo>
                  <a:cubicBezTo>
                    <a:pt x="240" y="460"/>
                    <a:pt x="240" y="460"/>
                    <a:pt x="241" y="460"/>
                  </a:cubicBezTo>
                  <a:cubicBezTo>
                    <a:pt x="242" y="460"/>
                    <a:pt x="243" y="459"/>
                    <a:pt x="244" y="459"/>
                  </a:cubicBezTo>
                  <a:cubicBezTo>
                    <a:pt x="244" y="459"/>
                    <a:pt x="245" y="459"/>
                    <a:pt x="245" y="458"/>
                  </a:cubicBezTo>
                  <a:cubicBezTo>
                    <a:pt x="246" y="458"/>
                    <a:pt x="246" y="458"/>
                    <a:pt x="247" y="458"/>
                  </a:cubicBezTo>
                  <a:cubicBezTo>
                    <a:pt x="247" y="458"/>
                    <a:pt x="248" y="458"/>
                    <a:pt x="248" y="457"/>
                  </a:cubicBezTo>
                  <a:cubicBezTo>
                    <a:pt x="249" y="457"/>
                    <a:pt x="250" y="457"/>
                    <a:pt x="251" y="456"/>
                  </a:cubicBezTo>
                  <a:cubicBezTo>
                    <a:pt x="250" y="456"/>
                    <a:pt x="250" y="456"/>
                    <a:pt x="250" y="456"/>
                  </a:cubicBezTo>
                  <a:moveTo>
                    <a:pt x="238" y="460"/>
                  </a:moveTo>
                  <a:cubicBezTo>
                    <a:pt x="237" y="460"/>
                    <a:pt x="237" y="460"/>
                    <a:pt x="237" y="461"/>
                  </a:cubicBezTo>
                  <a:cubicBezTo>
                    <a:pt x="237" y="461"/>
                    <a:pt x="236" y="461"/>
                    <a:pt x="236" y="461"/>
                  </a:cubicBezTo>
                  <a:cubicBezTo>
                    <a:pt x="236" y="461"/>
                    <a:pt x="236" y="461"/>
                    <a:pt x="235" y="461"/>
                  </a:cubicBezTo>
                  <a:cubicBezTo>
                    <a:pt x="233" y="462"/>
                    <a:pt x="231" y="463"/>
                    <a:pt x="229" y="464"/>
                  </a:cubicBezTo>
                  <a:cubicBezTo>
                    <a:pt x="230" y="464"/>
                    <a:pt x="230" y="464"/>
                    <a:pt x="230" y="464"/>
                  </a:cubicBezTo>
                  <a:cubicBezTo>
                    <a:pt x="232" y="463"/>
                    <a:pt x="234" y="463"/>
                    <a:pt x="236" y="462"/>
                  </a:cubicBezTo>
                  <a:cubicBezTo>
                    <a:pt x="237" y="462"/>
                    <a:pt x="237" y="461"/>
                    <a:pt x="238" y="461"/>
                  </a:cubicBezTo>
                  <a:cubicBezTo>
                    <a:pt x="238" y="461"/>
                    <a:pt x="238" y="461"/>
                    <a:pt x="238" y="461"/>
                  </a:cubicBezTo>
                  <a:cubicBezTo>
                    <a:pt x="238" y="461"/>
                    <a:pt x="238" y="461"/>
                    <a:pt x="239" y="461"/>
                  </a:cubicBezTo>
                  <a:cubicBezTo>
                    <a:pt x="238" y="461"/>
                    <a:pt x="238" y="460"/>
                    <a:pt x="238" y="460"/>
                  </a:cubicBezTo>
                  <a:moveTo>
                    <a:pt x="239" y="460"/>
                  </a:moveTo>
                  <a:cubicBezTo>
                    <a:pt x="239" y="460"/>
                    <a:pt x="240" y="460"/>
                    <a:pt x="240" y="461"/>
                  </a:cubicBezTo>
                  <a:cubicBezTo>
                    <a:pt x="240" y="461"/>
                    <a:pt x="240" y="461"/>
                    <a:pt x="240" y="461"/>
                  </a:cubicBezTo>
                  <a:cubicBezTo>
                    <a:pt x="240" y="460"/>
                    <a:pt x="239" y="460"/>
                    <a:pt x="239" y="460"/>
                  </a:cubicBezTo>
                  <a:moveTo>
                    <a:pt x="213" y="464"/>
                  </a:moveTo>
                  <a:cubicBezTo>
                    <a:pt x="214" y="465"/>
                    <a:pt x="216" y="465"/>
                    <a:pt x="217" y="466"/>
                  </a:cubicBezTo>
                  <a:cubicBezTo>
                    <a:pt x="218" y="467"/>
                    <a:pt x="219" y="467"/>
                    <a:pt x="220" y="467"/>
                  </a:cubicBezTo>
                  <a:cubicBezTo>
                    <a:pt x="220" y="468"/>
                    <a:pt x="220" y="468"/>
                    <a:pt x="219" y="468"/>
                  </a:cubicBezTo>
                  <a:cubicBezTo>
                    <a:pt x="220" y="468"/>
                    <a:pt x="220" y="468"/>
                    <a:pt x="221" y="468"/>
                  </a:cubicBezTo>
                  <a:cubicBezTo>
                    <a:pt x="221" y="468"/>
                    <a:pt x="221" y="468"/>
                    <a:pt x="222" y="468"/>
                  </a:cubicBezTo>
                  <a:cubicBezTo>
                    <a:pt x="223" y="468"/>
                    <a:pt x="225" y="469"/>
                    <a:pt x="226" y="469"/>
                  </a:cubicBezTo>
                  <a:cubicBezTo>
                    <a:pt x="226" y="469"/>
                    <a:pt x="226" y="469"/>
                    <a:pt x="225" y="468"/>
                  </a:cubicBezTo>
                  <a:cubicBezTo>
                    <a:pt x="225" y="468"/>
                    <a:pt x="224" y="468"/>
                    <a:pt x="223" y="467"/>
                  </a:cubicBezTo>
                  <a:cubicBezTo>
                    <a:pt x="224" y="467"/>
                    <a:pt x="224" y="467"/>
                    <a:pt x="224" y="467"/>
                  </a:cubicBezTo>
                  <a:cubicBezTo>
                    <a:pt x="224" y="466"/>
                    <a:pt x="224" y="466"/>
                    <a:pt x="224" y="466"/>
                  </a:cubicBezTo>
                  <a:cubicBezTo>
                    <a:pt x="223" y="466"/>
                    <a:pt x="222" y="466"/>
                    <a:pt x="222" y="467"/>
                  </a:cubicBezTo>
                  <a:cubicBezTo>
                    <a:pt x="219" y="466"/>
                    <a:pt x="216" y="465"/>
                    <a:pt x="213" y="464"/>
                  </a:cubicBezTo>
                  <a:moveTo>
                    <a:pt x="228" y="464"/>
                  </a:moveTo>
                  <a:cubicBezTo>
                    <a:pt x="227" y="464"/>
                    <a:pt x="226" y="465"/>
                    <a:pt x="225" y="465"/>
                  </a:cubicBezTo>
                  <a:cubicBezTo>
                    <a:pt x="225" y="466"/>
                    <a:pt x="225" y="466"/>
                    <a:pt x="225" y="466"/>
                  </a:cubicBezTo>
                  <a:cubicBezTo>
                    <a:pt x="227" y="466"/>
                    <a:pt x="228" y="465"/>
                    <a:pt x="229" y="465"/>
                  </a:cubicBezTo>
                  <a:cubicBezTo>
                    <a:pt x="229" y="464"/>
                    <a:pt x="229" y="464"/>
                    <a:pt x="228" y="464"/>
                  </a:cubicBezTo>
                  <a:moveTo>
                    <a:pt x="296" y="468"/>
                  </a:moveTo>
                  <a:cubicBezTo>
                    <a:pt x="296" y="468"/>
                    <a:pt x="296" y="469"/>
                    <a:pt x="295" y="469"/>
                  </a:cubicBezTo>
                  <a:cubicBezTo>
                    <a:pt x="299" y="471"/>
                    <a:pt x="304" y="473"/>
                    <a:pt x="308" y="475"/>
                  </a:cubicBezTo>
                  <a:cubicBezTo>
                    <a:pt x="310" y="476"/>
                    <a:pt x="312" y="477"/>
                    <a:pt x="314" y="478"/>
                  </a:cubicBezTo>
                  <a:cubicBezTo>
                    <a:pt x="314" y="478"/>
                    <a:pt x="314" y="479"/>
                    <a:pt x="314" y="479"/>
                  </a:cubicBezTo>
                  <a:cubicBezTo>
                    <a:pt x="315" y="479"/>
                    <a:pt x="315" y="479"/>
                    <a:pt x="316" y="479"/>
                  </a:cubicBezTo>
                  <a:cubicBezTo>
                    <a:pt x="318" y="480"/>
                    <a:pt x="320" y="482"/>
                    <a:pt x="322" y="483"/>
                  </a:cubicBezTo>
                  <a:cubicBezTo>
                    <a:pt x="323" y="483"/>
                    <a:pt x="323" y="483"/>
                    <a:pt x="324" y="482"/>
                  </a:cubicBezTo>
                  <a:cubicBezTo>
                    <a:pt x="321" y="481"/>
                    <a:pt x="319" y="480"/>
                    <a:pt x="317" y="479"/>
                  </a:cubicBezTo>
                  <a:cubicBezTo>
                    <a:pt x="316" y="479"/>
                    <a:pt x="316" y="478"/>
                    <a:pt x="316" y="478"/>
                  </a:cubicBezTo>
                  <a:cubicBezTo>
                    <a:pt x="313" y="477"/>
                    <a:pt x="311" y="476"/>
                    <a:pt x="308" y="474"/>
                  </a:cubicBezTo>
                  <a:cubicBezTo>
                    <a:pt x="306" y="473"/>
                    <a:pt x="304" y="472"/>
                    <a:pt x="301" y="471"/>
                  </a:cubicBezTo>
                  <a:cubicBezTo>
                    <a:pt x="300" y="470"/>
                    <a:pt x="298" y="469"/>
                    <a:pt x="296" y="468"/>
                  </a:cubicBezTo>
                  <a:moveTo>
                    <a:pt x="218" y="468"/>
                  </a:moveTo>
                  <a:cubicBezTo>
                    <a:pt x="215" y="470"/>
                    <a:pt x="213" y="471"/>
                    <a:pt x="210" y="472"/>
                  </a:cubicBezTo>
                  <a:cubicBezTo>
                    <a:pt x="210" y="473"/>
                    <a:pt x="211" y="473"/>
                    <a:pt x="211" y="473"/>
                  </a:cubicBezTo>
                  <a:cubicBezTo>
                    <a:pt x="214" y="472"/>
                    <a:pt x="217" y="470"/>
                    <a:pt x="219" y="469"/>
                  </a:cubicBezTo>
                  <a:cubicBezTo>
                    <a:pt x="219" y="469"/>
                    <a:pt x="219" y="469"/>
                    <a:pt x="218" y="468"/>
                  </a:cubicBezTo>
                  <a:moveTo>
                    <a:pt x="227" y="469"/>
                  </a:moveTo>
                  <a:cubicBezTo>
                    <a:pt x="227" y="469"/>
                    <a:pt x="227" y="470"/>
                    <a:pt x="228" y="470"/>
                  </a:cubicBezTo>
                  <a:cubicBezTo>
                    <a:pt x="230" y="471"/>
                    <a:pt x="232" y="472"/>
                    <a:pt x="235" y="472"/>
                  </a:cubicBezTo>
                  <a:cubicBezTo>
                    <a:pt x="235" y="472"/>
                    <a:pt x="235" y="472"/>
                    <a:pt x="235" y="471"/>
                  </a:cubicBezTo>
                  <a:cubicBezTo>
                    <a:pt x="233" y="471"/>
                    <a:pt x="230" y="470"/>
                    <a:pt x="227" y="469"/>
                  </a:cubicBezTo>
                  <a:moveTo>
                    <a:pt x="236" y="472"/>
                  </a:moveTo>
                  <a:cubicBezTo>
                    <a:pt x="236" y="472"/>
                    <a:pt x="236" y="472"/>
                    <a:pt x="236" y="473"/>
                  </a:cubicBezTo>
                  <a:cubicBezTo>
                    <a:pt x="240" y="474"/>
                    <a:pt x="245" y="476"/>
                    <a:pt x="250" y="477"/>
                  </a:cubicBezTo>
                  <a:cubicBezTo>
                    <a:pt x="249" y="477"/>
                    <a:pt x="247" y="476"/>
                    <a:pt x="246" y="475"/>
                  </a:cubicBezTo>
                  <a:cubicBezTo>
                    <a:pt x="243" y="474"/>
                    <a:pt x="240" y="473"/>
                    <a:pt x="236" y="472"/>
                  </a:cubicBezTo>
                  <a:moveTo>
                    <a:pt x="209" y="473"/>
                  </a:moveTo>
                  <a:cubicBezTo>
                    <a:pt x="206" y="474"/>
                    <a:pt x="203" y="476"/>
                    <a:pt x="201" y="477"/>
                  </a:cubicBezTo>
                  <a:cubicBezTo>
                    <a:pt x="201" y="478"/>
                    <a:pt x="202" y="478"/>
                    <a:pt x="202" y="478"/>
                  </a:cubicBezTo>
                  <a:cubicBezTo>
                    <a:pt x="204" y="476"/>
                    <a:pt x="207" y="475"/>
                    <a:pt x="210" y="474"/>
                  </a:cubicBezTo>
                  <a:cubicBezTo>
                    <a:pt x="210" y="473"/>
                    <a:pt x="209" y="473"/>
                    <a:pt x="209" y="473"/>
                  </a:cubicBezTo>
                  <a:moveTo>
                    <a:pt x="251" y="476"/>
                  </a:moveTo>
                  <a:cubicBezTo>
                    <a:pt x="252" y="477"/>
                    <a:pt x="254" y="478"/>
                    <a:pt x="255" y="479"/>
                  </a:cubicBezTo>
                  <a:cubicBezTo>
                    <a:pt x="258" y="480"/>
                    <a:pt x="262" y="481"/>
                    <a:pt x="265" y="482"/>
                  </a:cubicBezTo>
                  <a:cubicBezTo>
                    <a:pt x="266" y="482"/>
                    <a:pt x="266" y="482"/>
                    <a:pt x="266" y="482"/>
                  </a:cubicBezTo>
                  <a:cubicBezTo>
                    <a:pt x="266" y="481"/>
                    <a:pt x="265" y="481"/>
                    <a:pt x="265" y="481"/>
                  </a:cubicBezTo>
                  <a:cubicBezTo>
                    <a:pt x="260" y="479"/>
                    <a:pt x="255" y="478"/>
                    <a:pt x="251" y="476"/>
                  </a:cubicBezTo>
                  <a:moveTo>
                    <a:pt x="200" y="478"/>
                  </a:moveTo>
                  <a:cubicBezTo>
                    <a:pt x="197" y="480"/>
                    <a:pt x="194" y="482"/>
                    <a:pt x="192" y="483"/>
                  </a:cubicBezTo>
                  <a:cubicBezTo>
                    <a:pt x="193" y="484"/>
                    <a:pt x="193" y="484"/>
                    <a:pt x="193" y="484"/>
                  </a:cubicBezTo>
                  <a:cubicBezTo>
                    <a:pt x="195" y="482"/>
                    <a:pt x="198" y="480"/>
                    <a:pt x="201" y="479"/>
                  </a:cubicBezTo>
                  <a:cubicBezTo>
                    <a:pt x="201" y="478"/>
                    <a:pt x="200" y="478"/>
                    <a:pt x="200" y="478"/>
                  </a:cubicBezTo>
                  <a:moveTo>
                    <a:pt x="268" y="482"/>
                  </a:moveTo>
                  <a:cubicBezTo>
                    <a:pt x="269" y="482"/>
                    <a:pt x="270" y="483"/>
                    <a:pt x="271" y="484"/>
                  </a:cubicBezTo>
                  <a:cubicBezTo>
                    <a:pt x="276" y="485"/>
                    <a:pt x="281" y="486"/>
                    <a:pt x="286" y="488"/>
                  </a:cubicBezTo>
                  <a:cubicBezTo>
                    <a:pt x="284" y="487"/>
                    <a:pt x="283" y="486"/>
                    <a:pt x="282" y="486"/>
                  </a:cubicBezTo>
                  <a:cubicBezTo>
                    <a:pt x="277" y="484"/>
                    <a:pt x="273" y="483"/>
                    <a:pt x="268" y="482"/>
                  </a:cubicBezTo>
                  <a:moveTo>
                    <a:pt x="267" y="482"/>
                  </a:moveTo>
                  <a:cubicBezTo>
                    <a:pt x="267" y="482"/>
                    <a:pt x="267" y="482"/>
                    <a:pt x="267" y="482"/>
                  </a:cubicBezTo>
                  <a:cubicBezTo>
                    <a:pt x="267" y="482"/>
                    <a:pt x="267" y="482"/>
                    <a:pt x="267" y="483"/>
                  </a:cubicBezTo>
                  <a:cubicBezTo>
                    <a:pt x="267" y="482"/>
                    <a:pt x="267" y="482"/>
                    <a:pt x="267" y="482"/>
                  </a:cubicBezTo>
                  <a:moveTo>
                    <a:pt x="325" y="483"/>
                  </a:moveTo>
                  <a:cubicBezTo>
                    <a:pt x="324" y="483"/>
                    <a:pt x="324" y="483"/>
                    <a:pt x="323" y="484"/>
                  </a:cubicBezTo>
                  <a:cubicBezTo>
                    <a:pt x="325" y="484"/>
                    <a:pt x="326" y="485"/>
                    <a:pt x="328" y="486"/>
                  </a:cubicBezTo>
                  <a:cubicBezTo>
                    <a:pt x="329" y="486"/>
                    <a:pt x="329" y="487"/>
                    <a:pt x="330" y="487"/>
                  </a:cubicBezTo>
                  <a:cubicBezTo>
                    <a:pt x="331" y="488"/>
                    <a:pt x="333" y="489"/>
                    <a:pt x="335" y="490"/>
                  </a:cubicBezTo>
                  <a:cubicBezTo>
                    <a:pt x="335" y="490"/>
                    <a:pt x="336" y="491"/>
                    <a:pt x="337" y="491"/>
                  </a:cubicBezTo>
                  <a:cubicBezTo>
                    <a:pt x="340" y="493"/>
                    <a:pt x="343" y="495"/>
                    <a:pt x="346" y="496"/>
                  </a:cubicBezTo>
                  <a:cubicBezTo>
                    <a:pt x="347" y="496"/>
                    <a:pt x="347" y="496"/>
                    <a:pt x="347" y="496"/>
                  </a:cubicBezTo>
                  <a:cubicBezTo>
                    <a:pt x="344" y="494"/>
                    <a:pt x="340" y="491"/>
                    <a:pt x="336" y="489"/>
                  </a:cubicBezTo>
                  <a:cubicBezTo>
                    <a:pt x="335" y="489"/>
                    <a:pt x="334" y="488"/>
                    <a:pt x="334" y="488"/>
                  </a:cubicBezTo>
                  <a:cubicBezTo>
                    <a:pt x="332" y="487"/>
                    <a:pt x="331" y="486"/>
                    <a:pt x="329" y="485"/>
                  </a:cubicBezTo>
                  <a:cubicBezTo>
                    <a:pt x="329" y="485"/>
                    <a:pt x="329" y="485"/>
                    <a:pt x="328" y="485"/>
                  </a:cubicBezTo>
                  <a:cubicBezTo>
                    <a:pt x="328" y="485"/>
                    <a:pt x="327" y="484"/>
                    <a:pt x="326" y="484"/>
                  </a:cubicBezTo>
                  <a:cubicBezTo>
                    <a:pt x="326" y="484"/>
                    <a:pt x="325" y="483"/>
                    <a:pt x="325" y="483"/>
                  </a:cubicBezTo>
                  <a:moveTo>
                    <a:pt x="191" y="484"/>
                  </a:moveTo>
                  <a:cubicBezTo>
                    <a:pt x="189" y="486"/>
                    <a:pt x="187" y="488"/>
                    <a:pt x="185" y="490"/>
                  </a:cubicBezTo>
                  <a:cubicBezTo>
                    <a:pt x="185" y="490"/>
                    <a:pt x="185" y="491"/>
                    <a:pt x="185" y="491"/>
                  </a:cubicBezTo>
                  <a:cubicBezTo>
                    <a:pt x="183" y="493"/>
                    <a:pt x="182" y="495"/>
                    <a:pt x="181" y="497"/>
                  </a:cubicBezTo>
                  <a:cubicBezTo>
                    <a:pt x="182" y="497"/>
                    <a:pt x="182" y="497"/>
                    <a:pt x="182" y="498"/>
                  </a:cubicBezTo>
                  <a:cubicBezTo>
                    <a:pt x="183" y="495"/>
                    <a:pt x="184" y="493"/>
                    <a:pt x="185" y="491"/>
                  </a:cubicBezTo>
                  <a:cubicBezTo>
                    <a:pt x="186" y="491"/>
                    <a:pt x="186" y="491"/>
                    <a:pt x="186" y="490"/>
                  </a:cubicBezTo>
                  <a:cubicBezTo>
                    <a:pt x="188" y="488"/>
                    <a:pt x="190" y="486"/>
                    <a:pt x="192" y="485"/>
                  </a:cubicBezTo>
                  <a:cubicBezTo>
                    <a:pt x="192" y="484"/>
                    <a:pt x="192" y="484"/>
                    <a:pt x="191" y="484"/>
                  </a:cubicBezTo>
                  <a:moveTo>
                    <a:pt x="286" y="487"/>
                  </a:moveTo>
                  <a:cubicBezTo>
                    <a:pt x="288" y="488"/>
                    <a:pt x="289" y="488"/>
                    <a:pt x="290" y="489"/>
                  </a:cubicBezTo>
                  <a:cubicBezTo>
                    <a:pt x="291" y="489"/>
                    <a:pt x="293" y="490"/>
                    <a:pt x="294" y="490"/>
                  </a:cubicBezTo>
                  <a:cubicBezTo>
                    <a:pt x="295" y="490"/>
                    <a:pt x="297" y="491"/>
                    <a:pt x="298" y="491"/>
                  </a:cubicBezTo>
                  <a:cubicBezTo>
                    <a:pt x="299" y="491"/>
                    <a:pt x="300" y="491"/>
                    <a:pt x="300" y="492"/>
                  </a:cubicBezTo>
                  <a:cubicBezTo>
                    <a:pt x="301" y="491"/>
                    <a:pt x="301" y="491"/>
                    <a:pt x="302" y="491"/>
                  </a:cubicBezTo>
                  <a:cubicBezTo>
                    <a:pt x="301" y="491"/>
                    <a:pt x="300" y="490"/>
                    <a:pt x="299" y="490"/>
                  </a:cubicBezTo>
                  <a:cubicBezTo>
                    <a:pt x="297" y="490"/>
                    <a:pt x="296" y="489"/>
                    <a:pt x="294" y="489"/>
                  </a:cubicBezTo>
                  <a:cubicBezTo>
                    <a:pt x="293" y="489"/>
                    <a:pt x="292" y="488"/>
                    <a:pt x="291" y="488"/>
                  </a:cubicBezTo>
                  <a:cubicBezTo>
                    <a:pt x="291" y="488"/>
                    <a:pt x="290" y="488"/>
                    <a:pt x="290" y="488"/>
                  </a:cubicBezTo>
                  <a:cubicBezTo>
                    <a:pt x="289" y="487"/>
                    <a:pt x="287" y="487"/>
                    <a:pt x="286" y="487"/>
                  </a:cubicBezTo>
                  <a:moveTo>
                    <a:pt x="303" y="491"/>
                  </a:moveTo>
                  <a:cubicBezTo>
                    <a:pt x="303" y="492"/>
                    <a:pt x="302" y="492"/>
                    <a:pt x="302" y="492"/>
                  </a:cubicBezTo>
                  <a:cubicBezTo>
                    <a:pt x="302" y="492"/>
                    <a:pt x="302" y="492"/>
                    <a:pt x="302" y="492"/>
                  </a:cubicBezTo>
                  <a:cubicBezTo>
                    <a:pt x="305" y="493"/>
                    <a:pt x="308" y="494"/>
                    <a:pt x="311" y="494"/>
                  </a:cubicBezTo>
                  <a:cubicBezTo>
                    <a:pt x="312" y="495"/>
                    <a:pt x="313" y="495"/>
                    <a:pt x="314" y="495"/>
                  </a:cubicBezTo>
                  <a:cubicBezTo>
                    <a:pt x="315" y="495"/>
                    <a:pt x="317" y="496"/>
                    <a:pt x="318" y="496"/>
                  </a:cubicBezTo>
                  <a:cubicBezTo>
                    <a:pt x="318" y="496"/>
                    <a:pt x="318" y="496"/>
                    <a:pt x="318" y="496"/>
                  </a:cubicBezTo>
                  <a:cubicBezTo>
                    <a:pt x="317" y="495"/>
                    <a:pt x="316" y="495"/>
                    <a:pt x="314" y="494"/>
                  </a:cubicBezTo>
                  <a:cubicBezTo>
                    <a:pt x="314" y="494"/>
                    <a:pt x="313" y="494"/>
                    <a:pt x="312" y="493"/>
                  </a:cubicBezTo>
                  <a:cubicBezTo>
                    <a:pt x="311" y="493"/>
                    <a:pt x="310" y="493"/>
                    <a:pt x="309" y="493"/>
                  </a:cubicBezTo>
                  <a:cubicBezTo>
                    <a:pt x="307" y="492"/>
                    <a:pt x="305" y="492"/>
                    <a:pt x="303" y="491"/>
                  </a:cubicBezTo>
                  <a:moveTo>
                    <a:pt x="318" y="495"/>
                  </a:moveTo>
                  <a:cubicBezTo>
                    <a:pt x="320" y="496"/>
                    <a:pt x="321" y="496"/>
                    <a:pt x="322" y="497"/>
                  </a:cubicBezTo>
                  <a:cubicBezTo>
                    <a:pt x="326" y="498"/>
                    <a:pt x="329" y="499"/>
                    <a:pt x="333" y="499"/>
                  </a:cubicBezTo>
                  <a:cubicBezTo>
                    <a:pt x="333" y="499"/>
                    <a:pt x="334" y="499"/>
                    <a:pt x="334" y="500"/>
                  </a:cubicBezTo>
                  <a:cubicBezTo>
                    <a:pt x="335" y="500"/>
                    <a:pt x="336" y="500"/>
                    <a:pt x="336" y="500"/>
                  </a:cubicBezTo>
                  <a:cubicBezTo>
                    <a:pt x="336" y="500"/>
                    <a:pt x="336" y="500"/>
                    <a:pt x="336" y="500"/>
                  </a:cubicBezTo>
                  <a:cubicBezTo>
                    <a:pt x="337" y="500"/>
                    <a:pt x="337" y="500"/>
                    <a:pt x="338" y="499"/>
                  </a:cubicBezTo>
                  <a:cubicBezTo>
                    <a:pt x="338" y="499"/>
                    <a:pt x="338" y="499"/>
                    <a:pt x="338" y="499"/>
                  </a:cubicBezTo>
                  <a:cubicBezTo>
                    <a:pt x="337" y="499"/>
                    <a:pt x="337" y="499"/>
                    <a:pt x="336" y="499"/>
                  </a:cubicBezTo>
                  <a:cubicBezTo>
                    <a:pt x="336" y="499"/>
                    <a:pt x="336" y="499"/>
                    <a:pt x="336" y="499"/>
                  </a:cubicBezTo>
                  <a:cubicBezTo>
                    <a:pt x="335" y="499"/>
                    <a:pt x="334" y="499"/>
                    <a:pt x="334" y="498"/>
                  </a:cubicBezTo>
                  <a:cubicBezTo>
                    <a:pt x="333" y="498"/>
                    <a:pt x="333" y="498"/>
                    <a:pt x="333" y="498"/>
                  </a:cubicBezTo>
                  <a:cubicBezTo>
                    <a:pt x="328" y="497"/>
                    <a:pt x="323" y="496"/>
                    <a:pt x="318" y="495"/>
                  </a:cubicBezTo>
                  <a:moveTo>
                    <a:pt x="349" y="497"/>
                  </a:moveTo>
                  <a:cubicBezTo>
                    <a:pt x="348" y="497"/>
                    <a:pt x="348" y="497"/>
                    <a:pt x="347" y="497"/>
                  </a:cubicBezTo>
                  <a:cubicBezTo>
                    <a:pt x="348" y="498"/>
                    <a:pt x="350" y="499"/>
                    <a:pt x="351" y="499"/>
                  </a:cubicBezTo>
                  <a:cubicBezTo>
                    <a:pt x="351" y="500"/>
                    <a:pt x="352" y="500"/>
                    <a:pt x="353" y="500"/>
                  </a:cubicBezTo>
                  <a:cubicBezTo>
                    <a:pt x="353" y="501"/>
                    <a:pt x="353" y="501"/>
                    <a:pt x="354" y="501"/>
                  </a:cubicBezTo>
                  <a:cubicBezTo>
                    <a:pt x="355" y="502"/>
                    <a:pt x="356" y="502"/>
                    <a:pt x="357" y="503"/>
                  </a:cubicBezTo>
                  <a:cubicBezTo>
                    <a:pt x="357" y="503"/>
                    <a:pt x="357" y="503"/>
                    <a:pt x="357" y="503"/>
                  </a:cubicBezTo>
                  <a:cubicBezTo>
                    <a:pt x="357" y="503"/>
                    <a:pt x="357" y="503"/>
                    <a:pt x="357" y="503"/>
                  </a:cubicBezTo>
                  <a:cubicBezTo>
                    <a:pt x="356" y="503"/>
                    <a:pt x="356" y="503"/>
                    <a:pt x="355" y="503"/>
                  </a:cubicBezTo>
                  <a:cubicBezTo>
                    <a:pt x="355" y="503"/>
                    <a:pt x="355" y="503"/>
                    <a:pt x="355" y="503"/>
                  </a:cubicBezTo>
                  <a:cubicBezTo>
                    <a:pt x="354" y="503"/>
                    <a:pt x="354" y="503"/>
                    <a:pt x="353" y="502"/>
                  </a:cubicBezTo>
                  <a:cubicBezTo>
                    <a:pt x="353" y="502"/>
                    <a:pt x="352" y="502"/>
                    <a:pt x="351" y="502"/>
                  </a:cubicBezTo>
                  <a:cubicBezTo>
                    <a:pt x="351" y="502"/>
                    <a:pt x="350" y="502"/>
                    <a:pt x="350" y="502"/>
                  </a:cubicBezTo>
                  <a:cubicBezTo>
                    <a:pt x="349" y="502"/>
                    <a:pt x="348" y="502"/>
                    <a:pt x="348" y="501"/>
                  </a:cubicBezTo>
                  <a:cubicBezTo>
                    <a:pt x="349" y="502"/>
                    <a:pt x="350" y="502"/>
                    <a:pt x="351" y="503"/>
                  </a:cubicBezTo>
                  <a:cubicBezTo>
                    <a:pt x="352" y="503"/>
                    <a:pt x="353" y="503"/>
                    <a:pt x="354" y="504"/>
                  </a:cubicBezTo>
                  <a:cubicBezTo>
                    <a:pt x="355" y="504"/>
                    <a:pt x="355" y="504"/>
                    <a:pt x="356" y="504"/>
                  </a:cubicBezTo>
                  <a:cubicBezTo>
                    <a:pt x="356" y="504"/>
                    <a:pt x="356" y="504"/>
                    <a:pt x="356" y="504"/>
                  </a:cubicBezTo>
                  <a:cubicBezTo>
                    <a:pt x="357" y="504"/>
                    <a:pt x="357" y="504"/>
                    <a:pt x="358" y="504"/>
                  </a:cubicBezTo>
                  <a:cubicBezTo>
                    <a:pt x="358" y="504"/>
                    <a:pt x="358" y="504"/>
                    <a:pt x="359" y="505"/>
                  </a:cubicBezTo>
                  <a:cubicBezTo>
                    <a:pt x="359" y="505"/>
                    <a:pt x="359" y="505"/>
                    <a:pt x="359" y="505"/>
                  </a:cubicBezTo>
                  <a:cubicBezTo>
                    <a:pt x="360" y="505"/>
                    <a:pt x="361" y="506"/>
                    <a:pt x="362" y="506"/>
                  </a:cubicBezTo>
                  <a:cubicBezTo>
                    <a:pt x="362" y="507"/>
                    <a:pt x="363" y="507"/>
                    <a:pt x="363" y="507"/>
                  </a:cubicBezTo>
                  <a:cubicBezTo>
                    <a:pt x="364" y="508"/>
                    <a:pt x="365" y="509"/>
                    <a:pt x="366" y="509"/>
                  </a:cubicBezTo>
                  <a:cubicBezTo>
                    <a:pt x="366" y="509"/>
                    <a:pt x="366" y="509"/>
                    <a:pt x="367" y="509"/>
                  </a:cubicBezTo>
                  <a:cubicBezTo>
                    <a:pt x="367" y="509"/>
                    <a:pt x="367" y="509"/>
                    <a:pt x="367" y="509"/>
                  </a:cubicBezTo>
                  <a:cubicBezTo>
                    <a:pt x="366" y="508"/>
                    <a:pt x="365" y="507"/>
                    <a:pt x="364" y="506"/>
                  </a:cubicBezTo>
                  <a:cubicBezTo>
                    <a:pt x="363" y="506"/>
                    <a:pt x="363" y="506"/>
                    <a:pt x="362" y="505"/>
                  </a:cubicBezTo>
                  <a:cubicBezTo>
                    <a:pt x="362" y="505"/>
                    <a:pt x="363" y="505"/>
                    <a:pt x="363" y="505"/>
                  </a:cubicBezTo>
                  <a:cubicBezTo>
                    <a:pt x="366" y="506"/>
                    <a:pt x="369" y="506"/>
                    <a:pt x="372" y="507"/>
                  </a:cubicBezTo>
                  <a:cubicBezTo>
                    <a:pt x="372" y="507"/>
                    <a:pt x="373" y="506"/>
                    <a:pt x="374" y="506"/>
                  </a:cubicBezTo>
                  <a:cubicBezTo>
                    <a:pt x="370" y="506"/>
                    <a:pt x="366" y="505"/>
                    <a:pt x="361" y="504"/>
                  </a:cubicBezTo>
                  <a:cubicBezTo>
                    <a:pt x="361" y="504"/>
                    <a:pt x="360" y="504"/>
                    <a:pt x="360" y="504"/>
                  </a:cubicBezTo>
                  <a:cubicBezTo>
                    <a:pt x="360" y="504"/>
                    <a:pt x="360" y="504"/>
                    <a:pt x="360" y="504"/>
                  </a:cubicBezTo>
                  <a:cubicBezTo>
                    <a:pt x="359" y="503"/>
                    <a:pt x="359" y="503"/>
                    <a:pt x="358" y="503"/>
                  </a:cubicBezTo>
                  <a:cubicBezTo>
                    <a:pt x="357" y="502"/>
                    <a:pt x="356" y="501"/>
                    <a:pt x="355" y="501"/>
                  </a:cubicBezTo>
                  <a:cubicBezTo>
                    <a:pt x="355" y="500"/>
                    <a:pt x="354" y="500"/>
                    <a:pt x="354" y="500"/>
                  </a:cubicBezTo>
                  <a:cubicBezTo>
                    <a:pt x="353" y="499"/>
                    <a:pt x="352" y="499"/>
                    <a:pt x="351" y="498"/>
                  </a:cubicBezTo>
                  <a:cubicBezTo>
                    <a:pt x="350" y="498"/>
                    <a:pt x="350" y="497"/>
                    <a:pt x="349" y="497"/>
                  </a:cubicBezTo>
                  <a:cubicBezTo>
                    <a:pt x="349" y="497"/>
                    <a:pt x="349" y="497"/>
                    <a:pt x="349" y="497"/>
                  </a:cubicBezTo>
                  <a:moveTo>
                    <a:pt x="757" y="497"/>
                  </a:moveTo>
                  <a:cubicBezTo>
                    <a:pt x="752" y="498"/>
                    <a:pt x="747" y="499"/>
                    <a:pt x="741" y="500"/>
                  </a:cubicBezTo>
                  <a:cubicBezTo>
                    <a:pt x="741" y="500"/>
                    <a:pt x="740" y="500"/>
                    <a:pt x="740" y="500"/>
                  </a:cubicBezTo>
                  <a:cubicBezTo>
                    <a:pt x="736" y="501"/>
                    <a:pt x="732" y="502"/>
                    <a:pt x="728" y="503"/>
                  </a:cubicBezTo>
                  <a:cubicBezTo>
                    <a:pt x="727" y="503"/>
                    <a:pt x="727" y="503"/>
                    <a:pt x="726" y="503"/>
                  </a:cubicBezTo>
                  <a:cubicBezTo>
                    <a:pt x="725" y="503"/>
                    <a:pt x="724" y="504"/>
                    <a:pt x="723" y="504"/>
                  </a:cubicBezTo>
                  <a:cubicBezTo>
                    <a:pt x="722" y="504"/>
                    <a:pt x="721" y="504"/>
                    <a:pt x="721" y="504"/>
                  </a:cubicBezTo>
                  <a:cubicBezTo>
                    <a:pt x="706" y="507"/>
                    <a:pt x="689" y="510"/>
                    <a:pt x="672" y="512"/>
                  </a:cubicBezTo>
                  <a:cubicBezTo>
                    <a:pt x="672" y="512"/>
                    <a:pt x="672" y="512"/>
                    <a:pt x="672" y="513"/>
                  </a:cubicBezTo>
                  <a:cubicBezTo>
                    <a:pt x="689" y="511"/>
                    <a:pt x="705" y="508"/>
                    <a:pt x="720" y="505"/>
                  </a:cubicBezTo>
                  <a:cubicBezTo>
                    <a:pt x="720" y="505"/>
                    <a:pt x="721" y="505"/>
                    <a:pt x="721" y="505"/>
                  </a:cubicBezTo>
                  <a:cubicBezTo>
                    <a:pt x="723" y="505"/>
                    <a:pt x="724" y="505"/>
                    <a:pt x="726" y="504"/>
                  </a:cubicBezTo>
                  <a:cubicBezTo>
                    <a:pt x="726" y="504"/>
                    <a:pt x="726" y="504"/>
                    <a:pt x="727" y="504"/>
                  </a:cubicBezTo>
                  <a:cubicBezTo>
                    <a:pt x="731" y="503"/>
                    <a:pt x="735" y="502"/>
                    <a:pt x="740" y="502"/>
                  </a:cubicBezTo>
                  <a:cubicBezTo>
                    <a:pt x="740" y="501"/>
                    <a:pt x="740" y="501"/>
                    <a:pt x="741" y="501"/>
                  </a:cubicBezTo>
                  <a:cubicBezTo>
                    <a:pt x="742" y="501"/>
                    <a:pt x="743" y="501"/>
                    <a:pt x="744" y="501"/>
                  </a:cubicBezTo>
                  <a:cubicBezTo>
                    <a:pt x="749" y="500"/>
                    <a:pt x="753" y="499"/>
                    <a:pt x="757" y="498"/>
                  </a:cubicBezTo>
                  <a:cubicBezTo>
                    <a:pt x="757" y="497"/>
                    <a:pt x="757" y="497"/>
                    <a:pt x="757" y="497"/>
                  </a:cubicBezTo>
                  <a:moveTo>
                    <a:pt x="181" y="498"/>
                  </a:moveTo>
                  <a:cubicBezTo>
                    <a:pt x="181" y="499"/>
                    <a:pt x="181" y="500"/>
                    <a:pt x="181" y="500"/>
                  </a:cubicBezTo>
                  <a:cubicBezTo>
                    <a:pt x="181" y="510"/>
                    <a:pt x="193" y="519"/>
                    <a:pt x="220" y="527"/>
                  </a:cubicBezTo>
                  <a:cubicBezTo>
                    <a:pt x="220" y="527"/>
                    <a:pt x="220" y="527"/>
                    <a:pt x="221" y="527"/>
                  </a:cubicBezTo>
                  <a:cubicBezTo>
                    <a:pt x="225" y="529"/>
                    <a:pt x="231" y="530"/>
                    <a:pt x="236" y="531"/>
                  </a:cubicBezTo>
                  <a:cubicBezTo>
                    <a:pt x="236" y="531"/>
                    <a:pt x="236" y="531"/>
                    <a:pt x="236" y="530"/>
                  </a:cubicBezTo>
                  <a:cubicBezTo>
                    <a:pt x="231" y="529"/>
                    <a:pt x="226" y="528"/>
                    <a:pt x="221" y="526"/>
                  </a:cubicBezTo>
                  <a:cubicBezTo>
                    <a:pt x="221" y="526"/>
                    <a:pt x="221" y="526"/>
                    <a:pt x="220" y="526"/>
                  </a:cubicBezTo>
                  <a:cubicBezTo>
                    <a:pt x="193" y="518"/>
                    <a:pt x="182" y="509"/>
                    <a:pt x="182" y="500"/>
                  </a:cubicBezTo>
                  <a:cubicBezTo>
                    <a:pt x="182" y="500"/>
                    <a:pt x="182" y="499"/>
                    <a:pt x="182" y="499"/>
                  </a:cubicBezTo>
                  <a:cubicBezTo>
                    <a:pt x="182" y="498"/>
                    <a:pt x="181" y="498"/>
                    <a:pt x="181" y="498"/>
                  </a:cubicBezTo>
                  <a:moveTo>
                    <a:pt x="340" y="500"/>
                  </a:moveTo>
                  <a:cubicBezTo>
                    <a:pt x="339" y="500"/>
                    <a:pt x="339" y="500"/>
                    <a:pt x="338" y="500"/>
                  </a:cubicBezTo>
                  <a:cubicBezTo>
                    <a:pt x="338" y="500"/>
                    <a:pt x="339" y="501"/>
                    <a:pt x="339" y="501"/>
                  </a:cubicBezTo>
                  <a:cubicBezTo>
                    <a:pt x="340" y="501"/>
                    <a:pt x="341" y="501"/>
                    <a:pt x="342" y="501"/>
                  </a:cubicBezTo>
                  <a:cubicBezTo>
                    <a:pt x="342" y="501"/>
                    <a:pt x="343" y="501"/>
                    <a:pt x="343" y="501"/>
                  </a:cubicBezTo>
                  <a:cubicBezTo>
                    <a:pt x="345" y="502"/>
                    <a:pt x="346" y="502"/>
                    <a:pt x="347" y="502"/>
                  </a:cubicBezTo>
                  <a:cubicBezTo>
                    <a:pt x="346" y="502"/>
                    <a:pt x="345" y="501"/>
                    <a:pt x="344" y="501"/>
                  </a:cubicBezTo>
                  <a:cubicBezTo>
                    <a:pt x="344" y="501"/>
                    <a:pt x="343" y="500"/>
                    <a:pt x="342" y="500"/>
                  </a:cubicBezTo>
                  <a:cubicBezTo>
                    <a:pt x="342" y="500"/>
                    <a:pt x="342" y="500"/>
                    <a:pt x="341" y="500"/>
                  </a:cubicBezTo>
                  <a:cubicBezTo>
                    <a:pt x="341" y="500"/>
                    <a:pt x="340" y="500"/>
                    <a:pt x="340" y="500"/>
                  </a:cubicBezTo>
                  <a:moveTo>
                    <a:pt x="376" y="507"/>
                  </a:moveTo>
                  <a:cubicBezTo>
                    <a:pt x="376" y="507"/>
                    <a:pt x="375" y="507"/>
                    <a:pt x="375" y="507"/>
                  </a:cubicBezTo>
                  <a:cubicBezTo>
                    <a:pt x="379" y="508"/>
                    <a:pt x="384" y="509"/>
                    <a:pt x="389" y="510"/>
                  </a:cubicBezTo>
                  <a:cubicBezTo>
                    <a:pt x="390" y="510"/>
                    <a:pt x="391" y="509"/>
                    <a:pt x="391" y="509"/>
                  </a:cubicBezTo>
                  <a:cubicBezTo>
                    <a:pt x="386" y="508"/>
                    <a:pt x="381" y="508"/>
                    <a:pt x="376" y="507"/>
                  </a:cubicBezTo>
                  <a:moveTo>
                    <a:pt x="393" y="509"/>
                  </a:moveTo>
                  <a:cubicBezTo>
                    <a:pt x="392" y="510"/>
                    <a:pt x="392" y="510"/>
                    <a:pt x="391" y="510"/>
                  </a:cubicBezTo>
                  <a:cubicBezTo>
                    <a:pt x="393" y="510"/>
                    <a:pt x="395" y="511"/>
                    <a:pt x="397" y="511"/>
                  </a:cubicBezTo>
                  <a:cubicBezTo>
                    <a:pt x="396" y="511"/>
                    <a:pt x="396" y="510"/>
                    <a:pt x="395" y="510"/>
                  </a:cubicBezTo>
                  <a:cubicBezTo>
                    <a:pt x="395" y="510"/>
                    <a:pt x="394" y="510"/>
                    <a:pt x="393" y="509"/>
                  </a:cubicBezTo>
                  <a:moveTo>
                    <a:pt x="368" y="509"/>
                  </a:moveTo>
                  <a:cubicBezTo>
                    <a:pt x="368" y="510"/>
                    <a:pt x="368" y="510"/>
                    <a:pt x="367" y="510"/>
                  </a:cubicBezTo>
                  <a:cubicBezTo>
                    <a:pt x="368" y="510"/>
                    <a:pt x="368" y="510"/>
                    <a:pt x="368" y="511"/>
                  </a:cubicBezTo>
                  <a:cubicBezTo>
                    <a:pt x="370" y="512"/>
                    <a:pt x="371" y="513"/>
                    <a:pt x="373" y="514"/>
                  </a:cubicBezTo>
                  <a:cubicBezTo>
                    <a:pt x="374" y="515"/>
                    <a:pt x="375" y="515"/>
                    <a:pt x="376" y="516"/>
                  </a:cubicBezTo>
                  <a:cubicBezTo>
                    <a:pt x="376" y="516"/>
                    <a:pt x="376" y="516"/>
                    <a:pt x="376" y="515"/>
                  </a:cubicBezTo>
                  <a:cubicBezTo>
                    <a:pt x="374" y="514"/>
                    <a:pt x="371" y="512"/>
                    <a:pt x="368" y="509"/>
                  </a:cubicBezTo>
                  <a:moveTo>
                    <a:pt x="397" y="510"/>
                  </a:moveTo>
                  <a:cubicBezTo>
                    <a:pt x="398" y="510"/>
                    <a:pt x="398" y="511"/>
                    <a:pt x="399" y="511"/>
                  </a:cubicBezTo>
                  <a:cubicBezTo>
                    <a:pt x="401" y="512"/>
                    <a:pt x="402" y="512"/>
                    <a:pt x="404" y="512"/>
                  </a:cubicBezTo>
                  <a:cubicBezTo>
                    <a:pt x="405" y="512"/>
                    <a:pt x="406" y="512"/>
                    <a:pt x="406" y="512"/>
                  </a:cubicBezTo>
                  <a:cubicBezTo>
                    <a:pt x="407" y="512"/>
                    <a:pt x="407" y="512"/>
                    <a:pt x="408" y="513"/>
                  </a:cubicBezTo>
                  <a:cubicBezTo>
                    <a:pt x="409" y="512"/>
                    <a:pt x="409" y="512"/>
                    <a:pt x="410" y="512"/>
                  </a:cubicBezTo>
                  <a:cubicBezTo>
                    <a:pt x="409" y="512"/>
                    <a:pt x="409" y="512"/>
                    <a:pt x="408" y="512"/>
                  </a:cubicBezTo>
                  <a:cubicBezTo>
                    <a:pt x="407" y="511"/>
                    <a:pt x="407" y="511"/>
                    <a:pt x="406" y="511"/>
                  </a:cubicBezTo>
                  <a:cubicBezTo>
                    <a:pt x="403" y="511"/>
                    <a:pt x="400" y="510"/>
                    <a:pt x="397" y="510"/>
                  </a:cubicBezTo>
                  <a:moveTo>
                    <a:pt x="670" y="512"/>
                  </a:moveTo>
                  <a:cubicBezTo>
                    <a:pt x="648" y="515"/>
                    <a:pt x="623" y="517"/>
                    <a:pt x="596" y="519"/>
                  </a:cubicBezTo>
                  <a:cubicBezTo>
                    <a:pt x="597" y="519"/>
                    <a:pt x="597" y="520"/>
                    <a:pt x="597" y="520"/>
                  </a:cubicBezTo>
                  <a:cubicBezTo>
                    <a:pt x="624" y="518"/>
                    <a:pt x="649" y="516"/>
                    <a:pt x="671" y="513"/>
                  </a:cubicBezTo>
                  <a:cubicBezTo>
                    <a:pt x="671" y="513"/>
                    <a:pt x="671" y="512"/>
                    <a:pt x="670" y="512"/>
                  </a:cubicBezTo>
                  <a:moveTo>
                    <a:pt x="413" y="512"/>
                  </a:moveTo>
                  <a:cubicBezTo>
                    <a:pt x="412" y="512"/>
                    <a:pt x="412" y="513"/>
                    <a:pt x="411" y="513"/>
                  </a:cubicBezTo>
                  <a:cubicBezTo>
                    <a:pt x="418" y="514"/>
                    <a:pt x="425" y="515"/>
                    <a:pt x="432" y="515"/>
                  </a:cubicBezTo>
                  <a:cubicBezTo>
                    <a:pt x="432" y="515"/>
                    <a:pt x="433" y="515"/>
                    <a:pt x="434" y="515"/>
                  </a:cubicBezTo>
                  <a:cubicBezTo>
                    <a:pt x="427" y="514"/>
                    <a:pt x="420" y="513"/>
                    <a:pt x="413" y="512"/>
                  </a:cubicBezTo>
                  <a:moveTo>
                    <a:pt x="436" y="515"/>
                  </a:moveTo>
                  <a:cubicBezTo>
                    <a:pt x="435" y="515"/>
                    <a:pt x="434" y="515"/>
                    <a:pt x="434" y="516"/>
                  </a:cubicBezTo>
                  <a:cubicBezTo>
                    <a:pt x="436" y="516"/>
                    <a:pt x="438" y="516"/>
                    <a:pt x="441" y="516"/>
                  </a:cubicBezTo>
                  <a:cubicBezTo>
                    <a:pt x="441" y="517"/>
                    <a:pt x="442" y="517"/>
                    <a:pt x="443" y="517"/>
                  </a:cubicBezTo>
                  <a:cubicBezTo>
                    <a:pt x="443" y="517"/>
                    <a:pt x="443" y="517"/>
                    <a:pt x="443" y="517"/>
                  </a:cubicBezTo>
                  <a:cubicBezTo>
                    <a:pt x="444" y="516"/>
                    <a:pt x="445" y="516"/>
                    <a:pt x="446" y="516"/>
                  </a:cubicBezTo>
                  <a:cubicBezTo>
                    <a:pt x="445" y="516"/>
                    <a:pt x="445" y="516"/>
                    <a:pt x="444" y="516"/>
                  </a:cubicBezTo>
                  <a:cubicBezTo>
                    <a:pt x="444" y="516"/>
                    <a:pt x="443" y="516"/>
                    <a:pt x="442" y="516"/>
                  </a:cubicBezTo>
                  <a:cubicBezTo>
                    <a:pt x="440" y="515"/>
                    <a:pt x="438" y="515"/>
                    <a:pt x="436" y="515"/>
                  </a:cubicBezTo>
                  <a:moveTo>
                    <a:pt x="377" y="516"/>
                  </a:moveTo>
                  <a:cubicBezTo>
                    <a:pt x="377" y="516"/>
                    <a:pt x="377" y="516"/>
                    <a:pt x="377" y="516"/>
                  </a:cubicBezTo>
                  <a:cubicBezTo>
                    <a:pt x="377" y="516"/>
                    <a:pt x="377" y="516"/>
                    <a:pt x="377" y="516"/>
                  </a:cubicBezTo>
                  <a:cubicBezTo>
                    <a:pt x="377" y="516"/>
                    <a:pt x="377" y="516"/>
                    <a:pt x="377" y="516"/>
                  </a:cubicBezTo>
                  <a:moveTo>
                    <a:pt x="448" y="516"/>
                  </a:moveTo>
                  <a:cubicBezTo>
                    <a:pt x="448" y="516"/>
                    <a:pt x="447" y="517"/>
                    <a:pt x="446" y="517"/>
                  </a:cubicBezTo>
                  <a:cubicBezTo>
                    <a:pt x="447" y="517"/>
                    <a:pt x="449" y="517"/>
                    <a:pt x="450" y="517"/>
                  </a:cubicBezTo>
                  <a:cubicBezTo>
                    <a:pt x="450" y="517"/>
                    <a:pt x="450" y="517"/>
                    <a:pt x="450" y="517"/>
                  </a:cubicBezTo>
                  <a:cubicBezTo>
                    <a:pt x="451" y="517"/>
                    <a:pt x="452" y="517"/>
                    <a:pt x="452" y="517"/>
                  </a:cubicBezTo>
                  <a:cubicBezTo>
                    <a:pt x="451" y="516"/>
                    <a:pt x="450" y="516"/>
                    <a:pt x="448" y="516"/>
                  </a:cubicBezTo>
                  <a:moveTo>
                    <a:pt x="454" y="517"/>
                  </a:moveTo>
                  <a:cubicBezTo>
                    <a:pt x="454" y="517"/>
                    <a:pt x="453" y="517"/>
                    <a:pt x="452" y="518"/>
                  </a:cubicBezTo>
                  <a:cubicBezTo>
                    <a:pt x="453" y="518"/>
                    <a:pt x="453" y="518"/>
                    <a:pt x="454" y="518"/>
                  </a:cubicBezTo>
                  <a:cubicBezTo>
                    <a:pt x="454" y="518"/>
                    <a:pt x="455" y="518"/>
                    <a:pt x="456" y="518"/>
                  </a:cubicBezTo>
                  <a:cubicBezTo>
                    <a:pt x="456" y="518"/>
                    <a:pt x="457" y="518"/>
                    <a:pt x="457" y="518"/>
                  </a:cubicBezTo>
                  <a:cubicBezTo>
                    <a:pt x="457" y="518"/>
                    <a:pt x="457" y="518"/>
                    <a:pt x="457" y="518"/>
                  </a:cubicBezTo>
                  <a:cubicBezTo>
                    <a:pt x="458" y="518"/>
                    <a:pt x="458" y="518"/>
                    <a:pt x="458" y="518"/>
                  </a:cubicBezTo>
                  <a:cubicBezTo>
                    <a:pt x="459" y="518"/>
                    <a:pt x="460" y="518"/>
                    <a:pt x="460" y="518"/>
                  </a:cubicBezTo>
                  <a:cubicBezTo>
                    <a:pt x="460" y="518"/>
                    <a:pt x="460" y="518"/>
                    <a:pt x="459" y="517"/>
                  </a:cubicBezTo>
                  <a:cubicBezTo>
                    <a:pt x="459" y="517"/>
                    <a:pt x="459" y="517"/>
                    <a:pt x="458" y="517"/>
                  </a:cubicBezTo>
                  <a:cubicBezTo>
                    <a:pt x="458" y="517"/>
                    <a:pt x="457" y="517"/>
                    <a:pt x="457" y="517"/>
                  </a:cubicBezTo>
                  <a:cubicBezTo>
                    <a:pt x="456" y="517"/>
                    <a:pt x="456" y="517"/>
                    <a:pt x="455" y="517"/>
                  </a:cubicBezTo>
                  <a:cubicBezTo>
                    <a:pt x="455" y="517"/>
                    <a:pt x="455" y="517"/>
                    <a:pt x="454" y="517"/>
                  </a:cubicBezTo>
                  <a:moveTo>
                    <a:pt x="377" y="517"/>
                  </a:moveTo>
                  <a:cubicBezTo>
                    <a:pt x="379" y="519"/>
                    <a:pt x="381" y="520"/>
                    <a:pt x="382" y="521"/>
                  </a:cubicBezTo>
                  <a:cubicBezTo>
                    <a:pt x="382" y="521"/>
                    <a:pt x="383" y="521"/>
                    <a:pt x="383" y="521"/>
                  </a:cubicBezTo>
                  <a:cubicBezTo>
                    <a:pt x="382" y="520"/>
                    <a:pt x="382" y="520"/>
                    <a:pt x="381" y="519"/>
                  </a:cubicBezTo>
                  <a:cubicBezTo>
                    <a:pt x="379" y="518"/>
                    <a:pt x="378" y="518"/>
                    <a:pt x="377" y="517"/>
                  </a:cubicBezTo>
                  <a:moveTo>
                    <a:pt x="461" y="517"/>
                  </a:moveTo>
                  <a:cubicBezTo>
                    <a:pt x="461" y="518"/>
                    <a:pt x="461" y="518"/>
                    <a:pt x="462" y="518"/>
                  </a:cubicBezTo>
                  <a:cubicBezTo>
                    <a:pt x="463" y="518"/>
                    <a:pt x="465" y="519"/>
                    <a:pt x="466" y="519"/>
                  </a:cubicBezTo>
                  <a:cubicBezTo>
                    <a:pt x="467" y="518"/>
                    <a:pt x="468" y="518"/>
                    <a:pt x="468" y="518"/>
                  </a:cubicBezTo>
                  <a:cubicBezTo>
                    <a:pt x="466" y="518"/>
                    <a:pt x="464" y="518"/>
                    <a:pt x="462" y="517"/>
                  </a:cubicBezTo>
                  <a:cubicBezTo>
                    <a:pt x="462" y="517"/>
                    <a:pt x="461" y="517"/>
                    <a:pt x="461" y="517"/>
                  </a:cubicBezTo>
                  <a:cubicBezTo>
                    <a:pt x="461" y="517"/>
                    <a:pt x="461" y="517"/>
                    <a:pt x="461" y="517"/>
                  </a:cubicBezTo>
                  <a:moveTo>
                    <a:pt x="471" y="518"/>
                  </a:moveTo>
                  <a:cubicBezTo>
                    <a:pt x="470" y="518"/>
                    <a:pt x="469" y="519"/>
                    <a:pt x="468" y="519"/>
                  </a:cubicBezTo>
                  <a:cubicBezTo>
                    <a:pt x="469" y="519"/>
                    <a:pt x="469" y="519"/>
                    <a:pt x="469" y="519"/>
                  </a:cubicBezTo>
                  <a:cubicBezTo>
                    <a:pt x="470" y="519"/>
                    <a:pt x="470" y="519"/>
                    <a:pt x="471" y="519"/>
                  </a:cubicBezTo>
                  <a:cubicBezTo>
                    <a:pt x="473" y="519"/>
                    <a:pt x="476" y="519"/>
                    <a:pt x="478" y="520"/>
                  </a:cubicBezTo>
                  <a:cubicBezTo>
                    <a:pt x="479" y="519"/>
                    <a:pt x="480" y="519"/>
                    <a:pt x="481" y="519"/>
                  </a:cubicBezTo>
                  <a:cubicBezTo>
                    <a:pt x="478" y="519"/>
                    <a:pt x="474" y="518"/>
                    <a:pt x="471" y="518"/>
                  </a:cubicBezTo>
                  <a:cubicBezTo>
                    <a:pt x="471" y="518"/>
                    <a:pt x="471" y="518"/>
                    <a:pt x="471" y="518"/>
                  </a:cubicBezTo>
                  <a:moveTo>
                    <a:pt x="484" y="519"/>
                  </a:moveTo>
                  <a:cubicBezTo>
                    <a:pt x="483" y="519"/>
                    <a:pt x="482" y="519"/>
                    <a:pt x="481" y="520"/>
                  </a:cubicBezTo>
                  <a:cubicBezTo>
                    <a:pt x="482" y="520"/>
                    <a:pt x="482" y="520"/>
                    <a:pt x="482" y="520"/>
                  </a:cubicBezTo>
                  <a:cubicBezTo>
                    <a:pt x="483" y="520"/>
                    <a:pt x="483" y="520"/>
                    <a:pt x="484" y="520"/>
                  </a:cubicBezTo>
                  <a:cubicBezTo>
                    <a:pt x="484" y="520"/>
                    <a:pt x="484" y="520"/>
                    <a:pt x="484" y="520"/>
                  </a:cubicBezTo>
                  <a:cubicBezTo>
                    <a:pt x="485" y="520"/>
                    <a:pt x="486" y="519"/>
                    <a:pt x="486" y="519"/>
                  </a:cubicBezTo>
                  <a:cubicBezTo>
                    <a:pt x="486" y="519"/>
                    <a:pt x="485" y="519"/>
                    <a:pt x="484" y="519"/>
                  </a:cubicBezTo>
                  <a:moveTo>
                    <a:pt x="595" y="519"/>
                  </a:moveTo>
                  <a:cubicBezTo>
                    <a:pt x="577" y="520"/>
                    <a:pt x="559" y="521"/>
                    <a:pt x="540" y="521"/>
                  </a:cubicBezTo>
                  <a:cubicBezTo>
                    <a:pt x="537" y="521"/>
                    <a:pt x="533" y="521"/>
                    <a:pt x="529" y="520"/>
                  </a:cubicBezTo>
                  <a:cubicBezTo>
                    <a:pt x="529" y="521"/>
                    <a:pt x="529" y="521"/>
                    <a:pt x="530" y="521"/>
                  </a:cubicBezTo>
                  <a:cubicBezTo>
                    <a:pt x="533" y="521"/>
                    <a:pt x="537" y="522"/>
                    <a:pt x="540" y="522"/>
                  </a:cubicBezTo>
                  <a:cubicBezTo>
                    <a:pt x="560" y="522"/>
                    <a:pt x="578" y="521"/>
                    <a:pt x="596" y="520"/>
                  </a:cubicBezTo>
                  <a:cubicBezTo>
                    <a:pt x="596" y="520"/>
                    <a:pt x="595" y="519"/>
                    <a:pt x="595" y="519"/>
                  </a:cubicBezTo>
                  <a:moveTo>
                    <a:pt x="489" y="519"/>
                  </a:moveTo>
                  <a:cubicBezTo>
                    <a:pt x="488" y="519"/>
                    <a:pt x="487" y="520"/>
                    <a:pt x="487" y="520"/>
                  </a:cubicBezTo>
                  <a:cubicBezTo>
                    <a:pt x="488" y="520"/>
                    <a:pt x="490" y="520"/>
                    <a:pt x="491" y="520"/>
                  </a:cubicBezTo>
                  <a:cubicBezTo>
                    <a:pt x="492" y="520"/>
                    <a:pt x="492" y="520"/>
                    <a:pt x="492" y="520"/>
                  </a:cubicBezTo>
                  <a:cubicBezTo>
                    <a:pt x="494" y="520"/>
                    <a:pt x="495" y="520"/>
                    <a:pt x="497" y="521"/>
                  </a:cubicBezTo>
                  <a:cubicBezTo>
                    <a:pt x="497" y="521"/>
                    <a:pt x="497" y="521"/>
                    <a:pt x="498" y="521"/>
                  </a:cubicBezTo>
                  <a:cubicBezTo>
                    <a:pt x="498" y="521"/>
                    <a:pt x="499" y="521"/>
                    <a:pt x="499" y="521"/>
                  </a:cubicBezTo>
                  <a:cubicBezTo>
                    <a:pt x="500" y="520"/>
                    <a:pt x="501" y="520"/>
                    <a:pt x="501" y="520"/>
                  </a:cubicBezTo>
                  <a:cubicBezTo>
                    <a:pt x="500" y="520"/>
                    <a:pt x="499" y="520"/>
                    <a:pt x="498" y="520"/>
                  </a:cubicBezTo>
                  <a:cubicBezTo>
                    <a:pt x="498" y="520"/>
                    <a:pt x="497" y="520"/>
                    <a:pt x="497" y="520"/>
                  </a:cubicBezTo>
                  <a:cubicBezTo>
                    <a:pt x="495" y="520"/>
                    <a:pt x="494" y="519"/>
                    <a:pt x="492" y="519"/>
                  </a:cubicBezTo>
                  <a:cubicBezTo>
                    <a:pt x="492" y="519"/>
                    <a:pt x="492" y="519"/>
                    <a:pt x="491" y="519"/>
                  </a:cubicBezTo>
                  <a:cubicBezTo>
                    <a:pt x="491" y="519"/>
                    <a:pt x="490" y="519"/>
                    <a:pt x="489" y="519"/>
                  </a:cubicBezTo>
                  <a:moveTo>
                    <a:pt x="504" y="520"/>
                  </a:moveTo>
                  <a:cubicBezTo>
                    <a:pt x="503" y="520"/>
                    <a:pt x="502" y="520"/>
                    <a:pt x="502" y="521"/>
                  </a:cubicBezTo>
                  <a:cubicBezTo>
                    <a:pt x="505" y="521"/>
                    <a:pt x="508" y="521"/>
                    <a:pt x="511" y="521"/>
                  </a:cubicBezTo>
                  <a:cubicBezTo>
                    <a:pt x="512" y="521"/>
                    <a:pt x="513" y="520"/>
                    <a:pt x="514" y="520"/>
                  </a:cubicBezTo>
                  <a:cubicBezTo>
                    <a:pt x="511" y="520"/>
                    <a:pt x="507" y="520"/>
                    <a:pt x="504" y="520"/>
                  </a:cubicBezTo>
                  <a:moveTo>
                    <a:pt x="519" y="520"/>
                  </a:moveTo>
                  <a:cubicBezTo>
                    <a:pt x="518" y="521"/>
                    <a:pt x="517" y="521"/>
                    <a:pt x="516" y="521"/>
                  </a:cubicBezTo>
                  <a:cubicBezTo>
                    <a:pt x="517" y="521"/>
                    <a:pt x="519" y="521"/>
                    <a:pt x="520" y="521"/>
                  </a:cubicBezTo>
                  <a:cubicBezTo>
                    <a:pt x="521" y="521"/>
                    <a:pt x="522" y="521"/>
                    <a:pt x="523" y="520"/>
                  </a:cubicBezTo>
                  <a:cubicBezTo>
                    <a:pt x="522" y="520"/>
                    <a:pt x="520" y="520"/>
                    <a:pt x="519" y="520"/>
                  </a:cubicBezTo>
                  <a:moveTo>
                    <a:pt x="526" y="520"/>
                  </a:moveTo>
                  <a:cubicBezTo>
                    <a:pt x="525" y="521"/>
                    <a:pt x="524" y="521"/>
                    <a:pt x="523" y="521"/>
                  </a:cubicBezTo>
                  <a:cubicBezTo>
                    <a:pt x="525" y="521"/>
                    <a:pt x="527" y="521"/>
                    <a:pt x="528" y="521"/>
                  </a:cubicBezTo>
                  <a:cubicBezTo>
                    <a:pt x="528" y="521"/>
                    <a:pt x="527" y="521"/>
                    <a:pt x="527" y="520"/>
                  </a:cubicBezTo>
                  <a:cubicBezTo>
                    <a:pt x="527" y="520"/>
                    <a:pt x="526" y="520"/>
                    <a:pt x="526" y="520"/>
                  </a:cubicBezTo>
                  <a:moveTo>
                    <a:pt x="384" y="522"/>
                  </a:moveTo>
                  <a:cubicBezTo>
                    <a:pt x="384" y="522"/>
                    <a:pt x="383" y="522"/>
                    <a:pt x="383" y="522"/>
                  </a:cubicBezTo>
                  <a:cubicBezTo>
                    <a:pt x="383" y="522"/>
                    <a:pt x="383" y="523"/>
                    <a:pt x="383" y="523"/>
                  </a:cubicBezTo>
                  <a:cubicBezTo>
                    <a:pt x="384" y="523"/>
                    <a:pt x="384" y="523"/>
                    <a:pt x="384" y="523"/>
                  </a:cubicBezTo>
                  <a:cubicBezTo>
                    <a:pt x="385" y="523"/>
                    <a:pt x="385" y="523"/>
                    <a:pt x="385" y="523"/>
                  </a:cubicBezTo>
                  <a:cubicBezTo>
                    <a:pt x="385" y="523"/>
                    <a:pt x="385" y="523"/>
                    <a:pt x="384" y="522"/>
                  </a:cubicBezTo>
                  <a:cubicBezTo>
                    <a:pt x="384" y="522"/>
                    <a:pt x="384" y="522"/>
                    <a:pt x="384" y="522"/>
                  </a:cubicBezTo>
                  <a:moveTo>
                    <a:pt x="386" y="524"/>
                  </a:moveTo>
                  <a:cubicBezTo>
                    <a:pt x="386" y="524"/>
                    <a:pt x="385" y="524"/>
                    <a:pt x="385" y="524"/>
                  </a:cubicBezTo>
                  <a:cubicBezTo>
                    <a:pt x="387" y="526"/>
                    <a:pt x="388" y="528"/>
                    <a:pt x="389" y="529"/>
                  </a:cubicBezTo>
                  <a:cubicBezTo>
                    <a:pt x="390" y="529"/>
                    <a:pt x="391" y="530"/>
                    <a:pt x="391" y="530"/>
                  </a:cubicBezTo>
                  <a:cubicBezTo>
                    <a:pt x="390" y="528"/>
                    <a:pt x="388" y="526"/>
                    <a:pt x="386" y="524"/>
                  </a:cubicBezTo>
                  <a:moveTo>
                    <a:pt x="237" y="531"/>
                  </a:moveTo>
                  <a:cubicBezTo>
                    <a:pt x="237" y="531"/>
                    <a:pt x="237" y="531"/>
                    <a:pt x="237" y="532"/>
                  </a:cubicBezTo>
                  <a:cubicBezTo>
                    <a:pt x="240" y="532"/>
                    <a:pt x="243" y="533"/>
                    <a:pt x="245" y="533"/>
                  </a:cubicBezTo>
                  <a:cubicBezTo>
                    <a:pt x="246" y="533"/>
                    <a:pt x="246" y="533"/>
                    <a:pt x="246" y="533"/>
                  </a:cubicBezTo>
                  <a:cubicBezTo>
                    <a:pt x="243" y="532"/>
                    <a:pt x="240" y="531"/>
                    <a:pt x="237" y="531"/>
                  </a:cubicBezTo>
                  <a:moveTo>
                    <a:pt x="391" y="531"/>
                  </a:moveTo>
                  <a:cubicBezTo>
                    <a:pt x="391" y="531"/>
                    <a:pt x="391" y="532"/>
                    <a:pt x="391" y="532"/>
                  </a:cubicBezTo>
                  <a:cubicBezTo>
                    <a:pt x="392" y="532"/>
                    <a:pt x="392" y="532"/>
                    <a:pt x="392" y="532"/>
                  </a:cubicBezTo>
                  <a:cubicBezTo>
                    <a:pt x="392" y="532"/>
                    <a:pt x="392" y="532"/>
                    <a:pt x="392" y="531"/>
                  </a:cubicBezTo>
                  <a:cubicBezTo>
                    <a:pt x="391" y="531"/>
                    <a:pt x="391" y="531"/>
                    <a:pt x="391" y="531"/>
                  </a:cubicBezTo>
                  <a:moveTo>
                    <a:pt x="247" y="533"/>
                  </a:moveTo>
                  <a:cubicBezTo>
                    <a:pt x="247" y="533"/>
                    <a:pt x="247" y="533"/>
                    <a:pt x="246" y="534"/>
                  </a:cubicBezTo>
                  <a:cubicBezTo>
                    <a:pt x="249" y="534"/>
                    <a:pt x="251" y="535"/>
                    <a:pt x="254" y="535"/>
                  </a:cubicBezTo>
                  <a:cubicBezTo>
                    <a:pt x="253" y="535"/>
                    <a:pt x="253" y="534"/>
                    <a:pt x="252" y="534"/>
                  </a:cubicBezTo>
                  <a:cubicBezTo>
                    <a:pt x="250" y="533"/>
                    <a:pt x="249" y="533"/>
                    <a:pt x="247" y="533"/>
                  </a:cubicBezTo>
                  <a:moveTo>
                    <a:pt x="393" y="533"/>
                  </a:moveTo>
                  <a:cubicBezTo>
                    <a:pt x="392" y="533"/>
                    <a:pt x="392" y="533"/>
                    <a:pt x="392" y="533"/>
                  </a:cubicBezTo>
                  <a:cubicBezTo>
                    <a:pt x="392" y="533"/>
                    <a:pt x="392" y="533"/>
                    <a:pt x="392" y="533"/>
                  </a:cubicBezTo>
                  <a:cubicBezTo>
                    <a:pt x="392" y="534"/>
                    <a:pt x="392" y="534"/>
                    <a:pt x="392" y="535"/>
                  </a:cubicBezTo>
                  <a:cubicBezTo>
                    <a:pt x="393" y="534"/>
                    <a:pt x="393" y="534"/>
                    <a:pt x="393" y="534"/>
                  </a:cubicBezTo>
                  <a:cubicBezTo>
                    <a:pt x="393" y="534"/>
                    <a:pt x="393" y="533"/>
                    <a:pt x="393" y="533"/>
                  </a:cubicBezTo>
                  <a:moveTo>
                    <a:pt x="254" y="534"/>
                  </a:moveTo>
                  <a:cubicBezTo>
                    <a:pt x="255" y="535"/>
                    <a:pt x="255" y="535"/>
                    <a:pt x="256" y="536"/>
                  </a:cubicBezTo>
                  <a:cubicBezTo>
                    <a:pt x="259" y="536"/>
                    <a:pt x="263" y="537"/>
                    <a:pt x="267" y="538"/>
                  </a:cubicBezTo>
                  <a:cubicBezTo>
                    <a:pt x="267" y="537"/>
                    <a:pt x="267" y="537"/>
                    <a:pt x="268" y="537"/>
                  </a:cubicBezTo>
                  <a:cubicBezTo>
                    <a:pt x="263" y="536"/>
                    <a:pt x="258" y="535"/>
                    <a:pt x="254" y="534"/>
                  </a:cubicBezTo>
                  <a:moveTo>
                    <a:pt x="394" y="535"/>
                  </a:moveTo>
                  <a:cubicBezTo>
                    <a:pt x="393" y="535"/>
                    <a:pt x="393" y="536"/>
                    <a:pt x="393" y="536"/>
                  </a:cubicBezTo>
                  <a:cubicBezTo>
                    <a:pt x="393" y="536"/>
                    <a:pt x="393" y="536"/>
                    <a:pt x="393" y="536"/>
                  </a:cubicBezTo>
                  <a:cubicBezTo>
                    <a:pt x="393" y="537"/>
                    <a:pt x="393" y="537"/>
                    <a:pt x="394" y="537"/>
                  </a:cubicBezTo>
                  <a:cubicBezTo>
                    <a:pt x="394" y="537"/>
                    <a:pt x="394" y="537"/>
                    <a:pt x="394" y="536"/>
                  </a:cubicBezTo>
                  <a:cubicBezTo>
                    <a:pt x="394" y="536"/>
                    <a:pt x="394" y="536"/>
                    <a:pt x="394" y="535"/>
                  </a:cubicBezTo>
                  <a:moveTo>
                    <a:pt x="269" y="537"/>
                  </a:moveTo>
                  <a:cubicBezTo>
                    <a:pt x="268" y="537"/>
                    <a:pt x="268" y="537"/>
                    <a:pt x="268" y="538"/>
                  </a:cubicBezTo>
                  <a:cubicBezTo>
                    <a:pt x="269" y="538"/>
                    <a:pt x="270" y="538"/>
                    <a:pt x="272" y="538"/>
                  </a:cubicBezTo>
                  <a:cubicBezTo>
                    <a:pt x="272" y="538"/>
                    <a:pt x="273" y="539"/>
                    <a:pt x="273" y="539"/>
                  </a:cubicBezTo>
                  <a:cubicBezTo>
                    <a:pt x="279" y="540"/>
                    <a:pt x="286" y="541"/>
                    <a:pt x="293" y="542"/>
                  </a:cubicBezTo>
                  <a:cubicBezTo>
                    <a:pt x="294" y="541"/>
                    <a:pt x="294" y="541"/>
                    <a:pt x="295" y="541"/>
                  </a:cubicBezTo>
                  <a:cubicBezTo>
                    <a:pt x="288" y="540"/>
                    <a:pt x="281" y="539"/>
                    <a:pt x="274" y="538"/>
                  </a:cubicBezTo>
                  <a:cubicBezTo>
                    <a:pt x="274" y="538"/>
                    <a:pt x="273" y="538"/>
                    <a:pt x="273" y="538"/>
                  </a:cubicBezTo>
                  <a:cubicBezTo>
                    <a:pt x="271" y="537"/>
                    <a:pt x="270" y="537"/>
                    <a:pt x="269" y="537"/>
                  </a:cubicBezTo>
                  <a:moveTo>
                    <a:pt x="393" y="538"/>
                  </a:moveTo>
                  <a:cubicBezTo>
                    <a:pt x="393" y="538"/>
                    <a:pt x="393" y="538"/>
                    <a:pt x="393" y="539"/>
                  </a:cubicBezTo>
                  <a:cubicBezTo>
                    <a:pt x="393" y="539"/>
                    <a:pt x="392" y="539"/>
                    <a:pt x="392" y="539"/>
                  </a:cubicBezTo>
                  <a:cubicBezTo>
                    <a:pt x="393" y="539"/>
                    <a:pt x="393" y="539"/>
                    <a:pt x="393" y="539"/>
                  </a:cubicBezTo>
                  <a:cubicBezTo>
                    <a:pt x="394" y="539"/>
                    <a:pt x="394" y="539"/>
                    <a:pt x="394" y="538"/>
                  </a:cubicBezTo>
                  <a:cubicBezTo>
                    <a:pt x="393" y="538"/>
                    <a:pt x="393" y="538"/>
                    <a:pt x="393" y="538"/>
                  </a:cubicBezTo>
                  <a:moveTo>
                    <a:pt x="393" y="540"/>
                  </a:moveTo>
                  <a:cubicBezTo>
                    <a:pt x="393" y="540"/>
                    <a:pt x="392" y="540"/>
                    <a:pt x="392" y="540"/>
                  </a:cubicBezTo>
                  <a:cubicBezTo>
                    <a:pt x="392" y="540"/>
                    <a:pt x="392" y="540"/>
                    <a:pt x="392" y="540"/>
                  </a:cubicBezTo>
                  <a:cubicBezTo>
                    <a:pt x="392" y="540"/>
                    <a:pt x="392" y="540"/>
                    <a:pt x="392" y="540"/>
                  </a:cubicBezTo>
                  <a:cubicBezTo>
                    <a:pt x="392" y="541"/>
                    <a:pt x="392" y="541"/>
                    <a:pt x="392" y="541"/>
                  </a:cubicBezTo>
                  <a:cubicBezTo>
                    <a:pt x="393" y="541"/>
                    <a:pt x="393" y="541"/>
                    <a:pt x="393" y="541"/>
                  </a:cubicBezTo>
                  <a:cubicBezTo>
                    <a:pt x="393" y="540"/>
                    <a:pt x="393" y="540"/>
                    <a:pt x="393" y="540"/>
                  </a:cubicBezTo>
                  <a:moveTo>
                    <a:pt x="391" y="541"/>
                  </a:moveTo>
                  <a:cubicBezTo>
                    <a:pt x="391" y="541"/>
                    <a:pt x="391" y="541"/>
                    <a:pt x="391" y="541"/>
                  </a:cubicBezTo>
                  <a:cubicBezTo>
                    <a:pt x="391" y="541"/>
                    <a:pt x="391" y="541"/>
                    <a:pt x="391" y="541"/>
                  </a:cubicBezTo>
                  <a:cubicBezTo>
                    <a:pt x="391" y="541"/>
                    <a:pt x="391" y="541"/>
                    <a:pt x="391" y="541"/>
                  </a:cubicBezTo>
                  <a:moveTo>
                    <a:pt x="297" y="541"/>
                  </a:moveTo>
                  <a:cubicBezTo>
                    <a:pt x="297" y="542"/>
                    <a:pt x="296" y="542"/>
                    <a:pt x="296" y="542"/>
                  </a:cubicBezTo>
                  <a:cubicBezTo>
                    <a:pt x="301" y="543"/>
                    <a:pt x="307" y="544"/>
                    <a:pt x="313" y="544"/>
                  </a:cubicBezTo>
                  <a:cubicBezTo>
                    <a:pt x="314" y="544"/>
                    <a:pt x="314" y="544"/>
                    <a:pt x="315" y="544"/>
                  </a:cubicBezTo>
                  <a:cubicBezTo>
                    <a:pt x="309" y="543"/>
                    <a:pt x="303" y="542"/>
                    <a:pt x="297" y="541"/>
                  </a:cubicBezTo>
                  <a:moveTo>
                    <a:pt x="391" y="543"/>
                  </a:moveTo>
                  <a:cubicBezTo>
                    <a:pt x="391" y="543"/>
                    <a:pt x="391" y="543"/>
                    <a:pt x="391" y="543"/>
                  </a:cubicBezTo>
                  <a:cubicBezTo>
                    <a:pt x="391" y="543"/>
                    <a:pt x="391" y="543"/>
                    <a:pt x="391" y="543"/>
                  </a:cubicBezTo>
                  <a:cubicBezTo>
                    <a:pt x="391" y="543"/>
                    <a:pt x="391" y="543"/>
                    <a:pt x="391" y="543"/>
                  </a:cubicBezTo>
                  <a:moveTo>
                    <a:pt x="388" y="544"/>
                  </a:moveTo>
                  <a:cubicBezTo>
                    <a:pt x="388" y="544"/>
                    <a:pt x="387" y="544"/>
                    <a:pt x="387" y="544"/>
                  </a:cubicBezTo>
                  <a:cubicBezTo>
                    <a:pt x="387" y="544"/>
                    <a:pt x="387" y="545"/>
                    <a:pt x="388" y="545"/>
                  </a:cubicBezTo>
                  <a:cubicBezTo>
                    <a:pt x="388" y="544"/>
                    <a:pt x="389" y="544"/>
                    <a:pt x="389" y="544"/>
                  </a:cubicBezTo>
                  <a:cubicBezTo>
                    <a:pt x="389" y="544"/>
                    <a:pt x="388" y="544"/>
                    <a:pt x="388" y="544"/>
                  </a:cubicBezTo>
                  <a:moveTo>
                    <a:pt x="317" y="544"/>
                  </a:moveTo>
                  <a:cubicBezTo>
                    <a:pt x="317" y="544"/>
                    <a:pt x="316" y="544"/>
                    <a:pt x="316" y="544"/>
                  </a:cubicBezTo>
                  <a:cubicBezTo>
                    <a:pt x="316" y="544"/>
                    <a:pt x="316" y="544"/>
                    <a:pt x="315" y="545"/>
                  </a:cubicBezTo>
                  <a:cubicBezTo>
                    <a:pt x="316" y="545"/>
                    <a:pt x="317" y="545"/>
                    <a:pt x="318" y="545"/>
                  </a:cubicBezTo>
                  <a:cubicBezTo>
                    <a:pt x="320" y="545"/>
                    <a:pt x="323" y="546"/>
                    <a:pt x="325" y="546"/>
                  </a:cubicBezTo>
                  <a:cubicBezTo>
                    <a:pt x="326" y="546"/>
                    <a:pt x="326" y="545"/>
                    <a:pt x="327" y="545"/>
                  </a:cubicBezTo>
                  <a:cubicBezTo>
                    <a:pt x="324" y="545"/>
                    <a:pt x="321" y="544"/>
                    <a:pt x="318" y="544"/>
                  </a:cubicBezTo>
                  <a:cubicBezTo>
                    <a:pt x="318" y="544"/>
                    <a:pt x="317" y="544"/>
                    <a:pt x="317" y="544"/>
                  </a:cubicBezTo>
                  <a:moveTo>
                    <a:pt x="385" y="545"/>
                  </a:moveTo>
                  <a:cubicBezTo>
                    <a:pt x="384" y="545"/>
                    <a:pt x="382" y="546"/>
                    <a:pt x="381" y="547"/>
                  </a:cubicBezTo>
                  <a:cubicBezTo>
                    <a:pt x="383" y="546"/>
                    <a:pt x="385" y="546"/>
                    <a:pt x="386" y="545"/>
                  </a:cubicBezTo>
                  <a:cubicBezTo>
                    <a:pt x="386" y="545"/>
                    <a:pt x="386" y="545"/>
                    <a:pt x="385" y="545"/>
                  </a:cubicBezTo>
                  <a:moveTo>
                    <a:pt x="329" y="545"/>
                  </a:moveTo>
                  <a:cubicBezTo>
                    <a:pt x="328" y="545"/>
                    <a:pt x="327" y="546"/>
                    <a:pt x="327" y="546"/>
                  </a:cubicBezTo>
                  <a:cubicBezTo>
                    <a:pt x="329" y="546"/>
                    <a:pt x="331" y="546"/>
                    <a:pt x="333" y="547"/>
                  </a:cubicBezTo>
                  <a:cubicBezTo>
                    <a:pt x="333" y="547"/>
                    <a:pt x="333" y="547"/>
                    <a:pt x="333" y="547"/>
                  </a:cubicBezTo>
                  <a:cubicBezTo>
                    <a:pt x="333" y="546"/>
                    <a:pt x="334" y="546"/>
                    <a:pt x="335" y="546"/>
                  </a:cubicBezTo>
                  <a:cubicBezTo>
                    <a:pt x="334" y="546"/>
                    <a:pt x="334" y="546"/>
                    <a:pt x="334" y="546"/>
                  </a:cubicBezTo>
                  <a:cubicBezTo>
                    <a:pt x="332" y="546"/>
                    <a:pt x="330" y="545"/>
                    <a:pt x="329" y="545"/>
                  </a:cubicBezTo>
                  <a:moveTo>
                    <a:pt x="381" y="546"/>
                  </a:moveTo>
                  <a:cubicBezTo>
                    <a:pt x="380" y="546"/>
                    <a:pt x="379" y="546"/>
                    <a:pt x="378" y="546"/>
                  </a:cubicBezTo>
                  <a:cubicBezTo>
                    <a:pt x="378" y="546"/>
                    <a:pt x="378" y="546"/>
                    <a:pt x="377" y="546"/>
                  </a:cubicBezTo>
                  <a:cubicBezTo>
                    <a:pt x="377" y="546"/>
                    <a:pt x="377" y="546"/>
                    <a:pt x="377" y="546"/>
                  </a:cubicBezTo>
                  <a:cubicBezTo>
                    <a:pt x="376" y="546"/>
                    <a:pt x="376" y="546"/>
                    <a:pt x="376" y="547"/>
                  </a:cubicBezTo>
                  <a:cubicBezTo>
                    <a:pt x="373" y="547"/>
                    <a:pt x="370" y="547"/>
                    <a:pt x="367" y="547"/>
                  </a:cubicBezTo>
                  <a:cubicBezTo>
                    <a:pt x="367" y="547"/>
                    <a:pt x="366" y="547"/>
                    <a:pt x="366" y="547"/>
                  </a:cubicBezTo>
                  <a:cubicBezTo>
                    <a:pt x="366" y="547"/>
                    <a:pt x="365" y="547"/>
                    <a:pt x="365" y="547"/>
                  </a:cubicBezTo>
                  <a:cubicBezTo>
                    <a:pt x="364" y="547"/>
                    <a:pt x="363" y="548"/>
                    <a:pt x="362" y="548"/>
                  </a:cubicBezTo>
                  <a:cubicBezTo>
                    <a:pt x="363" y="548"/>
                    <a:pt x="365" y="548"/>
                    <a:pt x="366" y="548"/>
                  </a:cubicBezTo>
                  <a:cubicBezTo>
                    <a:pt x="366" y="548"/>
                    <a:pt x="367" y="548"/>
                    <a:pt x="367" y="548"/>
                  </a:cubicBezTo>
                  <a:cubicBezTo>
                    <a:pt x="370" y="548"/>
                    <a:pt x="374" y="548"/>
                    <a:pt x="376" y="547"/>
                  </a:cubicBezTo>
                  <a:cubicBezTo>
                    <a:pt x="377" y="547"/>
                    <a:pt x="377" y="547"/>
                    <a:pt x="377" y="547"/>
                  </a:cubicBezTo>
                  <a:cubicBezTo>
                    <a:pt x="377" y="547"/>
                    <a:pt x="377" y="547"/>
                    <a:pt x="377" y="547"/>
                  </a:cubicBezTo>
                  <a:cubicBezTo>
                    <a:pt x="378" y="547"/>
                    <a:pt x="380" y="546"/>
                    <a:pt x="381" y="546"/>
                  </a:cubicBezTo>
                  <a:moveTo>
                    <a:pt x="337" y="546"/>
                  </a:moveTo>
                  <a:cubicBezTo>
                    <a:pt x="336" y="546"/>
                    <a:pt x="335" y="546"/>
                    <a:pt x="335" y="547"/>
                  </a:cubicBezTo>
                  <a:cubicBezTo>
                    <a:pt x="337" y="547"/>
                    <a:pt x="340" y="547"/>
                    <a:pt x="342" y="547"/>
                  </a:cubicBezTo>
                  <a:cubicBezTo>
                    <a:pt x="342" y="547"/>
                    <a:pt x="341" y="547"/>
                    <a:pt x="340" y="546"/>
                  </a:cubicBezTo>
                  <a:cubicBezTo>
                    <a:pt x="339" y="546"/>
                    <a:pt x="338" y="546"/>
                    <a:pt x="337" y="546"/>
                  </a:cubicBezTo>
                  <a:moveTo>
                    <a:pt x="343" y="546"/>
                  </a:moveTo>
                  <a:cubicBezTo>
                    <a:pt x="344" y="547"/>
                    <a:pt x="344" y="547"/>
                    <a:pt x="345" y="548"/>
                  </a:cubicBezTo>
                  <a:cubicBezTo>
                    <a:pt x="345" y="548"/>
                    <a:pt x="345" y="548"/>
                    <a:pt x="346" y="548"/>
                  </a:cubicBezTo>
                  <a:cubicBezTo>
                    <a:pt x="348" y="548"/>
                    <a:pt x="351" y="548"/>
                    <a:pt x="354" y="548"/>
                  </a:cubicBezTo>
                  <a:cubicBezTo>
                    <a:pt x="354" y="548"/>
                    <a:pt x="354" y="548"/>
                    <a:pt x="355" y="548"/>
                  </a:cubicBezTo>
                  <a:cubicBezTo>
                    <a:pt x="355" y="548"/>
                    <a:pt x="355" y="548"/>
                    <a:pt x="355" y="548"/>
                  </a:cubicBezTo>
                  <a:cubicBezTo>
                    <a:pt x="356" y="548"/>
                    <a:pt x="357" y="547"/>
                    <a:pt x="357" y="547"/>
                  </a:cubicBezTo>
                  <a:cubicBezTo>
                    <a:pt x="357" y="547"/>
                    <a:pt x="357" y="547"/>
                    <a:pt x="357" y="547"/>
                  </a:cubicBezTo>
                  <a:cubicBezTo>
                    <a:pt x="356" y="547"/>
                    <a:pt x="356" y="547"/>
                    <a:pt x="355" y="547"/>
                  </a:cubicBezTo>
                  <a:cubicBezTo>
                    <a:pt x="355" y="547"/>
                    <a:pt x="355" y="547"/>
                    <a:pt x="355" y="547"/>
                  </a:cubicBezTo>
                  <a:cubicBezTo>
                    <a:pt x="355" y="547"/>
                    <a:pt x="354" y="547"/>
                    <a:pt x="354" y="547"/>
                  </a:cubicBezTo>
                  <a:cubicBezTo>
                    <a:pt x="351" y="547"/>
                    <a:pt x="349" y="547"/>
                    <a:pt x="346" y="547"/>
                  </a:cubicBezTo>
                  <a:cubicBezTo>
                    <a:pt x="346" y="547"/>
                    <a:pt x="345" y="547"/>
                    <a:pt x="345" y="547"/>
                  </a:cubicBezTo>
                  <a:cubicBezTo>
                    <a:pt x="345" y="547"/>
                    <a:pt x="344" y="547"/>
                    <a:pt x="344" y="547"/>
                  </a:cubicBezTo>
                  <a:cubicBezTo>
                    <a:pt x="344" y="546"/>
                    <a:pt x="343" y="546"/>
                    <a:pt x="343" y="546"/>
                  </a:cubicBezTo>
                  <a:cubicBezTo>
                    <a:pt x="343" y="546"/>
                    <a:pt x="343" y="546"/>
                    <a:pt x="343" y="546"/>
                  </a:cubicBezTo>
                  <a:moveTo>
                    <a:pt x="360" y="547"/>
                  </a:moveTo>
                  <a:cubicBezTo>
                    <a:pt x="359" y="547"/>
                    <a:pt x="358" y="548"/>
                    <a:pt x="357" y="548"/>
                  </a:cubicBezTo>
                  <a:cubicBezTo>
                    <a:pt x="358" y="548"/>
                    <a:pt x="358" y="548"/>
                    <a:pt x="359" y="548"/>
                  </a:cubicBezTo>
                  <a:cubicBezTo>
                    <a:pt x="359" y="548"/>
                    <a:pt x="359" y="548"/>
                    <a:pt x="360" y="548"/>
                  </a:cubicBezTo>
                  <a:cubicBezTo>
                    <a:pt x="360" y="548"/>
                    <a:pt x="361" y="548"/>
                    <a:pt x="362" y="547"/>
                  </a:cubicBezTo>
                  <a:cubicBezTo>
                    <a:pt x="361" y="547"/>
                    <a:pt x="361" y="547"/>
                    <a:pt x="360" y="547"/>
                  </a:cubicBezTo>
                  <a:cubicBezTo>
                    <a:pt x="360" y="547"/>
                    <a:pt x="360" y="547"/>
                    <a:pt x="360" y="547"/>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46" name="Freeform 75"/>
            <p:cNvSpPr>
              <a:spLocks noEditPoints="1"/>
            </p:cNvSpPr>
            <p:nvPr userDrawn="1"/>
          </p:nvSpPr>
          <p:spPr bwMode="auto">
            <a:xfrm>
              <a:off x="1678" y="3986"/>
              <a:ext cx="2347" cy="1161"/>
            </a:xfrm>
            <a:custGeom>
              <a:avLst/>
              <a:gdLst>
                <a:gd name="T0" fmla="*/ 2147483646 w 1158"/>
                <a:gd name="T1" fmla="*/ 2147483646 h 573"/>
                <a:gd name="T2" fmla="*/ 2147483646 w 1158"/>
                <a:gd name="T3" fmla="*/ 2147483646 h 573"/>
                <a:gd name="T4" fmla="*/ 2147483646 w 1158"/>
                <a:gd name="T5" fmla="*/ 2147483646 h 573"/>
                <a:gd name="T6" fmla="*/ 2147483646 w 1158"/>
                <a:gd name="T7" fmla="*/ 2147483646 h 573"/>
                <a:gd name="T8" fmla="*/ 2147483646 w 1158"/>
                <a:gd name="T9" fmla="*/ 2147483646 h 573"/>
                <a:gd name="T10" fmla="*/ 2147483646 w 1158"/>
                <a:gd name="T11" fmla="*/ 2147483646 h 573"/>
                <a:gd name="T12" fmla="*/ 2147483646 w 1158"/>
                <a:gd name="T13" fmla="*/ 2147483646 h 573"/>
                <a:gd name="T14" fmla="*/ 2147483646 w 1158"/>
                <a:gd name="T15" fmla="*/ 2147483646 h 573"/>
                <a:gd name="T16" fmla="*/ 2147483646 w 1158"/>
                <a:gd name="T17" fmla="*/ 2147483646 h 573"/>
                <a:gd name="T18" fmla="*/ 2147483646 w 1158"/>
                <a:gd name="T19" fmla="*/ 2147483646 h 573"/>
                <a:gd name="T20" fmla="*/ 2147483646 w 1158"/>
                <a:gd name="T21" fmla="*/ 2147483646 h 573"/>
                <a:gd name="T22" fmla="*/ 2147483646 w 1158"/>
                <a:gd name="T23" fmla="*/ 2147483646 h 573"/>
                <a:gd name="T24" fmla="*/ 2147483646 w 1158"/>
                <a:gd name="T25" fmla="*/ 2147483646 h 573"/>
                <a:gd name="T26" fmla="*/ 2147483646 w 1158"/>
                <a:gd name="T27" fmla="*/ 2147483646 h 573"/>
                <a:gd name="T28" fmla="*/ 2147483646 w 1158"/>
                <a:gd name="T29" fmla="*/ 2147483646 h 573"/>
                <a:gd name="T30" fmla="*/ 2147483646 w 1158"/>
                <a:gd name="T31" fmla="*/ 2147483646 h 573"/>
                <a:gd name="T32" fmla="*/ 2147483646 w 1158"/>
                <a:gd name="T33" fmla="*/ 2147483646 h 573"/>
                <a:gd name="T34" fmla="*/ 2147483646 w 1158"/>
                <a:gd name="T35" fmla="*/ 2147483646 h 573"/>
                <a:gd name="T36" fmla="*/ 2147483646 w 1158"/>
                <a:gd name="T37" fmla="*/ 2147483646 h 573"/>
                <a:gd name="T38" fmla="*/ 2147483646 w 1158"/>
                <a:gd name="T39" fmla="*/ 2147483646 h 573"/>
                <a:gd name="T40" fmla="*/ 2147483646 w 1158"/>
                <a:gd name="T41" fmla="*/ 2147483646 h 573"/>
                <a:gd name="T42" fmla="*/ 2147483646 w 1158"/>
                <a:gd name="T43" fmla="*/ 2147483646 h 573"/>
                <a:gd name="T44" fmla="*/ 2147483646 w 1158"/>
                <a:gd name="T45" fmla="*/ 2147483646 h 573"/>
                <a:gd name="T46" fmla="*/ 2147483646 w 1158"/>
                <a:gd name="T47" fmla="*/ 2147483646 h 573"/>
                <a:gd name="T48" fmla="*/ 2147483646 w 1158"/>
                <a:gd name="T49" fmla="*/ 2147483646 h 573"/>
                <a:gd name="T50" fmla="*/ 2147483646 w 1158"/>
                <a:gd name="T51" fmla="*/ 2147483646 h 573"/>
                <a:gd name="T52" fmla="*/ 2147483646 w 1158"/>
                <a:gd name="T53" fmla="*/ 2147483646 h 573"/>
                <a:gd name="T54" fmla="*/ 2147483646 w 1158"/>
                <a:gd name="T55" fmla="*/ 2147483646 h 573"/>
                <a:gd name="T56" fmla="*/ 2147483646 w 1158"/>
                <a:gd name="T57" fmla="*/ 2147483646 h 573"/>
                <a:gd name="T58" fmla="*/ 2147483646 w 1158"/>
                <a:gd name="T59" fmla="*/ 2147483646 h 573"/>
                <a:gd name="T60" fmla="*/ 2147483646 w 1158"/>
                <a:gd name="T61" fmla="*/ 2147483646 h 573"/>
                <a:gd name="T62" fmla="*/ 2147483646 w 1158"/>
                <a:gd name="T63" fmla="*/ 2147483646 h 573"/>
                <a:gd name="T64" fmla="*/ 2147483646 w 1158"/>
                <a:gd name="T65" fmla="*/ 2147483646 h 573"/>
                <a:gd name="T66" fmla="*/ 2147483646 w 1158"/>
                <a:gd name="T67" fmla="*/ 2147483646 h 573"/>
                <a:gd name="T68" fmla="*/ 2147483646 w 1158"/>
                <a:gd name="T69" fmla="*/ 2147483646 h 573"/>
                <a:gd name="T70" fmla="*/ 2147483646 w 1158"/>
                <a:gd name="T71" fmla="*/ 2147483646 h 573"/>
                <a:gd name="T72" fmla="*/ 2147483646 w 1158"/>
                <a:gd name="T73" fmla="*/ 2147483646 h 573"/>
                <a:gd name="T74" fmla="*/ 2147483646 w 1158"/>
                <a:gd name="T75" fmla="*/ 2147483646 h 573"/>
                <a:gd name="T76" fmla="*/ 2147483646 w 1158"/>
                <a:gd name="T77" fmla="*/ 2147483646 h 573"/>
                <a:gd name="T78" fmla="*/ 2147483646 w 1158"/>
                <a:gd name="T79" fmla="*/ 2147483646 h 573"/>
                <a:gd name="T80" fmla="*/ 2147483646 w 1158"/>
                <a:gd name="T81" fmla="*/ 2147483646 h 573"/>
                <a:gd name="T82" fmla="*/ 2147483646 w 1158"/>
                <a:gd name="T83" fmla="*/ 2147483646 h 573"/>
                <a:gd name="T84" fmla="*/ 2147483646 w 1158"/>
                <a:gd name="T85" fmla="*/ 2147483646 h 573"/>
                <a:gd name="T86" fmla="*/ 2147483646 w 1158"/>
                <a:gd name="T87" fmla="*/ 2147483646 h 573"/>
                <a:gd name="T88" fmla="*/ 2147483646 w 1158"/>
                <a:gd name="T89" fmla="*/ 2147483646 h 573"/>
                <a:gd name="T90" fmla="*/ 2147483646 w 1158"/>
                <a:gd name="T91" fmla="*/ 2147483646 h 573"/>
                <a:gd name="T92" fmla="*/ 2147483646 w 1158"/>
                <a:gd name="T93" fmla="*/ 2147483646 h 573"/>
                <a:gd name="T94" fmla="*/ 2147483646 w 1158"/>
                <a:gd name="T95" fmla="*/ 2147483646 h 573"/>
                <a:gd name="T96" fmla="*/ 2147483646 w 1158"/>
                <a:gd name="T97" fmla="*/ 2147483646 h 573"/>
                <a:gd name="T98" fmla="*/ 2147483646 w 1158"/>
                <a:gd name="T99" fmla="*/ 2147483646 h 573"/>
                <a:gd name="T100" fmla="*/ 2147483646 w 1158"/>
                <a:gd name="T101" fmla="*/ 2147483646 h 573"/>
                <a:gd name="T102" fmla="*/ 2147483646 w 1158"/>
                <a:gd name="T103" fmla="*/ 2147483646 h 573"/>
                <a:gd name="T104" fmla="*/ 2147483646 w 1158"/>
                <a:gd name="T105" fmla="*/ 2147483646 h 573"/>
                <a:gd name="T106" fmla="*/ 2147483646 w 1158"/>
                <a:gd name="T107" fmla="*/ 2147483646 h 573"/>
                <a:gd name="T108" fmla="*/ 2147483646 w 1158"/>
                <a:gd name="T109" fmla="*/ 2147483646 h 573"/>
                <a:gd name="T110" fmla="*/ 2147483646 w 1158"/>
                <a:gd name="T111" fmla="*/ 2147483646 h 573"/>
                <a:gd name="T112" fmla="*/ 2147483646 w 1158"/>
                <a:gd name="T113" fmla="*/ 2147483646 h 573"/>
                <a:gd name="T114" fmla="*/ 2147483646 w 1158"/>
                <a:gd name="T115" fmla="*/ 2147483646 h 573"/>
                <a:gd name="T116" fmla="*/ 2147483646 w 1158"/>
                <a:gd name="T117" fmla="*/ 2147483646 h 573"/>
                <a:gd name="T118" fmla="*/ 2147483646 w 1158"/>
                <a:gd name="T119" fmla="*/ 2147483646 h 573"/>
                <a:gd name="T120" fmla="*/ 2147483646 w 1158"/>
                <a:gd name="T121" fmla="*/ 2147483646 h 57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158" h="573">
                  <a:moveTo>
                    <a:pt x="738" y="0"/>
                  </a:moveTo>
                  <a:cubicBezTo>
                    <a:pt x="714" y="0"/>
                    <a:pt x="692" y="3"/>
                    <a:pt x="673" y="8"/>
                  </a:cubicBezTo>
                  <a:cubicBezTo>
                    <a:pt x="672" y="9"/>
                    <a:pt x="671" y="9"/>
                    <a:pt x="671" y="10"/>
                  </a:cubicBezTo>
                  <a:cubicBezTo>
                    <a:pt x="690" y="4"/>
                    <a:pt x="713" y="1"/>
                    <a:pt x="738" y="1"/>
                  </a:cubicBezTo>
                  <a:cubicBezTo>
                    <a:pt x="738" y="1"/>
                    <a:pt x="738" y="1"/>
                    <a:pt x="738" y="1"/>
                  </a:cubicBezTo>
                  <a:cubicBezTo>
                    <a:pt x="739" y="1"/>
                    <a:pt x="740" y="1"/>
                    <a:pt x="740" y="1"/>
                  </a:cubicBezTo>
                  <a:cubicBezTo>
                    <a:pt x="741" y="1"/>
                    <a:pt x="741" y="0"/>
                    <a:pt x="742" y="0"/>
                  </a:cubicBezTo>
                  <a:cubicBezTo>
                    <a:pt x="740" y="0"/>
                    <a:pt x="739" y="0"/>
                    <a:pt x="738" y="0"/>
                  </a:cubicBezTo>
                  <a:moveTo>
                    <a:pt x="743" y="0"/>
                  </a:moveTo>
                  <a:cubicBezTo>
                    <a:pt x="743" y="0"/>
                    <a:pt x="742" y="1"/>
                    <a:pt x="742" y="1"/>
                  </a:cubicBezTo>
                  <a:cubicBezTo>
                    <a:pt x="759" y="1"/>
                    <a:pt x="777" y="3"/>
                    <a:pt x="794" y="5"/>
                  </a:cubicBezTo>
                  <a:cubicBezTo>
                    <a:pt x="794" y="5"/>
                    <a:pt x="795" y="5"/>
                    <a:pt x="795" y="5"/>
                  </a:cubicBezTo>
                  <a:cubicBezTo>
                    <a:pt x="778" y="2"/>
                    <a:pt x="760" y="0"/>
                    <a:pt x="743" y="0"/>
                  </a:cubicBezTo>
                  <a:moveTo>
                    <a:pt x="796" y="5"/>
                  </a:moveTo>
                  <a:cubicBezTo>
                    <a:pt x="796" y="5"/>
                    <a:pt x="795" y="5"/>
                    <a:pt x="795" y="6"/>
                  </a:cubicBezTo>
                  <a:cubicBezTo>
                    <a:pt x="811" y="8"/>
                    <a:pt x="827" y="12"/>
                    <a:pt x="842" y="16"/>
                  </a:cubicBezTo>
                  <a:cubicBezTo>
                    <a:pt x="842" y="16"/>
                    <a:pt x="842" y="15"/>
                    <a:pt x="842" y="15"/>
                  </a:cubicBezTo>
                  <a:cubicBezTo>
                    <a:pt x="828" y="11"/>
                    <a:pt x="812" y="7"/>
                    <a:pt x="796" y="5"/>
                  </a:cubicBezTo>
                  <a:moveTo>
                    <a:pt x="670" y="9"/>
                  </a:moveTo>
                  <a:cubicBezTo>
                    <a:pt x="637" y="19"/>
                    <a:pt x="614" y="37"/>
                    <a:pt x="614" y="67"/>
                  </a:cubicBezTo>
                  <a:cubicBezTo>
                    <a:pt x="614" y="68"/>
                    <a:pt x="614" y="69"/>
                    <a:pt x="614" y="70"/>
                  </a:cubicBezTo>
                  <a:cubicBezTo>
                    <a:pt x="614" y="70"/>
                    <a:pt x="614" y="71"/>
                    <a:pt x="614" y="72"/>
                  </a:cubicBezTo>
                  <a:cubicBezTo>
                    <a:pt x="615" y="76"/>
                    <a:pt x="615" y="80"/>
                    <a:pt x="617" y="85"/>
                  </a:cubicBezTo>
                  <a:cubicBezTo>
                    <a:pt x="617" y="85"/>
                    <a:pt x="617" y="86"/>
                    <a:pt x="617" y="86"/>
                  </a:cubicBezTo>
                  <a:cubicBezTo>
                    <a:pt x="617" y="87"/>
                    <a:pt x="617" y="87"/>
                    <a:pt x="618" y="88"/>
                  </a:cubicBezTo>
                  <a:cubicBezTo>
                    <a:pt x="618" y="90"/>
                    <a:pt x="619" y="92"/>
                    <a:pt x="619" y="95"/>
                  </a:cubicBezTo>
                  <a:cubicBezTo>
                    <a:pt x="620" y="95"/>
                    <a:pt x="620" y="95"/>
                    <a:pt x="620" y="96"/>
                  </a:cubicBezTo>
                  <a:cubicBezTo>
                    <a:pt x="620" y="96"/>
                    <a:pt x="620" y="96"/>
                    <a:pt x="620" y="97"/>
                  </a:cubicBezTo>
                  <a:cubicBezTo>
                    <a:pt x="620" y="97"/>
                    <a:pt x="620" y="97"/>
                    <a:pt x="620" y="98"/>
                  </a:cubicBezTo>
                  <a:cubicBezTo>
                    <a:pt x="620" y="98"/>
                    <a:pt x="620" y="98"/>
                    <a:pt x="620" y="98"/>
                  </a:cubicBezTo>
                  <a:cubicBezTo>
                    <a:pt x="620" y="98"/>
                    <a:pt x="621" y="99"/>
                    <a:pt x="621" y="99"/>
                  </a:cubicBezTo>
                  <a:cubicBezTo>
                    <a:pt x="621" y="99"/>
                    <a:pt x="621" y="100"/>
                    <a:pt x="621" y="100"/>
                  </a:cubicBezTo>
                  <a:cubicBezTo>
                    <a:pt x="621" y="100"/>
                    <a:pt x="621" y="101"/>
                    <a:pt x="621" y="101"/>
                  </a:cubicBezTo>
                  <a:cubicBezTo>
                    <a:pt x="621" y="102"/>
                    <a:pt x="621" y="102"/>
                    <a:pt x="622" y="103"/>
                  </a:cubicBezTo>
                  <a:cubicBezTo>
                    <a:pt x="622" y="103"/>
                    <a:pt x="622" y="103"/>
                    <a:pt x="622" y="104"/>
                  </a:cubicBezTo>
                  <a:cubicBezTo>
                    <a:pt x="622" y="105"/>
                    <a:pt x="622" y="107"/>
                    <a:pt x="623" y="108"/>
                  </a:cubicBezTo>
                  <a:cubicBezTo>
                    <a:pt x="623" y="109"/>
                    <a:pt x="623" y="109"/>
                    <a:pt x="623" y="109"/>
                  </a:cubicBezTo>
                  <a:cubicBezTo>
                    <a:pt x="623" y="109"/>
                    <a:pt x="623" y="109"/>
                    <a:pt x="623" y="109"/>
                  </a:cubicBezTo>
                  <a:cubicBezTo>
                    <a:pt x="623" y="110"/>
                    <a:pt x="623" y="110"/>
                    <a:pt x="623" y="110"/>
                  </a:cubicBezTo>
                  <a:cubicBezTo>
                    <a:pt x="623" y="112"/>
                    <a:pt x="624" y="113"/>
                    <a:pt x="624" y="114"/>
                  </a:cubicBezTo>
                  <a:cubicBezTo>
                    <a:pt x="624" y="114"/>
                    <a:pt x="624" y="115"/>
                    <a:pt x="624" y="115"/>
                  </a:cubicBezTo>
                  <a:cubicBezTo>
                    <a:pt x="625" y="117"/>
                    <a:pt x="625" y="119"/>
                    <a:pt x="625" y="121"/>
                  </a:cubicBezTo>
                  <a:cubicBezTo>
                    <a:pt x="625" y="121"/>
                    <a:pt x="625" y="121"/>
                    <a:pt x="625" y="122"/>
                  </a:cubicBezTo>
                  <a:cubicBezTo>
                    <a:pt x="626" y="128"/>
                    <a:pt x="627" y="135"/>
                    <a:pt x="628" y="142"/>
                  </a:cubicBezTo>
                  <a:cubicBezTo>
                    <a:pt x="628" y="142"/>
                    <a:pt x="628" y="143"/>
                    <a:pt x="628" y="143"/>
                  </a:cubicBezTo>
                  <a:cubicBezTo>
                    <a:pt x="628" y="149"/>
                    <a:pt x="629" y="155"/>
                    <a:pt x="629" y="162"/>
                  </a:cubicBezTo>
                  <a:cubicBezTo>
                    <a:pt x="629" y="162"/>
                    <a:pt x="629" y="163"/>
                    <a:pt x="629" y="163"/>
                  </a:cubicBezTo>
                  <a:cubicBezTo>
                    <a:pt x="629" y="164"/>
                    <a:pt x="629" y="164"/>
                    <a:pt x="629" y="164"/>
                  </a:cubicBezTo>
                  <a:cubicBezTo>
                    <a:pt x="629" y="174"/>
                    <a:pt x="628" y="184"/>
                    <a:pt x="626" y="193"/>
                  </a:cubicBezTo>
                  <a:cubicBezTo>
                    <a:pt x="626" y="195"/>
                    <a:pt x="626" y="196"/>
                    <a:pt x="626" y="198"/>
                  </a:cubicBezTo>
                  <a:cubicBezTo>
                    <a:pt x="624" y="206"/>
                    <a:pt x="623" y="213"/>
                    <a:pt x="621" y="220"/>
                  </a:cubicBezTo>
                  <a:cubicBezTo>
                    <a:pt x="621" y="221"/>
                    <a:pt x="620" y="222"/>
                    <a:pt x="620" y="223"/>
                  </a:cubicBezTo>
                  <a:cubicBezTo>
                    <a:pt x="618" y="229"/>
                    <a:pt x="616" y="236"/>
                    <a:pt x="614" y="242"/>
                  </a:cubicBezTo>
                  <a:cubicBezTo>
                    <a:pt x="613" y="243"/>
                    <a:pt x="613" y="243"/>
                    <a:pt x="613" y="244"/>
                  </a:cubicBezTo>
                  <a:cubicBezTo>
                    <a:pt x="613" y="245"/>
                    <a:pt x="612" y="245"/>
                    <a:pt x="612" y="246"/>
                  </a:cubicBezTo>
                  <a:cubicBezTo>
                    <a:pt x="613" y="245"/>
                    <a:pt x="613" y="245"/>
                    <a:pt x="614" y="245"/>
                  </a:cubicBezTo>
                  <a:cubicBezTo>
                    <a:pt x="614" y="244"/>
                    <a:pt x="614" y="244"/>
                    <a:pt x="614" y="244"/>
                  </a:cubicBezTo>
                  <a:cubicBezTo>
                    <a:pt x="616" y="238"/>
                    <a:pt x="619" y="232"/>
                    <a:pt x="620" y="226"/>
                  </a:cubicBezTo>
                  <a:cubicBezTo>
                    <a:pt x="621" y="225"/>
                    <a:pt x="621" y="224"/>
                    <a:pt x="621" y="223"/>
                  </a:cubicBezTo>
                  <a:cubicBezTo>
                    <a:pt x="623" y="217"/>
                    <a:pt x="625" y="210"/>
                    <a:pt x="626" y="203"/>
                  </a:cubicBezTo>
                  <a:cubicBezTo>
                    <a:pt x="626" y="201"/>
                    <a:pt x="626" y="200"/>
                    <a:pt x="627" y="198"/>
                  </a:cubicBezTo>
                  <a:cubicBezTo>
                    <a:pt x="628" y="187"/>
                    <a:pt x="629" y="176"/>
                    <a:pt x="630" y="165"/>
                  </a:cubicBezTo>
                  <a:cubicBezTo>
                    <a:pt x="630" y="165"/>
                    <a:pt x="630" y="164"/>
                    <a:pt x="630" y="164"/>
                  </a:cubicBezTo>
                  <a:cubicBezTo>
                    <a:pt x="630" y="163"/>
                    <a:pt x="630" y="162"/>
                    <a:pt x="630" y="162"/>
                  </a:cubicBezTo>
                  <a:cubicBezTo>
                    <a:pt x="630" y="156"/>
                    <a:pt x="629" y="149"/>
                    <a:pt x="629" y="143"/>
                  </a:cubicBezTo>
                  <a:cubicBezTo>
                    <a:pt x="629" y="143"/>
                    <a:pt x="629" y="143"/>
                    <a:pt x="629" y="142"/>
                  </a:cubicBezTo>
                  <a:cubicBezTo>
                    <a:pt x="628" y="136"/>
                    <a:pt x="628" y="129"/>
                    <a:pt x="626" y="122"/>
                  </a:cubicBezTo>
                  <a:cubicBezTo>
                    <a:pt x="626" y="122"/>
                    <a:pt x="626" y="121"/>
                    <a:pt x="626" y="121"/>
                  </a:cubicBezTo>
                  <a:cubicBezTo>
                    <a:pt x="626" y="119"/>
                    <a:pt x="626" y="117"/>
                    <a:pt x="625" y="115"/>
                  </a:cubicBezTo>
                  <a:cubicBezTo>
                    <a:pt x="625" y="115"/>
                    <a:pt x="625" y="114"/>
                    <a:pt x="625" y="114"/>
                  </a:cubicBezTo>
                  <a:cubicBezTo>
                    <a:pt x="625" y="113"/>
                    <a:pt x="624" y="111"/>
                    <a:pt x="624" y="110"/>
                  </a:cubicBezTo>
                  <a:cubicBezTo>
                    <a:pt x="624" y="110"/>
                    <a:pt x="624" y="109"/>
                    <a:pt x="624" y="109"/>
                  </a:cubicBezTo>
                  <a:cubicBezTo>
                    <a:pt x="624" y="109"/>
                    <a:pt x="624" y="109"/>
                    <a:pt x="624" y="108"/>
                  </a:cubicBezTo>
                  <a:cubicBezTo>
                    <a:pt x="623" y="107"/>
                    <a:pt x="623" y="105"/>
                    <a:pt x="623" y="104"/>
                  </a:cubicBezTo>
                  <a:cubicBezTo>
                    <a:pt x="623" y="103"/>
                    <a:pt x="623" y="103"/>
                    <a:pt x="623" y="103"/>
                  </a:cubicBezTo>
                  <a:cubicBezTo>
                    <a:pt x="622" y="102"/>
                    <a:pt x="622" y="102"/>
                    <a:pt x="622" y="101"/>
                  </a:cubicBezTo>
                  <a:cubicBezTo>
                    <a:pt x="622" y="101"/>
                    <a:pt x="622" y="100"/>
                    <a:pt x="622" y="100"/>
                  </a:cubicBezTo>
                  <a:cubicBezTo>
                    <a:pt x="622" y="100"/>
                    <a:pt x="622" y="100"/>
                    <a:pt x="622" y="99"/>
                  </a:cubicBezTo>
                  <a:cubicBezTo>
                    <a:pt x="622" y="99"/>
                    <a:pt x="622" y="99"/>
                    <a:pt x="621" y="98"/>
                  </a:cubicBezTo>
                  <a:cubicBezTo>
                    <a:pt x="621" y="98"/>
                    <a:pt x="621" y="98"/>
                    <a:pt x="621" y="97"/>
                  </a:cubicBezTo>
                  <a:cubicBezTo>
                    <a:pt x="621" y="97"/>
                    <a:pt x="621" y="97"/>
                    <a:pt x="621" y="96"/>
                  </a:cubicBezTo>
                  <a:cubicBezTo>
                    <a:pt x="621" y="96"/>
                    <a:pt x="621" y="96"/>
                    <a:pt x="621" y="96"/>
                  </a:cubicBezTo>
                  <a:cubicBezTo>
                    <a:pt x="621" y="96"/>
                    <a:pt x="621" y="95"/>
                    <a:pt x="621" y="95"/>
                  </a:cubicBezTo>
                  <a:cubicBezTo>
                    <a:pt x="620" y="92"/>
                    <a:pt x="619" y="90"/>
                    <a:pt x="618" y="88"/>
                  </a:cubicBezTo>
                  <a:cubicBezTo>
                    <a:pt x="618" y="87"/>
                    <a:pt x="618" y="86"/>
                    <a:pt x="618" y="85"/>
                  </a:cubicBezTo>
                  <a:cubicBezTo>
                    <a:pt x="618" y="85"/>
                    <a:pt x="618" y="85"/>
                    <a:pt x="618" y="84"/>
                  </a:cubicBezTo>
                  <a:cubicBezTo>
                    <a:pt x="616" y="79"/>
                    <a:pt x="616" y="75"/>
                    <a:pt x="615" y="70"/>
                  </a:cubicBezTo>
                  <a:cubicBezTo>
                    <a:pt x="615" y="70"/>
                    <a:pt x="615" y="69"/>
                    <a:pt x="615" y="68"/>
                  </a:cubicBezTo>
                  <a:cubicBezTo>
                    <a:pt x="615" y="68"/>
                    <a:pt x="615" y="68"/>
                    <a:pt x="615" y="67"/>
                  </a:cubicBezTo>
                  <a:cubicBezTo>
                    <a:pt x="615" y="44"/>
                    <a:pt x="629" y="28"/>
                    <a:pt x="652" y="17"/>
                  </a:cubicBezTo>
                  <a:cubicBezTo>
                    <a:pt x="657" y="14"/>
                    <a:pt x="663" y="12"/>
                    <a:pt x="669" y="10"/>
                  </a:cubicBezTo>
                  <a:cubicBezTo>
                    <a:pt x="670" y="10"/>
                    <a:pt x="670" y="9"/>
                    <a:pt x="670" y="9"/>
                  </a:cubicBezTo>
                  <a:moveTo>
                    <a:pt x="843" y="15"/>
                  </a:moveTo>
                  <a:cubicBezTo>
                    <a:pt x="843" y="16"/>
                    <a:pt x="843" y="16"/>
                    <a:pt x="843" y="16"/>
                  </a:cubicBezTo>
                  <a:cubicBezTo>
                    <a:pt x="853" y="19"/>
                    <a:pt x="863" y="23"/>
                    <a:pt x="872" y="27"/>
                  </a:cubicBezTo>
                  <a:cubicBezTo>
                    <a:pt x="879" y="29"/>
                    <a:pt x="885" y="32"/>
                    <a:pt x="890" y="35"/>
                  </a:cubicBezTo>
                  <a:cubicBezTo>
                    <a:pt x="890" y="35"/>
                    <a:pt x="890" y="34"/>
                    <a:pt x="890" y="34"/>
                  </a:cubicBezTo>
                  <a:cubicBezTo>
                    <a:pt x="877" y="27"/>
                    <a:pt x="861" y="20"/>
                    <a:pt x="843" y="15"/>
                  </a:cubicBezTo>
                  <a:moveTo>
                    <a:pt x="891" y="34"/>
                  </a:moveTo>
                  <a:cubicBezTo>
                    <a:pt x="891" y="35"/>
                    <a:pt x="891" y="35"/>
                    <a:pt x="891" y="35"/>
                  </a:cubicBezTo>
                  <a:cubicBezTo>
                    <a:pt x="919" y="51"/>
                    <a:pt x="938" y="70"/>
                    <a:pt x="938" y="93"/>
                  </a:cubicBezTo>
                  <a:cubicBezTo>
                    <a:pt x="938" y="96"/>
                    <a:pt x="938" y="99"/>
                    <a:pt x="937" y="103"/>
                  </a:cubicBezTo>
                  <a:cubicBezTo>
                    <a:pt x="937" y="102"/>
                    <a:pt x="938" y="102"/>
                    <a:pt x="938" y="101"/>
                  </a:cubicBezTo>
                  <a:cubicBezTo>
                    <a:pt x="939" y="98"/>
                    <a:pt x="939" y="95"/>
                    <a:pt x="939" y="93"/>
                  </a:cubicBezTo>
                  <a:cubicBezTo>
                    <a:pt x="939" y="70"/>
                    <a:pt x="920" y="50"/>
                    <a:pt x="891" y="34"/>
                  </a:cubicBezTo>
                  <a:moveTo>
                    <a:pt x="1156" y="43"/>
                  </a:moveTo>
                  <a:cubicBezTo>
                    <a:pt x="1155" y="43"/>
                    <a:pt x="1154" y="44"/>
                    <a:pt x="1153" y="45"/>
                  </a:cubicBezTo>
                  <a:cubicBezTo>
                    <a:pt x="1154" y="44"/>
                    <a:pt x="1156" y="44"/>
                    <a:pt x="1157" y="44"/>
                  </a:cubicBezTo>
                  <a:cubicBezTo>
                    <a:pt x="1157" y="44"/>
                    <a:pt x="1156" y="43"/>
                    <a:pt x="1156" y="43"/>
                  </a:cubicBezTo>
                  <a:moveTo>
                    <a:pt x="1158" y="45"/>
                  </a:moveTo>
                  <a:cubicBezTo>
                    <a:pt x="1157" y="45"/>
                    <a:pt x="1157" y="45"/>
                    <a:pt x="1157" y="45"/>
                  </a:cubicBezTo>
                  <a:cubicBezTo>
                    <a:pt x="1157" y="46"/>
                    <a:pt x="1157" y="46"/>
                    <a:pt x="1157" y="46"/>
                  </a:cubicBezTo>
                  <a:cubicBezTo>
                    <a:pt x="1157" y="47"/>
                    <a:pt x="1157" y="49"/>
                    <a:pt x="1156" y="50"/>
                  </a:cubicBezTo>
                  <a:cubicBezTo>
                    <a:pt x="1157" y="48"/>
                    <a:pt x="1157" y="47"/>
                    <a:pt x="1158" y="45"/>
                  </a:cubicBezTo>
                  <a:cubicBezTo>
                    <a:pt x="1158" y="45"/>
                    <a:pt x="1158" y="45"/>
                    <a:pt x="1158" y="45"/>
                  </a:cubicBezTo>
                  <a:moveTo>
                    <a:pt x="1153" y="46"/>
                  </a:moveTo>
                  <a:cubicBezTo>
                    <a:pt x="1152" y="46"/>
                    <a:pt x="1152" y="46"/>
                    <a:pt x="1151" y="46"/>
                  </a:cubicBezTo>
                  <a:cubicBezTo>
                    <a:pt x="1149" y="47"/>
                    <a:pt x="1146" y="50"/>
                    <a:pt x="1143" y="53"/>
                  </a:cubicBezTo>
                  <a:cubicBezTo>
                    <a:pt x="1144" y="53"/>
                    <a:pt x="1144" y="53"/>
                    <a:pt x="1145" y="53"/>
                  </a:cubicBezTo>
                  <a:cubicBezTo>
                    <a:pt x="1148" y="50"/>
                    <a:pt x="1151" y="47"/>
                    <a:pt x="1153" y="46"/>
                  </a:cubicBezTo>
                  <a:moveTo>
                    <a:pt x="1157" y="50"/>
                  </a:moveTo>
                  <a:cubicBezTo>
                    <a:pt x="1157" y="51"/>
                    <a:pt x="1157" y="53"/>
                    <a:pt x="1156" y="54"/>
                  </a:cubicBezTo>
                  <a:cubicBezTo>
                    <a:pt x="1156" y="54"/>
                    <a:pt x="1156" y="54"/>
                    <a:pt x="1156" y="54"/>
                  </a:cubicBezTo>
                  <a:cubicBezTo>
                    <a:pt x="1157" y="53"/>
                    <a:pt x="1157" y="51"/>
                    <a:pt x="1157" y="50"/>
                  </a:cubicBezTo>
                  <a:moveTo>
                    <a:pt x="1144" y="54"/>
                  </a:moveTo>
                  <a:cubicBezTo>
                    <a:pt x="1143" y="54"/>
                    <a:pt x="1143" y="54"/>
                    <a:pt x="1142" y="54"/>
                  </a:cubicBezTo>
                  <a:cubicBezTo>
                    <a:pt x="1138" y="59"/>
                    <a:pt x="1133" y="65"/>
                    <a:pt x="1127" y="72"/>
                  </a:cubicBezTo>
                  <a:cubicBezTo>
                    <a:pt x="1127" y="72"/>
                    <a:pt x="1128" y="72"/>
                    <a:pt x="1128" y="72"/>
                  </a:cubicBezTo>
                  <a:cubicBezTo>
                    <a:pt x="1134" y="65"/>
                    <a:pt x="1139" y="59"/>
                    <a:pt x="1144" y="54"/>
                  </a:cubicBezTo>
                  <a:moveTo>
                    <a:pt x="1156" y="55"/>
                  </a:moveTo>
                  <a:cubicBezTo>
                    <a:pt x="1156" y="55"/>
                    <a:pt x="1156" y="55"/>
                    <a:pt x="1156" y="55"/>
                  </a:cubicBezTo>
                  <a:cubicBezTo>
                    <a:pt x="1156" y="55"/>
                    <a:pt x="1156" y="55"/>
                    <a:pt x="1156" y="55"/>
                  </a:cubicBezTo>
                  <a:cubicBezTo>
                    <a:pt x="1156" y="55"/>
                    <a:pt x="1156" y="55"/>
                    <a:pt x="1156" y="55"/>
                  </a:cubicBezTo>
                  <a:moveTo>
                    <a:pt x="1155" y="55"/>
                  </a:moveTo>
                  <a:cubicBezTo>
                    <a:pt x="1154" y="59"/>
                    <a:pt x="1152" y="65"/>
                    <a:pt x="1149" y="72"/>
                  </a:cubicBezTo>
                  <a:cubicBezTo>
                    <a:pt x="1149" y="72"/>
                    <a:pt x="1150" y="72"/>
                    <a:pt x="1150" y="72"/>
                  </a:cubicBezTo>
                  <a:cubicBezTo>
                    <a:pt x="1151" y="68"/>
                    <a:pt x="1153" y="65"/>
                    <a:pt x="1153" y="63"/>
                  </a:cubicBezTo>
                  <a:cubicBezTo>
                    <a:pt x="1154" y="60"/>
                    <a:pt x="1154" y="58"/>
                    <a:pt x="1155" y="55"/>
                  </a:cubicBezTo>
                  <a:moveTo>
                    <a:pt x="1150" y="72"/>
                  </a:moveTo>
                  <a:cubicBezTo>
                    <a:pt x="1149" y="72"/>
                    <a:pt x="1149" y="73"/>
                    <a:pt x="1149" y="73"/>
                  </a:cubicBezTo>
                  <a:cubicBezTo>
                    <a:pt x="1147" y="76"/>
                    <a:pt x="1146" y="79"/>
                    <a:pt x="1144" y="83"/>
                  </a:cubicBezTo>
                  <a:cubicBezTo>
                    <a:pt x="1145" y="83"/>
                    <a:pt x="1145" y="84"/>
                    <a:pt x="1145" y="84"/>
                  </a:cubicBezTo>
                  <a:cubicBezTo>
                    <a:pt x="1145" y="83"/>
                    <a:pt x="1145" y="83"/>
                    <a:pt x="1145" y="83"/>
                  </a:cubicBezTo>
                  <a:cubicBezTo>
                    <a:pt x="1147" y="79"/>
                    <a:pt x="1149" y="76"/>
                    <a:pt x="1150" y="72"/>
                  </a:cubicBezTo>
                  <a:moveTo>
                    <a:pt x="1127" y="73"/>
                  </a:moveTo>
                  <a:cubicBezTo>
                    <a:pt x="1127" y="73"/>
                    <a:pt x="1127" y="73"/>
                    <a:pt x="1126" y="73"/>
                  </a:cubicBezTo>
                  <a:cubicBezTo>
                    <a:pt x="1123" y="77"/>
                    <a:pt x="1120" y="81"/>
                    <a:pt x="1117" y="85"/>
                  </a:cubicBezTo>
                  <a:cubicBezTo>
                    <a:pt x="1117" y="85"/>
                    <a:pt x="1118" y="85"/>
                    <a:pt x="1118" y="85"/>
                  </a:cubicBezTo>
                  <a:cubicBezTo>
                    <a:pt x="1121" y="81"/>
                    <a:pt x="1125" y="77"/>
                    <a:pt x="1127" y="73"/>
                  </a:cubicBezTo>
                  <a:moveTo>
                    <a:pt x="1144" y="84"/>
                  </a:moveTo>
                  <a:cubicBezTo>
                    <a:pt x="1144" y="85"/>
                    <a:pt x="1143" y="85"/>
                    <a:pt x="1143" y="86"/>
                  </a:cubicBezTo>
                  <a:cubicBezTo>
                    <a:pt x="1144" y="85"/>
                    <a:pt x="1144" y="85"/>
                    <a:pt x="1144" y="84"/>
                  </a:cubicBezTo>
                  <a:cubicBezTo>
                    <a:pt x="1144" y="84"/>
                    <a:pt x="1144" y="84"/>
                    <a:pt x="1144" y="84"/>
                  </a:cubicBezTo>
                  <a:moveTo>
                    <a:pt x="1117" y="86"/>
                  </a:moveTo>
                  <a:cubicBezTo>
                    <a:pt x="1117" y="86"/>
                    <a:pt x="1116" y="86"/>
                    <a:pt x="1116" y="86"/>
                  </a:cubicBezTo>
                  <a:cubicBezTo>
                    <a:pt x="1114" y="88"/>
                    <a:pt x="1113" y="89"/>
                    <a:pt x="1112" y="91"/>
                  </a:cubicBezTo>
                  <a:cubicBezTo>
                    <a:pt x="1112" y="91"/>
                    <a:pt x="1112" y="92"/>
                    <a:pt x="1112" y="93"/>
                  </a:cubicBezTo>
                  <a:cubicBezTo>
                    <a:pt x="1114" y="90"/>
                    <a:pt x="1115" y="88"/>
                    <a:pt x="1117" y="86"/>
                  </a:cubicBezTo>
                  <a:moveTo>
                    <a:pt x="1144" y="87"/>
                  </a:moveTo>
                  <a:cubicBezTo>
                    <a:pt x="1143" y="88"/>
                    <a:pt x="1143" y="88"/>
                    <a:pt x="1142" y="89"/>
                  </a:cubicBezTo>
                  <a:cubicBezTo>
                    <a:pt x="1140" y="93"/>
                    <a:pt x="1138" y="97"/>
                    <a:pt x="1136" y="102"/>
                  </a:cubicBezTo>
                  <a:cubicBezTo>
                    <a:pt x="1137" y="102"/>
                    <a:pt x="1137" y="102"/>
                    <a:pt x="1137" y="102"/>
                  </a:cubicBezTo>
                  <a:cubicBezTo>
                    <a:pt x="1140" y="96"/>
                    <a:pt x="1142" y="91"/>
                    <a:pt x="1144" y="87"/>
                  </a:cubicBezTo>
                  <a:moveTo>
                    <a:pt x="1111" y="92"/>
                  </a:moveTo>
                  <a:cubicBezTo>
                    <a:pt x="1108" y="95"/>
                    <a:pt x="1106" y="98"/>
                    <a:pt x="1103" y="102"/>
                  </a:cubicBezTo>
                  <a:cubicBezTo>
                    <a:pt x="1104" y="102"/>
                    <a:pt x="1104" y="101"/>
                    <a:pt x="1105" y="101"/>
                  </a:cubicBezTo>
                  <a:cubicBezTo>
                    <a:pt x="1107" y="99"/>
                    <a:pt x="1109" y="97"/>
                    <a:pt x="1111" y="94"/>
                  </a:cubicBezTo>
                  <a:cubicBezTo>
                    <a:pt x="1111" y="94"/>
                    <a:pt x="1111" y="93"/>
                    <a:pt x="1111" y="92"/>
                  </a:cubicBezTo>
                  <a:moveTo>
                    <a:pt x="1104" y="103"/>
                  </a:moveTo>
                  <a:cubicBezTo>
                    <a:pt x="1103" y="103"/>
                    <a:pt x="1103" y="103"/>
                    <a:pt x="1103" y="103"/>
                  </a:cubicBezTo>
                  <a:cubicBezTo>
                    <a:pt x="1099" y="107"/>
                    <a:pt x="1095" y="112"/>
                    <a:pt x="1092" y="116"/>
                  </a:cubicBezTo>
                  <a:cubicBezTo>
                    <a:pt x="1092" y="116"/>
                    <a:pt x="1093" y="116"/>
                    <a:pt x="1093" y="116"/>
                  </a:cubicBezTo>
                  <a:cubicBezTo>
                    <a:pt x="1097" y="111"/>
                    <a:pt x="1100" y="107"/>
                    <a:pt x="1104" y="103"/>
                  </a:cubicBezTo>
                  <a:moveTo>
                    <a:pt x="1136" y="103"/>
                  </a:moveTo>
                  <a:cubicBezTo>
                    <a:pt x="1136" y="103"/>
                    <a:pt x="1136" y="103"/>
                    <a:pt x="1136" y="103"/>
                  </a:cubicBezTo>
                  <a:cubicBezTo>
                    <a:pt x="1135" y="106"/>
                    <a:pt x="1133" y="109"/>
                    <a:pt x="1132" y="111"/>
                  </a:cubicBezTo>
                  <a:cubicBezTo>
                    <a:pt x="1133" y="111"/>
                    <a:pt x="1133" y="111"/>
                    <a:pt x="1133" y="111"/>
                  </a:cubicBezTo>
                  <a:cubicBezTo>
                    <a:pt x="1134" y="109"/>
                    <a:pt x="1136" y="106"/>
                    <a:pt x="1137" y="104"/>
                  </a:cubicBezTo>
                  <a:cubicBezTo>
                    <a:pt x="1137" y="103"/>
                    <a:pt x="1137" y="103"/>
                    <a:pt x="1137" y="103"/>
                  </a:cubicBezTo>
                  <a:cubicBezTo>
                    <a:pt x="1137" y="103"/>
                    <a:pt x="1136" y="103"/>
                    <a:pt x="1136" y="103"/>
                  </a:cubicBezTo>
                  <a:moveTo>
                    <a:pt x="938" y="103"/>
                  </a:moveTo>
                  <a:cubicBezTo>
                    <a:pt x="937" y="104"/>
                    <a:pt x="937" y="104"/>
                    <a:pt x="936" y="105"/>
                  </a:cubicBezTo>
                  <a:cubicBezTo>
                    <a:pt x="935" y="109"/>
                    <a:pt x="933" y="114"/>
                    <a:pt x="930" y="119"/>
                  </a:cubicBezTo>
                  <a:cubicBezTo>
                    <a:pt x="930" y="119"/>
                    <a:pt x="931" y="119"/>
                    <a:pt x="931" y="118"/>
                  </a:cubicBezTo>
                  <a:cubicBezTo>
                    <a:pt x="934" y="114"/>
                    <a:pt x="936" y="109"/>
                    <a:pt x="937" y="105"/>
                  </a:cubicBezTo>
                  <a:cubicBezTo>
                    <a:pt x="937" y="105"/>
                    <a:pt x="937" y="104"/>
                    <a:pt x="938" y="104"/>
                  </a:cubicBezTo>
                  <a:cubicBezTo>
                    <a:pt x="938" y="104"/>
                    <a:pt x="938" y="103"/>
                    <a:pt x="938" y="103"/>
                  </a:cubicBezTo>
                  <a:moveTo>
                    <a:pt x="1132" y="112"/>
                  </a:moveTo>
                  <a:cubicBezTo>
                    <a:pt x="1129" y="118"/>
                    <a:pt x="1127" y="124"/>
                    <a:pt x="1124" y="130"/>
                  </a:cubicBezTo>
                  <a:cubicBezTo>
                    <a:pt x="1124" y="130"/>
                    <a:pt x="1124" y="130"/>
                    <a:pt x="1125" y="130"/>
                  </a:cubicBezTo>
                  <a:cubicBezTo>
                    <a:pt x="1127" y="124"/>
                    <a:pt x="1130" y="118"/>
                    <a:pt x="1133" y="112"/>
                  </a:cubicBezTo>
                  <a:cubicBezTo>
                    <a:pt x="1132" y="112"/>
                    <a:pt x="1132" y="112"/>
                    <a:pt x="1132" y="112"/>
                  </a:cubicBezTo>
                  <a:moveTo>
                    <a:pt x="1092" y="117"/>
                  </a:moveTo>
                  <a:cubicBezTo>
                    <a:pt x="1092" y="117"/>
                    <a:pt x="1091" y="118"/>
                    <a:pt x="1090" y="118"/>
                  </a:cubicBezTo>
                  <a:cubicBezTo>
                    <a:pt x="1086" y="123"/>
                    <a:pt x="1081" y="129"/>
                    <a:pt x="1077" y="135"/>
                  </a:cubicBezTo>
                  <a:cubicBezTo>
                    <a:pt x="1077" y="135"/>
                    <a:pt x="1077" y="135"/>
                    <a:pt x="1078" y="135"/>
                  </a:cubicBezTo>
                  <a:cubicBezTo>
                    <a:pt x="1083" y="129"/>
                    <a:pt x="1087" y="123"/>
                    <a:pt x="1092" y="117"/>
                  </a:cubicBezTo>
                  <a:moveTo>
                    <a:pt x="931" y="120"/>
                  </a:moveTo>
                  <a:cubicBezTo>
                    <a:pt x="930" y="120"/>
                    <a:pt x="930" y="120"/>
                    <a:pt x="929" y="120"/>
                  </a:cubicBezTo>
                  <a:cubicBezTo>
                    <a:pt x="929" y="121"/>
                    <a:pt x="928" y="122"/>
                    <a:pt x="928" y="122"/>
                  </a:cubicBezTo>
                  <a:cubicBezTo>
                    <a:pt x="928" y="122"/>
                    <a:pt x="929" y="121"/>
                    <a:pt x="930" y="121"/>
                  </a:cubicBezTo>
                  <a:cubicBezTo>
                    <a:pt x="930" y="120"/>
                    <a:pt x="930" y="120"/>
                    <a:pt x="931" y="120"/>
                  </a:cubicBezTo>
                  <a:moveTo>
                    <a:pt x="928" y="123"/>
                  </a:moveTo>
                  <a:cubicBezTo>
                    <a:pt x="927" y="124"/>
                    <a:pt x="927" y="124"/>
                    <a:pt x="926" y="125"/>
                  </a:cubicBezTo>
                  <a:cubicBezTo>
                    <a:pt x="926" y="125"/>
                    <a:pt x="926" y="125"/>
                    <a:pt x="925" y="125"/>
                  </a:cubicBezTo>
                  <a:cubicBezTo>
                    <a:pt x="925" y="126"/>
                    <a:pt x="925" y="126"/>
                    <a:pt x="925" y="126"/>
                  </a:cubicBezTo>
                  <a:cubicBezTo>
                    <a:pt x="922" y="129"/>
                    <a:pt x="920" y="132"/>
                    <a:pt x="916" y="136"/>
                  </a:cubicBezTo>
                  <a:cubicBezTo>
                    <a:pt x="916" y="136"/>
                    <a:pt x="916" y="136"/>
                    <a:pt x="916" y="136"/>
                  </a:cubicBezTo>
                  <a:cubicBezTo>
                    <a:pt x="917" y="135"/>
                    <a:pt x="917" y="135"/>
                    <a:pt x="918" y="135"/>
                  </a:cubicBezTo>
                  <a:cubicBezTo>
                    <a:pt x="921" y="132"/>
                    <a:pt x="923" y="130"/>
                    <a:pt x="926" y="127"/>
                  </a:cubicBezTo>
                  <a:cubicBezTo>
                    <a:pt x="926" y="126"/>
                    <a:pt x="926" y="126"/>
                    <a:pt x="926" y="126"/>
                  </a:cubicBezTo>
                  <a:cubicBezTo>
                    <a:pt x="927" y="125"/>
                    <a:pt x="928" y="124"/>
                    <a:pt x="928" y="123"/>
                  </a:cubicBezTo>
                  <a:moveTo>
                    <a:pt x="1123" y="131"/>
                  </a:moveTo>
                  <a:cubicBezTo>
                    <a:pt x="1122" y="133"/>
                    <a:pt x="1121" y="136"/>
                    <a:pt x="1120" y="138"/>
                  </a:cubicBezTo>
                  <a:cubicBezTo>
                    <a:pt x="1120" y="138"/>
                    <a:pt x="1121" y="138"/>
                    <a:pt x="1121" y="138"/>
                  </a:cubicBezTo>
                  <a:cubicBezTo>
                    <a:pt x="1122" y="136"/>
                    <a:pt x="1123" y="134"/>
                    <a:pt x="1124" y="131"/>
                  </a:cubicBezTo>
                  <a:cubicBezTo>
                    <a:pt x="1124" y="131"/>
                    <a:pt x="1124" y="131"/>
                    <a:pt x="1123" y="131"/>
                  </a:cubicBezTo>
                  <a:moveTo>
                    <a:pt x="1076" y="136"/>
                  </a:moveTo>
                  <a:cubicBezTo>
                    <a:pt x="1074" y="138"/>
                    <a:pt x="1073" y="140"/>
                    <a:pt x="1071" y="142"/>
                  </a:cubicBezTo>
                  <a:cubicBezTo>
                    <a:pt x="1071" y="142"/>
                    <a:pt x="1071" y="142"/>
                    <a:pt x="1071" y="143"/>
                  </a:cubicBezTo>
                  <a:cubicBezTo>
                    <a:pt x="1073" y="140"/>
                    <a:pt x="1075" y="138"/>
                    <a:pt x="1077" y="136"/>
                  </a:cubicBezTo>
                  <a:cubicBezTo>
                    <a:pt x="1077" y="136"/>
                    <a:pt x="1076" y="136"/>
                    <a:pt x="1076" y="136"/>
                  </a:cubicBezTo>
                  <a:moveTo>
                    <a:pt x="917" y="137"/>
                  </a:moveTo>
                  <a:cubicBezTo>
                    <a:pt x="916" y="137"/>
                    <a:pt x="916" y="137"/>
                    <a:pt x="915" y="137"/>
                  </a:cubicBezTo>
                  <a:cubicBezTo>
                    <a:pt x="913" y="139"/>
                    <a:pt x="912" y="141"/>
                    <a:pt x="910" y="142"/>
                  </a:cubicBezTo>
                  <a:cubicBezTo>
                    <a:pt x="909" y="143"/>
                    <a:pt x="909" y="143"/>
                    <a:pt x="909" y="143"/>
                  </a:cubicBezTo>
                  <a:cubicBezTo>
                    <a:pt x="904" y="149"/>
                    <a:pt x="899" y="154"/>
                    <a:pt x="894" y="159"/>
                  </a:cubicBezTo>
                  <a:cubicBezTo>
                    <a:pt x="894" y="159"/>
                    <a:pt x="893" y="160"/>
                    <a:pt x="893" y="160"/>
                  </a:cubicBezTo>
                  <a:cubicBezTo>
                    <a:pt x="892" y="161"/>
                    <a:pt x="891" y="163"/>
                    <a:pt x="889" y="164"/>
                  </a:cubicBezTo>
                  <a:cubicBezTo>
                    <a:pt x="890" y="164"/>
                    <a:pt x="890" y="164"/>
                    <a:pt x="891" y="164"/>
                  </a:cubicBezTo>
                  <a:cubicBezTo>
                    <a:pt x="892" y="163"/>
                    <a:pt x="893" y="162"/>
                    <a:pt x="894" y="160"/>
                  </a:cubicBezTo>
                  <a:cubicBezTo>
                    <a:pt x="894" y="160"/>
                    <a:pt x="894" y="160"/>
                    <a:pt x="895" y="160"/>
                  </a:cubicBezTo>
                  <a:cubicBezTo>
                    <a:pt x="899" y="154"/>
                    <a:pt x="904" y="149"/>
                    <a:pt x="910" y="144"/>
                  </a:cubicBezTo>
                  <a:cubicBezTo>
                    <a:pt x="910" y="143"/>
                    <a:pt x="910" y="143"/>
                    <a:pt x="911" y="143"/>
                  </a:cubicBezTo>
                  <a:cubicBezTo>
                    <a:pt x="913" y="141"/>
                    <a:pt x="915" y="139"/>
                    <a:pt x="917" y="137"/>
                  </a:cubicBezTo>
                  <a:moveTo>
                    <a:pt x="1119" y="140"/>
                  </a:moveTo>
                  <a:cubicBezTo>
                    <a:pt x="1119" y="140"/>
                    <a:pt x="1119" y="141"/>
                    <a:pt x="1119" y="141"/>
                  </a:cubicBezTo>
                  <a:cubicBezTo>
                    <a:pt x="1119" y="141"/>
                    <a:pt x="1120" y="140"/>
                    <a:pt x="1120" y="140"/>
                  </a:cubicBezTo>
                  <a:cubicBezTo>
                    <a:pt x="1120" y="140"/>
                    <a:pt x="1120" y="140"/>
                    <a:pt x="1119" y="140"/>
                  </a:cubicBezTo>
                  <a:moveTo>
                    <a:pt x="1119" y="142"/>
                  </a:moveTo>
                  <a:cubicBezTo>
                    <a:pt x="1119" y="142"/>
                    <a:pt x="1118" y="143"/>
                    <a:pt x="1117" y="144"/>
                  </a:cubicBezTo>
                  <a:cubicBezTo>
                    <a:pt x="1116" y="146"/>
                    <a:pt x="1115" y="148"/>
                    <a:pt x="1114" y="151"/>
                  </a:cubicBezTo>
                  <a:cubicBezTo>
                    <a:pt x="1113" y="153"/>
                    <a:pt x="1112" y="155"/>
                    <a:pt x="1111" y="157"/>
                  </a:cubicBezTo>
                  <a:cubicBezTo>
                    <a:pt x="1112" y="157"/>
                    <a:pt x="1112" y="156"/>
                    <a:pt x="1113" y="156"/>
                  </a:cubicBezTo>
                  <a:cubicBezTo>
                    <a:pt x="1113" y="156"/>
                    <a:pt x="1113" y="155"/>
                    <a:pt x="1113" y="154"/>
                  </a:cubicBezTo>
                  <a:cubicBezTo>
                    <a:pt x="1115" y="152"/>
                    <a:pt x="1116" y="149"/>
                    <a:pt x="1117" y="146"/>
                  </a:cubicBezTo>
                  <a:cubicBezTo>
                    <a:pt x="1118" y="145"/>
                    <a:pt x="1119" y="143"/>
                    <a:pt x="1119" y="142"/>
                  </a:cubicBezTo>
                  <a:moveTo>
                    <a:pt x="1070" y="142"/>
                  </a:moveTo>
                  <a:cubicBezTo>
                    <a:pt x="1069" y="144"/>
                    <a:pt x="1067" y="146"/>
                    <a:pt x="1066" y="148"/>
                  </a:cubicBezTo>
                  <a:cubicBezTo>
                    <a:pt x="1067" y="147"/>
                    <a:pt x="1067" y="147"/>
                    <a:pt x="1068" y="147"/>
                  </a:cubicBezTo>
                  <a:cubicBezTo>
                    <a:pt x="1069" y="146"/>
                    <a:pt x="1070" y="145"/>
                    <a:pt x="1071" y="143"/>
                  </a:cubicBezTo>
                  <a:cubicBezTo>
                    <a:pt x="1071" y="143"/>
                    <a:pt x="1070" y="143"/>
                    <a:pt x="1070" y="142"/>
                  </a:cubicBezTo>
                  <a:moveTo>
                    <a:pt x="1067" y="149"/>
                  </a:moveTo>
                  <a:cubicBezTo>
                    <a:pt x="1066" y="149"/>
                    <a:pt x="1065" y="149"/>
                    <a:pt x="1065" y="149"/>
                  </a:cubicBezTo>
                  <a:cubicBezTo>
                    <a:pt x="1065" y="150"/>
                    <a:pt x="1065" y="151"/>
                    <a:pt x="1064" y="151"/>
                  </a:cubicBezTo>
                  <a:cubicBezTo>
                    <a:pt x="1065" y="150"/>
                    <a:pt x="1066" y="149"/>
                    <a:pt x="1067" y="149"/>
                  </a:cubicBezTo>
                  <a:moveTo>
                    <a:pt x="1063" y="151"/>
                  </a:moveTo>
                  <a:cubicBezTo>
                    <a:pt x="1062" y="153"/>
                    <a:pt x="1060" y="155"/>
                    <a:pt x="1058" y="157"/>
                  </a:cubicBezTo>
                  <a:cubicBezTo>
                    <a:pt x="1056" y="160"/>
                    <a:pt x="1053" y="163"/>
                    <a:pt x="1051" y="166"/>
                  </a:cubicBezTo>
                  <a:cubicBezTo>
                    <a:pt x="1051" y="166"/>
                    <a:pt x="1052" y="166"/>
                    <a:pt x="1052" y="166"/>
                  </a:cubicBezTo>
                  <a:cubicBezTo>
                    <a:pt x="1054" y="163"/>
                    <a:pt x="1057" y="161"/>
                    <a:pt x="1059" y="158"/>
                  </a:cubicBezTo>
                  <a:cubicBezTo>
                    <a:pt x="1060" y="156"/>
                    <a:pt x="1061" y="155"/>
                    <a:pt x="1063" y="153"/>
                  </a:cubicBezTo>
                  <a:cubicBezTo>
                    <a:pt x="1063" y="152"/>
                    <a:pt x="1063" y="152"/>
                    <a:pt x="1063" y="151"/>
                  </a:cubicBezTo>
                  <a:moveTo>
                    <a:pt x="1112" y="157"/>
                  </a:moveTo>
                  <a:cubicBezTo>
                    <a:pt x="1112" y="158"/>
                    <a:pt x="1111" y="158"/>
                    <a:pt x="1111" y="158"/>
                  </a:cubicBezTo>
                  <a:cubicBezTo>
                    <a:pt x="1110" y="159"/>
                    <a:pt x="1110" y="160"/>
                    <a:pt x="1109" y="161"/>
                  </a:cubicBezTo>
                  <a:cubicBezTo>
                    <a:pt x="1109" y="161"/>
                    <a:pt x="1109" y="162"/>
                    <a:pt x="1108" y="163"/>
                  </a:cubicBezTo>
                  <a:cubicBezTo>
                    <a:pt x="1109" y="162"/>
                    <a:pt x="1109" y="162"/>
                    <a:pt x="1110" y="162"/>
                  </a:cubicBezTo>
                  <a:cubicBezTo>
                    <a:pt x="1111" y="160"/>
                    <a:pt x="1111" y="159"/>
                    <a:pt x="1112" y="157"/>
                  </a:cubicBezTo>
                  <a:moveTo>
                    <a:pt x="1109" y="163"/>
                  </a:moveTo>
                  <a:cubicBezTo>
                    <a:pt x="1109" y="164"/>
                    <a:pt x="1108" y="164"/>
                    <a:pt x="1108" y="164"/>
                  </a:cubicBezTo>
                  <a:cubicBezTo>
                    <a:pt x="1108" y="164"/>
                    <a:pt x="1109" y="164"/>
                    <a:pt x="1109" y="164"/>
                  </a:cubicBezTo>
                  <a:cubicBezTo>
                    <a:pt x="1109" y="164"/>
                    <a:pt x="1109" y="164"/>
                    <a:pt x="1109" y="163"/>
                  </a:cubicBezTo>
                  <a:moveTo>
                    <a:pt x="890" y="165"/>
                  </a:moveTo>
                  <a:cubicBezTo>
                    <a:pt x="889" y="165"/>
                    <a:pt x="889" y="165"/>
                    <a:pt x="888" y="165"/>
                  </a:cubicBezTo>
                  <a:cubicBezTo>
                    <a:pt x="887" y="166"/>
                    <a:pt x="886" y="167"/>
                    <a:pt x="885" y="169"/>
                  </a:cubicBezTo>
                  <a:cubicBezTo>
                    <a:pt x="884" y="170"/>
                    <a:pt x="883" y="172"/>
                    <a:pt x="882" y="174"/>
                  </a:cubicBezTo>
                  <a:cubicBezTo>
                    <a:pt x="883" y="173"/>
                    <a:pt x="884" y="172"/>
                    <a:pt x="884" y="171"/>
                  </a:cubicBezTo>
                  <a:cubicBezTo>
                    <a:pt x="885" y="171"/>
                    <a:pt x="885" y="170"/>
                    <a:pt x="885" y="170"/>
                  </a:cubicBezTo>
                  <a:cubicBezTo>
                    <a:pt x="887" y="168"/>
                    <a:pt x="888" y="167"/>
                    <a:pt x="890" y="165"/>
                  </a:cubicBezTo>
                  <a:moveTo>
                    <a:pt x="1107" y="165"/>
                  </a:moveTo>
                  <a:cubicBezTo>
                    <a:pt x="1106" y="167"/>
                    <a:pt x="1105" y="170"/>
                    <a:pt x="1104" y="172"/>
                  </a:cubicBezTo>
                  <a:cubicBezTo>
                    <a:pt x="1104" y="173"/>
                    <a:pt x="1104" y="173"/>
                    <a:pt x="1105" y="173"/>
                  </a:cubicBezTo>
                  <a:cubicBezTo>
                    <a:pt x="1106" y="170"/>
                    <a:pt x="1107" y="168"/>
                    <a:pt x="1108" y="165"/>
                  </a:cubicBezTo>
                  <a:cubicBezTo>
                    <a:pt x="1108" y="165"/>
                    <a:pt x="1108" y="165"/>
                    <a:pt x="1107" y="165"/>
                  </a:cubicBezTo>
                  <a:moveTo>
                    <a:pt x="1050" y="167"/>
                  </a:moveTo>
                  <a:cubicBezTo>
                    <a:pt x="1047" y="170"/>
                    <a:pt x="1044" y="174"/>
                    <a:pt x="1041" y="178"/>
                  </a:cubicBezTo>
                  <a:cubicBezTo>
                    <a:pt x="1041" y="178"/>
                    <a:pt x="1041" y="178"/>
                    <a:pt x="1042" y="178"/>
                  </a:cubicBezTo>
                  <a:cubicBezTo>
                    <a:pt x="1045" y="174"/>
                    <a:pt x="1048" y="171"/>
                    <a:pt x="1051" y="167"/>
                  </a:cubicBezTo>
                  <a:cubicBezTo>
                    <a:pt x="1051" y="167"/>
                    <a:pt x="1051" y="167"/>
                    <a:pt x="1050" y="167"/>
                  </a:cubicBezTo>
                  <a:moveTo>
                    <a:pt x="881" y="173"/>
                  </a:moveTo>
                  <a:cubicBezTo>
                    <a:pt x="881" y="173"/>
                    <a:pt x="881" y="173"/>
                    <a:pt x="881" y="173"/>
                  </a:cubicBezTo>
                  <a:cubicBezTo>
                    <a:pt x="881" y="174"/>
                    <a:pt x="880" y="174"/>
                    <a:pt x="880" y="174"/>
                  </a:cubicBezTo>
                  <a:cubicBezTo>
                    <a:pt x="880" y="174"/>
                    <a:pt x="880" y="174"/>
                    <a:pt x="880" y="174"/>
                  </a:cubicBezTo>
                  <a:cubicBezTo>
                    <a:pt x="879" y="176"/>
                    <a:pt x="879" y="177"/>
                    <a:pt x="878" y="178"/>
                  </a:cubicBezTo>
                  <a:cubicBezTo>
                    <a:pt x="878" y="178"/>
                    <a:pt x="878" y="178"/>
                    <a:pt x="878" y="178"/>
                  </a:cubicBezTo>
                  <a:cubicBezTo>
                    <a:pt x="879" y="176"/>
                    <a:pt x="880" y="175"/>
                    <a:pt x="881" y="173"/>
                  </a:cubicBezTo>
                  <a:moveTo>
                    <a:pt x="1103" y="173"/>
                  </a:moveTo>
                  <a:cubicBezTo>
                    <a:pt x="1100" y="179"/>
                    <a:pt x="1098" y="184"/>
                    <a:pt x="1095" y="190"/>
                  </a:cubicBezTo>
                  <a:cubicBezTo>
                    <a:pt x="1095" y="190"/>
                    <a:pt x="1096" y="190"/>
                    <a:pt x="1096" y="190"/>
                  </a:cubicBezTo>
                  <a:cubicBezTo>
                    <a:pt x="1099" y="184"/>
                    <a:pt x="1101" y="179"/>
                    <a:pt x="1104" y="174"/>
                  </a:cubicBezTo>
                  <a:cubicBezTo>
                    <a:pt x="1104" y="173"/>
                    <a:pt x="1103" y="173"/>
                    <a:pt x="1103" y="173"/>
                  </a:cubicBezTo>
                  <a:moveTo>
                    <a:pt x="877" y="178"/>
                  </a:moveTo>
                  <a:cubicBezTo>
                    <a:pt x="876" y="178"/>
                    <a:pt x="876" y="179"/>
                    <a:pt x="875" y="180"/>
                  </a:cubicBezTo>
                  <a:cubicBezTo>
                    <a:pt x="875" y="180"/>
                    <a:pt x="875" y="180"/>
                    <a:pt x="875" y="181"/>
                  </a:cubicBezTo>
                  <a:cubicBezTo>
                    <a:pt x="873" y="182"/>
                    <a:pt x="872" y="184"/>
                    <a:pt x="871" y="185"/>
                  </a:cubicBezTo>
                  <a:cubicBezTo>
                    <a:pt x="870" y="186"/>
                    <a:pt x="870" y="186"/>
                    <a:pt x="870" y="186"/>
                  </a:cubicBezTo>
                  <a:cubicBezTo>
                    <a:pt x="869" y="188"/>
                    <a:pt x="867" y="189"/>
                    <a:pt x="866" y="191"/>
                  </a:cubicBezTo>
                  <a:cubicBezTo>
                    <a:pt x="866" y="191"/>
                    <a:pt x="866" y="191"/>
                    <a:pt x="866" y="192"/>
                  </a:cubicBezTo>
                  <a:cubicBezTo>
                    <a:pt x="865" y="192"/>
                    <a:pt x="865" y="192"/>
                    <a:pt x="865" y="192"/>
                  </a:cubicBezTo>
                  <a:cubicBezTo>
                    <a:pt x="866" y="192"/>
                    <a:pt x="866" y="192"/>
                    <a:pt x="867" y="192"/>
                  </a:cubicBezTo>
                  <a:cubicBezTo>
                    <a:pt x="867" y="192"/>
                    <a:pt x="867" y="191"/>
                    <a:pt x="867" y="191"/>
                  </a:cubicBezTo>
                  <a:cubicBezTo>
                    <a:pt x="868" y="190"/>
                    <a:pt x="870" y="188"/>
                    <a:pt x="871" y="187"/>
                  </a:cubicBezTo>
                  <a:cubicBezTo>
                    <a:pt x="871" y="186"/>
                    <a:pt x="871" y="186"/>
                    <a:pt x="871" y="186"/>
                  </a:cubicBezTo>
                  <a:cubicBezTo>
                    <a:pt x="873" y="184"/>
                    <a:pt x="874" y="183"/>
                    <a:pt x="875" y="182"/>
                  </a:cubicBezTo>
                  <a:cubicBezTo>
                    <a:pt x="876" y="180"/>
                    <a:pt x="876" y="179"/>
                    <a:pt x="877" y="178"/>
                  </a:cubicBezTo>
                  <a:moveTo>
                    <a:pt x="1040" y="179"/>
                  </a:moveTo>
                  <a:cubicBezTo>
                    <a:pt x="1039" y="179"/>
                    <a:pt x="1039" y="180"/>
                    <a:pt x="1038" y="181"/>
                  </a:cubicBezTo>
                  <a:cubicBezTo>
                    <a:pt x="1039" y="180"/>
                    <a:pt x="1040" y="180"/>
                    <a:pt x="1041" y="179"/>
                  </a:cubicBezTo>
                  <a:cubicBezTo>
                    <a:pt x="1041" y="179"/>
                    <a:pt x="1041" y="179"/>
                    <a:pt x="1041" y="179"/>
                  </a:cubicBezTo>
                  <a:cubicBezTo>
                    <a:pt x="1041" y="179"/>
                    <a:pt x="1040" y="179"/>
                    <a:pt x="1040" y="179"/>
                  </a:cubicBezTo>
                  <a:moveTo>
                    <a:pt x="1039" y="182"/>
                  </a:moveTo>
                  <a:cubicBezTo>
                    <a:pt x="1038" y="182"/>
                    <a:pt x="1037" y="183"/>
                    <a:pt x="1036" y="183"/>
                  </a:cubicBezTo>
                  <a:cubicBezTo>
                    <a:pt x="1032" y="188"/>
                    <a:pt x="1028" y="192"/>
                    <a:pt x="1024" y="197"/>
                  </a:cubicBezTo>
                  <a:cubicBezTo>
                    <a:pt x="1024" y="197"/>
                    <a:pt x="1025" y="197"/>
                    <a:pt x="1025" y="197"/>
                  </a:cubicBezTo>
                  <a:cubicBezTo>
                    <a:pt x="1030" y="192"/>
                    <a:pt x="1034" y="187"/>
                    <a:pt x="1039" y="182"/>
                  </a:cubicBezTo>
                  <a:moveTo>
                    <a:pt x="1095" y="190"/>
                  </a:moveTo>
                  <a:cubicBezTo>
                    <a:pt x="1091" y="197"/>
                    <a:pt x="1088" y="203"/>
                    <a:pt x="1085" y="208"/>
                  </a:cubicBezTo>
                  <a:cubicBezTo>
                    <a:pt x="1085" y="209"/>
                    <a:pt x="1086" y="209"/>
                    <a:pt x="1086" y="209"/>
                  </a:cubicBezTo>
                  <a:cubicBezTo>
                    <a:pt x="1089" y="203"/>
                    <a:pt x="1092" y="197"/>
                    <a:pt x="1096" y="191"/>
                  </a:cubicBezTo>
                  <a:cubicBezTo>
                    <a:pt x="1095" y="191"/>
                    <a:pt x="1095" y="190"/>
                    <a:pt x="1095" y="190"/>
                  </a:cubicBezTo>
                  <a:moveTo>
                    <a:pt x="866" y="193"/>
                  </a:moveTo>
                  <a:cubicBezTo>
                    <a:pt x="865" y="193"/>
                    <a:pt x="865" y="193"/>
                    <a:pt x="864" y="193"/>
                  </a:cubicBezTo>
                  <a:cubicBezTo>
                    <a:pt x="862" y="196"/>
                    <a:pt x="860" y="198"/>
                    <a:pt x="858" y="201"/>
                  </a:cubicBezTo>
                  <a:cubicBezTo>
                    <a:pt x="858" y="201"/>
                    <a:pt x="858" y="201"/>
                    <a:pt x="858" y="202"/>
                  </a:cubicBezTo>
                  <a:cubicBezTo>
                    <a:pt x="853" y="208"/>
                    <a:pt x="849" y="215"/>
                    <a:pt x="845" y="220"/>
                  </a:cubicBezTo>
                  <a:cubicBezTo>
                    <a:pt x="845" y="221"/>
                    <a:pt x="845" y="221"/>
                    <a:pt x="845" y="221"/>
                  </a:cubicBezTo>
                  <a:cubicBezTo>
                    <a:pt x="840" y="229"/>
                    <a:pt x="837" y="235"/>
                    <a:pt x="835" y="241"/>
                  </a:cubicBezTo>
                  <a:cubicBezTo>
                    <a:pt x="835" y="242"/>
                    <a:pt x="834" y="242"/>
                    <a:pt x="834" y="242"/>
                  </a:cubicBezTo>
                  <a:cubicBezTo>
                    <a:pt x="833" y="248"/>
                    <a:pt x="832" y="253"/>
                    <a:pt x="832" y="257"/>
                  </a:cubicBezTo>
                  <a:cubicBezTo>
                    <a:pt x="832" y="257"/>
                    <a:pt x="832" y="258"/>
                    <a:pt x="832" y="258"/>
                  </a:cubicBezTo>
                  <a:cubicBezTo>
                    <a:pt x="832" y="258"/>
                    <a:pt x="832" y="257"/>
                    <a:pt x="833" y="257"/>
                  </a:cubicBezTo>
                  <a:cubicBezTo>
                    <a:pt x="833" y="253"/>
                    <a:pt x="834" y="248"/>
                    <a:pt x="835" y="243"/>
                  </a:cubicBezTo>
                  <a:cubicBezTo>
                    <a:pt x="835" y="243"/>
                    <a:pt x="835" y="242"/>
                    <a:pt x="836" y="242"/>
                  </a:cubicBezTo>
                  <a:cubicBezTo>
                    <a:pt x="838" y="236"/>
                    <a:pt x="841" y="229"/>
                    <a:pt x="845" y="222"/>
                  </a:cubicBezTo>
                  <a:cubicBezTo>
                    <a:pt x="846" y="221"/>
                    <a:pt x="846" y="221"/>
                    <a:pt x="846" y="221"/>
                  </a:cubicBezTo>
                  <a:cubicBezTo>
                    <a:pt x="849" y="215"/>
                    <a:pt x="854" y="209"/>
                    <a:pt x="859" y="202"/>
                  </a:cubicBezTo>
                  <a:cubicBezTo>
                    <a:pt x="859" y="202"/>
                    <a:pt x="859" y="202"/>
                    <a:pt x="859" y="201"/>
                  </a:cubicBezTo>
                  <a:cubicBezTo>
                    <a:pt x="861" y="199"/>
                    <a:pt x="863" y="196"/>
                    <a:pt x="866" y="193"/>
                  </a:cubicBezTo>
                  <a:moveTo>
                    <a:pt x="1023" y="198"/>
                  </a:moveTo>
                  <a:cubicBezTo>
                    <a:pt x="1022" y="199"/>
                    <a:pt x="1020" y="201"/>
                    <a:pt x="1019" y="202"/>
                  </a:cubicBezTo>
                  <a:cubicBezTo>
                    <a:pt x="1020" y="202"/>
                    <a:pt x="1020" y="202"/>
                    <a:pt x="1021" y="202"/>
                  </a:cubicBezTo>
                  <a:cubicBezTo>
                    <a:pt x="1022" y="201"/>
                    <a:pt x="1023" y="199"/>
                    <a:pt x="1024" y="198"/>
                  </a:cubicBezTo>
                  <a:cubicBezTo>
                    <a:pt x="1024" y="198"/>
                    <a:pt x="1023" y="198"/>
                    <a:pt x="1023" y="198"/>
                  </a:cubicBezTo>
                  <a:moveTo>
                    <a:pt x="1020" y="203"/>
                  </a:moveTo>
                  <a:cubicBezTo>
                    <a:pt x="1019" y="203"/>
                    <a:pt x="1019" y="203"/>
                    <a:pt x="1018" y="203"/>
                  </a:cubicBezTo>
                  <a:cubicBezTo>
                    <a:pt x="1014" y="207"/>
                    <a:pt x="1011" y="211"/>
                    <a:pt x="1007" y="215"/>
                  </a:cubicBezTo>
                  <a:cubicBezTo>
                    <a:pt x="1008" y="215"/>
                    <a:pt x="1008" y="215"/>
                    <a:pt x="1009" y="214"/>
                  </a:cubicBezTo>
                  <a:cubicBezTo>
                    <a:pt x="1013" y="211"/>
                    <a:pt x="1016" y="207"/>
                    <a:pt x="1020" y="203"/>
                  </a:cubicBezTo>
                  <a:moveTo>
                    <a:pt x="1085" y="209"/>
                  </a:moveTo>
                  <a:cubicBezTo>
                    <a:pt x="1084" y="211"/>
                    <a:pt x="1083" y="213"/>
                    <a:pt x="1082" y="215"/>
                  </a:cubicBezTo>
                  <a:cubicBezTo>
                    <a:pt x="1082" y="215"/>
                    <a:pt x="1082" y="215"/>
                    <a:pt x="1083" y="215"/>
                  </a:cubicBezTo>
                  <a:cubicBezTo>
                    <a:pt x="1084" y="213"/>
                    <a:pt x="1085" y="211"/>
                    <a:pt x="1086" y="210"/>
                  </a:cubicBezTo>
                  <a:cubicBezTo>
                    <a:pt x="1085" y="210"/>
                    <a:pt x="1085" y="209"/>
                    <a:pt x="1085" y="209"/>
                  </a:cubicBezTo>
                  <a:moveTo>
                    <a:pt x="1081" y="216"/>
                  </a:moveTo>
                  <a:cubicBezTo>
                    <a:pt x="1077" y="224"/>
                    <a:pt x="1072" y="232"/>
                    <a:pt x="1068" y="240"/>
                  </a:cubicBezTo>
                  <a:cubicBezTo>
                    <a:pt x="1068" y="240"/>
                    <a:pt x="1068" y="240"/>
                    <a:pt x="1069" y="240"/>
                  </a:cubicBezTo>
                  <a:cubicBezTo>
                    <a:pt x="1073" y="232"/>
                    <a:pt x="1078" y="224"/>
                    <a:pt x="1082" y="216"/>
                  </a:cubicBezTo>
                  <a:cubicBezTo>
                    <a:pt x="1082" y="216"/>
                    <a:pt x="1082" y="216"/>
                    <a:pt x="1081" y="216"/>
                  </a:cubicBezTo>
                  <a:moveTo>
                    <a:pt x="1007" y="216"/>
                  </a:moveTo>
                  <a:cubicBezTo>
                    <a:pt x="1007" y="216"/>
                    <a:pt x="1007" y="216"/>
                    <a:pt x="1006" y="217"/>
                  </a:cubicBezTo>
                  <a:cubicBezTo>
                    <a:pt x="1006" y="217"/>
                    <a:pt x="1006" y="217"/>
                    <a:pt x="1005" y="217"/>
                  </a:cubicBezTo>
                  <a:cubicBezTo>
                    <a:pt x="1003" y="219"/>
                    <a:pt x="1001" y="221"/>
                    <a:pt x="1000" y="223"/>
                  </a:cubicBezTo>
                  <a:cubicBezTo>
                    <a:pt x="1001" y="221"/>
                    <a:pt x="1003" y="220"/>
                    <a:pt x="1005" y="219"/>
                  </a:cubicBezTo>
                  <a:cubicBezTo>
                    <a:pt x="1006" y="218"/>
                    <a:pt x="1007" y="217"/>
                    <a:pt x="1007" y="216"/>
                  </a:cubicBezTo>
                  <a:moveTo>
                    <a:pt x="1000" y="224"/>
                  </a:moveTo>
                  <a:cubicBezTo>
                    <a:pt x="997" y="226"/>
                    <a:pt x="995" y="228"/>
                    <a:pt x="992" y="231"/>
                  </a:cubicBezTo>
                  <a:cubicBezTo>
                    <a:pt x="992" y="232"/>
                    <a:pt x="991" y="232"/>
                    <a:pt x="991" y="233"/>
                  </a:cubicBezTo>
                  <a:cubicBezTo>
                    <a:pt x="994" y="230"/>
                    <a:pt x="997" y="227"/>
                    <a:pt x="1000" y="224"/>
                  </a:cubicBezTo>
                  <a:moveTo>
                    <a:pt x="990" y="233"/>
                  </a:moveTo>
                  <a:cubicBezTo>
                    <a:pt x="990" y="233"/>
                    <a:pt x="990" y="233"/>
                    <a:pt x="990" y="233"/>
                  </a:cubicBezTo>
                  <a:cubicBezTo>
                    <a:pt x="989" y="234"/>
                    <a:pt x="989" y="234"/>
                    <a:pt x="989" y="234"/>
                  </a:cubicBezTo>
                  <a:cubicBezTo>
                    <a:pt x="989" y="234"/>
                    <a:pt x="990" y="233"/>
                    <a:pt x="990" y="233"/>
                  </a:cubicBezTo>
                  <a:moveTo>
                    <a:pt x="988" y="235"/>
                  </a:moveTo>
                  <a:cubicBezTo>
                    <a:pt x="987" y="235"/>
                    <a:pt x="987" y="235"/>
                    <a:pt x="987" y="236"/>
                  </a:cubicBezTo>
                  <a:cubicBezTo>
                    <a:pt x="987" y="236"/>
                    <a:pt x="987" y="236"/>
                    <a:pt x="986" y="237"/>
                  </a:cubicBezTo>
                  <a:cubicBezTo>
                    <a:pt x="986" y="237"/>
                    <a:pt x="986" y="237"/>
                    <a:pt x="986" y="238"/>
                  </a:cubicBezTo>
                  <a:cubicBezTo>
                    <a:pt x="986" y="238"/>
                    <a:pt x="987" y="237"/>
                    <a:pt x="987" y="237"/>
                  </a:cubicBezTo>
                  <a:cubicBezTo>
                    <a:pt x="987" y="237"/>
                    <a:pt x="987" y="236"/>
                    <a:pt x="988" y="235"/>
                  </a:cubicBezTo>
                  <a:moveTo>
                    <a:pt x="985" y="238"/>
                  </a:moveTo>
                  <a:cubicBezTo>
                    <a:pt x="985" y="239"/>
                    <a:pt x="985" y="239"/>
                    <a:pt x="985" y="239"/>
                  </a:cubicBezTo>
                  <a:cubicBezTo>
                    <a:pt x="985" y="239"/>
                    <a:pt x="985" y="239"/>
                    <a:pt x="985" y="239"/>
                  </a:cubicBezTo>
                  <a:cubicBezTo>
                    <a:pt x="985" y="239"/>
                    <a:pt x="985" y="238"/>
                    <a:pt x="985" y="238"/>
                  </a:cubicBezTo>
                  <a:moveTo>
                    <a:pt x="1067" y="241"/>
                  </a:moveTo>
                  <a:cubicBezTo>
                    <a:pt x="1060" y="252"/>
                    <a:pt x="1054" y="263"/>
                    <a:pt x="1047" y="273"/>
                  </a:cubicBezTo>
                  <a:cubicBezTo>
                    <a:pt x="1047" y="273"/>
                    <a:pt x="1047" y="274"/>
                    <a:pt x="1048" y="274"/>
                  </a:cubicBezTo>
                  <a:cubicBezTo>
                    <a:pt x="1048" y="273"/>
                    <a:pt x="1048" y="273"/>
                    <a:pt x="1048" y="273"/>
                  </a:cubicBezTo>
                  <a:cubicBezTo>
                    <a:pt x="1055" y="262"/>
                    <a:pt x="1062" y="252"/>
                    <a:pt x="1068" y="241"/>
                  </a:cubicBezTo>
                  <a:cubicBezTo>
                    <a:pt x="1068" y="241"/>
                    <a:pt x="1067" y="241"/>
                    <a:pt x="1067" y="241"/>
                  </a:cubicBezTo>
                  <a:moveTo>
                    <a:pt x="981" y="242"/>
                  </a:moveTo>
                  <a:cubicBezTo>
                    <a:pt x="981" y="243"/>
                    <a:pt x="980" y="243"/>
                    <a:pt x="980" y="244"/>
                  </a:cubicBezTo>
                  <a:cubicBezTo>
                    <a:pt x="980" y="244"/>
                    <a:pt x="980" y="243"/>
                    <a:pt x="980" y="243"/>
                  </a:cubicBezTo>
                  <a:cubicBezTo>
                    <a:pt x="981" y="243"/>
                    <a:pt x="981" y="243"/>
                    <a:pt x="981" y="242"/>
                  </a:cubicBezTo>
                  <a:moveTo>
                    <a:pt x="979" y="243"/>
                  </a:moveTo>
                  <a:cubicBezTo>
                    <a:pt x="979" y="244"/>
                    <a:pt x="978" y="244"/>
                    <a:pt x="977" y="245"/>
                  </a:cubicBezTo>
                  <a:cubicBezTo>
                    <a:pt x="977" y="245"/>
                    <a:pt x="977" y="246"/>
                    <a:pt x="977" y="246"/>
                  </a:cubicBezTo>
                  <a:cubicBezTo>
                    <a:pt x="978" y="245"/>
                    <a:pt x="978" y="244"/>
                    <a:pt x="979" y="243"/>
                  </a:cubicBezTo>
                  <a:moveTo>
                    <a:pt x="613" y="246"/>
                  </a:moveTo>
                  <a:cubicBezTo>
                    <a:pt x="612" y="247"/>
                    <a:pt x="612" y="247"/>
                    <a:pt x="611" y="248"/>
                  </a:cubicBezTo>
                  <a:cubicBezTo>
                    <a:pt x="610" y="252"/>
                    <a:pt x="608" y="256"/>
                    <a:pt x="606" y="260"/>
                  </a:cubicBezTo>
                  <a:cubicBezTo>
                    <a:pt x="605" y="261"/>
                    <a:pt x="605" y="261"/>
                    <a:pt x="605" y="262"/>
                  </a:cubicBezTo>
                  <a:cubicBezTo>
                    <a:pt x="603" y="266"/>
                    <a:pt x="600" y="270"/>
                    <a:pt x="598" y="275"/>
                  </a:cubicBezTo>
                  <a:cubicBezTo>
                    <a:pt x="597" y="275"/>
                    <a:pt x="597" y="275"/>
                    <a:pt x="597" y="276"/>
                  </a:cubicBezTo>
                  <a:cubicBezTo>
                    <a:pt x="594" y="280"/>
                    <a:pt x="592" y="284"/>
                    <a:pt x="589" y="288"/>
                  </a:cubicBezTo>
                  <a:cubicBezTo>
                    <a:pt x="589" y="288"/>
                    <a:pt x="589" y="288"/>
                    <a:pt x="588" y="289"/>
                  </a:cubicBezTo>
                  <a:cubicBezTo>
                    <a:pt x="586" y="292"/>
                    <a:pt x="584" y="295"/>
                    <a:pt x="581" y="298"/>
                  </a:cubicBezTo>
                  <a:cubicBezTo>
                    <a:pt x="581" y="299"/>
                    <a:pt x="581" y="299"/>
                    <a:pt x="581" y="300"/>
                  </a:cubicBezTo>
                  <a:cubicBezTo>
                    <a:pt x="584" y="297"/>
                    <a:pt x="586" y="293"/>
                    <a:pt x="589" y="290"/>
                  </a:cubicBezTo>
                  <a:cubicBezTo>
                    <a:pt x="589" y="290"/>
                    <a:pt x="589" y="289"/>
                    <a:pt x="589" y="289"/>
                  </a:cubicBezTo>
                  <a:cubicBezTo>
                    <a:pt x="592" y="285"/>
                    <a:pt x="595" y="281"/>
                    <a:pt x="597" y="277"/>
                  </a:cubicBezTo>
                  <a:cubicBezTo>
                    <a:pt x="597" y="277"/>
                    <a:pt x="598" y="276"/>
                    <a:pt x="598" y="276"/>
                  </a:cubicBezTo>
                  <a:cubicBezTo>
                    <a:pt x="600" y="272"/>
                    <a:pt x="603" y="268"/>
                    <a:pt x="605" y="263"/>
                  </a:cubicBezTo>
                  <a:cubicBezTo>
                    <a:pt x="605" y="263"/>
                    <a:pt x="606" y="262"/>
                    <a:pt x="606" y="262"/>
                  </a:cubicBezTo>
                  <a:cubicBezTo>
                    <a:pt x="608" y="257"/>
                    <a:pt x="611" y="252"/>
                    <a:pt x="613" y="246"/>
                  </a:cubicBezTo>
                  <a:moveTo>
                    <a:pt x="976" y="246"/>
                  </a:moveTo>
                  <a:cubicBezTo>
                    <a:pt x="976" y="247"/>
                    <a:pt x="975" y="247"/>
                    <a:pt x="975" y="247"/>
                  </a:cubicBezTo>
                  <a:cubicBezTo>
                    <a:pt x="975" y="247"/>
                    <a:pt x="975" y="247"/>
                    <a:pt x="974" y="248"/>
                  </a:cubicBezTo>
                  <a:cubicBezTo>
                    <a:pt x="974" y="248"/>
                    <a:pt x="974" y="248"/>
                    <a:pt x="973" y="248"/>
                  </a:cubicBezTo>
                  <a:cubicBezTo>
                    <a:pt x="973" y="248"/>
                    <a:pt x="973" y="248"/>
                    <a:pt x="973" y="248"/>
                  </a:cubicBezTo>
                  <a:cubicBezTo>
                    <a:pt x="973" y="249"/>
                    <a:pt x="973" y="249"/>
                    <a:pt x="972" y="250"/>
                  </a:cubicBezTo>
                  <a:cubicBezTo>
                    <a:pt x="970" y="252"/>
                    <a:pt x="967" y="254"/>
                    <a:pt x="964" y="256"/>
                  </a:cubicBezTo>
                  <a:cubicBezTo>
                    <a:pt x="964" y="257"/>
                    <a:pt x="964" y="257"/>
                    <a:pt x="964" y="257"/>
                  </a:cubicBezTo>
                  <a:cubicBezTo>
                    <a:pt x="961" y="260"/>
                    <a:pt x="958" y="262"/>
                    <a:pt x="955" y="264"/>
                  </a:cubicBezTo>
                  <a:cubicBezTo>
                    <a:pt x="953" y="266"/>
                    <a:pt x="951" y="268"/>
                    <a:pt x="949" y="270"/>
                  </a:cubicBezTo>
                  <a:cubicBezTo>
                    <a:pt x="951" y="269"/>
                    <a:pt x="953" y="268"/>
                    <a:pt x="954" y="266"/>
                  </a:cubicBezTo>
                  <a:cubicBezTo>
                    <a:pt x="955" y="266"/>
                    <a:pt x="955" y="266"/>
                    <a:pt x="955" y="266"/>
                  </a:cubicBezTo>
                  <a:cubicBezTo>
                    <a:pt x="958" y="263"/>
                    <a:pt x="961" y="261"/>
                    <a:pt x="964" y="258"/>
                  </a:cubicBezTo>
                  <a:cubicBezTo>
                    <a:pt x="964" y="258"/>
                    <a:pt x="965" y="258"/>
                    <a:pt x="965" y="257"/>
                  </a:cubicBezTo>
                  <a:cubicBezTo>
                    <a:pt x="967" y="255"/>
                    <a:pt x="969" y="253"/>
                    <a:pt x="972" y="251"/>
                  </a:cubicBezTo>
                  <a:cubicBezTo>
                    <a:pt x="972" y="251"/>
                    <a:pt x="973" y="251"/>
                    <a:pt x="973" y="250"/>
                  </a:cubicBezTo>
                  <a:cubicBezTo>
                    <a:pt x="973" y="250"/>
                    <a:pt x="974" y="250"/>
                    <a:pt x="974" y="249"/>
                  </a:cubicBezTo>
                  <a:cubicBezTo>
                    <a:pt x="974" y="249"/>
                    <a:pt x="974" y="249"/>
                    <a:pt x="975" y="249"/>
                  </a:cubicBezTo>
                  <a:cubicBezTo>
                    <a:pt x="975" y="249"/>
                    <a:pt x="975" y="249"/>
                    <a:pt x="975" y="249"/>
                  </a:cubicBezTo>
                  <a:cubicBezTo>
                    <a:pt x="975" y="248"/>
                    <a:pt x="975" y="247"/>
                    <a:pt x="976" y="246"/>
                  </a:cubicBezTo>
                  <a:moveTo>
                    <a:pt x="833" y="258"/>
                  </a:moveTo>
                  <a:cubicBezTo>
                    <a:pt x="832" y="259"/>
                    <a:pt x="832" y="259"/>
                    <a:pt x="832" y="259"/>
                  </a:cubicBezTo>
                  <a:cubicBezTo>
                    <a:pt x="832" y="263"/>
                    <a:pt x="833" y="267"/>
                    <a:pt x="835" y="270"/>
                  </a:cubicBezTo>
                  <a:cubicBezTo>
                    <a:pt x="835" y="271"/>
                    <a:pt x="836" y="272"/>
                    <a:pt x="836" y="273"/>
                  </a:cubicBezTo>
                  <a:cubicBezTo>
                    <a:pt x="838" y="274"/>
                    <a:pt x="839" y="276"/>
                    <a:pt x="840" y="277"/>
                  </a:cubicBezTo>
                  <a:cubicBezTo>
                    <a:pt x="840" y="277"/>
                    <a:pt x="841" y="276"/>
                    <a:pt x="841" y="276"/>
                  </a:cubicBezTo>
                  <a:cubicBezTo>
                    <a:pt x="841" y="276"/>
                    <a:pt x="841" y="276"/>
                    <a:pt x="841" y="276"/>
                  </a:cubicBezTo>
                  <a:cubicBezTo>
                    <a:pt x="840" y="276"/>
                    <a:pt x="840" y="275"/>
                    <a:pt x="840" y="275"/>
                  </a:cubicBezTo>
                  <a:cubicBezTo>
                    <a:pt x="839" y="274"/>
                    <a:pt x="838" y="273"/>
                    <a:pt x="837" y="272"/>
                  </a:cubicBezTo>
                  <a:cubicBezTo>
                    <a:pt x="834" y="268"/>
                    <a:pt x="833" y="264"/>
                    <a:pt x="833" y="258"/>
                  </a:cubicBezTo>
                  <a:moveTo>
                    <a:pt x="948" y="270"/>
                  </a:moveTo>
                  <a:cubicBezTo>
                    <a:pt x="947" y="271"/>
                    <a:pt x="946" y="271"/>
                    <a:pt x="945" y="272"/>
                  </a:cubicBezTo>
                  <a:cubicBezTo>
                    <a:pt x="945" y="272"/>
                    <a:pt x="944" y="273"/>
                    <a:pt x="944" y="273"/>
                  </a:cubicBezTo>
                  <a:cubicBezTo>
                    <a:pt x="940" y="275"/>
                    <a:pt x="937" y="278"/>
                    <a:pt x="933" y="280"/>
                  </a:cubicBezTo>
                  <a:cubicBezTo>
                    <a:pt x="933" y="280"/>
                    <a:pt x="933" y="281"/>
                    <a:pt x="933" y="281"/>
                  </a:cubicBezTo>
                  <a:cubicBezTo>
                    <a:pt x="930" y="283"/>
                    <a:pt x="927" y="284"/>
                    <a:pt x="924" y="286"/>
                  </a:cubicBezTo>
                  <a:cubicBezTo>
                    <a:pt x="924" y="286"/>
                    <a:pt x="924" y="287"/>
                    <a:pt x="924" y="287"/>
                  </a:cubicBezTo>
                  <a:cubicBezTo>
                    <a:pt x="927" y="285"/>
                    <a:pt x="930" y="284"/>
                    <a:pt x="933" y="282"/>
                  </a:cubicBezTo>
                  <a:cubicBezTo>
                    <a:pt x="933" y="282"/>
                    <a:pt x="933" y="281"/>
                    <a:pt x="934" y="281"/>
                  </a:cubicBezTo>
                  <a:cubicBezTo>
                    <a:pt x="937" y="279"/>
                    <a:pt x="940" y="277"/>
                    <a:pt x="943" y="275"/>
                  </a:cubicBezTo>
                  <a:cubicBezTo>
                    <a:pt x="944" y="273"/>
                    <a:pt x="946" y="271"/>
                    <a:pt x="948" y="270"/>
                  </a:cubicBezTo>
                  <a:moveTo>
                    <a:pt x="1046" y="274"/>
                  </a:moveTo>
                  <a:cubicBezTo>
                    <a:pt x="1045" y="275"/>
                    <a:pt x="1044" y="277"/>
                    <a:pt x="1044" y="278"/>
                  </a:cubicBezTo>
                  <a:cubicBezTo>
                    <a:pt x="1043" y="279"/>
                    <a:pt x="1043" y="279"/>
                    <a:pt x="1043" y="280"/>
                  </a:cubicBezTo>
                  <a:cubicBezTo>
                    <a:pt x="1044" y="279"/>
                    <a:pt x="1044" y="279"/>
                    <a:pt x="1044" y="279"/>
                  </a:cubicBezTo>
                  <a:cubicBezTo>
                    <a:pt x="1045" y="277"/>
                    <a:pt x="1046" y="276"/>
                    <a:pt x="1047" y="275"/>
                  </a:cubicBezTo>
                  <a:cubicBezTo>
                    <a:pt x="1047" y="274"/>
                    <a:pt x="1046" y="274"/>
                    <a:pt x="1046" y="274"/>
                  </a:cubicBezTo>
                  <a:moveTo>
                    <a:pt x="842" y="277"/>
                  </a:moveTo>
                  <a:cubicBezTo>
                    <a:pt x="841" y="277"/>
                    <a:pt x="841" y="277"/>
                    <a:pt x="841" y="278"/>
                  </a:cubicBezTo>
                  <a:cubicBezTo>
                    <a:pt x="841" y="278"/>
                    <a:pt x="841" y="278"/>
                    <a:pt x="841" y="278"/>
                  </a:cubicBezTo>
                  <a:cubicBezTo>
                    <a:pt x="844" y="280"/>
                    <a:pt x="847" y="282"/>
                    <a:pt x="851" y="284"/>
                  </a:cubicBezTo>
                  <a:cubicBezTo>
                    <a:pt x="852" y="284"/>
                    <a:pt x="853" y="285"/>
                    <a:pt x="854" y="285"/>
                  </a:cubicBezTo>
                  <a:cubicBezTo>
                    <a:pt x="855" y="286"/>
                    <a:pt x="855" y="286"/>
                    <a:pt x="856" y="286"/>
                  </a:cubicBezTo>
                  <a:cubicBezTo>
                    <a:pt x="856" y="286"/>
                    <a:pt x="857" y="286"/>
                    <a:pt x="857" y="285"/>
                  </a:cubicBezTo>
                  <a:cubicBezTo>
                    <a:pt x="855" y="285"/>
                    <a:pt x="853" y="284"/>
                    <a:pt x="852" y="283"/>
                  </a:cubicBezTo>
                  <a:cubicBezTo>
                    <a:pt x="850" y="282"/>
                    <a:pt x="848" y="282"/>
                    <a:pt x="847" y="281"/>
                  </a:cubicBezTo>
                  <a:cubicBezTo>
                    <a:pt x="845" y="279"/>
                    <a:pt x="843" y="278"/>
                    <a:pt x="842" y="277"/>
                  </a:cubicBezTo>
                  <a:moveTo>
                    <a:pt x="1042" y="280"/>
                  </a:moveTo>
                  <a:cubicBezTo>
                    <a:pt x="1041" y="282"/>
                    <a:pt x="1040" y="283"/>
                    <a:pt x="1038" y="285"/>
                  </a:cubicBezTo>
                  <a:cubicBezTo>
                    <a:pt x="1029" y="300"/>
                    <a:pt x="1018" y="313"/>
                    <a:pt x="1008" y="326"/>
                  </a:cubicBezTo>
                  <a:cubicBezTo>
                    <a:pt x="1008" y="326"/>
                    <a:pt x="1008" y="327"/>
                    <a:pt x="1008" y="327"/>
                  </a:cubicBezTo>
                  <a:cubicBezTo>
                    <a:pt x="1020" y="313"/>
                    <a:pt x="1031" y="298"/>
                    <a:pt x="1042" y="282"/>
                  </a:cubicBezTo>
                  <a:cubicBezTo>
                    <a:pt x="1042" y="281"/>
                    <a:pt x="1042" y="280"/>
                    <a:pt x="1042" y="280"/>
                  </a:cubicBezTo>
                  <a:moveTo>
                    <a:pt x="858" y="286"/>
                  </a:moveTo>
                  <a:cubicBezTo>
                    <a:pt x="858" y="286"/>
                    <a:pt x="857" y="286"/>
                    <a:pt x="857" y="287"/>
                  </a:cubicBezTo>
                  <a:cubicBezTo>
                    <a:pt x="857" y="287"/>
                    <a:pt x="858" y="287"/>
                    <a:pt x="858" y="287"/>
                  </a:cubicBezTo>
                  <a:cubicBezTo>
                    <a:pt x="858" y="287"/>
                    <a:pt x="858" y="286"/>
                    <a:pt x="858" y="286"/>
                  </a:cubicBezTo>
                  <a:cubicBezTo>
                    <a:pt x="858" y="286"/>
                    <a:pt x="858" y="286"/>
                    <a:pt x="858" y="286"/>
                  </a:cubicBezTo>
                  <a:moveTo>
                    <a:pt x="859" y="286"/>
                  </a:moveTo>
                  <a:cubicBezTo>
                    <a:pt x="859" y="287"/>
                    <a:pt x="859" y="287"/>
                    <a:pt x="859" y="287"/>
                  </a:cubicBezTo>
                  <a:cubicBezTo>
                    <a:pt x="861" y="288"/>
                    <a:pt x="862" y="288"/>
                    <a:pt x="864" y="289"/>
                  </a:cubicBezTo>
                  <a:cubicBezTo>
                    <a:pt x="864" y="289"/>
                    <a:pt x="865" y="289"/>
                    <a:pt x="865" y="289"/>
                  </a:cubicBezTo>
                  <a:cubicBezTo>
                    <a:pt x="867" y="290"/>
                    <a:pt x="869" y="290"/>
                    <a:pt x="871" y="290"/>
                  </a:cubicBezTo>
                  <a:cubicBezTo>
                    <a:pt x="871" y="290"/>
                    <a:pt x="872" y="290"/>
                    <a:pt x="872" y="290"/>
                  </a:cubicBezTo>
                  <a:cubicBezTo>
                    <a:pt x="870" y="289"/>
                    <a:pt x="868" y="289"/>
                    <a:pt x="866" y="288"/>
                  </a:cubicBezTo>
                  <a:cubicBezTo>
                    <a:pt x="866" y="288"/>
                    <a:pt x="865" y="288"/>
                    <a:pt x="865" y="288"/>
                  </a:cubicBezTo>
                  <a:cubicBezTo>
                    <a:pt x="863" y="287"/>
                    <a:pt x="861" y="287"/>
                    <a:pt x="859" y="286"/>
                  </a:cubicBezTo>
                  <a:moveTo>
                    <a:pt x="923" y="287"/>
                  </a:moveTo>
                  <a:cubicBezTo>
                    <a:pt x="921" y="288"/>
                    <a:pt x="919" y="289"/>
                    <a:pt x="917" y="289"/>
                  </a:cubicBezTo>
                  <a:cubicBezTo>
                    <a:pt x="917" y="290"/>
                    <a:pt x="917" y="290"/>
                    <a:pt x="917" y="290"/>
                  </a:cubicBezTo>
                  <a:cubicBezTo>
                    <a:pt x="913" y="292"/>
                    <a:pt x="909" y="293"/>
                    <a:pt x="906" y="294"/>
                  </a:cubicBezTo>
                  <a:cubicBezTo>
                    <a:pt x="902" y="294"/>
                    <a:pt x="899" y="294"/>
                    <a:pt x="896" y="294"/>
                  </a:cubicBezTo>
                  <a:cubicBezTo>
                    <a:pt x="896" y="293"/>
                    <a:pt x="896" y="293"/>
                    <a:pt x="895" y="293"/>
                  </a:cubicBezTo>
                  <a:cubicBezTo>
                    <a:pt x="895" y="293"/>
                    <a:pt x="895" y="293"/>
                    <a:pt x="895" y="293"/>
                  </a:cubicBezTo>
                  <a:cubicBezTo>
                    <a:pt x="894" y="293"/>
                    <a:pt x="894" y="293"/>
                    <a:pt x="893" y="293"/>
                  </a:cubicBezTo>
                  <a:cubicBezTo>
                    <a:pt x="891" y="293"/>
                    <a:pt x="890" y="293"/>
                    <a:pt x="888" y="292"/>
                  </a:cubicBezTo>
                  <a:cubicBezTo>
                    <a:pt x="888" y="293"/>
                    <a:pt x="887" y="293"/>
                    <a:pt x="887" y="293"/>
                  </a:cubicBezTo>
                  <a:cubicBezTo>
                    <a:pt x="889" y="294"/>
                    <a:pt x="892" y="294"/>
                    <a:pt x="894" y="294"/>
                  </a:cubicBezTo>
                  <a:cubicBezTo>
                    <a:pt x="894" y="294"/>
                    <a:pt x="894" y="294"/>
                    <a:pt x="894" y="294"/>
                  </a:cubicBezTo>
                  <a:cubicBezTo>
                    <a:pt x="895" y="294"/>
                    <a:pt x="895" y="294"/>
                    <a:pt x="896" y="294"/>
                  </a:cubicBezTo>
                  <a:cubicBezTo>
                    <a:pt x="899" y="295"/>
                    <a:pt x="902" y="295"/>
                    <a:pt x="906" y="295"/>
                  </a:cubicBezTo>
                  <a:cubicBezTo>
                    <a:pt x="909" y="294"/>
                    <a:pt x="913" y="293"/>
                    <a:pt x="917" y="291"/>
                  </a:cubicBezTo>
                  <a:cubicBezTo>
                    <a:pt x="917" y="291"/>
                    <a:pt x="918" y="290"/>
                    <a:pt x="918" y="290"/>
                  </a:cubicBezTo>
                  <a:cubicBezTo>
                    <a:pt x="919" y="289"/>
                    <a:pt x="921" y="289"/>
                    <a:pt x="923" y="288"/>
                  </a:cubicBezTo>
                  <a:cubicBezTo>
                    <a:pt x="923" y="287"/>
                    <a:pt x="923" y="287"/>
                    <a:pt x="923" y="287"/>
                  </a:cubicBezTo>
                  <a:moveTo>
                    <a:pt x="874" y="290"/>
                  </a:moveTo>
                  <a:cubicBezTo>
                    <a:pt x="873" y="290"/>
                    <a:pt x="873" y="291"/>
                    <a:pt x="872" y="291"/>
                  </a:cubicBezTo>
                  <a:cubicBezTo>
                    <a:pt x="877" y="292"/>
                    <a:pt x="881" y="292"/>
                    <a:pt x="885" y="293"/>
                  </a:cubicBezTo>
                  <a:cubicBezTo>
                    <a:pt x="886" y="293"/>
                    <a:pt x="886" y="293"/>
                    <a:pt x="887" y="292"/>
                  </a:cubicBezTo>
                  <a:cubicBezTo>
                    <a:pt x="882" y="292"/>
                    <a:pt x="878" y="291"/>
                    <a:pt x="874" y="290"/>
                  </a:cubicBezTo>
                  <a:moveTo>
                    <a:pt x="580" y="300"/>
                  </a:moveTo>
                  <a:cubicBezTo>
                    <a:pt x="578" y="303"/>
                    <a:pt x="575" y="306"/>
                    <a:pt x="573" y="309"/>
                  </a:cubicBezTo>
                  <a:cubicBezTo>
                    <a:pt x="572" y="309"/>
                    <a:pt x="572" y="309"/>
                    <a:pt x="572" y="309"/>
                  </a:cubicBezTo>
                  <a:cubicBezTo>
                    <a:pt x="571" y="310"/>
                    <a:pt x="570" y="311"/>
                    <a:pt x="569" y="312"/>
                  </a:cubicBezTo>
                  <a:cubicBezTo>
                    <a:pt x="571" y="311"/>
                    <a:pt x="572" y="310"/>
                    <a:pt x="574" y="309"/>
                  </a:cubicBezTo>
                  <a:cubicBezTo>
                    <a:pt x="576" y="306"/>
                    <a:pt x="578" y="304"/>
                    <a:pt x="580" y="301"/>
                  </a:cubicBezTo>
                  <a:cubicBezTo>
                    <a:pt x="580" y="301"/>
                    <a:pt x="580" y="300"/>
                    <a:pt x="580" y="300"/>
                  </a:cubicBezTo>
                  <a:moveTo>
                    <a:pt x="570" y="313"/>
                  </a:moveTo>
                  <a:cubicBezTo>
                    <a:pt x="568" y="315"/>
                    <a:pt x="566" y="316"/>
                    <a:pt x="565" y="317"/>
                  </a:cubicBezTo>
                  <a:cubicBezTo>
                    <a:pt x="562" y="320"/>
                    <a:pt x="560" y="322"/>
                    <a:pt x="557" y="324"/>
                  </a:cubicBezTo>
                  <a:cubicBezTo>
                    <a:pt x="557" y="325"/>
                    <a:pt x="557" y="325"/>
                    <a:pt x="556" y="325"/>
                  </a:cubicBezTo>
                  <a:cubicBezTo>
                    <a:pt x="552" y="329"/>
                    <a:pt x="547" y="333"/>
                    <a:pt x="543" y="337"/>
                  </a:cubicBezTo>
                  <a:cubicBezTo>
                    <a:pt x="543" y="337"/>
                    <a:pt x="542" y="337"/>
                    <a:pt x="542" y="337"/>
                  </a:cubicBezTo>
                  <a:cubicBezTo>
                    <a:pt x="538" y="341"/>
                    <a:pt x="533" y="344"/>
                    <a:pt x="529" y="347"/>
                  </a:cubicBezTo>
                  <a:cubicBezTo>
                    <a:pt x="529" y="347"/>
                    <a:pt x="530" y="347"/>
                    <a:pt x="531" y="347"/>
                  </a:cubicBezTo>
                  <a:cubicBezTo>
                    <a:pt x="535" y="344"/>
                    <a:pt x="538" y="341"/>
                    <a:pt x="542" y="338"/>
                  </a:cubicBezTo>
                  <a:cubicBezTo>
                    <a:pt x="543" y="338"/>
                    <a:pt x="543" y="338"/>
                    <a:pt x="543" y="338"/>
                  </a:cubicBezTo>
                  <a:cubicBezTo>
                    <a:pt x="548" y="334"/>
                    <a:pt x="552" y="330"/>
                    <a:pt x="557" y="326"/>
                  </a:cubicBezTo>
                  <a:cubicBezTo>
                    <a:pt x="557" y="326"/>
                    <a:pt x="557" y="326"/>
                    <a:pt x="557" y="325"/>
                  </a:cubicBezTo>
                  <a:cubicBezTo>
                    <a:pt x="562" y="321"/>
                    <a:pt x="566" y="317"/>
                    <a:pt x="570" y="313"/>
                  </a:cubicBezTo>
                  <a:moveTo>
                    <a:pt x="1007" y="327"/>
                  </a:moveTo>
                  <a:cubicBezTo>
                    <a:pt x="1000" y="335"/>
                    <a:pt x="993" y="343"/>
                    <a:pt x="986" y="350"/>
                  </a:cubicBezTo>
                  <a:cubicBezTo>
                    <a:pt x="986" y="351"/>
                    <a:pt x="986" y="351"/>
                    <a:pt x="986" y="352"/>
                  </a:cubicBezTo>
                  <a:cubicBezTo>
                    <a:pt x="993" y="344"/>
                    <a:pt x="1000" y="336"/>
                    <a:pt x="1007" y="328"/>
                  </a:cubicBezTo>
                  <a:cubicBezTo>
                    <a:pt x="1007" y="328"/>
                    <a:pt x="1007" y="327"/>
                    <a:pt x="1007" y="327"/>
                  </a:cubicBezTo>
                  <a:moveTo>
                    <a:pt x="527" y="348"/>
                  </a:moveTo>
                  <a:cubicBezTo>
                    <a:pt x="524" y="350"/>
                    <a:pt x="521" y="352"/>
                    <a:pt x="518" y="354"/>
                  </a:cubicBezTo>
                  <a:cubicBezTo>
                    <a:pt x="519" y="354"/>
                    <a:pt x="519" y="354"/>
                    <a:pt x="519" y="354"/>
                  </a:cubicBezTo>
                  <a:cubicBezTo>
                    <a:pt x="519" y="354"/>
                    <a:pt x="520" y="354"/>
                    <a:pt x="520" y="354"/>
                  </a:cubicBezTo>
                  <a:cubicBezTo>
                    <a:pt x="523" y="352"/>
                    <a:pt x="525" y="351"/>
                    <a:pt x="528" y="349"/>
                  </a:cubicBezTo>
                  <a:cubicBezTo>
                    <a:pt x="528" y="349"/>
                    <a:pt x="528" y="348"/>
                    <a:pt x="529" y="348"/>
                  </a:cubicBezTo>
                  <a:cubicBezTo>
                    <a:pt x="529" y="348"/>
                    <a:pt x="529" y="348"/>
                    <a:pt x="529" y="348"/>
                  </a:cubicBezTo>
                  <a:cubicBezTo>
                    <a:pt x="529" y="348"/>
                    <a:pt x="528" y="348"/>
                    <a:pt x="527" y="348"/>
                  </a:cubicBezTo>
                  <a:moveTo>
                    <a:pt x="985" y="351"/>
                  </a:moveTo>
                  <a:cubicBezTo>
                    <a:pt x="982" y="354"/>
                    <a:pt x="979" y="357"/>
                    <a:pt x="976" y="360"/>
                  </a:cubicBezTo>
                  <a:cubicBezTo>
                    <a:pt x="974" y="362"/>
                    <a:pt x="972" y="364"/>
                    <a:pt x="970" y="366"/>
                  </a:cubicBezTo>
                  <a:cubicBezTo>
                    <a:pt x="970" y="366"/>
                    <a:pt x="969" y="366"/>
                    <a:pt x="969" y="367"/>
                  </a:cubicBezTo>
                  <a:cubicBezTo>
                    <a:pt x="969" y="367"/>
                    <a:pt x="970" y="367"/>
                    <a:pt x="970" y="367"/>
                  </a:cubicBezTo>
                  <a:cubicBezTo>
                    <a:pt x="970" y="367"/>
                    <a:pt x="970" y="367"/>
                    <a:pt x="970" y="367"/>
                  </a:cubicBezTo>
                  <a:cubicBezTo>
                    <a:pt x="975" y="362"/>
                    <a:pt x="980" y="357"/>
                    <a:pt x="985" y="353"/>
                  </a:cubicBezTo>
                  <a:cubicBezTo>
                    <a:pt x="985" y="352"/>
                    <a:pt x="985" y="352"/>
                    <a:pt x="985" y="351"/>
                  </a:cubicBezTo>
                  <a:moveTo>
                    <a:pt x="519" y="355"/>
                  </a:moveTo>
                  <a:cubicBezTo>
                    <a:pt x="517" y="355"/>
                    <a:pt x="517" y="355"/>
                    <a:pt x="517" y="355"/>
                  </a:cubicBezTo>
                  <a:cubicBezTo>
                    <a:pt x="515" y="356"/>
                    <a:pt x="513" y="357"/>
                    <a:pt x="512" y="358"/>
                  </a:cubicBezTo>
                  <a:cubicBezTo>
                    <a:pt x="511" y="358"/>
                    <a:pt x="511" y="358"/>
                    <a:pt x="511" y="358"/>
                  </a:cubicBezTo>
                  <a:cubicBezTo>
                    <a:pt x="510" y="359"/>
                    <a:pt x="509" y="359"/>
                    <a:pt x="508" y="360"/>
                  </a:cubicBezTo>
                  <a:cubicBezTo>
                    <a:pt x="509" y="360"/>
                    <a:pt x="510" y="360"/>
                    <a:pt x="510" y="360"/>
                  </a:cubicBezTo>
                  <a:cubicBezTo>
                    <a:pt x="511" y="360"/>
                    <a:pt x="511" y="359"/>
                    <a:pt x="511" y="359"/>
                  </a:cubicBezTo>
                  <a:cubicBezTo>
                    <a:pt x="511" y="359"/>
                    <a:pt x="512" y="359"/>
                    <a:pt x="512" y="359"/>
                  </a:cubicBezTo>
                  <a:cubicBezTo>
                    <a:pt x="514" y="358"/>
                    <a:pt x="516" y="356"/>
                    <a:pt x="519" y="355"/>
                  </a:cubicBezTo>
                  <a:moveTo>
                    <a:pt x="509" y="361"/>
                  </a:moveTo>
                  <a:cubicBezTo>
                    <a:pt x="508" y="361"/>
                    <a:pt x="507" y="361"/>
                    <a:pt x="506" y="361"/>
                  </a:cubicBezTo>
                  <a:cubicBezTo>
                    <a:pt x="505" y="362"/>
                    <a:pt x="503" y="363"/>
                    <a:pt x="502" y="363"/>
                  </a:cubicBezTo>
                  <a:cubicBezTo>
                    <a:pt x="503" y="363"/>
                    <a:pt x="504" y="363"/>
                    <a:pt x="506" y="362"/>
                  </a:cubicBezTo>
                  <a:cubicBezTo>
                    <a:pt x="507" y="362"/>
                    <a:pt x="508" y="361"/>
                    <a:pt x="509" y="361"/>
                  </a:cubicBezTo>
                  <a:moveTo>
                    <a:pt x="502" y="364"/>
                  </a:moveTo>
                  <a:cubicBezTo>
                    <a:pt x="502" y="364"/>
                    <a:pt x="502" y="364"/>
                    <a:pt x="501" y="365"/>
                  </a:cubicBezTo>
                  <a:cubicBezTo>
                    <a:pt x="501" y="364"/>
                    <a:pt x="502" y="364"/>
                    <a:pt x="502" y="364"/>
                  </a:cubicBezTo>
                  <a:cubicBezTo>
                    <a:pt x="502" y="364"/>
                    <a:pt x="502" y="364"/>
                    <a:pt x="502" y="364"/>
                  </a:cubicBezTo>
                  <a:moveTo>
                    <a:pt x="500" y="366"/>
                  </a:moveTo>
                  <a:cubicBezTo>
                    <a:pt x="499" y="366"/>
                    <a:pt x="498" y="366"/>
                    <a:pt x="497" y="366"/>
                  </a:cubicBezTo>
                  <a:cubicBezTo>
                    <a:pt x="496" y="366"/>
                    <a:pt x="496" y="367"/>
                    <a:pt x="495" y="367"/>
                  </a:cubicBezTo>
                  <a:cubicBezTo>
                    <a:pt x="494" y="367"/>
                    <a:pt x="494" y="367"/>
                    <a:pt x="494" y="367"/>
                  </a:cubicBezTo>
                  <a:cubicBezTo>
                    <a:pt x="493" y="368"/>
                    <a:pt x="493" y="368"/>
                    <a:pt x="493" y="368"/>
                  </a:cubicBezTo>
                  <a:cubicBezTo>
                    <a:pt x="494" y="368"/>
                    <a:pt x="495" y="368"/>
                    <a:pt x="495" y="368"/>
                  </a:cubicBezTo>
                  <a:cubicBezTo>
                    <a:pt x="497" y="367"/>
                    <a:pt x="498" y="366"/>
                    <a:pt x="500" y="366"/>
                  </a:cubicBezTo>
                  <a:moveTo>
                    <a:pt x="968" y="367"/>
                  </a:moveTo>
                  <a:cubicBezTo>
                    <a:pt x="967" y="368"/>
                    <a:pt x="966" y="369"/>
                    <a:pt x="965" y="371"/>
                  </a:cubicBezTo>
                  <a:cubicBezTo>
                    <a:pt x="961" y="374"/>
                    <a:pt x="957" y="378"/>
                    <a:pt x="952" y="381"/>
                  </a:cubicBezTo>
                  <a:cubicBezTo>
                    <a:pt x="954" y="381"/>
                    <a:pt x="955" y="380"/>
                    <a:pt x="957" y="379"/>
                  </a:cubicBezTo>
                  <a:cubicBezTo>
                    <a:pt x="958" y="378"/>
                    <a:pt x="959" y="377"/>
                    <a:pt x="960" y="376"/>
                  </a:cubicBezTo>
                  <a:cubicBezTo>
                    <a:pt x="962" y="374"/>
                    <a:pt x="964" y="373"/>
                    <a:pt x="965" y="371"/>
                  </a:cubicBezTo>
                  <a:cubicBezTo>
                    <a:pt x="967" y="370"/>
                    <a:pt x="968" y="369"/>
                    <a:pt x="969" y="368"/>
                  </a:cubicBezTo>
                  <a:cubicBezTo>
                    <a:pt x="969" y="368"/>
                    <a:pt x="969" y="368"/>
                    <a:pt x="968" y="367"/>
                  </a:cubicBezTo>
                  <a:moveTo>
                    <a:pt x="491" y="370"/>
                  </a:moveTo>
                  <a:cubicBezTo>
                    <a:pt x="490" y="370"/>
                    <a:pt x="489" y="370"/>
                    <a:pt x="488" y="370"/>
                  </a:cubicBezTo>
                  <a:cubicBezTo>
                    <a:pt x="484" y="372"/>
                    <a:pt x="481" y="373"/>
                    <a:pt x="477" y="375"/>
                  </a:cubicBezTo>
                  <a:cubicBezTo>
                    <a:pt x="477" y="375"/>
                    <a:pt x="476" y="375"/>
                    <a:pt x="476" y="375"/>
                  </a:cubicBezTo>
                  <a:cubicBezTo>
                    <a:pt x="456" y="383"/>
                    <a:pt x="435" y="389"/>
                    <a:pt x="414" y="393"/>
                  </a:cubicBezTo>
                  <a:cubicBezTo>
                    <a:pt x="410" y="393"/>
                    <a:pt x="407" y="394"/>
                    <a:pt x="404" y="394"/>
                  </a:cubicBezTo>
                  <a:cubicBezTo>
                    <a:pt x="408" y="394"/>
                    <a:pt x="412" y="394"/>
                    <a:pt x="416" y="393"/>
                  </a:cubicBezTo>
                  <a:cubicBezTo>
                    <a:pt x="437" y="390"/>
                    <a:pt x="457" y="384"/>
                    <a:pt x="477" y="376"/>
                  </a:cubicBezTo>
                  <a:cubicBezTo>
                    <a:pt x="477" y="376"/>
                    <a:pt x="477" y="376"/>
                    <a:pt x="478" y="376"/>
                  </a:cubicBezTo>
                  <a:cubicBezTo>
                    <a:pt x="482" y="374"/>
                    <a:pt x="487" y="372"/>
                    <a:pt x="491" y="370"/>
                  </a:cubicBezTo>
                  <a:moveTo>
                    <a:pt x="953" y="382"/>
                  </a:moveTo>
                  <a:cubicBezTo>
                    <a:pt x="951" y="383"/>
                    <a:pt x="950" y="384"/>
                    <a:pt x="948" y="385"/>
                  </a:cubicBezTo>
                  <a:cubicBezTo>
                    <a:pt x="945" y="387"/>
                    <a:pt x="941" y="390"/>
                    <a:pt x="938" y="393"/>
                  </a:cubicBezTo>
                  <a:cubicBezTo>
                    <a:pt x="936" y="394"/>
                    <a:pt x="935" y="395"/>
                    <a:pt x="933" y="396"/>
                  </a:cubicBezTo>
                  <a:cubicBezTo>
                    <a:pt x="933" y="396"/>
                    <a:pt x="933" y="397"/>
                    <a:pt x="932" y="397"/>
                  </a:cubicBezTo>
                  <a:cubicBezTo>
                    <a:pt x="933" y="397"/>
                    <a:pt x="933" y="397"/>
                    <a:pt x="933" y="397"/>
                  </a:cubicBezTo>
                  <a:cubicBezTo>
                    <a:pt x="935" y="396"/>
                    <a:pt x="937" y="395"/>
                    <a:pt x="939" y="393"/>
                  </a:cubicBezTo>
                  <a:cubicBezTo>
                    <a:pt x="941" y="392"/>
                    <a:pt x="942" y="391"/>
                    <a:pt x="944" y="389"/>
                  </a:cubicBezTo>
                  <a:cubicBezTo>
                    <a:pt x="947" y="387"/>
                    <a:pt x="950" y="385"/>
                    <a:pt x="953" y="382"/>
                  </a:cubicBezTo>
                  <a:moveTo>
                    <a:pt x="2" y="392"/>
                  </a:moveTo>
                  <a:cubicBezTo>
                    <a:pt x="1" y="392"/>
                    <a:pt x="0" y="392"/>
                    <a:pt x="0" y="393"/>
                  </a:cubicBezTo>
                  <a:cubicBezTo>
                    <a:pt x="1" y="395"/>
                    <a:pt x="6" y="398"/>
                    <a:pt x="19" y="406"/>
                  </a:cubicBezTo>
                  <a:cubicBezTo>
                    <a:pt x="19" y="406"/>
                    <a:pt x="20" y="406"/>
                    <a:pt x="20" y="407"/>
                  </a:cubicBezTo>
                  <a:cubicBezTo>
                    <a:pt x="22" y="408"/>
                    <a:pt x="25" y="409"/>
                    <a:pt x="27" y="410"/>
                  </a:cubicBezTo>
                  <a:cubicBezTo>
                    <a:pt x="39" y="417"/>
                    <a:pt x="56" y="426"/>
                    <a:pt x="78" y="437"/>
                  </a:cubicBezTo>
                  <a:cubicBezTo>
                    <a:pt x="80" y="438"/>
                    <a:pt x="82" y="439"/>
                    <a:pt x="83" y="440"/>
                  </a:cubicBezTo>
                  <a:cubicBezTo>
                    <a:pt x="84" y="440"/>
                    <a:pt x="84" y="439"/>
                    <a:pt x="84" y="439"/>
                  </a:cubicBezTo>
                  <a:cubicBezTo>
                    <a:pt x="83" y="438"/>
                    <a:pt x="81" y="437"/>
                    <a:pt x="79" y="436"/>
                  </a:cubicBezTo>
                  <a:cubicBezTo>
                    <a:pt x="61" y="427"/>
                    <a:pt x="47" y="420"/>
                    <a:pt x="35" y="414"/>
                  </a:cubicBezTo>
                  <a:cubicBezTo>
                    <a:pt x="33" y="412"/>
                    <a:pt x="30" y="411"/>
                    <a:pt x="28" y="410"/>
                  </a:cubicBezTo>
                  <a:cubicBezTo>
                    <a:pt x="25" y="408"/>
                    <a:pt x="22" y="406"/>
                    <a:pt x="19" y="405"/>
                  </a:cubicBezTo>
                  <a:cubicBezTo>
                    <a:pt x="7" y="398"/>
                    <a:pt x="1" y="393"/>
                    <a:pt x="1" y="393"/>
                  </a:cubicBezTo>
                  <a:cubicBezTo>
                    <a:pt x="1" y="393"/>
                    <a:pt x="1" y="393"/>
                    <a:pt x="1" y="393"/>
                  </a:cubicBezTo>
                  <a:cubicBezTo>
                    <a:pt x="1" y="393"/>
                    <a:pt x="2" y="393"/>
                    <a:pt x="2" y="393"/>
                  </a:cubicBezTo>
                  <a:cubicBezTo>
                    <a:pt x="2" y="393"/>
                    <a:pt x="2" y="393"/>
                    <a:pt x="2" y="393"/>
                  </a:cubicBezTo>
                  <a:cubicBezTo>
                    <a:pt x="9" y="393"/>
                    <a:pt x="49" y="408"/>
                    <a:pt x="99" y="430"/>
                  </a:cubicBezTo>
                  <a:cubicBezTo>
                    <a:pt x="99" y="430"/>
                    <a:pt x="99" y="430"/>
                    <a:pt x="100" y="430"/>
                  </a:cubicBezTo>
                  <a:cubicBezTo>
                    <a:pt x="100" y="430"/>
                    <a:pt x="100" y="430"/>
                    <a:pt x="100" y="429"/>
                  </a:cubicBezTo>
                  <a:cubicBezTo>
                    <a:pt x="50" y="407"/>
                    <a:pt x="10" y="392"/>
                    <a:pt x="2" y="392"/>
                  </a:cubicBezTo>
                  <a:moveTo>
                    <a:pt x="403" y="396"/>
                  </a:moveTo>
                  <a:cubicBezTo>
                    <a:pt x="399" y="396"/>
                    <a:pt x="395" y="396"/>
                    <a:pt x="391" y="397"/>
                  </a:cubicBezTo>
                  <a:cubicBezTo>
                    <a:pt x="334" y="406"/>
                    <a:pt x="254" y="420"/>
                    <a:pt x="187" y="436"/>
                  </a:cubicBezTo>
                  <a:cubicBezTo>
                    <a:pt x="187" y="436"/>
                    <a:pt x="186" y="436"/>
                    <a:pt x="186" y="436"/>
                  </a:cubicBezTo>
                  <a:cubicBezTo>
                    <a:pt x="186" y="436"/>
                    <a:pt x="186" y="436"/>
                    <a:pt x="186" y="436"/>
                  </a:cubicBezTo>
                  <a:cubicBezTo>
                    <a:pt x="186" y="437"/>
                    <a:pt x="187" y="437"/>
                    <a:pt x="187" y="437"/>
                  </a:cubicBezTo>
                  <a:cubicBezTo>
                    <a:pt x="188" y="437"/>
                    <a:pt x="188" y="437"/>
                    <a:pt x="188" y="437"/>
                  </a:cubicBezTo>
                  <a:cubicBezTo>
                    <a:pt x="260" y="419"/>
                    <a:pt x="346" y="405"/>
                    <a:pt x="403" y="396"/>
                  </a:cubicBezTo>
                  <a:moveTo>
                    <a:pt x="932" y="397"/>
                  </a:moveTo>
                  <a:cubicBezTo>
                    <a:pt x="932" y="398"/>
                    <a:pt x="932" y="398"/>
                    <a:pt x="932" y="399"/>
                  </a:cubicBezTo>
                  <a:cubicBezTo>
                    <a:pt x="932" y="398"/>
                    <a:pt x="932" y="398"/>
                    <a:pt x="933" y="398"/>
                  </a:cubicBezTo>
                  <a:cubicBezTo>
                    <a:pt x="932" y="398"/>
                    <a:pt x="932" y="398"/>
                    <a:pt x="932" y="397"/>
                  </a:cubicBezTo>
                  <a:moveTo>
                    <a:pt x="931" y="398"/>
                  </a:moveTo>
                  <a:cubicBezTo>
                    <a:pt x="920" y="405"/>
                    <a:pt x="910" y="412"/>
                    <a:pt x="899" y="419"/>
                  </a:cubicBezTo>
                  <a:cubicBezTo>
                    <a:pt x="900" y="418"/>
                    <a:pt x="901" y="418"/>
                    <a:pt x="903" y="418"/>
                  </a:cubicBezTo>
                  <a:cubicBezTo>
                    <a:pt x="912" y="412"/>
                    <a:pt x="921" y="406"/>
                    <a:pt x="930" y="400"/>
                  </a:cubicBezTo>
                  <a:cubicBezTo>
                    <a:pt x="930" y="399"/>
                    <a:pt x="931" y="399"/>
                    <a:pt x="931" y="398"/>
                  </a:cubicBezTo>
                  <a:moveTo>
                    <a:pt x="899" y="420"/>
                  </a:moveTo>
                  <a:cubicBezTo>
                    <a:pt x="899" y="420"/>
                    <a:pt x="899" y="420"/>
                    <a:pt x="899" y="420"/>
                  </a:cubicBezTo>
                  <a:cubicBezTo>
                    <a:pt x="899" y="420"/>
                    <a:pt x="899" y="420"/>
                    <a:pt x="899" y="420"/>
                  </a:cubicBezTo>
                  <a:cubicBezTo>
                    <a:pt x="899" y="420"/>
                    <a:pt x="899" y="420"/>
                    <a:pt x="899" y="420"/>
                  </a:cubicBezTo>
                  <a:moveTo>
                    <a:pt x="897" y="420"/>
                  </a:moveTo>
                  <a:cubicBezTo>
                    <a:pt x="896" y="420"/>
                    <a:pt x="896" y="421"/>
                    <a:pt x="895" y="421"/>
                  </a:cubicBezTo>
                  <a:cubicBezTo>
                    <a:pt x="888" y="425"/>
                    <a:pt x="881" y="429"/>
                    <a:pt x="873" y="432"/>
                  </a:cubicBezTo>
                  <a:cubicBezTo>
                    <a:pt x="873" y="433"/>
                    <a:pt x="872" y="434"/>
                    <a:pt x="871" y="434"/>
                  </a:cubicBezTo>
                  <a:cubicBezTo>
                    <a:pt x="880" y="430"/>
                    <a:pt x="889" y="425"/>
                    <a:pt x="898" y="420"/>
                  </a:cubicBezTo>
                  <a:cubicBezTo>
                    <a:pt x="898" y="420"/>
                    <a:pt x="897" y="420"/>
                    <a:pt x="897" y="420"/>
                  </a:cubicBezTo>
                  <a:moveTo>
                    <a:pt x="101" y="430"/>
                  </a:moveTo>
                  <a:cubicBezTo>
                    <a:pt x="101" y="430"/>
                    <a:pt x="100" y="430"/>
                    <a:pt x="100" y="430"/>
                  </a:cubicBezTo>
                  <a:cubicBezTo>
                    <a:pt x="100" y="430"/>
                    <a:pt x="100" y="431"/>
                    <a:pt x="100" y="431"/>
                  </a:cubicBezTo>
                  <a:cubicBezTo>
                    <a:pt x="100" y="431"/>
                    <a:pt x="100" y="431"/>
                    <a:pt x="100" y="431"/>
                  </a:cubicBezTo>
                  <a:cubicBezTo>
                    <a:pt x="101" y="431"/>
                    <a:pt x="101" y="431"/>
                    <a:pt x="101" y="430"/>
                  </a:cubicBezTo>
                  <a:cubicBezTo>
                    <a:pt x="101" y="430"/>
                    <a:pt x="101" y="430"/>
                    <a:pt x="101" y="430"/>
                  </a:cubicBezTo>
                  <a:moveTo>
                    <a:pt x="102" y="431"/>
                  </a:moveTo>
                  <a:cubicBezTo>
                    <a:pt x="102" y="431"/>
                    <a:pt x="102" y="431"/>
                    <a:pt x="101" y="431"/>
                  </a:cubicBezTo>
                  <a:cubicBezTo>
                    <a:pt x="101" y="431"/>
                    <a:pt x="102" y="431"/>
                    <a:pt x="102" y="431"/>
                  </a:cubicBezTo>
                  <a:cubicBezTo>
                    <a:pt x="102" y="431"/>
                    <a:pt x="102" y="431"/>
                    <a:pt x="103" y="431"/>
                  </a:cubicBezTo>
                  <a:cubicBezTo>
                    <a:pt x="103" y="431"/>
                    <a:pt x="103" y="431"/>
                    <a:pt x="103" y="431"/>
                  </a:cubicBezTo>
                  <a:cubicBezTo>
                    <a:pt x="103" y="431"/>
                    <a:pt x="103" y="431"/>
                    <a:pt x="102" y="431"/>
                  </a:cubicBezTo>
                  <a:moveTo>
                    <a:pt x="104" y="431"/>
                  </a:moveTo>
                  <a:cubicBezTo>
                    <a:pt x="104" y="432"/>
                    <a:pt x="104" y="432"/>
                    <a:pt x="104" y="432"/>
                  </a:cubicBezTo>
                  <a:cubicBezTo>
                    <a:pt x="104" y="432"/>
                    <a:pt x="104" y="432"/>
                    <a:pt x="104" y="432"/>
                  </a:cubicBezTo>
                  <a:cubicBezTo>
                    <a:pt x="104" y="432"/>
                    <a:pt x="104" y="432"/>
                    <a:pt x="104" y="432"/>
                  </a:cubicBezTo>
                  <a:cubicBezTo>
                    <a:pt x="104" y="432"/>
                    <a:pt x="104" y="431"/>
                    <a:pt x="104" y="431"/>
                  </a:cubicBezTo>
                  <a:moveTo>
                    <a:pt x="106" y="432"/>
                  </a:moveTo>
                  <a:cubicBezTo>
                    <a:pt x="105" y="432"/>
                    <a:pt x="105" y="432"/>
                    <a:pt x="104" y="433"/>
                  </a:cubicBezTo>
                  <a:cubicBezTo>
                    <a:pt x="107" y="434"/>
                    <a:pt x="109" y="435"/>
                    <a:pt x="112" y="436"/>
                  </a:cubicBezTo>
                  <a:cubicBezTo>
                    <a:pt x="112" y="436"/>
                    <a:pt x="111" y="435"/>
                    <a:pt x="111" y="435"/>
                  </a:cubicBezTo>
                  <a:cubicBezTo>
                    <a:pt x="109" y="434"/>
                    <a:pt x="107" y="433"/>
                    <a:pt x="106" y="432"/>
                  </a:cubicBezTo>
                  <a:moveTo>
                    <a:pt x="871" y="433"/>
                  </a:moveTo>
                  <a:cubicBezTo>
                    <a:pt x="867" y="435"/>
                    <a:pt x="864" y="437"/>
                    <a:pt x="860" y="438"/>
                  </a:cubicBezTo>
                  <a:cubicBezTo>
                    <a:pt x="864" y="438"/>
                    <a:pt x="868" y="436"/>
                    <a:pt x="871" y="433"/>
                  </a:cubicBezTo>
                  <a:moveTo>
                    <a:pt x="112" y="435"/>
                  </a:moveTo>
                  <a:cubicBezTo>
                    <a:pt x="113" y="436"/>
                    <a:pt x="113" y="436"/>
                    <a:pt x="113" y="437"/>
                  </a:cubicBezTo>
                  <a:cubicBezTo>
                    <a:pt x="117" y="438"/>
                    <a:pt x="121" y="440"/>
                    <a:pt x="125" y="442"/>
                  </a:cubicBezTo>
                  <a:cubicBezTo>
                    <a:pt x="125" y="442"/>
                    <a:pt x="125" y="441"/>
                    <a:pt x="125" y="441"/>
                  </a:cubicBezTo>
                  <a:cubicBezTo>
                    <a:pt x="121" y="439"/>
                    <a:pt x="117" y="437"/>
                    <a:pt x="112" y="435"/>
                  </a:cubicBezTo>
                  <a:moveTo>
                    <a:pt x="184" y="437"/>
                  </a:moveTo>
                  <a:cubicBezTo>
                    <a:pt x="184" y="437"/>
                    <a:pt x="184" y="437"/>
                    <a:pt x="183" y="437"/>
                  </a:cubicBezTo>
                  <a:cubicBezTo>
                    <a:pt x="184" y="437"/>
                    <a:pt x="184" y="438"/>
                    <a:pt x="185" y="438"/>
                  </a:cubicBezTo>
                  <a:cubicBezTo>
                    <a:pt x="185" y="438"/>
                    <a:pt x="186" y="438"/>
                    <a:pt x="186" y="438"/>
                  </a:cubicBezTo>
                  <a:cubicBezTo>
                    <a:pt x="185" y="437"/>
                    <a:pt x="185" y="437"/>
                    <a:pt x="184" y="437"/>
                  </a:cubicBezTo>
                  <a:moveTo>
                    <a:pt x="182" y="437"/>
                  </a:moveTo>
                  <a:cubicBezTo>
                    <a:pt x="182" y="437"/>
                    <a:pt x="182" y="437"/>
                    <a:pt x="182" y="437"/>
                  </a:cubicBezTo>
                  <a:cubicBezTo>
                    <a:pt x="182" y="438"/>
                    <a:pt x="182" y="438"/>
                    <a:pt x="182" y="438"/>
                  </a:cubicBezTo>
                  <a:cubicBezTo>
                    <a:pt x="182" y="438"/>
                    <a:pt x="182" y="437"/>
                    <a:pt x="182" y="437"/>
                  </a:cubicBezTo>
                  <a:cubicBezTo>
                    <a:pt x="182" y="437"/>
                    <a:pt x="182" y="437"/>
                    <a:pt x="181" y="437"/>
                  </a:cubicBezTo>
                  <a:cubicBezTo>
                    <a:pt x="181" y="438"/>
                    <a:pt x="180" y="438"/>
                    <a:pt x="180" y="438"/>
                  </a:cubicBezTo>
                  <a:cubicBezTo>
                    <a:pt x="179" y="438"/>
                    <a:pt x="179" y="438"/>
                    <a:pt x="179" y="438"/>
                  </a:cubicBezTo>
                  <a:cubicBezTo>
                    <a:pt x="178" y="438"/>
                    <a:pt x="178" y="438"/>
                    <a:pt x="178" y="438"/>
                  </a:cubicBezTo>
                  <a:cubicBezTo>
                    <a:pt x="177" y="439"/>
                    <a:pt x="176" y="439"/>
                    <a:pt x="176" y="439"/>
                  </a:cubicBezTo>
                  <a:cubicBezTo>
                    <a:pt x="175" y="439"/>
                    <a:pt x="175" y="439"/>
                    <a:pt x="175" y="439"/>
                  </a:cubicBezTo>
                  <a:cubicBezTo>
                    <a:pt x="173" y="440"/>
                    <a:pt x="171" y="440"/>
                    <a:pt x="169" y="441"/>
                  </a:cubicBezTo>
                  <a:cubicBezTo>
                    <a:pt x="167" y="442"/>
                    <a:pt x="165" y="442"/>
                    <a:pt x="164" y="443"/>
                  </a:cubicBezTo>
                  <a:cubicBezTo>
                    <a:pt x="164" y="443"/>
                    <a:pt x="165" y="443"/>
                    <a:pt x="165" y="443"/>
                  </a:cubicBezTo>
                  <a:cubicBezTo>
                    <a:pt x="168" y="442"/>
                    <a:pt x="172" y="441"/>
                    <a:pt x="175" y="440"/>
                  </a:cubicBezTo>
                  <a:cubicBezTo>
                    <a:pt x="176" y="440"/>
                    <a:pt x="176" y="440"/>
                    <a:pt x="177" y="440"/>
                  </a:cubicBezTo>
                  <a:cubicBezTo>
                    <a:pt x="177" y="440"/>
                    <a:pt x="178" y="439"/>
                    <a:pt x="179" y="439"/>
                  </a:cubicBezTo>
                  <a:cubicBezTo>
                    <a:pt x="179" y="439"/>
                    <a:pt x="179" y="439"/>
                    <a:pt x="180" y="439"/>
                  </a:cubicBezTo>
                  <a:cubicBezTo>
                    <a:pt x="180" y="439"/>
                    <a:pt x="181" y="439"/>
                    <a:pt x="181" y="439"/>
                  </a:cubicBezTo>
                  <a:cubicBezTo>
                    <a:pt x="181" y="439"/>
                    <a:pt x="182" y="438"/>
                    <a:pt x="182" y="438"/>
                  </a:cubicBezTo>
                  <a:cubicBezTo>
                    <a:pt x="183" y="438"/>
                    <a:pt x="183" y="438"/>
                    <a:pt x="183" y="438"/>
                  </a:cubicBezTo>
                  <a:cubicBezTo>
                    <a:pt x="183" y="438"/>
                    <a:pt x="182" y="438"/>
                    <a:pt x="182" y="438"/>
                  </a:cubicBezTo>
                  <a:lnTo>
                    <a:pt x="182" y="437"/>
                  </a:lnTo>
                  <a:close/>
                  <a:moveTo>
                    <a:pt x="860" y="439"/>
                  </a:moveTo>
                  <a:cubicBezTo>
                    <a:pt x="859" y="439"/>
                    <a:pt x="858" y="440"/>
                    <a:pt x="857" y="440"/>
                  </a:cubicBezTo>
                  <a:cubicBezTo>
                    <a:pt x="856" y="440"/>
                    <a:pt x="855" y="440"/>
                    <a:pt x="854" y="441"/>
                  </a:cubicBezTo>
                  <a:cubicBezTo>
                    <a:pt x="854" y="441"/>
                    <a:pt x="854" y="441"/>
                    <a:pt x="853" y="441"/>
                  </a:cubicBezTo>
                  <a:cubicBezTo>
                    <a:pt x="842" y="446"/>
                    <a:pt x="830" y="450"/>
                    <a:pt x="818" y="454"/>
                  </a:cubicBezTo>
                  <a:cubicBezTo>
                    <a:pt x="816" y="456"/>
                    <a:pt x="813" y="457"/>
                    <a:pt x="810" y="457"/>
                  </a:cubicBezTo>
                  <a:cubicBezTo>
                    <a:pt x="806" y="458"/>
                    <a:pt x="803" y="459"/>
                    <a:pt x="799" y="460"/>
                  </a:cubicBezTo>
                  <a:cubicBezTo>
                    <a:pt x="799" y="460"/>
                    <a:pt x="799" y="460"/>
                    <a:pt x="798" y="460"/>
                  </a:cubicBezTo>
                  <a:cubicBezTo>
                    <a:pt x="795" y="461"/>
                    <a:pt x="791" y="462"/>
                    <a:pt x="787" y="463"/>
                  </a:cubicBezTo>
                  <a:cubicBezTo>
                    <a:pt x="787" y="463"/>
                    <a:pt x="787" y="464"/>
                    <a:pt x="786" y="464"/>
                  </a:cubicBezTo>
                  <a:cubicBezTo>
                    <a:pt x="781" y="465"/>
                    <a:pt x="777" y="466"/>
                    <a:pt x="772" y="467"/>
                  </a:cubicBezTo>
                  <a:cubicBezTo>
                    <a:pt x="771" y="468"/>
                    <a:pt x="771" y="468"/>
                    <a:pt x="770" y="468"/>
                  </a:cubicBezTo>
                  <a:cubicBezTo>
                    <a:pt x="776" y="467"/>
                    <a:pt x="781" y="466"/>
                    <a:pt x="786" y="465"/>
                  </a:cubicBezTo>
                  <a:cubicBezTo>
                    <a:pt x="786" y="465"/>
                    <a:pt x="787" y="465"/>
                    <a:pt x="787" y="464"/>
                  </a:cubicBezTo>
                  <a:cubicBezTo>
                    <a:pt x="791" y="464"/>
                    <a:pt x="794" y="463"/>
                    <a:pt x="798" y="462"/>
                  </a:cubicBezTo>
                  <a:cubicBezTo>
                    <a:pt x="798" y="461"/>
                    <a:pt x="799" y="461"/>
                    <a:pt x="799" y="461"/>
                  </a:cubicBezTo>
                  <a:cubicBezTo>
                    <a:pt x="803" y="460"/>
                    <a:pt x="807" y="459"/>
                    <a:pt x="811" y="458"/>
                  </a:cubicBezTo>
                  <a:cubicBezTo>
                    <a:pt x="811" y="458"/>
                    <a:pt x="812" y="458"/>
                    <a:pt x="812" y="457"/>
                  </a:cubicBezTo>
                  <a:cubicBezTo>
                    <a:pt x="827" y="453"/>
                    <a:pt x="841" y="448"/>
                    <a:pt x="854" y="442"/>
                  </a:cubicBezTo>
                  <a:cubicBezTo>
                    <a:pt x="855" y="442"/>
                    <a:pt x="855" y="442"/>
                    <a:pt x="856" y="441"/>
                  </a:cubicBezTo>
                  <a:cubicBezTo>
                    <a:pt x="857" y="441"/>
                    <a:pt x="859" y="440"/>
                    <a:pt x="860" y="439"/>
                  </a:cubicBezTo>
                  <a:moveTo>
                    <a:pt x="86" y="440"/>
                  </a:moveTo>
                  <a:cubicBezTo>
                    <a:pt x="86" y="440"/>
                    <a:pt x="86" y="441"/>
                    <a:pt x="85" y="441"/>
                  </a:cubicBezTo>
                  <a:cubicBezTo>
                    <a:pt x="86" y="441"/>
                    <a:pt x="86" y="441"/>
                    <a:pt x="86" y="441"/>
                  </a:cubicBezTo>
                  <a:cubicBezTo>
                    <a:pt x="87" y="441"/>
                    <a:pt x="87" y="441"/>
                    <a:pt x="87" y="441"/>
                  </a:cubicBezTo>
                  <a:cubicBezTo>
                    <a:pt x="87" y="440"/>
                    <a:pt x="87" y="440"/>
                    <a:pt x="86" y="440"/>
                  </a:cubicBezTo>
                  <a:moveTo>
                    <a:pt x="85" y="440"/>
                  </a:moveTo>
                  <a:cubicBezTo>
                    <a:pt x="85" y="440"/>
                    <a:pt x="84" y="440"/>
                    <a:pt x="84" y="440"/>
                  </a:cubicBezTo>
                  <a:cubicBezTo>
                    <a:pt x="84" y="440"/>
                    <a:pt x="84" y="440"/>
                    <a:pt x="84" y="440"/>
                  </a:cubicBezTo>
                  <a:cubicBezTo>
                    <a:pt x="85" y="440"/>
                    <a:pt x="85" y="440"/>
                    <a:pt x="85" y="440"/>
                  </a:cubicBezTo>
                  <a:moveTo>
                    <a:pt x="88" y="441"/>
                  </a:moveTo>
                  <a:cubicBezTo>
                    <a:pt x="88" y="441"/>
                    <a:pt x="87" y="441"/>
                    <a:pt x="87" y="442"/>
                  </a:cubicBezTo>
                  <a:cubicBezTo>
                    <a:pt x="88" y="442"/>
                    <a:pt x="89" y="442"/>
                    <a:pt x="89" y="443"/>
                  </a:cubicBezTo>
                  <a:cubicBezTo>
                    <a:pt x="89" y="442"/>
                    <a:pt x="90" y="442"/>
                    <a:pt x="90" y="442"/>
                  </a:cubicBezTo>
                  <a:cubicBezTo>
                    <a:pt x="89" y="442"/>
                    <a:pt x="89" y="441"/>
                    <a:pt x="88" y="441"/>
                  </a:cubicBezTo>
                  <a:moveTo>
                    <a:pt x="126" y="441"/>
                  </a:moveTo>
                  <a:cubicBezTo>
                    <a:pt x="126" y="442"/>
                    <a:pt x="126" y="442"/>
                    <a:pt x="126" y="442"/>
                  </a:cubicBezTo>
                  <a:cubicBezTo>
                    <a:pt x="126" y="443"/>
                    <a:pt x="127" y="443"/>
                    <a:pt x="128" y="443"/>
                  </a:cubicBezTo>
                  <a:cubicBezTo>
                    <a:pt x="127" y="443"/>
                    <a:pt x="127" y="442"/>
                    <a:pt x="126" y="442"/>
                  </a:cubicBezTo>
                  <a:cubicBezTo>
                    <a:pt x="126" y="442"/>
                    <a:pt x="126" y="441"/>
                    <a:pt x="126" y="441"/>
                  </a:cubicBezTo>
                  <a:moveTo>
                    <a:pt x="164" y="442"/>
                  </a:moveTo>
                  <a:cubicBezTo>
                    <a:pt x="164" y="442"/>
                    <a:pt x="164" y="442"/>
                    <a:pt x="164" y="442"/>
                  </a:cubicBezTo>
                  <a:cubicBezTo>
                    <a:pt x="163" y="442"/>
                    <a:pt x="163" y="442"/>
                    <a:pt x="163" y="442"/>
                  </a:cubicBezTo>
                  <a:cubicBezTo>
                    <a:pt x="157" y="444"/>
                    <a:pt x="151" y="446"/>
                    <a:pt x="145" y="447"/>
                  </a:cubicBezTo>
                  <a:cubicBezTo>
                    <a:pt x="145" y="447"/>
                    <a:pt x="144" y="447"/>
                    <a:pt x="144" y="448"/>
                  </a:cubicBezTo>
                  <a:cubicBezTo>
                    <a:pt x="143" y="448"/>
                    <a:pt x="142" y="448"/>
                    <a:pt x="141" y="448"/>
                  </a:cubicBezTo>
                  <a:cubicBezTo>
                    <a:pt x="137" y="446"/>
                    <a:pt x="133" y="444"/>
                    <a:pt x="128" y="442"/>
                  </a:cubicBezTo>
                  <a:cubicBezTo>
                    <a:pt x="129" y="443"/>
                    <a:pt x="129" y="444"/>
                    <a:pt x="130" y="444"/>
                  </a:cubicBezTo>
                  <a:cubicBezTo>
                    <a:pt x="133" y="446"/>
                    <a:pt x="136" y="447"/>
                    <a:pt x="140" y="449"/>
                  </a:cubicBezTo>
                  <a:cubicBezTo>
                    <a:pt x="138" y="449"/>
                    <a:pt x="137" y="450"/>
                    <a:pt x="135" y="450"/>
                  </a:cubicBezTo>
                  <a:cubicBezTo>
                    <a:pt x="135" y="451"/>
                    <a:pt x="136" y="451"/>
                    <a:pt x="136" y="451"/>
                  </a:cubicBezTo>
                  <a:cubicBezTo>
                    <a:pt x="138" y="451"/>
                    <a:pt x="139" y="450"/>
                    <a:pt x="141" y="450"/>
                  </a:cubicBezTo>
                  <a:cubicBezTo>
                    <a:pt x="143" y="451"/>
                    <a:pt x="146" y="452"/>
                    <a:pt x="148" y="453"/>
                  </a:cubicBezTo>
                  <a:cubicBezTo>
                    <a:pt x="148" y="452"/>
                    <a:pt x="148" y="452"/>
                    <a:pt x="149" y="452"/>
                  </a:cubicBezTo>
                  <a:cubicBezTo>
                    <a:pt x="147" y="451"/>
                    <a:pt x="145" y="450"/>
                    <a:pt x="143" y="449"/>
                  </a:cubicBezTo>
                  <a:cubicBezTo>
                    <a:pt x="144" y="449"/>
                    <a:pt x="144" y="449"/>
                    <a:pt x="145" y="448"/>
                  </a:cubicBezTo>
                  <a:cubicBezTo>
                    <a:pt x="146" y="448"/>
                    <a:pt x="146" y="448"/>
                    <a:pt x="147" y="448"/>
                  </a:cubicBezTo>
                  <a:cubicBezTo>
                    <a:pt x="151" y="447"/>
                    <a:pt x="156" y="445"/>
                    <a:pt x="160" y="444"/>
                  </a:cubicBezTo>
                  <a:cubicBezTo>
                    <a:pt x="162" y="443"/>
                    <a:pt x="163" y="443"/>
                    <a:pt x="164" y="442"/>
                  </a:cubicBezTo>
                  <a:moveTo>
                    <a:pt x="91" y="442"/>
                  </a:moveTo>
                  <a:cubicBezTo>
                    <a:pt x="90" y="443"/>
                    <a:pt x="90" y="443"/>
                    <a:pt x="90" y="443"/>
                  </a:cubicBezTo>
                  <a:cubicBezTo>
                    <a:pt x="92" y="444"/>
                    <a:pt x="94" y="445"/>
                    <a:pt x="96" y="446"/>
                  </a:cubicBezTo>
                  <a:cubicBezTo>
                    <a:pt x="96" y="445"/>
                    <a:pt x="96" y="445"/>
                    <a:pt x="96" y="445"/>
                  </a:cubicBezTo>
                  <a:cubicBezTo>
                    <a:pt x="94" y="444"/>
                    <a:pt x="92" y="443"/>
                    <a:pt x="91" y="442"/>
                  </a:cubicBezTo>
                  <a:moveTo>
                    <a:pt x="97" y="445"/>
                  </a:moveTo>
                  <a:cubicBezTo>
                    <a:pt x="97" y="446"/>
                    <a:pt x="97" y="446"/>
                    <a:pt x="97" y="446"/>
                  </a:cubicBezTo>
                  <a:cubicBezTo>
                    <a:pt x="101" y="448"/>
                    <a:pt x="104" y="450"/>
                    <a:pt x="108" y="452"/>
                  </a:cubicBezTo>
                  <a:cubicBezTo>
                    <a:pt x="108" y="451"/>
                    <a:pt x="108" y="451"/>
                    <a:pt x="107" y="450"/>
                  </a:cubicBezTo>
                  <a:cubicBezTo>
                    <a:pt x="104" y="448"/>
                    <a:pt x="100" y="447"/>
                    <a:pt x="97" y="445"/>
                  </a:cubicBezTo>
                  <a:moveTo>
                    <a:pt x="134" y="451"/>
                  </a:moveTo>
                  <a:cubicBezTo>
                    <a:pt x="131" y="451"/>
                    <a:pt x="129" y="452"/>
                    <a:pt x="126" y="453"/>
                  </a:cubicBezTo>
                  <a:cubicBezTo>
                    <a:pt x="126" y="453"/>
                    <a:pt x="126" y="453"/>
                    <a:pt x="125" y="453"/>
                  </a:cubicBezTo>
                  <a:cubicBezTo>
                    <a:pt x="125" y="454"/>
                    <a:pt x="125" y="454"/>
                    <a:pt x="125" y="454"/>
                  </a:cubicBezTo>
                  <a:cubicBezTo>
                    <a:pt x="126" y="454"/>
                    <a:pt x="126" y="454"/>
                    <a:pt x="126" y="454"/>
                  </a:cubicBezTo>
                  <a:cubicBezTo>
                    <a:pt x="127" y="454"/>
                    <a:pt x="127" y="454"/>
                    <a:pt x="128" y="454"/>
                  </a:cubicBezTo>
                  <a:cubicBezTo>
                    <a:pt x="130" y="453"/>
                    <a:pt x="132" y="452"/>
                    <a:pt x="135" y="452"/>
                  </a:cubicBezTo>
                  <a:cubicBezTo>
                    <a:pt x="134" y="451"/>
                    <a:pt x="134" y="451"/>
                    <a:pt x="134" y="451"/>
                  </a:cubicBezTo>
                  <a:moveTo>
                    <a:pt x="109" y="451"/>
                  </a:moveTo>
                  <a:cubicBezTo>
                    <a:pt x="109" y="451"/>
                    <a:pt x="109" y="452"/>
                    <a:pt x="110" y="452"/>
                  </a:cubicBezTo>
                  <a:cubicBezTo>
                    <a:pt x="112" y="454"/>
                    <a:pt x="115" y="455"/>
                    <a:pt x="118" y="456"/>
                  </a:cubicBezTo>
                  <a:cubicBezTo>
                    <a:pt x="117" y="456"/>
                    <a:pt x="116" y="457"/>
                    <a:pt x="115" y="457"/>
                  </a:cubicBezTo>
                  <a:cubicBezTo>
                    <a:pt x="115" y="457"/>
                    <a:pt x="115" y="457"/>
                    <a:pt x="114" y="457"/>
                  </a:cubicBezTo>
                  <a:cubicBezTo>
                    <a:pt x="114" y="457"/>
                    <a:pt x="114" y="457"/>
                    <a:pt x="113" y="458"/>
                  </a:cubicBezTo>
                  <a:cubicBezTo>
                    <a:pt x="114" y="458"/>
                    <a:pt x="114" y="458"/>
                    <a:pt x="114" y="458"/>
                  </a:cubicBezTo>
                  <a:cubicBezTo>
                    <a:pt x="115" y="458"/>
                    <a:pt x="115" y="458"/>
                    <a:pt x="115" y="458"/>
                  </a:cubicBezTo>
                  <a:cubicBezTo>
                    <a:pt x="116" y="458"/>
                    <a:pt x="116" y="458"/>
                    <a:pt x="117" y="457"/>
                  </a:cubicBezTo>
                  <a:cubicBezTo>
                    <a:pt x="118" y="457"/>
                    <a:pt x="118" y="457"/>
                    <a:pt x="119" y="457"/>
                  </a:cubicBezTo>
                  <a:cubicBezTo>
                    <a:pt x="121" y="457"/>
                    <a:pt x="124" y="458"/>
                    <a:pt x="126" y="459"/>
                  </a:cubicBezTo>
                  <a:cubicBezTo>
                    <a:pt x="126" y="459"/>
                    <a:pt x="126" y="458"/>
                    <a:pt x="125" y="458"/>
                  </a:cubicBezTo>
                  <a:cubicBezTo>
                    <a:pt x="124" y="457"/>
                    <a:pt x="122" y="457"/>
                    <a:pt x="121" y="456"/>
                  </a:cubicBezTo>
                  <a:cubicBezTo>
                    <a:pt x="122" y="456"/>
                    <a:pt x="123" y="455"/>
                    <a:pt x="124" y="455"/>
                  </a:cubicBezTo>
                  <a:cubicBezTo>
                    <a:pt x="123" y="455"/>
                    <a:pt x="123" y="454"/>
                    <a:pt x="123" y="454"/>
                  </a:cubicBezTo>
                  <a:cubicBezTo>
                    <a:pt x="122" y="455"/>
                    <a:pt x="120" y="455"/>
                    <a:pt x="119" y="455"/>
                  </a:cubicBezTo>
                  <a:cubicBezTo>
                    <a:pt x="116" y="454"/>
                    <a:pt x="112" y="452"/>
                    <a:pt x="109" y="451"/>
                  </a:cubicBezTo>
                  <a:moveTo>
                    <a:pt x="149" y="452"/>
                  </a:moveTo>
                  <a:cubicBezTo>
                    <a:pt x="149" y="453"/>
                    <a:pt x="149" y="453"/>
                    <a:pt x="149" y="453"/>
                  </a:cubicBezTo>
                  <a:cubicBezTo>
                    <a:pt x="156" y="457"/>
                    <a:pt x="164" y="461"/>
                    <a:pt x="172" y="464"/>
                  </a:cubicBezTo>
                  <a:cubicBezTo>
                    <a:pt x="174" y="465"/>
                    <a:pt x="176" y="466"/>
                    <a:pt x="178" y="467"/>
                  </a:cubicBezTo>
                  <a:cubicBezTo>
                    <a:pt x="180" y="468"/>
                    <a:pt x="183" y="470"/>
                    <a:pt x="186" y="471"/>
                  </a:cubicBezTo>
                  <a:cubicBezTo>
                    <a:pt x="189" y="473"/>
                    <a:pt x="192" y="474"/>
                    <a:pt x="196" y="476"/>
                  </a:cubicBezTo>
                  <a:cubicBezTo>
                    <a:pt x="196" y="476"/>
                    <a:pt x="197" y="476"/>
                    <a:pt x="197" y="476"/>
                  </a:cubicBezTo>
                  <a:cubicBezTo>
                    <a:pt x="191" y="472"/>
                    <a:pt x="184" y="469"/>
                    <a:pt x="177" y="466"/>
                  </a:cubicBezTo>
                  <a:cubicBezTo>
                    <a:pt x="174" y="464"/>
                    <a:pt x="171" y="463"/>
                    <a:pt x="168" y="461"/>
                  </a:cubicBezTo>
                  <a:cubicBezTo>
                    <a:pt x="162" y="458"/>
                    <a:pt x="156" y="455"/>
                    <a:pt x="149" y="452"/>
                  </a:cubicBezTo>
                  <a:moveTo>
                    <a:pt x="124" y="454"/>
                  </a:moveTo>
                  <a:cubicBezTo>
                    <a:pt x="124" y="454"/>
                    <a:pt x="124" y="454"/>
                    <a:pt x="124" y="454"/>
                  </a:cubicBezTo>
                  <a:cubicBezTo>
                    <a:pt x="124" y="454"/>
                    <a:pt x="124" y="454"/>
                    <a:pt x="125" y="455"/>
                  </a:cubicBezTo>
                  <a:cubicBezTo>
                    <a:pt x="124" y="454"/>
                    <a:pt x="124" y="454"/>
                    <a:pt x="124" y="454"/>
                  </a:cubicBezTo>
                  <a:moveTo>
                    <a:pt x="112" y="458"/>
                  </a:moveTo>
                  <a:cubicBezTo>
                    <a:pt x="109" y="459"/>
                    <a:pt x="106" y="460"/>
                    <a:pt x="103" y="461"/>
                  </a:cubicBezTo>
                  <a:cubicBezTo>
                    <a:pt x="103" y="462"/>
                    <a:pt x="104" y="462"/>
                    <a:pt x="104" y="462"/>
                  </a:cubicBezTo>
                  <a:cubicBezTo>
                    <a:pt x="107" y="461"/>
                    <a:pt x="110" y="460"/>
                    <a:pt x="113" y="459"/>
                  </a:cubicBezTo>
                  <a:cubicBezTo>
                    <a:pt x="113" y="458"/>
                    <a:pt x="113" y="458"/>
                    <a:pt x="112" y="458"/>
                  </a:cubicBezTo>
                  <a:moveTo>
                    <a:pt x="126" y="459"/>
                  </a:moveTo>
                  <a:cubicBezTo>
                    <a:pt x="127" y="459"/>
                    <a:pt x="127" y="459"/>
                    <a:pt x="127" y="460"/>
                  </a:cubicBezTo>
                  <a:cubicBezTo>
                    <a:pt x="128" y="460"/>
                    <a:pt x="128" y="460"/>
                    <a:pt x="129" y="461"/>
                  </a:cubicBezTo>
                  <a:cubicBezTo>
                    <a:pt x="128" y="460"/>
                    <a:pt x="128" y="459"/>
                    <a:pt x="127" y="459"/>
                  </a:cubicBezTo>
                  <a:cubicBezTo>
                    <a:pt x="127" y="459"/>
                    <a:pt x="127" y="459"/>
                    <a:pt x="126" y="459"/>
                  </a:cubicBezTo>
                  <a:moveTo>
                    <a:pt x="129" y="460"/>
                  </a:moveTo>
                  <a:cubicBezTo>
                    <a:pt x="130" y="460"/>
                    <a:pt x="131" y="461"/>
                    <a:pt x="131" y="462"/>
                  </a:cubicBezTo>
                  <a:cubicBezTo>
                    <a:pt x="133" y="462"/>
                    <a:pt x="135" y="463"/>
                    <a:pt x="137" y="464"/>
                  </a:cubicBezTo>
                  <a:cubicBezTo>
                    <a:pt x="137" y="464"/>
                    <a:pt x="138" y="463"/>
                    <a:pt x="138" y="463"/>
                  </a:cubicBezTo>
                  <a:cubicBezTo>
                    <a:pt x="135" y="462"/>
                    <a:pt x="132" y="461"/>
                    <a:pt x="129" y="460"/>
                  </a:cubicBezTo>
                  <a:moveTo>
                    <a:pt x="102" y="462"/>
                  </a:moveTo>
                  <a:cubicBezTo>
                    <a:pt x="102" y="462"/>
                    <a:pt x="102" y="462"/>
                    <a:pt x="102" y="462"/>
                  </a:cubicBezTo>
                  <a:cubicBezTo>
                    <a:pt x="101" y="462"/>
                    <a:pt x="101" y="462"/>
                    <a:pt x="100" y="463"/>
                  </a:cubicBezTo>
                  <a:cubicBezTo>
                    <a:pt x="99" y="463"/>
                    <a:pt x="98" y="464"/>
                    <a:pt x="97" y="464"/>
                  </a:cubicBezTo>
                  <a:cubicBezTo>
                    <a:pt x="96" y="464"/>
                    <a:pt x="96" y="464"/>
                    <a:pt x="95" y="465"/>
                  </a:cubicBezTo>
                  <a:cubicBezTo>
                    <a:pt x="95" y="465"/>
                    <a:pt x="94" y="465"/>
                    <a:pt x="93" y="466"/>
                  </a:cubicBezTo>
                  <a:cubicBezTo>
                    <a:pt x="93" y="466"/>
                    <a:pt x="93" y="466"/>
                    <a:pt x="94" y="466"/>
                  </a:cubicBezTo>
                  <a:cubicBezTo>
                    <a:pt x="95" y="466"/>
                    <a:pt x="96" y="466"/>
                    <a:pt x="97" y="465"/>
                  </a:cubicBezTo>
                  <a:cubicBezTo>
                    <a:pt x="97" y="465"/>
                    <a:pt x="98" y="465"/>
                    <a:pt x="98" y="465"/>
                  </a:cubicBezTo>
                  <a:cubicBezTo>
                    <a:pt x="99" y="464"/>
                    <a:pt x="100" y="464"/>
                    <a:pt x="102" y="463"/>
                  </a:cubicBezTo>
                  <a:cubicBezTo>
                    <a:pt x="102" y="463"/>
                    <a:pt x="102" y="463"/>
                    <a:pt x="103" y="463"/>
                  </a:cubicBezTo>
                  <a:cubicBezTo>
                    <a:pt x="103" y="462"/>
                    <a:pt x="102" y="462"/>
                    <a:pt x="102" y="462"/>
                  </a:cubicBezTo>
                  <a:moveTo>
                    <a:pt x="139" y="464"/>
                  </a:moveTo>
                  <a:cubicBezTo>
                    <a:pt x="138" y="464"/>
                    <a:pt x="138" y="464"/>
                    <a:pt x="138" y="464"/>
                  </a:cubicBezTo>
                  <a:cubicBezTo>
                    <a:pt x="144" y="467"/>
                    <a:pt x="151" y="470"/>
                    <a:pt x="157" y="472"/>
                  </a:cubicBezTo>
                  <a:cubicBezTo>
                    <a:pt x="157" y="471"/>
                    <a:pt x="156" y="471"/>
                    <a:pt x="155" y="470"/>
                  </a:cubicBezTo>
                  <a:cubicBezTo>
                    <a:pt x="149" y="468"/>
                    <a:pt x="144" y="466"/>
                    <a:pt x="139" y="464"/>
                  </a:cubicBezTo>
                  <a:moveTo>
                    <a:pt x="92" y="466"/>
                  </a:moveTo>
                  <a:cubicBezTo>
                    <a:pt x="92" y="466"/>
                    <a:pt x="91" y="466"/>
                    <a:pt x="91" y="467"/>
                  </a:cubicBezTo>
                  <a:cubicBezTo>
                    <a:pt x="91" y="467"/>
                    <a:pt x="90" y="467"/>
                    <a:pt x="90" y="467"/>
                  </a:cubicBezTo>
                  <a:cubicBezTo>
                    <a:pt x="90" y="467"/>
                    <a:pt x="89" y="467"/>
                    <a:pt x="89" y="467"/>
                  </a:cubicBezTo>
                  <a:cubicBezTo>
                    <a:pt x="87" y="469"/>
                    <a:pt x="85" y="470"/>
                    <a:pt x="83" y="471"/>
                  </a:cubicBezTo>
                  <a:cubicBezTo>
                    <a:pt x="83" y="471"/>
                    <a:pt x="83" y="471"/>
                    <a:pt x="83" y="471"/>
                  </a:cubicBezTo>
                  <a:cubicBezTo>
                    <a:pt x="85" y="470"/>
                    <a:pt x="88" y="469"/>
                    <a:pt x="90" y="468"/>
                  </a:cubicBezTo>
                  <a:cubicBezTo>
                    <a:pt x="90" y="468"/>
                    <a:pt x="91" y="468"/>
                    <a:pt x="91" y="468"/>
                  </a:cubicBezTo>
                  <a:cubicBezTo>
                    <a:pt x="91" y="467"/>
                    <a:pt x="92" y="467"/>
                    <a:pt x="92" y="467"/>
                  </a:cubicBezTo>
                  <a:cubicBezTo>
                    <a:pt x="92" y="467"/>
                    <a:pt x="93" y="467"/>
                    <a:pt x="93" y="467"/>
                  </a:cubicBezTo>
                  <a:cubicBezTo>
                    <a:pt x="93" y="467"/>
                    <a:pt x="92" y="466"/>
                    <a:pt x="92" y="466"/>
                  </a:cubicBezTo>
                  <a:moveTo>
                    <a:pt x="770" y="467"/>
                  </a:moveTo>
                  <a:cubicBezTo>
                    <a:pt x="768" y="468"/>
                    <a:pt x="767" y="468"/>
                    <a:pt x="765" y="469"/>
                  </a:cubicBezTo>
                  <a:cubicBezTo>
                    <a:pt x="764" y="469"/>
                    <a:pt x="764" y="469"/>
                    <a:pt x="763" y="469"/>
                  </a:cubicBezTo>
                  <a:cubicBezTo>
                    <a:pt x="763" y="469"/>
                    <a:pt x="762" y="469"/>
                    <a:pt x="762" y="469"/>
                  </a:cubicBezTo>
                  <a:cubicBezTo>
                    <a:pt x="760" y="470"/>
                    <a:pt x="757" y="471"/>
                    <a:pt x="753" y="472"/>
                  </a:cubicBezTo>
                  <a:cubicBezTo>
                    <a:pt x="754" y="472"/>
                    <a:pt x="755" y="472"/>
                    <a:pt x="756" y="472"/>
                  </a:cubicBezTo>
                  <a:cubicBezTo>
                    <a:pt x="758" y="472"/>
                    <a:pt x="760" y="471"/>
                    <a:pt x="761" y="471"/>
                  </a:cubicBezTo>
                  <a:cubicBezTo>
                    <a:pt x="762" y="471"/>
                    <a:pt x="762" y="470"/>
                    <a:pt x="763" y="470"/>
                  </a:cubicBezTo>
                  <a:cubicBezTo>
                    <a:pt x="764" y="470"/>
                    <a:pt x="764" y="470"/>
                    <a:pt x="765" y="470"/>
                  </a:cubicBezTo>
                  <a:cubicBezTo>
                    <a:pt x="766" y="469"/>
                    <a:pt x="768" y="469"/>
                    <a:pt x="769" y="469"/>
                  </a:cubicBezTo>
                  <a:cubicBezTo>
                    <a:pt x="769" y="468"/>
                    <a:pt x="770" y="468"/>
                    <a:pt x="770" y="467"/>
                  </a:cubicBezTo>
                  <a:moveTo>
                    <a:pt x="158" y="471"/>
                  </a:moveTo>
                  <a:cubicBezTo>
                    <a:pt x="159" y="472"/>
                    <a:pt x="160" y="472"/>
                    <a:pt x="161" y="473"/>
                  </a:cubicBezTo>
                  <a:cubicBezTo>
                    <a:pt x="164" y="474"/>
                    <a:pt x="167" y="475"/>
                    <a:pt x="170" y="476"/>
                  </a:cubicBezTo>
                  <a:cubicBezTo>
                    <a:pt x="172" y="477"/>
                    <a:pt x="174" y="478"/>
                    <a:pt x="176" y="479"/>
                  </a:cubicBezTo>
                  <a:cubicBezTo>
                    <a:pt x="178" y="479"/>
                    <a:pt x="181" y="480"/>
                    <a:pt x="184" y="481"/>
                  </a:cubicBezTo>
                  <a:cubicBezTo>
                    <a:pt x="184" y="481"/>
                    <a:pt x="185" y="481"/>
                    <a:pt x="185" y="481"/>
                  </a:cubicBezTo>
                  <a:cubicBezTo>
                    <a:pt x="180" y="479"/>
                    <a:pt x="175" y="477"/>
                    <a:pt x="170" y="476"/>
                  </a:cubicBezTo>
                  <a:cubicBezTo>
                    <a:pt x="168" y="475"/>
                    <a:pt x="166" y="474"/>
                    <a:pt x="164" y="473"/>
                  </a:cubicBezTo>
                  <a:cubicBezTo>
                    <a:pt x="162" y="473"/>
                    <a:pt x="160" y="472"/>
                    <a:pt x="158" y="471"/>
                  </a:cubicBezTo>
                  <a:moveTo>
                    <a:pt x="82" y="471"/>
                  </a:moveTo>
                  <a:cubicBezTo>
                    <a:pt x="79" y="473"/>
                    <a:pt x="76" y="474"/>
                    <a:pt x="74" y="476"/>
                  </a:cubicBezTo>
                  <a:cubicBezTo>
                    <a:pt x="73" y="476"/>
                    <a:pt x="73" y="476"/>
                    <a:pt x="73" y="476"/>
                  </a:cubicBezTo>
                  <a:cubicBezTo>
                    <a:pt x="72" y="477"/>
                    <a:pt x="71" y="477"/>
                    <a:pt x="71" y="478"/>
                  </a:cubicBezTo>
                  <a:cubicBezTo>
                    <a:pt x="71" y="478"/>
                    <a:pt x="71" y="478"/>
                    <a:pt x="71" y="479"/>
                  </a:cubicBezTo>
                  <a:cubicBezTo>
                    <a:pt x="72" y="478"/>
                    <a:pt x="73" y="477"/>
                    <a:pt x="74" y="477"/>
                  </a:cubicBezTo>
                  <a:cubicBezTo>
                    <a:pt x="74" y="477"/>
                    <a:pt x="74" y="476"/>
                    <a:pt x="75" y="476"/>
                  </a:cubicBezTo>
                  <a:cubicBezTo>
                    <a:pt x="77" y="475"/>
                    <a:pt x="79" y="473"/>
                    <a:pt x="82" y="472"/>
                  </a:cubicBezTo>
                  <a:cubicBezTo>
                    <a:pt x="82" y="472"/>
                    <a:pt x="82" y="471"/>
                    <a:pt x="82" y="471"/>
                  </a:cubicBezTo>
                  <a:moveTo>
                    <a:pt x="751" y="473"/>
                  </a:moveTo>
                  <a:cubicBezTo>
                    <a:pt x="747" y="474"/>
                    <a:pt x="742" y="476"/>
                    <a:pt x="737" y="477"/>
                  </a:cubicBezTo>
                  <a:cubicBezTo>
                    <a:pt x="737" y="477"/>
                    <a:pt x="736" y="478"/>
                    <a:pt x="736" y="478"/>
                  </a:cubicBezTo>
                  <a:cubicBezTo>
                    <a:pt x="732" y="479"/>
                    <a:pt x="727" y="480"/>
                    <a:pt x="723" y="482"/>
                  </a:cubicBezTo>
                  <a:cubicBezTo>
                    <a:pt x="723" y="482"/>
                    <a:pt x="723" y="482"/>
                    <a:pt x="723" y="482"/>
                  </a:cubicBezTo>
                  <a:cubicBezTo>
                    <a:pt x="725" y="482"/>
                    <a:pt x="727" y="481"/>
                    <a:pt x="729" y="481"/>
                  </a:cubicBezTo>
                  <a:cubicBezTo>
                    <a:pt x="731" y="480"/>
                    <a:pt x="733" y="480"/>
                    <a:pt x="735" y="479"/>
                  </a:cubicBezTo>
                  <a:cubicBezTo>
                    <a:pt x="736" y="479"/>
                    <a:pt x="736" y="479"/>
                    <a:pt x="736" y="479"/>
                  </a:cubicBezTo>
                  <a:cubicBezTo>
                    <a:pt x="743" y="476"/>
                    <a:pt x="749" y="475"/>
                    <a:pt x="753" y="473"/>
                  </a:cubicBezTo>
                  <a:cubicBezTo>
                    <a:pt x="752" y="473"/>
                    <a:pt x="752" y="473"/>
                    <a:pt x="751" y="473"/>
                  </a:cubicBezTo>
                  <a:moveTo>
                    <a:pt x="198" y="476"/>
                  </a:moveTo>
                  <a:cubicBezTo>
                    <a:pt x="198" y="476"/>
                    <a:pt x="198" y="476"/>
                    <a:pt x="197" y="477"/>
                  </a:cubicBezTo>
                  <a:cubicBezTo>
                    <a:pt x="198" y="477"/>
                    <a:pt x="198" y="477"/>
                    <a:pt x="198" y="477"/>
                  </a:cubicBezTo>
                  <a:cubicBezTo>
                    <a:pt x="199" y="478"/>
                    <a:pt x="199" y="478"/>
                    <a:pt x="200" y="478"/>
                  </a:cubicBezTo>
                  <a:cubicBezTo>
                    <a:pt x="208" y="482"/>
                    <a:pt x="216" y="486"/>
                    <a:pt x="223" y="490"/>
                  </a:cubicBezTo>
                  <a:cubicBezTo>
                    <a:pt x="224" y="491"/>
                    <a:pt x="225" y="491"/>
                    <a:pt x="226" y="491"/>
                  </a:cubicBezTo>
                  <a:cubicBezTo>
                    <a:pt x="227" y="492"/>
                    <a:pt x="228" y="493"/>
                    <a:pt x="229" y="493"/>
                  </a:cubicBezTo>
                  <a:cubicBezTo>
                    <a:pt x="230" y="493"/>
                    <a:pt x="230" y="493"/>
                    <a:pt x="231" y="493"/>
                  </a:cubicBezTo>
                  <a:cubicBezTo>
                    <a:pt x="230" y="493"/>
                    <a:pt x="230" y="493"/>
                    <a:pt x="230" y="492"/>
                  </a:cubicBezTo>
                  <a:cubicBezTo>
                    <a:pt x="229" y="492"/>
                    <a:pt x="228" y="492"/>
                    <a:pt x="227" y="491"/>
                  </a:cubicBezTo>
                  <a:cubicBezTo>
                    <a:pt x="226" y="491"/>
                    <a:pt x="225" y="490"/>
                    <a:pt x="224" y="489"/>
                  </a:cubicBezTo>
                  <a:cubicBezTo>
                    <a:pt x="223" y="489"/>
                    <a:pt x="222" y="488"/>
                    <a:pt x="221" y="488"/>
                  </a:cubicBezTo>
                  <a:cubicBezTo>
                    <a:pt x="215" y="484"/>
                    <a:pt x="208" y="481"/>
                    <a:pt x="201" y="478"/>
                  </a:cubicBezTo>
                  <a:cubicBezTo>
                    <a:pt x="201" y="477"/>
                    <a:pt x="200" y="477"/>
                    <a:pt x="200" y="477"/>
                  </a:cubicBezTo>
                  <a:cubicBezTo>
                    <a:pt x="199" y="477"/>
                    <a:pt x="199" y="476"/>
                    <a:pt x="198" y="476"/>
                  </a:cubicBezTo>
                  <a:moveTo>
                    <a:pt x="70" y="478"/>
                  </a:moveTo>
                  <a:cubicBezTo>
                    <a:pt x="65" y="482"/>
                    <a:pt x="61" y="486"/>
                    <a:pt x="58" y="489"/>
                  </a:cubicBezTo>
                  <a:cubicBezTo>
                    <a:pt x="59" y="490"/>
                    <a:pt x="59" y="490"/>
                    <a:pt x="59" y="490"/>
                  </a:cubicBezTo>
                  <a:cubicBezTo>
                    <a:pt x="61" y="486"/>
                    <a:pt x="65" y="483"/>
                    <a:pt x="70" y="479"/>
                  </a:cubicBezTo>
                  <a:cubicBezTo>
                    <a:pt x="70" y="479"/>
                    <a:pt x="70" y="479"/>
                    <a:pt x="70" y="478"/>
                  </a:cubicBezTo>
                  <a:moveTo>
                    <a:pt x="186" y="481"/>
                  </a:moveTo>
                  <a:cubicBezTo>
                    <a:pt x="186" y="481"/>
                    <a:pt x="185" y="481"/>
                    <a:pt x="185" y="482"/>
                  </a:cubicBezTo>
                  <a:cubicBezTo>
                    <a:pt x="185" y="482"/>
                    <a:pt x="186" y="482"/>
                    <a:pt x="186" y="482"/>
                  </a:cubicBezTo>
                  <a:cubicBezTo>
                    <a:pt x="195" y="485"/>
                    <a:pt x="203" y="487"/>
                    <a:pt x="211" y="490"/>
                  </a:cubicBezTo>
                  <a:cubicBezTo>
                    <a:pt x="212" y="490"/>
                    <a:pt x="213" y="490"/>
                    <a:pt x="213" y="491"/>
                  </a:cubicBezTo>
                  <a:cubicBezTo>
                    <a:pt x="218" y="492"/>
                    <a:pt x="222" y="493"/>
                    <a:pt x="226" y="494"/>
                  </a:cubicBezTo>
                  <a:cubicBezTo>
                    <a:pt x="227" y="494"/>
                    <a:pt x="228" y="494"/>
                    <a:pt x="228" y="494"/>
                  </a:cubicBezTo>
                  <a:cubicBezTo>
                    <a:pt x="228" y="494"/>
                    <a:pt x="228" y="494"/>
                    <a:pt x="228" y="493"/>
                  </a:cubicBezTo>
                  <a:cubicBezTo>
                    <a:pt x="227" y="493"/>
                    <a:pt x="226" y="493"/>
                    <a:pt x="226" y="493"/>
                  </a:cubicBezTo>
                  <a:cubicBezTo>
                    <a:pt x="221" y="492"/>
                    <a:pt x="216" y="490"/>
                    <a:pt x="211" y="489"/>
                  </a:cubicBezTo>
                  <a:cubicBezTo>
                    <a:pt x="211" y="489"/>
                    <a:pt x="210" y="488"/>
                    <a:pt x="209" y="488"/>
                  </a:cubicBezTo>
                  <a:cubicBezTo>
                    <a:pt x="202" y="486"/>
                    <a:pt x="195" y="484"/>
                    <a:pt x="188" y="482"/>
                  </a:cubicBezTo>
                  <a:cubicBezTo>
                    <a:pt x="187" y="481"/>
                    <a:pt x="187" y="481"/>
                    <a:pt x="186" y="481"/>
                  </a:cubicBezTo>
                  <a:cubicBezTo>
                    <a:pt x="186" y="481"/>
                    <a:pt x="186" y="481"/>
                    <a:pt x="186" y="481"/>
                  </a:cubicBezTo>
                  <a:moveTo>
                    <a:pt x="722" y="482"/>
                  </a:moveTo>
                  <a:cubicBezTo>
                    <a:pt x="720" y="483"/>
                    <a:pt x="717" y="483"/>
                    <a:pt x="715" y="484"/>
                  </a:cubicBezTo>
                  <a:cubicBezTo>
                    <a:pt x="717" y="483"/>
                    <a:pt x="719" y="483"/>
                    <a:pt x="722" y="482"/>
                  </a:cubicBezTo>
                  <a:cubicBezTo>
                    <a:pt x="722" y="482"/>
                    <a:pt x="722" y="482"/>
                    <a:pt x="722" y="482"/>
                  </a:cubicBezTo>
                  <a:moveTo>
                    <a:pt x="715" y="485"/>
                  </a:moveTo>
                  <a:cubicBezTo>
                    <a:pt x="710" y="486"/>
                    <a:pt x="705" y="487"/>
                    <a:pt x="701" y="488"/>
                  </a:cubicBezTo>
                  <a:cubicBezTo>
                    <a:pt x="699" y="488"/>
                    <a:pt x="698" y="489"/>
                    <a:pt x="697" y="489"/>
                  </a:cubicBezTo>
                  <a:cubicBezTo>
                    <a:pt x="696" y="489"/>
                    <a:pt x="696" y="489"/>
                    <a:pt x="696" y="489"/>
                  </a:cubicBezTo>
                  <a:cubicBezTo>
                    <a:pt x="697" y="489"/>
                    <a:pt x="698" y="489"/>
                    <a:pt x="699" y="489"/>
                  </a:cubicBezTo>
                  <a:cubicBezTo>
                    <a:pt x="702" y="489"/>
                    <a:pt x="706" y="488"/>
                    <a:pt x="709" y="487"/>
                  </a:cubicBezTo>
                  <a:cubicBezTo>
                    <a:pt x="709" y="487"/>
                    <a:pt x="710" y="486"/>
                    <a:pt x="710" y="486"/>
                  </a:cubicBezTo>
                  <a:cubicBezTo>
                    <a:pt x="712" y="486"/>
                    <a:pt x="713" y="485"/>
                    <a:pt x="715" y="485"/>
                  </a:cubicBezTo>
                  <a:moveTo>
                    <a:pt x="694" y="490"/>
                  </a:moveTo>
                  <a:cubicBezTo>
                    <a:pt x="694" y="490"/>
                    <a:pt x="694" y="490"/>
                    <a:pt x="694" y="490"/>
                  </a:cubicBezTo>
                  <a:cubicBezTo>
                    <a:pt x="692" y="490"/>
                    <a:pt x="690" y="491"/>
                    <a:pt x="689" y="491"/>
                  </a:cubicBezTo>
                  <a:cubicBezTo>
                    <a:pt x="688" y="491"/>
                    <a:pt x="688" y="491"/>
                    <a:pt x="687" y="491"/>
                  </a:cubicBezTo>
                  <a:cubicBezTo>
                    <a:pt x="686" y="492"/>
                    <a:pt x="684" y="492"/>
                    <a:pt x="682" y="493"/>
                  </a:cubicBezTo>
                  <a:cubicBezTo>
                    <a:pt x="682" y="493"/>
                    <a:pt x="681" y="493"/>
                    <a:pt x="681" y="493"/>
                  </a:cubicBezTo>
                  <a:cubicBezTo>
                    <a:pt x="680" y="493"/>
                    <a:pt x="679" y="493"/>
                    <a:pt x="679" y="493"/>
                  </a:cubicBezTo>
                  <a:cubicBezTo>
                    <a:pt x="677" y="494"/>
                    <a:pt x="675" y="494"/>
                    <a:pt x="673" y="495"/>
                  </a:cubicBezTo>
                  <a:cubicBezTo>
                    <a:pt x="673" y="495"/>
                    <a:pt x="673" y="496"/>
                    <a:pt x="673" y="496"/>
                  </a:cubicBezTo>
                  <a:cubicBezTo>
                    <a:pt x="674" y="496"/>
                    <a:pt x="676" y="495"/>
                    <a:pt x="678" y="495"/>
                  </a:cubicBezTo>
                  <a:cubicBezTo>
                    <a:pt x="678" y="495"/>
                    <a:pt x="679" y="495"/>
                    <a:pt x="679" y="494"/>
                  </a:cubicBezTo>
                  <a:cubicBezTo>
                    <a:pt x="680" y="494"/>
                    <a:pt x="680" y="494"/>
                    <a:pt x="681" y="494"/>
                  </a:cubicBezTo>
                  <a:cubicBezTo>
                    <a:pt x="683" y="494"/>
                    <a:pt x="685" y="493"/>
                    <a:pt x="687" y="493"/>
                  </a:cubicBezTo>
                  <a:cubicBezTo>
                    <a:pt x="687" y="492"/>
                    <a:pt x="687" y="492"/>
                    <a:pt x="688" y="492"/>
                  </a:cubicBezTo>
                  <a:cubicBezTo>
                    <a:pt x="689" y="492"/>
                    <a:pt x="690" y="492"/>
                    <a:pt x="691" y="491"/>
                  </a:cubicBezTo>
                  <a:cubicBezTo>
                    <a:pt x="692" y="491"/>
                    <a:pt x="693" y="491"/>
                    <a:pt x="694" y="491"/>
                  </a:cubicBezTo>
                  <a:cubicBezTo>
                    <a:pt x="695" y="490"/>
                    <a:pt x="695" y="490"/>
                    <a:pt x="696" y="490"/>
                  </a:cubicBezTo>
                  <a:cubicBezTo>
                    <a:pt x="695" y="490"/>
                    <a:pt x="694" y="490"/>
                    <a:pt x="694" y="490"/>
                  </a:cubicBezTo>
                  <a:moveTo>
                    <a:pt x="58" y="490"/>
                  </a:moveTo>
                  <a:cubicBezTo>
                    <a:pt x="56" y="493"/>
                    <a:pt x="55" y="496"/>
                    <a:pt x="55" y="499"/>
                  </a:cubicBezTo>
                  <a:cubicBezTo>
                    <a:pt x="55" y="502"/>
                    <a:pt x="56" y="505"/>
                    <a:pt x="59" y="508"/>
                  </a:cubicBezTo>
                  <a:cubicBezTo>
                    <a:pt x="59" y="509"/>
                    <a:pt x="59" y="509"/>
                    <a:pt x="60" y="510"/>
                  </a:cubicBezTo>
                  <a:cubicBezTo>
                    <a:pt x="65" y="517"/>
                    <a:pt x="77" y="524"/>
                    <a:pt x="95" y="531"/>
                  </a:cubicBezTo>
                  <a:cubicBezTo>
                    <a:pt x="95" y="531"/>
                    <a:pt x="96" y="531"/>
                    <a:pt x="96" y="532"/>
                  </a:cubicBezTo>
                  <a:cubicBezTo>
                    <a:pt x="109" y="537"/>
                    <a:pt x="126" y="542"/>
                    <a:pt x="147" y="548"/>
                  </a:cubicBezTo>
                  <a:cubicBezTo>
                    <a:pt x="148" y="548"/>
                    <a:pt x="148" y="548"/>
                    <a:pt x="148" y="548"/>
                  </a:cubicBezTo>
                  <a:cubicBezTo>
                    <a:pt x="148" y="547"/>
                    <a:pt x="148" y="547"/>
                    <a:pt x="147" y="547"/>
                  </a:cubicBezTo>
                  <a:cubicBezTo>
                    <a:pt x="126" y="541"/>
                    <a:pt x="109" y="536"/>
                    <a:pt x="96" y="531"/>
                  </a:cubicBezTo>
                  <a:cubicBezTo>
                    <a:pt x="96" y="530"/>
                    <a:pt x="96" y="530"/>
                    <a:pt x="95" y="530"/>
                  </a:cubicBezTo>
                  <a:cubicBezTo>
                    <a:pt x="78" y="523"/>
                    <a:pt x="67" y="517"/>
                    <a:pt x="62" y="510"/>
                  </a:cubicBezTo>
                  <a:cubicBezTo>
                    <a:pt x="61" y="510"/>
                    <a:pt x="61" y="509"/>
                    <a:pt x="60" y="509"/>
                  </a:cubicBezTo>
                  <a:cubicBezTo>
                    <a:pt x="58" y="505"/>
                    <a:pt x="56" y="502"/>
                    <a:pt x="56" y="499"/>
                  </a:cubicBezTo>
                  <a:cubicBezTo>
                    <a:pt x="56" y="496"/>
                    <a:pt x="57" y="493"/>
                    <a:pt x="59" y="491"/>
                  </a:cubicBezTo>
                  <a:cubicBezTo>
                    <a:pt x="58" y="491"/>
                    <a:pt x="58" y="490"/>
                    <a:pt x="58" y="490"/>
                  </a:cubicBezTo>
                  <a:moveTo>
                    <a:pt x="232" y="494"/>
                  </a:moveTo>
                  <a:cubicBezTo>
                    <a:pt x="231" y="494"/>
                    <a:pt x="231" y="494"/>
                    <a:pt x="230" y="494"/>
                  </a:cubicBezTo>
                  <a:cubicBezTo>
                    <a:pt x="231" y="494"/>
                    <a:pt x="231" y="494"/>
                    <a:pt x="231" y="494"/>
                  </a:cubicBezTo>
                  <a:cubicBezTo>
                    <a:pt x="231" y="494"/>
                    <a:pt x="231" y="494"/>
                    <a:pt x="230" y="494"/>
                  </a:cubicBezTo>
                  <a:cubicBezTo>
                    <a:pt x="230" y="494"/>
                    <a:pt x="230" y="494"/>
                    <a:pt x="230" y="494"/>
                  </a:cubicBezTo>
                  <a:cubicBezTo>
                    <a:pt x="229" y="494"/>
                    <a:pt x="229" y="494"/>
                    <a:pt x="228" y="495"/>
                  </a:cubicBezTo>
                  <a:cubicBezTo>
                    <a:pt x="228" y="495"/>
                    <a:pt x="229" y="495"/>
                    <a:pt x="229" y="495"/>
                  </a:cubicBezTo>
                  <a:cubicBezTo>
                    <a:pt x="230" y="495"/>
                    <a:pt x="231" y="495"/>
                    <a:pt x="232" y="496"/>
                  </a:cubicBezTo>
                  <a:cubicBezTo>
                    <a:pt x="232" y="496"/>
                    <a:pt x="233" y="496"/>
                    <a:pt x="233" y="496"/>
                  </a:cubicBezTo>
                  <a:cubicBezTo>
                    <a:pt x="233" y="496"/>
                    <a:pt x="233" y="496"/>
                    <a:pt x="233" y="496"/>
                  </a:cubicBezTo>
                  <a:cubicBezTo>
                    <a:pt x="234" y="496"/>
                    <a:pt x="234" y="496"/>
                    <a:pt x="235" y="496"/>
                  </a:cubicBezTo>
                  <a:cubicBezTo>
                    <a:pt x="235" y="496"/>
                    <a:pt x="235" y="496"/>
                    <a:pt x="235" y="496"/>
                  </a:cubicBezTo>
                  <a:cubicBezTo>
                    <a:pt x="235" y="496"/>
                    <a:pt x="235" y="496"/>
                    <a:pt x="235" y="496"/>
                  </a:cubicBezTo>
                  <a:cubicBezTo>
                    <a:pt x="235" y="496"/>
                    <a:pt x="235" y="496"/>
                    <a:pt x="235" y="497"/>
                  </a:cubicBezTo>
                  <a:cubicBezTo>
                    <a:pt x="236" y="497"/>
                    <a:pt x="237" y="497"/>
                    <a:pt x="237" y="498"/>
                  </a:cubicBezTo>
                  <a:cubicBezTo>
                    <a:pt x="238" y="498"/>
                    <a:pt x="239" y="498"/>
                    <a:pt x="239" y="499"/>
                  </a:cubicBezTo>
                  <a:cubicBezTo>
                    <a:pt x="240" y="499"/>
                    <a:pt x="241" y="499"/>
                    <a:pt x="241" y="500"/>
                  </a:cubicBezTo>
                  <a:cubicBezTo>
                    <a:pt x="244" y="501"/>
                    <a:pt x="247" y="503"/>
                    <a:pt x="250" y="504"/>
                  </a:cubicBezTo>
                  <a:cubicBezTo>
                    <a:pt x="250" y="505"/>
                    <a:pt x="250" y="505"/>
                    <a:pt x="251" y="505"/>
                  </a:cubicBezTo>
                  <a:cubicBezTo>
                    <a:pt x="253" y="506"/>
                    <a:pt x="255" y="508"/>
                    <a:pt x="257" y="509"/>
                  </a:cubicBezTo>
                  <a:cubicBezTo>
                    <a:pt x="258" y="509"/>
                    <a:pt x="258" y="508"/>
                    <a:pt x="259" y="508"/>
                  </a:cubicBezTo>
                  <a:cubicBezTo>
                    <a:pt x="256" y="507"/>
                    <a:pt x="254" y="506"/>
                    <a:pt x="252" y="505"/>
                  </a:cubicBezTo>
                  <a:cubicBezTo>
                    <a:pt x="252" y="504"/>
                    <a:pt x="251" y="504"/>
                    <a:pt x="251" y="504"/>
                  </a:cubicBezTo>
                  <a:cubicBezTo>
                    <a:pt x="247" y="502"/>
                    <a:pt x="244" y="500"/>
                    <a:pt x="240" y="498"/>
                  </a:cubicBezTo>
                  <a:cubicBezTo>
                    <a:pt x="240" y="498"/>
                    <a:pt x="239" y="498"/>
                    <a:pt x="239" y="498"/>
                  </a:cubicBezTo>
                  <a:cubicBezTo>
                    <a:pt x="239" y="498"/>
                    <a:pt x="239" y="498"/>
                    <a:pt x="240" y="498"/>
                  </a:cubicBezTo>
                  <a:cubicBezTo>
                    <a:pt x="246" y="499"/>
                    <a:pt x="251" y="501"/>
                    <a:pt x="257" y="502"/>
                  </a:cubicBezTo>
                  <a:cubicBezTo>
                    <a:pt x="258" y="502"/>
                    <a:pt x="259" y="502"/>
                    <a:pt x="259" y="502"/>
                  </a:cubicBezTo>
                  <a:cubicBezTo>
                    <a:pt x="263" y="503"/>
                    <a:pt x="267" y="504"/>
                    <a:pt x="270" y="505"/>
                  </a:cubicBezTo>
                  <a:cubicBezTo>
                    <a:pt x="271" y="505"/>
                    <a:pt x="272" y="504"/>
                    <a:pt x="272" y="504"/>
                  </a:cubicBezTo>
                  <a:cubicBezTo>
                    <a:pt x="269" y="503"/>
                    <a:pt x="265" y="503"/>
                    <a:pt x="261" y="502"/>
                  </a:cubicBezTo>
                  <a:cubicBezTo>
                    <a:pt x="260" y="502"/>
                    <a:pt x="260" y="501"/>
                    <a:pt x="259" y="501"/>
                  </a:cubicBezTo>
                  <a:cubicBezTo>
                    <a:pt x="252" y="500"/>
                    <a:pt x="246" y="498"/>
                    <a:pt x="239" y="496"/>
                  </a:cubicBezTo>
                  <a:cubicBezTo>
                    <a:pt x="238" y="496"/>
                    <a:pt x="238" y="496"/>
                    <a:pt x="237" y="496"/>
                  </a:cubicBezTo>
                  <a:cubicBezTo>
                    <a:pt x="237" y="496"/>
                    <a:pt x="236" y="496"/>
                    <a:pt x="236" y="496"/>
                  </a:cubicBezTo>
                  <a:cubicBezTo>
                    <a:pt x="236" y="496"/>
                    <a:pt x="236" y="496"/>
                    <a:pt x="236" y="496"/>
                  </a:cubicBezTo>
                  <a:cubicBezTo>
                    <a:pt x="235" y="495"/>
                    <a:pt x="234" y="495"/>
                    <a:pt x="234" y="494"/>
                  </a:cubicBezTo>
                  <a:cubicBezTo>
                    <a:pt x="233" y="494"/>
                    <a:pt x="232" y="494"/>
                    <a:pt x="232" y="494"/>
                  </a:cubicBezTo>
                  <a:cubicBezTo>
                    <a:pt x="232" y="494"/>
                    <a:pt x="232" y="494"/>
                    <a:pt x="232" y="494"/>
                  </a:cubicBezTo>
                  <a:moveTo>
                    <a:pt x="672" y="495"/>
                  </a:moveTo>
                  <a:cubicBezTo>
                    <a:pt x="659" y="498"/>
                    <a:pt x="644" y="501"/>
                    <a:pt x="629" y="504"/>
                  </a:cubicBezTo>
                  <a:cubicBezTo>
                    <a:pt x="630" y="505"/>
                    <a:pt x="631" y="505"/>
                    <a:pt x="631" y="505"/>
                  </a:cubicBezTo>
                  <a:cubicBezTo>
                    <a:pt x="646" y="502"/>
                    <a:pt x="659" y="499"/>
                    <a:pt x="672" y="496"/>
                  </a:cubicBezTo>
                  <a:cubicBezTo>
                    <a:pt x="672" y="496"/>
                    <a:pt x="672" y="496"/>
                    <a:pt x="672" y="495"/>
                  </a:cubicBezTo>
                  <a:moveTo>
                    <a:pt x="275" y="505"/>
                  </a:moveTo>
                  <a:cubicBezTo>
                    <a:pt x="274" y="505"/>
                    <a:pt x="273" y="505"/>
                    <a:pt x="273" y="505"/>
                  </a:cubicBezTo>
                  <a:cubicBezTo>
                    <a:pt x="287" y="508"/>
                    <a:pt x="300" y="511"/>
                    <a:pt x="314" y="513"/>
                  </a:cubicBezTo>
                  <a:cubicBezTo>
                    <a:pt x="315" y="513"/>
                    <a:pt x="316" y="512"/>
                    <a:pt x="317" y="512"/>
                  </a:cubicBezTo>
                  <a:cubicBezTo>
                    <a:pt x="303" y="510"/>
                    <a:pt x="289" y="508"/>
                    <a:pt x="275" y="505"/>
                  </a:cubicBezTo>
                  <a:moveTo>
                    <a:pt x="627" y="505"/>
                  </a:moveTo>
                  <a:cubicBezTo>
                    <a:pt x="625" y="505"/>
                    <a:pt x="624" y="505"/>
                    <a:pt x="623" y="506"/>
                  </a:cubicBezTo>
                  <a:cubicBezTo>
                    <a:pt x="625" y="506"/>
                    <a:pt x="627" y="505"/>
                    <a:pt x="629" y="505"/>
                  </a:cubicBezTo>
                  <a:cubicBezTo>
                    <a:pt x="629" y="505"/>
                    <a:pt x="629" y="505"/>
                    <a:pt x="629" y="505"/>
                  </a:cubicBezTo>
                  <a:cubicBezTo>
                    <a:pt x="628" y="505"/>
                    <a:pt x="627" y="505"/>
                    <a:pt x="627" y="505"/>
                  </a:cubicBezTo>
                  <a:moveTo>
                    <a:pt x="618" y="506"/>
                  </a:moveTo>
                  <a:cubicBezTo>
                    <a:pt x="605" y="509"/>
                    <a:pt x="591" y="511"/>
                    <a:pt x="577" y="513"/>
                  </a:cubicBezTo>
                  <a:cubicBezTo>
                    <a:pt x="574" y="514"/>
                    <a:pt x="572" y="514"/>
                    <a:pt x="569" y="515"/>
                  </a:cubicBezTo>
                  <a:cubicBezTo>
                    <a:pt x="588" y="513"/>
                    <a:pt x="607" y="510"/>
                    <a:pt x="624" y="506"/>
                  </a:cubicBezTo>
                  <a:cubicBezTo>
                    <a:pt x="623" y="506"/>
                    <a:pt x="623" y="506"/>
                    <a:pt x="623" y="506"/>
                  </a:cubicBezTo>
                  <a:cubicBezTo>
                    <a:pt x="622" y="506"/>
                    <a:pt x="620" y="506"/>
                    <a:pt x="618" y="506"/>
                  </a:cubicBezTo>
                  <a:moveTo>
                    <a:pt x="260" y="509"/>
                  </a:moveTo>
                  <a:cubicBezTo>
                    <a:pt x="259" y="509"/>
                    <a:pt x="259" y="509"/>
                    <a:pt x="259" y="509"/>
                  </a:cubicBezTo>
                  <a:cubicBezTo>
                    <a:pt x="266" y="514"/>
                    <a:pt x="274" y="518"/>
                    <a:pt x="281" y="523"/>
                  </a:cubicBezTo>
                  <a:cubicBezTo>
                    <a:pt x="281" y="523"/>
                    <a:pt x="281" y="522"/>
                    <a:pt x="282" y="522"/>
                  </a:cubicBezTo>
                  <a:cubicBezTo>
                    <a:pt x="275" y="518"/>
                    <a:pt x="268" y="514"/>
                    <a:pt x="260" y="509"/>
                  </a:cubicBezTo>
                  <a:moveTo>
                    <a:pt x="319" y="513"/>
                  </a:moveTo>
                  <a:cubicBezTo>
                    <a:pt x="318" y="513"/>
                    <a:pt x="318" y="513"/>
                    <a:pt x="317" y="513"/>
                  </a:cubicBezTo>
                  <a:cubicBezTo>
                    <a:pt x="318" y="513"/>
                    <a:pt x="319" y="514"/>
                    <a:pt x="320" y="514"/>
                  </a:cubicBezTo>
                  <a:cubicBezTo>
                    <a:pt x="320" y="514"/>
                    <a:pt x="321" y="514"/>
                    <a:pt x="322" y="514"/>
                  </a:cubicBezTo>
                  <a:cubicBezTo>
                    <a:pt x="323" y="514"/>
                    <a:pt x="323" y="514"/>
                    <a:pt x="324" y="514"/>
                  </a:cubicBezTo>
                  <a:cubicBezTo>
                    <a:pt x="324" y="514"/>
                    <a:pt x="323" y="514"/>
                    <a:pt x="322" y="513"/>
                  </a:cubicBezTo>
                  <a:cubicBezTo>
                    <a:pt x="322" y="513"/>
                    <a:pt x="322" y="513"/>
                    <a:pt x="322" y="513"/>
                  </a:cubicBezTo>
                  <a:cubicBezTo>
                    <a:pt x="321" y="513"/>
                    <a:pt x="320" y="513"/>
                    <a:pt x="319" y="513"/>
                  </a:cubicBezTo>
                  <a:moveTo>
                    <a:pt x="325" y="513"/>
                  </a:moveTo>
                  <a:cubicBezTo>
                    <a:pt x="325" y="514"/>
                    <a:pt x="326" y="514"/>
                    <a:pt x="327" y="515"/>
                  </a:cubicBezTo>
                  <a:cubicBezTo>
                    <a:pt x="334" y="516"/>
                    <a:pt x="341" y="517"/>
                    <a:pt x="348" y="517"/>
                  </a:cubicBezTo>
                  <a:cubicBezTo>
                    <a:pt x="349" y="517"/>
                    <a:pt x="349" y="517"/>
                    <a:pt x="350" y="517"/>
                  </a:cubicBezTo>
                  <a:cubicBezTo>
                    <a:pt x="342" y="516"/>
                    <a:pt x="333" y="515"/>
                    <a:pt x="325" y="513"/>
                  </a:cubicBezTo>
                  <a:moveTo>
                    <a:pt x="569" y="514"/>
                  </a:moveTo>
                  <a:cubicBezTo>
                    <a:pt x="569" y="514"/>
                    <a:pt x="569" y="514"/>
                    <a:pt x="569" y="514"/>
                  </a:cubicBezTo>
                  <a:cubicBezTo>
                    <a:pt x="566" y="515"/>
                    <a:pt x="564" y="515"/>
                    <a:pt x="561" y="516"/>
                  </a:cubicBezTo>
                  <a:cubicBezTo>
                    <a:pt x="561" y="516"/>
                    <a:pt x="562" y="516"/>
                    <a:pt x="562" y="516"/>
                  </a:cubicBezTo>
                  <a:cubicBezTo>
                    <a:pt x="564" y="515"/>
                    <a:pt x="567" y="515"/>
                    <a:pt x="569" y="514"/>
                  </a:cubicBezTo>
                  <a:moveTo>
                    <a:pt x="562" y="515"/>
                  </a:moveTo>
                  <a:cubicBezTo>
                    <a:pt x="559" y="515"/>
                    <a:pt x="556" y="516"/>
                    <a:pt x="554" y="516"/>
                  </a:cubicBezTo>
                  <a:cubicBezTo>
                    <a:pt x="554" y="516"/>
                    <a:pt x="554" y="517"/>
                    <a:pt x="555" y="517"/>
                  </a:cubicBezTo>
                  <a:cubicBezTo>
                    <a:pt x="557" y="516"/>
                    <a:pt x="559" y="516"/>
                    <a:pt x="562" y="515"/>
                  </a:cubicBezTo>
                  <a:moveTo>
                    <a:pt x="552" y="516"/>
                  </a:moveTo>
                  <a:cubicBezTo>
                    <a:pt x="552" y="516"/>
                    <a:pt x="551" y="516"/>
                    <a:pt x="551" y="516"/>
                  </a:cubicBezTo>
                  <a:cubicBezTo>
                    <a:pt x="549" y="517"/>
                    <a:pt x="547" y="517"/>
                    <a:pt x="545" y="518"/>
                  </a:cubicBezTo>
                  <a:cubicBezTo>
                    <a:pt x="548" y="518"/>
                    <a:pt x="551" y="517"/>
                    <a:pt x="553" y="517"/>
                  </a:cubicBezTo>
                  <a:cubicBezTo>
                    <a:pt x="553" y="517"/>
                    <a:pt x="553" y="516"/>
                    <a:pt x="552" y="516"/>
                  </a:cubicBezTo>
                  <a:moveTo>
                    <a:pt x="353" y="517"/>
                  </a:moveTo>
                  <a:cubicBezTo>
                    <a:pt x="352" y="517"/>
                    <a:pt x="351" y="517"/>
                    <a:pt x="350" y="518"/>
                  </a:cubicBezTo>
                  <a:cubicBezTo>
                    <a:pt x="353" y="518"/>
                    <a:pt x="356" y="518"/>
                    <a:pt x="358" y="519"/>
                  </a:cubicBezTo>
                  <a:cubicBezTo>
                    <a:pt x="359" y="518"/>
                    <a:pt x="360" y="518"/>
                    <a:pt x="361" y="518"/>
                  </a:cubicBezTo>
                  <a:cubicBezTo>
                    <a:pt x="358" y="518"/>
                    <a:pt x="355" y="517"/>
                    <a:pt x="353" y="517"/>
                  </a:cubicBezTo>
                  <a:moveTo>
                    <a:pt x="545" y="517"/>
                  </a:moveTo>
                  <a:cubicBezTo>
                    <a:pt x="537" y="518"/>
                    <a:pt x="530" y="518"/>
                    <a:pt x="522" y="519"/>
                  </a:cubicBezTo>
                  <a:cubicBezTo>
                    <a:pt x="520" y="520"/>
                    <a:pt x="519" y="520"/>
                    <a:pt x="518" y="520"/>
                  </a:cubicBezTo>
                  <a:cubicBezTo>
                    <a:pt x="525" y="520"/>
                    <a:pt x="532" y="519"/>
                    <a:pt x="539" y="519"/>
                  </a:cubicBezTo>
                  <a:cubicBezTo>
                    <a:pt x="540" y="518"/>
                    <a:pt x="542" y="518"/>
                    <a:pt x="543" y="517"/>
                  </a:cubicBezTo>
                  <a:cubicBezTo>
                    <a:pt x="544" y="517"/>
                    <a:pt x="544" y="517"/>
                    <a:pt x="545" y="517"/>
                  </a:cubicBezTo>
                  <a:moveTo>
                    <a:pt x="365" y="518"/>
                  </a:moveTo>
                  <a:cubicBezTo>
                    <a:pt x="365" y="519"/>
                    <a:pt x="364" y="519"/>
                    <a:pt x="363" y="519"/>
                  </a:cubicBezTo>
                  <a:cubicBezTo>
                    <a:pt x="368" y="520"/>
                    <a:pt x="373" y="520"/>
                    <a:pt x="377" y="520"/>
                  </a:cubicBezTo>
                  <a:cubicBezTo>
                    <a:pt x="378" y="520"/>
                    <a:pt x="379" y="520"/>
                    <a:pt x="380" y="520"/>
                  </a:cubicBezTo>
                  <a:cubicBezTo>
                    <a:pt x="380" y="521"/>
                    <a:pt x="381" y="521"/>
                    <a:pt x="381" y="521"/>
                  </a:cubicBezTo>
                  <a:cubicBezTo>
                    <a:pt x="382" y="520"/>
                    <a:pt x="383" y="520"/>
                    <a:pt x="383" y="520"/>
                  </a:cubicBezTo>
                  <a:cubicBezTo>
                    <a:pt x="383" y="520"/>
                    <a:pt x="382" y="520"/>
                    <a:pt x="382" y="520"/>
                  </a:cubicBezTo>
                  <a:cubicBezTo>
                    <a:pt x="381" y="520"/>
                    <a:pt x="380" y="520"/>
                    <a:pt x="379" y="519"/>
                  </a:cubicBezTo>
                  <a:cubicBezTo>
                    <a:pt x="375" y="519"/>
                    <a:pt x="370" y="519"/>
                    <a:pt x="365" y="518"/>
                  </a:cubicBezTo>
                  <a:moveTo>
                    <a:pt x="518" y="519"/>
                  </a:moveTo>
                  <a:cubicBezTo>
                    <a:pt x="515" y="520"/>
                    <a:pt x="512" y="520"/>
                    <a:pt x="509" y="520"/>
                  </a:cubicBezTo>
                  <a:cubicBezTo>
                    <a:pt x="508" y="520"/>
                    <a:pt x="506" y="521"/>
                    <a:pt x="504" y="521"/>
                  </a:cubicBezTo>
                  <a:cubicBezTo>
                    <a:pt x="507" y="521"/>
                    <a:pt x="511" y="521"/>
                    <a:pt x="514" y="521"/>
                  </a:cubicBezTo>
                  <a:cubicBezTo>
                    <a:pt x="515" y="520"/>
                    <a:pt x="516" y="520"/>
                    <a:pt x="518" y="519"/>
                  </a:cubicBezTo>
                  <a:moveTo>
                    <a:pt x="385" y="520"/>
                  </a:moveTo>
                  <a:cubicBezTo>
                    <a:pt x="385" y="520"/>
                    <a:pt x="384" y="520"/>
                    <a:pt x="383" y="521"/>
                  </a:cubicBezTo>
                  <a:cubicBezTo>
                    <a:pt x="388" y="521"/>
                    <a:pt x="392" y="521"/>
                    <a:pt x="397" y="522"/>
                  </a:cubicBezTo>
                  <a:cubicBezTo>
                    <a:pt x="396" y="521"/>
                    <a:pt x="396" y="521"/>
                    <a:pt x="395" y="521"/>
                  </a:cubicBezTo>
                  <a:cubicBezTo>
                    <a:pt x="392" y="520"/>
                    <a:pt x="389" y="520"/>
                    <a:pt x="385" y="520"/>
                  </a:cubicBezTo>
                  <a:moveTo>
                    <a:pt x="504" y="520"/>
                  </a:moveTo>
                  <a:cubicBezTo>
                    <a:pt x="501" y="521"/>
                    <a:pt x="497" y="521"/>
                    <a:pt x="493" y="521"/>
                  </a:cubicBezTo>
                  <a:cubicBezTo>
                    <a:pt x="492" y="521"/>
                    <a:pt x="491" y="522"/>
                    <a:pt x="490" y="522"/>
                  </a:cubicBezTo>
                  <a:cubicBezTo>
                    <a:pt x="493" y="522"/>
                    <a:pt x="496" y="522"/>
                    <a:pt x="499" y="522"/>
                  </a:cubicBezTo>
                  <a:cubicBezTo>
                    <a:pt x="501" y="521"/>
                    <a:pt x="503" y="521"/>
                    <a:pt x="504" y="520"/>
                  </a:cubicBezTo>
                  <a:moveTo>
                    <a:pt x="397" y="521"/>
                  </a:moveTo>
                  <a:cubicBezTo>
                    <a:pt x="398" y="521"/>
                    <a:pt x="398" y="521"/>
                    <a:pt x="399" y="522"/>
                  </a:cubicBezTo>
                  <a:cubicBezTo>
                    <a:pt x="399" y="522"/>
                    <a:pt x="400" y="522"/>
                    <a:pt x="400" y="522"/>
                  </a:cubicBezTo>
                  <a:cubicBezTo>
                    <a:pt x="400" y="522"/>
                    <a:pt x="401" y="522"/>
                    <a:pt x="401" y="522"/>
                  </a:cubicBezTo>
                  <a:cubicBezTo>
                    <a:pt x="402" y="522"/>
                    <a:pt x="402" y="522"/>
                    <a:pt x="403" y="522"/>
                  </a:cubicBezTo>
                  <a:cubicBezTo>
                    <a:pt x="403" y="522"/>
                    <a:pt x="403" y="522"/>
                    <a:pt x="403" y="522"/>
                  </a:cubicBezTo>
                  <a:cubicBezTo>
                    <a:pt x="404" y="522"/>
                    <a:pt x="406" y="521"/>
                    <a:pt x="407" y="521"/>
                  </a:cubicBezTo>
                  <a:cubicBezTo>
                    <a:pt x="406" y="521"/>
                    <a:pt x="405" y="521"/>
                    <a:pt x="404" y="521"/>
                  </a:cubicBezTo>
                  <a:cubicBezTo>
                    <a:pt x="403" y="521"/>
                    <a:pt x="403" y="521"/>
                    <a:pt x="402" y="521"/>
                  </a:cubicBezTo>
                  <a:cubicBezTo>
                    <a:pt x="402" y="521"/>
                    <a:pt x="402" y="521"/>
                    <a:pt x="402" y="521"/>
                  </a:cubicBezTo>
                  <a:cubicBezTo>
                    <a:pt x="401" y="521"/>
                    <a:pt x="401" y="521"/>
                    <a:pt x="401" y="521"/>
                  </a:cubicBezTo>
                  <a:cubicBezTo>
                    <a:pt x="400" y="521"/>
                    <a:pt x="400" y="521"/>
                    <a:pt x="399" y="521"/>
                  </a:cubicBezTo>
                  <a:cubicBezTo>
                    <a:pt x="399" y="521"/>
                    <a:pt x="398" y="521"/>
                    <a:pt x="398" y="521"/>
                  </a:cubicBezTo>
                  <a:cubicBezTo>
                    <a:pt x="398" y="521"/>
                    <a:pt x="397" y="521"/>
                    <a:pt x="397" y="521"/>
                  </a:cubicBezTo>
                  <a:moveTo>
                    <a:pt x="489" y="521"/>
                  </a:moveTo>
                  <a:cubicBezTo>
                    <a:pt x="483" y="521"/>
                    <a:pt x="477" y="522"/>
                    <a:pt x="471" y="522"/>
                  </a:cubicBezTo>
                  <a:cubicBezTo>
                    <a:pt x="472" y="522"/>
                    <a:pt x="472" y="522"/>
                    <a:pt x="472" y="523"/>
                  </a:cubicBezTo>
                  <a:cubicBezTo>
                    <a:pt x="477" y="523"/>
                    <a:pt x="482" y="522"/>
                    <a:pt x="486" y="522"/>
                  </a:cubicBezTo>
                  <a:cubicBezTo>
                    <a:pt x="487" y="522"/>
                    <a:pt x="488" y="521"/>
                    <a:pt x="489" y="521"/>
                  </a:cubicBezTo>
                  <a:moveTo>
                    <a:pt x="412" y="521"/>
                  </a:moveTo>
                  <a:cubicBezTo>
                    <a:pt x="411" y="522"/>
                    <a:pt x="410" y="522"/>
                    <a:pt x="410" y="522"/>
                  </a:cubicBezTo>
                  <a:cubicBezTo>
                    <a:pt x="410" y="522"/>
                    <a:pt x="410" y="522"/>
                    <a:pt x="410" y="522"/>
                  </a:cubicBezTo>
                  <a:cubicBezTo>
                    <a:pt x="410" y="522"/>
                    <a:pt x="410" y="522"/>
                    <a:pt x="410" y="522"/>
                  </a:cubicBezTo>
                  <a:cubicBezTo>
                    <a:pt x="411" y="522"/>
                    <a:pt x="412" y="522"/>
                    <a:pt x="413" y="522"/>
                  </a:cubicBezTo>
                  <a:cubicBezTo>
                    <a:pt x="413" y="522"/>
                    <a:pt x="414" y="522"/>
                    <a:pt x="415" y="522"/>
                  </a:cubicBezTo>
                  <a:cubicBezTo>
                    <a:pt x="415" y="522"/>
                    <a:pt x="415" y="522"/>
                    <a:pt x="415" y="522"/>
                  </a:cubicBezTo>
                  <a:cubicBezTo>
                    <a:pt x="416" y="523"/>
                    <a:pt x="416" y="523"/>
                    <a:pt x="417" y="523"/>
                  </a:cubicBezTo>
                  <a:cubicBezTo>
                    <a:pt x="417" y="523"/>
                    <a:pt x="418" y="523"/>
                    <a:pt x="419" y="523"/>
                  </a:cubicBezTo>
                  <a:cubicBezTo>
                    <a:pt x="419" y="523"/>
                    <a:pt x="419" y="523"/>
                    <a:pt x="420" y="523"/>
                  </a:cubicBezTo>
                  <a:cubicBezTo>
                    <a:pt x="424" y="523"/>
                    <a:pt x="428" y="523"/>
                    <a:pt x="432" y="523"/>
                  </a:cubicBezTo>
                  <a:cubicBezTo>
                    <a:pt x="433" y="523"/>
                    <a:pt x="434" y="522"/>
                    <a:pt x="435" y="522"/>
                  </a:cubicBezTo>
                  <a:cubicBezTo>
                    <a:pt x="430" y="522"/>
                    <a:pt x="425" y="522"/>
                    <a:pt x="420" y="522"/>
                  </a:cubicBezTo>
                  <a:cubicBezTo>
                    <a:pt x="420" y="522"/>
                    <a:pt x="419" y="522"/>
                    <a:pt x="419" y="522"/>
                  </a:cubicBezTo>
                  <a:cubicBezTo>
                    <a:pt x="419" y="522"/>
                    <a:pt x="419" y="522"/>
                    <a:pt x="419" y="522"/>
                  </a:cubicBezTo>
                  <a:cubicBezTo>
                    <a:pt x="418" y="522"/>
                    <a:pt x="417" y="522"/>
                    <a:pt x="417" y="522"/>
                  </a:cubicBezTo>
                  <a:cubicBezTo>
                    <a:pt x="417" y="522"/>
                    <a:pt x="416" y="522"/>
                    <a:pt x="416" y="522"/>
                  </a:cubicBezTo>
                  <a:cubicBezTo>
                    <a:pt x="416" y="522"/>
                    <a:pt x="416" y="522"/>
                    <a:pt x="415" y="521"/>
                  </a:cubicBezTo>
                  <a:cubicBezTo>
                    <a:pt x="415" y="521"/>
                    <a:pt x="415" y="521"/>
                    <a:pt x="415" y="521"/>
                  </a:cubicBezTo>
                  <a:cubicBezTo>
                    <a:pt x="414" y="521"/>
                    <a:pt x="413" y="521"/>
                    <a:pt x="412" y="521"/>
                  </a:cubicBezTo>
                  <a:cubicBezTo>
                    <a:pt x="412" y="521"/>
                    <a:pt x="412" y="521"/>
                    <a:pt x="412" y="521"/>
                  </a:cubicBezTo>
                  <a:moveTo>
                    <a:pt x="409" y="522"/>
                  </a:moveTo>
                  <a:cubicBezTo>
                    <a:pt x="408" y="522"/>
                    <a:pt x="407" y="522"/>
                    <a:pt x="407" y="522"/>
                  </a:cubicBezTo>
                  <a:cubicBezTo>
                    <a:pt x="407" y="522"/>
                    <a:pt x="407" y="522"/>
                    <a:pt x="407" y="522"/>
                  </a:cubicBezTo>
                  <a:cubicBezTo>
                    <a:pt x="408" y="522"/>
                    <a:pt x="408" y="522"/>
                    <a:pt x="409" y="522"/>
                  </a:cubicBezTo>
                  <a:moveTo>
                    <a:pt x="470" y="522"/>
                  </a:moveTo>
                  <a:cubicBezTo>
                    <a:pt x="467" y="522"/>
                    <a:pt x="465" y="522"/>
                    <a:pt x="462" y="522"/>
                  </a:cubicBezTo>
                  <a:cubicBezTo>
                    <a:pt x="462" y="522"/>
                    <a:pt x="461" y="523"/>
                    <a:pt x="460" y="523"/>
                  </a:cubicBezTo>
                  <a:cubicBezTo>
                    <a:pt x="464" y="523"/>
                    <a:pt x="467" y="523"/>
                    <a:pt x="471" y="523"/>
                  </a:cubicBezTo>
                  <a:cubicBezTo>
                    <a:pt x="470" y="522"/>
                    <a:pt x="470" y="522"/>
                    <a:pt x="470" y="522"/>
                  </a:cubicBezTo>
                  <a:moveTo>
                    <a:pt x="460" y="522"/>
                  </a:moveTo>
                  <a:cubicBezTo>
                    <a:pt x="459" y="522"/>
                    <a:pt x="459" y="522"/>
                    <a:pt x="458" y="522"/>
                  </a:cubicBezTo>
                  <a:cubicBezTo>
                    <a:pt x="457" y="522"/>
                    <a:pt x="455" y="523"/>
                    <a:pt x="454" y="523"/>
                  </a:cubicBezTo>
                  <a:cubicBezTo>
                    <a:pt x="455" y="523"/>
                    <a:pt x="456" y="523"/>
                    <a:pt x="457" y="523"/>
                  </a:cubicBezTo>
                  <a:cubicBezTo>
                    <a:pt x="458" y="523"/>
                    <a:pt x="459" y="522"/>
                    <a:pt x="460" y="522"/>
                  </a:cubicBezTo>
                  <a:moveTo>
                    <a:pt x="437" y="522"/>
                  </a:moveTo>
                  <a:cubicBezTo>
                    <a:pt x="436" y="522"/>
                    <a:pt x="435" y="523"/>
                    <a:pt x="435" y="523"/>
                  </a:cubicBezTo>
                  <a:cubicBezTo>
                    <a:pt x="439" y="523"/>
                    <a:pt x="443" y="523"/>
                    <a:pt x="448" y="523"/>
                  </a:cubicBezTo>
                  <a:cubicBezTo>
                    <a:pt x="448" y="523"/>
                    <a:pt x="449" y="523"/>
                    <a:pt x="450" y="523"/>
                  </a:cubicBezTo>
                  <a:cubicBezTo>
                    <a:pt x="451" y="523"/>
                    <a:pt x="453" y="522"/>
                    <a:pt x="454" y="522"/>
                  </a:cubicBezTo>
                  <a:cubicBezTo>
                    <a:pt x="452" y="522"/>
                    <a:pt x="450" y="522"/>
                    <a:pt x="448" y="522"/>
                  </a:cubicBezTo>
                  <a:cubicBezTo>
                    <a:pt x="444" y="522"/>
                    <a:pt x="441" y="522"/>
                    <a:pt x="437" y="522"/>
                  </a:cubicBezTo>
                  <a:moveTo>
                    <a:pt x="283" y="523"/>
                  </a:moveTo>
                  <a:cubicBezTo>
                    <a:pt x="283" y="523"/>
                    <a:pt x="282" y="523"/>
                    <a:pt x="282" y="523"/>
                  </a:cubicBezTo>
                  <a:cubicBezTo>
                    <a:pt x="283" y="524"/>
                    <a:pt x="285" y="525"/>
                    <a:pt x="286" y="526"/>
                  </a:cubicBezTo>
                  <a:cubicBezTo>
                    <a:pt x="286" y="526"/>
                    <a:pt x="287" y="527"/>
                    <a:pt x="287" y="527"/>
                  </a:cubicBezTo>
                  <a:cubicBezTo>
                    <a:pt x="291" y="530"/>
                    <a:pt x="295" y="532"/>
                    <a:pt x="299" y="535"/>
                  </a:cubicBezTo>
                  <a:cubicBezTo>
                    <a:pt x="299" y="535"/>
                    <a:pt x="300" y="535"/>
                    <a:pt x="300" y="534"/>
                  </a:cubicBezTo>
                  <a:cubicBezTo>
                    <a:pt x="296" y="532"/>
                    <a:pt x="292" y="529"/>
                    <a:pt x="288" y="526"/>
                  </a:cubicBezTo>
                  <a:cubicBezTo>
                    <a:pt x="288" y="526"/>
                    <a:pt x="287" y="526"/>
                    <a:pt x="287" y="526"/>
                  </a:cubicBezTo>
                  <a:cubicBezTo>
                    <a:pt x="286" y="525"/>
                    <a:pt x="284" y="524"/>
                    <a:pt x="283" y="523"/>
                  </a:cubicBezTo>
                  <a:moveTo>
                    <a:pt x="301" y="535"/>
                  </a:moveTo>
                  <a:cubicBezTo>
                    <a:pt x="301" y="535"/>
                    <a:pt x="300" y="535"/>
                    <a:pt x="300" y="535"/>
                  </a:cubicBezTo>
                  <a:cubicBezTo>
                    <a:pt x="300" y="535"/>
                    <a:pt x="300" y="535"/>
                    <a:pt x="300" y="536"/>
                  </a:cubicBezTo>
                  <a:cubicBezTo>
                    <a:pt x="300" y="535"/>
                    <a:pt x="301" y="535"/>
                    <a:pt x="301" y="535"/>
                  </a:cubicBezTo>
                  <a:cubicBezTo>
                    <a:pt x="301" y="535"/>
                    <a:pt x="301" y="535"/>
                    <a:pt x="301" y="535"/>
                  </a:cubicBezTo>
                  <a:moveTo>
                    <a:pt x="302" y="536"/>
                  </a:moveTo>
                  <a:cubicBezTo>
                    <a:pt x="302" y="536"/>
                    <a:pt x="301" y="536"/>
                    <a:pt x="301" y="536"/>
                  </a:cubicBezTo>
                  <a:cubicBezTo>
                    <a:pt x="303" y="538"/>
                    <a:pt x="305" y="540"/>
                    <a:pt x="307" y="541"/>
                  </a:cubicBezTo>
                  <a:cubicBezTo>
                    <a:pt x="308" y="541"/>
                    <a:pt x="308" y="541"/>
                    <a:pt x="308" y="541"/>
                  </a:cubicBezTo>
                  <a:cubicBezTo>
                    <a:pt x="306" y="539"/>
                    <a:pt x="304" y="538"/>
                    <a:pt x="302" y="536"/>
                  </a:cubicBezTo>
                  <a:moveTo>
                    <a:pt x="309" y="541"/>
                  </a:moveTo>
                  <a:cubicBezTo>
                    <a:pt x="309" y="542"/>
                    <a:pt x="309" y="542"/>
                    <a:pt x="308" y="542"/>
                  </a:cubicBezTo>
                  <a:cubicBezTo>
                    <a:pt x="309" y="542"/>
                    <a:pt x="309" y="542"/>
                    <a:pt x="309" y="543"/>
                  </a:cubicBezTo>
                  <a:cubicBezTo>
                    <a:pt x="310" y="543"/>
                    <a:pt x="310" y="544"/>
                    <a:pt x="311" y="544"/>
                  </a:cubicBezTo>
                  <a:cubicBezTo>
                    <a:pt x="312" y="545"/>
                    <a:pt x="313" y="546"/>
                    <a:pt x="314" y="547"/>
                  </a:cubicBezTo>
                  <a:cubicBezTo>
                    <a:pt x="315" y="547"/>
                    <a:pt x="315" y="547"/>
                    <a:pt x="315" y="548"/>
                  </a:cubicBezTo>
                  <a:cubicBezTo>
                    <a:pt x="315" y="548"/>
                    <a:pt x="315" y="548"/>
                    <a:pt x="315" y="548"/>
                  </a:cubicBezTo>
                  <a:cubicBezTo>
                    <a:pt x="316" y="548"/>
                    <a:pt x="316" y="548"/>
                    <a:pt x="316" y="547"/>
                  </a:cubicBezTo>
                  <a:cubicBezTo>
                    <a:pt x="316" y="547"/>
                    <a:pt x="316" y="547"/>
                    <a:pt x="316" y="547"/>
                  </a:cubicBezTo>
                  <a:cubicBezTo>
                    <a:pt x="316" y="547"/>
                    <a:pt x="316" y="547"/>
                    <a:pt x="315" y="546"/>
                  </a:cubicBezTo>
                  <a:cubicBezTo>
                    <a:pt x="314" y="546"/>
                    <a:pt x="314" y="545"/>
                    <a:pt x="313" y="544"/>
                  </a:cubicBezTo>
                  <a:cubicBezTo>
                    <a:pt x="312" y="544"/>
                    <a:pt x="312" y="543"/>
                    <a:pt x="311" y="543"/>
                  </a:cubicBezTo>
                  <a:cubicBezTo>
                    <a:pt x="311" y="542"/>
                    <a:pt x="310" y="542"/>
                    <a:pt x="309" y="541"/>
                  </a:cubicBezTo>
                  <a:moveTo>
                    <a:pt x="149" y="547"/>
                  </a:moveTo>
                  <a:cubicBezTo>
                    <a:pt x="149" y="547"/>
                    <a:pt x="149" y="548"/>
                    <a:pt x="149" y="548"/>
                  </a:cubicBezTo>
                  <a:cubicBezTo>
                    <a:pt x="149" y="548"/>
                    <a:pt x="149" y="547"/>
                    <a:pt x="150" y="547"/>
                  </a:cubicBezTo>
                  <a:cubicBezTo>
                    <a:pt x="149" y="547"/>
                    <a:pt x="149" y="547"/>
                    <a:pt x="149" y="547"/>
                  </a:cubicBezTo>
                  <a:moveTo>
                    <a:pt x="150" y="547"/>
                  </a:moveTo>
                  <a:cubicBezTo>
                    <a:pt x="150" y="548"/>
                    <a:pt x="150" y="548"/>
                    <a:pt x="150" y="548"/>
                  </a:cubicBezTo>
                  <a:cubicBezTo>
                    <a:pt x="156" y="550"/>
                    <a:pt x="162" y="551"/>
                    <a:pt x="169" y="553"/>
                  </a:cubicBezTo>
                  <a:cubicBezTo>
                    <a:pt x="169" y="553"/>
                    <a:pt x="170" y="552"/>
                    <a:pt x="170" y="552"/>
                  </a:cubicBezTo>
                  <a:cubicBezTo>
                    <a:pt x="163" y="550"/>
                    <a:pt x="157" y="549"/>
                    <a:pt x="150" y="547"/>
                  </a:cubicBezTo>
                  <a:moveTo>
                    <a:pt x="317" y="548"/>
                  </a:moveTo>
                  <a:cubicBezTo>
                    <a:pt x="317" y="548"/>
                    <a:pt x="316" y="549"/>
                    <a:pt x="316" y="549"/>
                  </a:cubicBezTo>
                  <a:cubicBezTo>
                    <a:pt x="316" y="549"/>
                    <a:pt x="316" y="549"/>
                    <a:pt x="316" y="549"/>
                  </a:cubicBezTo>
                  <a:cubicBezTo>
                    <a:pt x="316" y="549"/>
                    <a:pt x="317" y="548"/>
                    <a:pt x="317" y="548"/>
                  </a:cubicBezTo>
                  <a:moveTo>
                    <a:pt x="318" y="549"/>
                  </a:moveTo>
                  <a:cubicBezTo>
                    <a:pt x="318" y="549"/>
                    <a:pt x="317" y="549"/>
                    <a:pt x="317" y="549"/>
                  </a:cubicBezTo>
                  <a:cubicBezTo>
                    <a:pt x="320" y="552"/>
                    <a:pt x="322" y="555"/>
                    <a:pt x="324" y="557"/>
                  </a:cubicBezTo>
                  <a:cubicBezTo>
                    <a:pt x="324" y="557"/>
                    <a:pt x="324" y="557"/>
                    <a:pt x="325" y="557"/>
                  </a:cubicBezTo>
                  <a:cubicBezTo>
                    <a:pt x="323" y="555"/>
                    <a:pt x="321" y="552"/>
                    <a:pt x="318" y="549"/>
                  </a:cubicBezTo>
                  <a:moveTo>
                    <a:pt x="171" y="552"/>
                  </a:moveTo>
                  <a:cubicBezTo>
                    <a:pt x="171" y="553"/>
                    <a:pt x="170" y="553"/>
                    <a:pt x="170" y="553"/>
                  </a:cubicBezTo>
                  <a:cubicBezTo>
                    <a:pt x="178" y="555"/>
                    <a:pt x="187" y="557"/>
                    <a:pt x="196" y="559"/>
                  </a:cubicBezTo>
                  <a:cubicBezTo>
                    <a:pt x="197" y="558"/>
                    <a:pt x="197" y="558"/>
                    <a:pt x="197" y="558"/>
                  </a:cubicBezTo>
                  <a:cubicBezTo>
                    <a:pt x="188" y="556"/>
                    <a:pt x="179" y="554"/>
                    <a:pt x="171" y="552"/>
                  </a:cubicBezTo>
                  <a:moveTo>
                    <a:pt x="325" y="558"/>
                  </a:moveTo>
                  <a:cubicBezTo>
                    <a:pt x="325" y="558"/>
                    <a:pt x="325" y="558"/>
                    <a:pt x="324" y="558"/>
                  </a:cubicBezTo>
                  <a:cubicBezTo>
                    <a:pt x="325" y="559"/>
                    <a:pt x="325" y="560"/>
                    <a:pt x="325" y="561"/>
                  </a:cubicBezTo>
                  <a:cubicBezTo>
                    <a:pt x="326" y="560"/>
                    <a:pt x="326" y="560"/>
                    <a:pt x="326" y="560"/>
                  </a:cubicBezTo>
                  <a:cubicBezTo>
                    <a:pt x="326" y="560"/>
                    <a:pt x="326" y="559"/>
                    <a:pt x="325" y="558"/>
                  </a:cubicBezTo>
                  <a:moveTo>
                    <a:pt x="199" y="558"/>
                  </a:moveTo>
                  <a:cubicBezTo>
                    <a:pt x="198" y="558"/>
                    <a:pt x="198" y="559"/>
                    <a:pt x="198" y="559"/>
                  </a:cubicBezTo>
                  <a:cubicBezTo>
                    <a:pt x="200" y="559"/>
                    <a:pt x="203" y="560"/>
                    <a:pt x="205" y="560"/>
                  </a:cubicBezTo>
                  <a:cubicBezTo>
                    <a:pt x="206" y="561"/>
                    <a:pt x="206" y="561"/>
                    <a:pt x="207" y="561"/>
                  </a:cubicBezTo>
                  <a:cubicBezTo>
                    <a:pt x="211" y="562"/>
                    <a:pt x="215" y="562"/>
                    <a:pt x="220" y="563"/>
                  </a:cubicBezTo>
                  <a:cubicBezTo>
                    <a:pt x="221" y="563"/>
                    <a:pt x="222" y="564"/>
                    <a:pt x="223" y="564"/>
                  </a:cubicBezTo>
                  <a:cubicBezTo>
                    <a:pt x="222" y="563"/>
                    <a:pt x="221" y="563"/>
                    <a:pt x="220" y="562"/>
                  </a:cubicBezTo>
                  <a:cubicBezTo>
                    <a:pt x="220" y="562"/>
                    <a:pt x="220" y="562"/>
                    <a:pt x="220" y="562"/>
                  </a:cubicBezTo>
                  <a:cubicBezTo>
                    <a:pt x="216" y="562"/>
                    <a:pt x="212" y="561"/>
                    <a:pt x="208" y="560"/>
                  </a:cubicBezTo>
                  <a:cubicBezTo>
                    <a:pt x="208" y="560"/>
                    <a:pt x="207" y="560"/>
                    <a:pt x="207" y="560"/>
                  </a:cubicBezTo>
                  <a:cubicBezTo>
                    <a:pt x="204" y="559"/>
                    <a:pt x="201" y="559"/>
                    <a:pt x="199" y="558"/>
                  </a:cubicBezTo>
                  <a:moveTo>
                    <a:pt x="327" y="561"/>
                  </a:moveTo>
                  <a:cubicBezTo>
                    <a:pt x="326" y="561"/>
                    <a:pt x="326" y="561"/>
                    <a:pt x="326" y="562"/>
                  </a:cubicBezTo>
                  <a:cubicBezTo>
                    <a:pt x="326" y="562"/>
                    <a:pt x="326" y="563"/>
                    <a:pt x="326" y="563"/>
                  </a:cubicBezTo>
                  <a:cubicBezTo>
                    <a:pt x="326" y="564"/>
                    <a:pt x="326" y="564"/>
                    <a:pt x="326" y="565"/>
                  </a:cubicBezTo>
                  <a:cubicBezTo>
                    <a:pt x="326" y="565"/>
                    <a:pt x="326" y="565"/>
                    <a:pt x="326" y="565"/>
                  </a:cubicBezTo>
                  <a:cubicBezTo>
                    <a:pt x="326" y="565"/>
                    <a:pt x="326" y="566"/>
                    <a:pt x="326" y="566"/>
                  </a:cubicBezTo>
                  <a:cubicBezTo>
                    <a:pt x="326" y="565"/>
                    <a:pt x="326" y="565"/>
                    <a:pt x="327" y="565"/>
                  </a:cubicBezTo>
                  <a:cubicBezTo>
                    <a:pt x="327" y="565"/>
                    <a:pt x="327" y="565"/>
                    <a:pt x="327" y="564"/>
                  </a:cubicBezTo>
                  <a:cubicBezTo>
                    <a:pt x="327" y="564"/>
                    <a:pt x="327" y="564"/>
                    <a:pt x="327" y="563"/>
                  </a:cubicBezTo>
                  <a:cubicBezTo>
                    <a:pt x="327" y="563"/>
                    <a:pt x="327" y="562"/>
                    <a:pt x="327" y="561"/>
                  </a:cubicBezTo>
                  <a:moveTo>
                    <a:pt x="224" y="563"/>
                  </a:moveTo>
                  <a:cubicBezTo>
                    <a:pt x="225" y="563"/>
                    <a:pt x="226" y="564"/>
                    <a:pt x="227" y="565"/>
                  </a:cubicBezTo>
                  <a:cubicBezTo>
                    <a:pt x="227" y="564"/>
                    <a:pt x="228" y="564"/>
                    <a:pt x="228" y="564"/>
                  </a:cubicBezTo>
                  <a:cubicBezTo>
                    <a:pt x="227" y="564"/>
                    <a:pt x="225" y="563"/>
                    <a:pt x="224" y="563"/>
                  </a:cubicBezTo>
                  <a:moveTo>
                    <a:pt x="231" y="564"/>
                  </a:moveTo>
                  <a:cubicBezTo>
                    <a:pt x="231" y="565"/>
                    <a:pt x="230" y="565"/>
                    <a:pt x="230" y="565"/>
                  </a:cubicBezTo>
                  <a:cubicBezTo>
                    <a:pt x="236" y="566"/>
                    <a:pt x="242" y="567"/>
                    <a:pt x="247" y="568"/>
                  </a:cubicBezTo>
                  <a:cubicBezTo>
                    <a:pt x="248" y="568"/>
                    <a:pt x="248" y="568"/>
                    <a:pt x="249" y="567"/>
                  </a:cubicBezTo>
                  <a:cubicBezTo>
                    <a:pt x="243" y="566"/>
                    <a:pt x="237" y="565"/>
                    <a:pt x="231" y="564"/>
                  </a:cubicBezTo>
                  <a:moveTo>
                    <a:pt x="326" y="567"/>
                  </a:moveTo>
                  <a:cubicBezTo>
                    <a:pt x="325" y="567"/>
                    <a:pt x="325" y="567"/>
                    <a:pt x="324" y="567"/>
                  </a:cubicBezTo>
                  <a:cubicBezTo>
                    <a:pt x="324" y="568"/>
                    <a:pt x="322" y="569"/>
                    <a:pt x="320" y="570"/>
                  </a:cubicBezTo>
                  <a:cubicBezTo>
                    <a:pt x="321" y="570"/>
                    <a:pt x="321" y="570"/>
                    <a:pt x="322" y="570"/>
                  </a:cubicBezTo>
                  <a:cubicBezTo>
                    <a:pt x="324" y="569"/>
                    <a:pt x="325" y="568"/>
                    <a:pt x="326" y="567"/>
                  </a:cubicBezTo>
                  <a:cubicBezTo>
                    <a:pt x="326" y="567"/>
                    <a:pt x="326" y="567"/>
                    <a:pt x="326" y="567"/>
                  </a:cubicBezTo>
                  <a:moveTo>
                    <a:pt x="251" y="568"/>
                  </a:moveTo>
                  <a:cubicBezTo>
                    <a:pt x="250" y="568"/>
                    <a:pt x="249" y="568"/>
                    <a:pt x="249" y="568"/>
                  </a:cubicBezTo>
                  <a:cubicBezTo>
                    <a:pt x="251" y="569"/>
                    <a:pt x="253" y="569"/>
                    <a:pt x="255" y="569"/>
                  </a:cubicBezTo>
                  <a:cubicBezTo>
                    <a:pt x="256" y="569"/>
                    <a:pt x="256" y="569"/>
                    <a:pt x="256" y="569"/>
                  </a:cubicBezTo>
                  <a:cubicBezTo>
                    <a:pt x="257" y="569"/>
                    <a:pt x="258" y="570"/>
                    <a:pt x="258" y="570"/>
                  </a:cubicBezTo>
                  <a:cubicBezTo>
                    <a:pt x="259" y="569"/>
                    <a:pt x="259" y="569"/>
                    <a:pt x="260" y="569"/>
                  </a:cubicBezTo>
                  <a:cubicBezTo>
                    <a:pt x="259" y="569"/>
                    <a:pt x="257" y="569"/>
                    <a:pt x="256" y="568"/>
                  </a:cubicBezTo>
                  <a:cubicBezTo>
                    <a:pt x="256" y="568"/>
                    <a:pt x="255" y="568"/>
                    <a:pt x="255" y="568"/>
                  </a:cubicBezTo>
                  <a:cubicBezTo>
                    <a:pt x="254" y="568"/>
                    <a:pt x="252" y="568"/>
                    <a:pt x="251" y="568"/>
                  </a:cubicBezTo>
                  <a:moveTo>
                    <a:pt x="262" y="569"/>
                  </a:moveTo>
                  <a:cubicBezTo>
                    <a:pt x="261" y="569"/>
                    <a:pt x="261" y="570"/>
                    <a:pt x="260" y="570"/>
                  </a:cubicBezTo>
                  <a:cubicBezTo>
                    <a:pt x="261" y="570"/>
                    <a:pt x="262" y="570"/>
                    <a:pt x="262" y="570"/>
                  </a:cubicBezTo>
                  <a:cubicBezTo>
                    <a:pt x="263" y="570"/>
                    <a:pt x="263" y="570"/>
                    <a:pt x="263" y="570"/>
                  </a:cubicBezTo>
                  <a:cubicBezTo>
                    <a:pt x="263" y="570"/>
                    <a:pt x="264" y="570"/>
                    <a:pt x="264" y="570"/>
                  </a:cubicBezTo>
                  <a:cubicBezTo>
                    <a:pt x="264" y="570"/>
                    <a:pt x="264" y="570"/>
                    <a:pt x="264" y="571"/>
                  </a:cubicBezTo>
                  <a:cubicBezTo>
                    <a:pt x="265" y="571"/>
                    <a:pt x="265" y="571"/>
                    <a:pt x="266" y="571"/>
                  </a:cubicBezTo>
                  <a:cubicBezTo>
                    <a:pt x="266" y="571"/>
                    <a:pt x="266" y="571"/>
                    <a:pt x="266" y="571"/>
                  </a:cubicBezTo>
                  <a:cubicBezTo>
                    <a:pt x="267" y="570"/>
                    <a:pt x="267" y="570"/>
                    <a:pt x="268" y="570"/>
                  </a:cubicBezTo>
                  <a:cubicBezTo>
                    <a:pt x="268" y="570"/>
                    <a:pt x="268" y="570"/>
                    <a:pt x="268" y="570"/>
                  </a:cubicBezTo>
                  <a:cubicBezTo>
                    <a:pt x="267" y="570"/>
                    <a:pt x="266" y="570"/>
                    <a:pt x="266" y="570"/>
                  </a:cubicBezTo>
                  <a:cubicBezTo>
                    <a:pt x="265" y="570"/>
                    <a:pt x="265" y="570"/>
                    <a:pt x="265" y="570"/>
                  </a:cubicBezTo>
                  <a:cubicBezTo>
                    <a:pt x="264" y="569"/>
                    <a:pt x="264" y="569"/>
                    <a:pt x="264" y="569"/>
                  </a:cubicBezTo>
                  <a:cubicBezTo>
                    <a:pt x="263" y="569"/>
                    <a:pt x="263" y="569"/>
                    <a:pt x="263" y="569"/>
                  </a:cubicBezTo>
                  <a:cubicBezTo>
                    <a:pt x="262" y="569"/>
                    <a:pt x="262" y="569"/>
                    <a:pt x="262" y="569"/>
                  </a:cubicBezTo>
                  <a:moveTo>
                    <a:pt x="270" y="570"/>
                  </a:moveTo>
                  <a:cubicBezTo>
                    <a:pt x="269" y="570"/>
                    <a:pt x="269" y="571"/>
                    <a:pt x="268" y="571"/>
                  </a:cubicBezTo>
                  <a:cubicBezTo>
                    <a:pt x="268" y="571"/>
                    <a:pt x="268" y="571"/>
                    <a:pt x="269" y="571"/>
                  </a:cubicBezTo>
                  <a:cubicBezTo>
                    <a:pt x="269" y="571"/>
                    <a:pt x="269" y="571"/>
                    <a:pt x="270" y="571"/>
                  </a:cubicBezTo>
                  <a:cubicBezTo>
                    <a:pt x="270" y="571"/>
                    <a:pt x="270" y="571"/>
                    <a:pt x="270" y="571"/>
                  </a:cubicBezTo>
                  <a:cubicBezTo>
                    <a:pt x="270" y="571"/>
                    <a:pt x="270" y="571"/>
                    <a:pt x="271" y="571"/>
                  </a:cubicBezTo>
                  <a:cubicBezTo>
                    <a:pt x="273" y="572"/>
                    <a:pt x="276" y="572"/>
                    <a:pt x="278" y="572"/>
                  </a:cubicBezTo>
                  <a:cubicBezTo>
                    <a:pt x="278" y="572"/>
                    <a:pt x="279" y="572"/>
                    <a:pt x="279" y="572"/>
                  </a:cubicBezTo>
                  <a:cubicBezTo>
                    <a:pt x="280" y="572"/>
                    <a:pt x="282" y="572"/>
                    <a:pt x="283" y="573"/>
                  </a:cubicBezTo>
                  <a:cubicBezTo>
                    <a:pt x="284" y="573"/>
                    <a:pt x="284" y="573"/>
                    <a:pt x="285" y="573"/>
                  </a:cubicBezTo>
                  <a:cubicBezTo>
                    <a:pt x="286" y="573"/>
                    <a:pt x="287" y="573"/>
                    <a:pt x="288" y="573"/>
                  </a:cubicBezTo>
                  <a:cubicBezTo>
                    <a:pt x="288" y="573"/>
                    <a:pt x="288" y="573"/>
                    <a:pt x="288" y="573"/>
                  </a:cubicBezTo>
                  <a:cubicBezTo>
                    <a:pt x="288" y="572"/>
                    <a:pt x="287" y="572"/>
                    <a:pt x="286" y="572"/>
                  </a:cubicBezTo>
                  <a:cubicBezTo>
                    <a:pt x="286" y="572"/>
                    <a:pt x="285" y="572"/>
                    <a:pt x="284" y="572"/>
                  </a:cubicBezTo>
                  <a:cubicBezTo>
                    <a:pt x="283" y="572"/>
                    <a:pt x="283" y="572"/>
                    <a:pt x="282" y="571"/>
                  </a:cubicBezTo>
                  <a:cubicBezTo>
                    <a:pt x="281" y="571"/>
                    <a:pt x="280" y="571"/>
                    <a:pt x="278" y="571"/>
                  </a:cubicBezTo>
                  <a:cubicBezTo>
                    <a:pt x="278" y="571"/>
                    <a:pt x="278" y="571"/>
                    <a:pt x="277" y="571"/>
                  </a:cubicBezTo>
                  <a:cubicBezTo>
                    <a:pt x="275" y="571"/>
                    <a:pt x="273" y="571"/>
                    <a:pt x="270" y="570"/>
                  </a:cubicBezTo>
                  <a:cubicBezTo>
                    <a:pt x="270" y="570"/>
                    <a:pt x="270" y="570"/>
                    <a:pt x="270" y="570"/>
                  </a:cubicBezTo>
                  <a:moveTo>
                    <a:pt x="319" y="570"/>
                  </a:moveTo>
                  <a:cubicBezTo>
                    <a:pt x="319" y="570"/>
                    <a:pt x="318" y="571"/>
                    <a:pt x="317" y="571"/>
                  </a:cubicBezTo>
                  <a:cubicBezTo>
                    <a:pt x="316" y="571"/>
                    <a:pt x="315" y="571"/>
                    <a:pt x="314" y="571"/>
                  </a:cubicBezTo>
                  <a:cubicBezTo>
                    <a:pt x="314" y="571"/>
                    <a:pt x="314" y="571"/>
                    <a:pt x="314" y="571"/>
                  </a:cubicBezTo>
                  <a:cubicBezTo>
                    <a:pt x="315" y="572"/>
                    <a:pt x="316" y="572"/>
                    <a:pt x="317" y="572"/>
                  </a:cubicBezTo>
                  <a:cubicBezTo>
                    <a:pt x="318" y="572"/>
                    <a:pt x="320" y="571"/>
                    <a:pt x="321" y="571"/>
                  </a:cubicBezTo>
                  <a:cubicBezTo>
                    <a:pt x="320" y="571"/>
                    <a:pt x="320" y="570"/>
                    <a:pt x="319" y="570"/>
                  </a:cubicBezTo>
                  <a:moveTo>
                    <a:pt x="310" y="572"/>
                  </a:moveTo>
                  <a:cubicBezTo>
                    <a:pt x="310" y="572"/>
                    <a:pt x="309" y="572"/>
                    <a:pt x="309" y="572"/>
                  </a:cubicBezTo>
                  <a:cubicBezTo>
                    <a:pt x="308" y="572"/>
                    <a:pt x="308" y="572"/>
                    <a:pt x="307" y="572"/>
                  </a:cubicBezTo>
                  <a:cubicBezTo>
                    <a:pt x="307" y="572"/>
                    <a:pt x="307" y="572"/>
                    <a:pt x="306" y="572"/>
                  </a:cubicBezTo>
                  <a:cubicBezTo>
                    <a:pt x="306" y="572"/>
                    <a:pt x="305" y="572"/>
                    <a:pt x="305" y="572"/>
                  </a:cubicBezTo>
                  <a:cubicBezTo>
                    <a:pt x="304" y="572"/>
                    <a:pt x="304" y="572"/>
                    <a:pt x="303" y="572"/>
                  </a:cubicBezTo>
                  <a:cubicBezTo>
                    <a:pt x="303" y="572"/>
                    <a:pt x="303" y="572"/>
                    <a:pt x="303" y="572"/>
                  </a:cubicBezTo>
                  <a:cubicBezTo>
                    <a:pt x="304" y="573"/>
                    <a:pt x="305" y="573"/>
                    <a:pt x="305" y="573"/>
                  </a:cubicBezTo>
                  <a:cubicBezTo>
                    <a:pt x="306" y="573"/>
                    <a:pt x="306" y="573"/>
                    <a:pt x="306" y="573"/>
                  </a:cubicBezTo>
                  <a:cubicBezTo>
                    <a:pt x="306" y="573"/>
                    <a:pt x="306" y="573"/>
                    <a:pt x="306" y="573"/>
                  </a:cubicBezTo>
                  <a:cubicBezTo>
                    <a:pt x="306" y="573"/>
                    <a:pt x="307" y="573"/>
                    <a:pt x="307" y="573"/>
                  </a:cubicBezTo>
                  <a:cubicBezTo>
                    <a:pt x="307" y="573"/>
                    <a:pt x="308" y="573"/>
                    <a:pt x="308" y="573"/>
                  </a:cubicBezTo>
                  <a:cubicBezTo>
                    <a:pt x="309" y="573"/>
                    <a:pt x="310" y="572"/>
                    <a:pt x="310" y="572"/>
                  </a:cubicBezTo>
                  <a:cubicBezTo>
                    <a:pt x="310" y="572"/>
                    <a:pt x="310" y="572"/>
                    <a:pt x="310" y="572"/>
                  </a:cubicBezTo>
                  <a:moveTo>
                    <a:pt x="292" y="572"/>
                  </a:moveTo>
                  <a:cubicBezTo>
                    <a:pt x="291" y="572"/>
                    <a:pt x="291" y="572"/>
                    <a:pt x="291" y="572"/>
                  </a:cubicBezTo>
                  <a:cubicBezTo>
                    <a:pt x="292" y="572"/>
                    <a:pt x="293" y="573"/>
                    <a:pt x="293" y="573"/>
                  </a:cubicBezTo>
                  <a:cubicBezTo>
                    <a:pt x="293" y="573"/>
                    <a:pt x="293" y="573"/>
                    <a:pt x="293" y="573"/>
                  </a:cubicBezTo>
                  <a:cubicBezTo>
                    <a:pt x="293" y="573"/>
                    <a:pt x="293" y="573"/>
                    <a:pt x="293" y="573"/>
                  </a:cubicBezTo>
                  <a:cubicBezTo>
                    <a:pt x="293" y="573"/>
                    <a:pt x="292" y="572"/>
                    <a:pt x="292" y="572"/>
                  </a:cubicBezTo>
                  <a:moveTo>
                    <a:pt x="314" y="572"/>
                  </a:moveTo>
                  <a:cubicBezTo>
                    <a:pt x="314" y="572"/>
                    <a:pt x="314" y="572"/>
                    <a:pt x="314" y="572"/>
                  </a:cubicBezTo>
                  <a:cubicBezTo>
                    <a:pt x="314" y="572"/>
                    <a:pt x="314" y="572"/>
                    <a:pt x="314" y="572"/>
                  </a:cubicBezTo>
                  <a:cubicBezTo>
                    <a:pt x="314" y="572"/>
                    <a:pt x="314" y="572"/>
                    <a:pt x="314" y="572"/>
                  </a:cubicBezTo>
                  <a:moveTo>
                    <a:pt x="297" y="572"/>
                  </a:moveTo>
                  <a:cubicBezTo>
                    <a:pt x="297" y="572"/>
                    <a:pt x="297" y="572"/>
                    <a:pt x="297" y="573"/>
                  </a:cubicBezTo>
                  <a:cubicBezTo>
                    <a:pt x="298" y="573"/>
                    <a:pt x="299" y="573"/>
                    <a:pt x="300" y="573"/>
                  </a:cubicBezTo>
                  <a:cubicBezTo>
                    <a:pt x="300" y="573"/>
                    <a:pt x="300" y="573"/>
                    <a:pt x="301" y="573"/>
                  </a:cubicBezTo>
                  <a:cubicBezTo>
                    <a:pt x="301" y="573"/>
                    <a:pt x="302" y="573"/>
                    <a:pt x="303" y="573"/>
                  </a:cubicBezTo>
                  <a:cubicBezTo>
                    <a:pt x="302" y="573"/>
                    <a:pt x="301" y="573"/>
                    <a:pt x="300" y="572"/>
                  </a:cubicBezTo>
                  <a:cubicBezTo>
                    <a:pt x="300" y="572"/>
                    <a:pt x="300" y="572"/>
                    <a:pt x="300" y="572"/>
                  </a:cubicBezTo>
                  <a:cubicBezTo>
                    <a:pt x="299" y="572"/>
                    <a:pt x="298" y="572"/>
                    <a:pt x="297" y="572"/>
                  </a:cubicBezTo>
                  <a:moveTo>
                    <a:pt x="312" y="573"/>
                  </a:moveTo>
                  <a:cubicBezTo>
                    <a:pt x="311" y="573"/>
                    <a:pt x="311" y="573"/>
                    <a:pt x="311" y="573"/>
                  </a:cubicBezTo>
                  <a:cubicBezTo>
                    <a:pt x="311" y="573"/>
                    <a:pt x="311" y="573"/>
                    <a:pt x="311" y="573"/>
                  </a:cubicBezTo>
                  <a:cubicBezTo>
                    <a:pt x="312" y="573"/>
                    <a:pt x="312" y="573"/>
                    <a:pt x="312" y="573"/>
                  </a:cubicBezTo>
                  <a:cubicBezTo>
                    <a:pt x="312" y="573"/>
                    <a:pt x="312" y="573"/>
                    <a:pt x="312" y="573"/>
                  </a:cubicBezTo>
                  <a:cubicBezTo>
                    <a:pt x="312" y="573"/>
                    <a:pt x="312" y="573"/>
                    <a:pt x="312" y="573"/>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47" name="Freeform 76"/>
            <p:cNvSpPr>
              <a:spLocks noEditPoints="1"/>
            </p:cNvSpPr>
            <p:nvPr userDrawn="1"/>
          </p:nvSpPr>
          <p:spPr bwMode="auto">
            <a:xfrm>
              <a:off x="1776" y="3894"/>
              <a:ext cx="2397" cy="1261"/>
            </a:xfrm>
            <a:custGeom>
              <a:avLst/>
              <a:gdLst>
                <a:gd name="T0" fmla="*/ 2147483646 w 1183"/>
                <a:gd name="T1" fmla="*/ 2147483646 h 622"/>
                <a:gd name="T2" fmla="*/ 2147483646 w 1183"/>
                <a:gd name="T3" fmla="*/ 2147483646 h 622"/>
                <a:gd name="T4" fmla="*/ 2147483646 w 1183"/>
                <a:gd name="T5" fmla="*/ 2147483646 h 622"/>
                <a:gd name="T6" fmla="*/ 2147483646 w 1183"/>
                <a:gd name="T7" fmla="*/ 2147483646 h 622"/>
                <a:gd name="T8" fmla="*/ 2147483646 w 1183"/>
                <a:gd name="T9" fmla="*/ 2147483646 h 622"/>
                <a:gd name="T10" fmla="*/ 2147483646 w 1183"/>
                <a:gd name="T11" fmla="*/ 2147483646 h 622"/>
                <a:gd name="T12" fmla="*/ 2147483646 w 1183"/>
                <a:gd name="T13" fmla="*/ 2147483646 h 622"/>
                <a:gd name="T14" fmla="*/ 2147483646 w 1183"/>
                <a:gd name="T15" fmla="*/ 2147483646 h 622"/>
                <a:gd name="T16" fmla="*/ 2147483646 w 1183"/>
                <a:gd name="T17" fmla="*/ 2147483646 h 622"/>
                <a:gd name="T18" fmla="*/ 2147483646 w 1183"/>
                <a:gd name="T19" fmla="*/ 2147483646 h 622"/>
                <a:gd name="T20" fmla="*/ 2147483646 w 1183"/>
                <a:gd name="T21" fmla="*/ 2147483646 h 622"/>
                <a:gd name="T22" fmla="*/ 2147483646 w 1183"/>
                <a:gd name="T23" fmla="*/ 2147483646 h 622"/>
                <a:gd name="T24" fmla="*/ 2147483646 w 1183"/>
                <a:gd name="T25" fmla="*/ 2147483646 h 622"/>
                <a:gd name="T26" fmla="*/ 2147483646 w 1183"/>
                <a:gd name="T27" fmla="*/ 2147483646 h 622"/>
                <a:gd name="T28" fmla="*/ 2147483646 w 1183"/>
                <a:gd name="T29" fmla="*/ 2147483646 h 622"/>
                <a:gd name="T30" fmla="*/ 2147483646 w 1183"/>
                <a:gd name="T31" fmla="*/ 2147483646 h 622"/>
                <a:gd name="T32" fmla="*/ 2147483646 w 1183"/>
                <a:gd name="T33" fmla="*/ 2147483646 h 622"/>
                <a:gd name="T34" fmla="*/ 2147483646 w 1183"/>
                <a:gd name="T35" fmla="*/ 2147483646 h 622"/>
                <a:gd name="T36" fmla="*/ 2147483646 w 1183"/>
                <a:gd name="T37" fmla="*/ 2147483646 h 622"/>
                <a:gd name="T38" fmla="*/ 2147483646 w 1183"/>
                <a:gd name="T39" fmla="*/ 2147483646 h 622"/>
                <a:gd name="T40" fmla="*/ 2147483646 w 1183"/>
                <a:gd name="T41" fmla="*/ 2147483646 h 622"/>
                <a:gd name="T42" fmla="*/ 2147483646 w 1183"/>
                <a:gd name="T43" fmla="*/ 2147483646 h 622"/>
                <a:gd name="T44" fmla="*/ 2147483646 w 1183"/>
                <a:gd name="T45" fmla="*/ 2147483646 h 622"/>
                <a:gd name="T46" fmla="*/ 2147483646 w 1183"/>
                <a:gd name="T47" fmla="*/ 2147483646 h 622"/>
                <a:gd name="T48" fmla="*/ 2147483646 w 1183"/>
                <a:gd name="T49" fmla="*/ 2147483646 h 622"/>
                <a:gd name="T50" fmla="*/ 2147483646 w 1183"/>
                <a:gd name="T51" fmla="*/ 2147483646 h 622"/>
                <a:gd name="T52" fmla="*/ 2147483646 w 1183"/>
                <a:gd name="T53" fmla="*/ 2147483646 h 622"/>
                <a:gd name="T54" fmla="*/ 2147483646 w 1183"/>
                <a:gd name="T55" fmla="*/ 2147483646 h 622"/>
                <a:gd name="T56" fmla="*/ 2147483646 w 1183"/>
                <a:gd name="T57" fmla="*/ 2147483646 h 622"/>
                <a:gd name="T58" fmla="*/ 2147483646 w 1183"/>
                <a:gd name="T59" fmla="*/ 2147483646 h 622"/>
                <a:gd name="T60" fmla="*/ 2147483646 w 1183"/>
                <a:gd name="T61" fmla="*/ 2147483646 h 622"/>
                <a:gd name="T62" fmla="*/ 2147483646 w 1183"/>
                <a:gd name="T63" fmla="*/ 2147483646 h 622"/>
                <a:gd name="T64" fmla="*/ 2147483646 w 1183"/>
                <a:gd name="T65" fmla="*/ 2147483646 h 622"/>
                <a:gd name="T66" fmla="*/ 2147483646 w 1183"/>
                <a:gd name="T67" fmla="*/ 2147483646 h 622"/>
                <a:gd name="T68" fmla="*/ 2147483646 w 1183"/>
                <a:gd name="T69" fmla="*/ 2147483646 h 622"/>
                <a:gd name="T70" fmla="*/ 2147483646 w 1183"/>
                <a:gd name="T71" fmla="*/ 2147483646 h 622"/>
                <a:gd name="T72" fmla="*/ 2147483646 w 1183"/>
                <a:gd name="T73" fmla="*/ 2147483646 h 622"/>
                <a:gd name="T74" fmla="*/ 2147483646 w 1183"/>
                <a:gd name="T75" fmla="*/ 2147483646 h 622"/>
                <a:gd name="T76" fmla="*/ 2147483646 w 1183"/>
                <a:gd name="T77" fmla="*/ 2147483646 h 622"/>
                <a:gd name="T78" fmla="*/ 2147483646 w 1183"/>
                <a:gd name="T79" fmla="*/ 2147483646 h 622"/>
                <a:gd name="T80" fmla="*/ 2147483646 w 1183"/>
                <a:gd name="T81" fmla="*/ 2147483646 h 622"/>
                <a:gd name="T82" fmla="*/ 2147483646 w 1183"/>
                <a:gd name="T83" fmla="*/ 2147483646 h 622"/>
                <a:gd name="T84" fmla="*/ 2147483646 w 1183"/>
                <a:gd name="T85" fmla="*/ 2147483646 h 622"/>
                <a:gd name="T86" fmla="*/ 2147483646 w 1183"/>
                <a:gd name="T87" fmla="*/ 2147483646 h 622"/>
                <a:gd name="T88" fmla="*/ 2147483646 w 1183"/>
                <a:gd name="T89" fmla="*/ 2147483646 h 622"/>
                <a:gd name="T90" fmla="*/ 2147483646 w 1183"/>
                <a:gd name="T91" fmla="*/ 2147483646 h 622"/>
                <a:gd name="T92" fmla="*/ 2147483646 w 1183"/>
                <a:gd name="T93" fmla="*/ 2147483646 h 622"/>
                <a:gd name="T94" fmla="*/ 2147483646 w 1183"/>
                <a:gd name="T95" fmla="*/ 2147483646 h 622"/>
                <a:gd name="T96" fmla="*/ 2147483646 w 1183"/>
                <a:gd name="T97" fmla="*/ 2147483646 h 622"/>
                <a:gd name="T98" fmla="*/ 2147483646 w 1183"/>
                <a:gd name="T99" fmla="*/ 2147483646 h 622"/>
                <a:gd name="T100" fmla="*/ 2147483646 w 1183"/>
                <a:gd name="T101" fmla="*/ 2147483646 h 622"/>
                <a:gd name="T102" fmla="*/ 2147483646 w 1183"/>
                <a:gd name="T103" fmla="*/ 2147483646 h 622"/>
                <a:gd name="T104" fmla="*/ 2147483646 w 1183"/>
                <a:gd name="T105" fmla="*/ 2147483646 h 622"/>
                <a:gd name="T106" fmla="*/ 2147483646 w 1183"/>
                <a:gd name="T107" fmla="*/ 2147483646 h 622"/>
                <a:gd name="T108" fmla="*/ 2147483646 w 1183"/>
                <a:gd name="T109" fmla="*/ 2147483646 h 622"/>
                <a:gd name="T110" fmla="*/ 2147483646 w 1183"/>
                <a:gd name="T111" fmla="*/ 2147483646 h 622"/>
                <a:gd name="T112" fmla="*/ 2147483646 w 1183"/>
                <a:gd name="T113" fmla="*/ 2147483646 h 622"/>
                <a:gd name="T114" fmla="*/ 2147483646 w 1183"/>
                <a:gd name="T115" fmla="*/ 2147483646 h 622"/>
                <a:gd name="T116" fmla="*/ 2147483646 w 1183"/>
                <a:gd name="T117" fmla="*/ 2147483646 h 622"/>
                <a:gd name="T118" fmla="*/ 2147483646 w 1183"/>
                <a:gd name="T119" fmla="*/ 2147483646 h 622"/>
                <a:gd name="T120" fmla="*/ 2147483646 w 1183"/>
                <a:gd name="T121" fmla="*/ 2147483646 h 622"/>
                <a:gd name="T122" fmla="*/ 2147483646 w 1183"/>
                <a:gd name="T123" fmla="*/ 2147483646 h 6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183" h="622">
                  <a:moveTo>
                    <a:pt x="1176" y="0"/>
                  </a:moveTo>
                  <a:cubicBezTo>
                    <a:pt x="1176" y="0"/>
                    <a:pt x="1176" y="0"/>
                    <a:pt x="1176" y="0"/>
                  </a:cubicBezTo>
                  <a:cubicBezTo>
                    <a:pt x="1176" y="1"/>
                    <a:pt x="1176" y="1"/>
                    <a:pt x="1175" y="1"/>
                  </a:cubicBezTo>
                  <a:cubicBezTo>
                    <a:pt x="1176" y="1"/>
                    <a:pt x="1176" y="1"/>
                    <a:pt x="1176" y="1"/>
                  </a:cubicBezTo>
                  <a:cubicBezTo>
                    <a:pt x="1176" y="1"/>
                    <a:pt x="1176" y="1"/>
                    <a:pt x="1176" y="1"/>
                  </a:cubicBezTo>
                  <a:cubicBezTo>
                    <a:pt x="1180" y="1"/>
                    <a:pt x="1182" y="5"/>
                    <a:pt x="1182" y="15"/>
                  </a:cubicBezTo>
                  <a:cubicBezTo>
                    <a:pt x="1182" y="16"/>
                    <a:pt x="1182" y="18"/>
                    <a:pt x="1182" y="20"/>
                  </a:cubicBezTo>
                  <a:cubicBezTo>
                    <a:pt x="1182" y="19"/>
                    <a:pt x="1183" y="19"/>
                    <a:pt x="1183" y="18"/>
                  </a:cubicBezTo>
                  <a:cubicBezTo>
                    <a:pt x="1183" y="17"/>
                    <a:pt x="1183" y="16"/>
                    <a:pt x="1183" y="15"/>
                  </a:cubicBezTo>
                  <a:cubicBezTo>
                    <a:pt x="1183" y="5"/>
                    <a:pt x="1181" y="0"/>
                    <a:pt x="1176" y="0"/>
                  </a:cubicBezTo>
                  <a:moveTo>
                    <a:pt x="1175" y="0"/>
                  </a:moveTo>
                  <a:cubicBezTo>
                    <a:pt x="1172" y="1"/>
                    <a:pt x="1169" y="2"/>
                    <a:pt x="1166" y="4"/>
                  </a:cubicBezTo>
                  <a:cubicBezTo>
                    <a:pt x="1166" y="5"/>
                    <a:pt x="1166" y="5"/>
                    <a:pt x="1166" y="5"/>
                  </a:cubicBezTo>
                  <a:cubicBezTo>
                    <a:pt x="1169" y="3"/>
                    <a:pt x="1172" y="2"/>
                    <a:pt x="1174" y="1"/>
                  </a:cubicBezTo>
                  <a:cubicBezTo>
                    <a:pt x="1174" y="1"/>
                    <a:pt x="1175" y="1"/>
                    <a:pt x="1175" y="0"/>
                  </a:cubicBezTo>
                  <a:moveTo>
                    <a:pt x="1165" y="5"/>
                  </a:moveTo>
                  <a:cubicBezTo>
                    <a:pt x="1159" y="9"/>
                    <a:pt x="1153" y="15"/>
                    <a:pt x="1145" y="23"/>
                  </a:cubicBezTo>
                  <a:cubicBezTo>
                    <a:pt x="1145" y="23"/>
                    <a:pt x="1146" y="23"/>
                    <a:pt x="1146" y="24"/>
                  </a:cubicBezTo>
                  <a:cubicBezTo>
                    <a:pt x="1153" y="16"/>
                    <a:pt x="1160" y="10"/>
                    <a:pt x="1165" y="6"/>
                  </a:cubicBezTo>
                  <a:cubicBezTo>
                    <a:pt x="1165" y="5"/>
                    <a:pt x="1165" y="5"/>
                    <a:pt x="1165" y="5"/>
                  </a:cubicBezTo>
                  <a:moveTo>
                    <a:pt x="737" y="20"/>
                  </a:moveTo>
                  <a:cubicBezTo>
                    <a:pt x="690" y="20"/>
                    <a:pt x="645" y="30"/>
                    <a:pt x="622" y="54"/>
                  </a:cubicBezTo>
                  <a:cubicBezTo>
                    <a:pt x="622" y="54"/>
                    <a:pt x="622" y="55"/>
                    <a:pt x="621" y="55"/>
                  </a:cubicBezTo>
                  <a:cubicBezTo>
                    <a:pt x="613" y="64"/>
                    <a:pt x="608" y="75"/>
                    <a:pt x="606" y="87"/>
                  </a:cubicBezTo>
                  <a:cubicBezTo>
                    <a:pt x="606" y="88"/>
                    <a:pt x="606" y="88"/>
                    <a:pt x="606" y="89"/>
                  </a:cubicBezTo>
                  <a:cubicBezTo>
                    <a:pt x="606" y="90"/>
                    <a:pt x="606" y="91"/>
                    <a:pt x="606" y="93"/>
                  </a:cubicBezTo>
                  <a:cubicBezTo>
                    <a:pt x="606" y="99"/>
                    <a:pt x="607" y="105"/>
                    <a:pt x="609" y="112"/>
                  </a:cubicBezTo>
                  <a:cubicBezTo>
                    <a:pt x="609" y="112"/>
                    <a:pt x="609" y="113"/>
                    <a:pt x="609" y="114"/>
                  </a:cubicBezTo>
                  <a:cubicBezTo>
                    <a:pt x="609" y="114"/>
                    <a:pt x="609" y="114"/>
                    <a:pt x="610" y="114"/>
                  </a:cubicBezTo>
                  <a:cubicBezTo>
                    <a:pt x="611" y="120"/>
                    <a:pt x="612" y="126"/>
                    <a:pt x="613" y="132"/>
                  </a:cubicBezTo>
                  <a:cubicBezTo>
                    <a:pt x="613" y="133"/>
                    <a:pt x="613" y="133"/>
                    <a:pt x="614" y="133"/>
                  </a:cubicBezTo>
                  <a:cubicBezTo>
                    <a:pt x="614" y="139"/>
                    <a:pt x="615" y="144"/>
                    <a:pt x="616" y="150"/>
                  </a:cubicBezTo>
                  <a:cubicBezTo>
                    <a:pt x="616" y="150"/>
                    <a:pt x="616" y="150"/>
                    <a:pt x="616" y="151"/>
                  </a:cubicBezTo>
                  <a:cubicBezTo>
                    <a:pt x="616" y="151"/>
                    <a:pt x="616" y="151"/>
                    <a:pt x="616" y="152"/>
                  </a:cubicBezTo>
                  <a:cubicBezTo>
                    <a:pt x="616" y="152"/>
                    <a:pt x="616" y="152"/>
                    <a:pt x="616" y="153"/>
                  </a:cubicBezTo>
                  <a:cubicBezTo>
                    <a:pt x="616" y="153"/>
                    <a:pt x="616" y="153"/>
                    <a:pt x="616" y="153"/>
                  </a:cubicBezTo>
                  <a:cubicBezTo>
                    <a:pt x="616" y="154"/>
                    <a:pt x="616" y="154"/>
                    <a:pt x="616" y="154"/>
                  </a:cubicBezTo>
                  <a:cubicBezTo>
                    <a:pt x="616" y="155"/>
                    <a:pt x="616" y="155"/>
                    <a:pt x="616" y="155"/>
                  </a:cubicBezTo>
                  <a:cubicBezTo>
                    <a:pt x="616" y="156"/>
                    <a:pt x="616" y="156"/>
                    <a:pt x="616" y="156"/>
                  </a:cubicBezTo>
                  <a:cubicBezTo>
                    <a:pt x="616" y="157"/>
                    <a:pt x="616" y="157"/>
                    <a:pt x="616" y="158"/>
                  </a:cubicBezTo>
                  <a:cubicBezTo>
                    <a:pt x="616" y="158"/>
                    <a:pt x="616" y="158"/>
                    <a:pt x="616" y="158"/>
                  </a:cubicBezTo>
                  <a:cubicBezTo>
                    <a:pt x="616" y="158"/>
                    <a:pt x="616" y="159"/>
                    <a:pt x="617" y="159"/>
                  </a:cubicBezTo>
                  <a:cubicBezTo>
                    <a:pt x="617" y="163"/>
                    <a:pt x="617" y="168"/>
                    <a:pt x="617" y="172"/>
                  </a:cubicBezTo>
                  <a:cubicBezTo>
                    <a:pt x="617" y="174"/>
                    <a:pt x="617" y="177"/>
                    <a:pt x="617" y="179"/>
                  </a:cubicBezTo>
                  <a:cubicBezTo>
                    <a:pt x="617" y="179"/>
                    <a:pt x="617" y="180"/>
                    <a:pt x="617" y="180"/>
                  </a:cubicBezTo>
                  <a:cubicBezTo>
                    <a:pt x="616" y="187"/>
                    <a:pt x="616" y="193"/>
                    <a:pt x="615" y="200"/>
                  </a:cubicBezTo>
                  <a:cubicBezTo>
                    <a:pt x="615" y="200"/>
                    <a:pt x="615" y="201"/>
                    <a:pt x="615" y="201"/>
                  </a:cubicBezTo>
                  <a:cubicBezTo>
                    <a:pt x="614" y="208"/>
                    <a:pt x="613" y="214"/>
                    <a:pt x="611" y="221"/>
                  </a:cubicBezTo>
                  <a:cubicBezTo>
                    <a:pt x="611" y="221"/>
                    <a:pt x="611" y="221"/>
                    <a:pt x="611" y="222"/>
                  </a:cubicBezTo>
                  <a:cubicBezTo>
                    <a:pt x="607" y="240"/>
                    <a:pt x="600" y="258"/>
                    <a:pt x="591" y="274"/>
                  </a:cubicBezTo>
                  <a:cubicBezTo>
                    <a:pt x="592" y="274"/>
                    <a:pt x="592" y="274"/>
                    <a:pt x="593" y="274"/>
                  </a:cubicBezTo>
                  <a:cubicBezTo>
                    <a:pt x="601" y="257"/>
                    <a:pt x="608" y="240"/>
                    <a:pt x="612" y="222"/>
                  </a:cubicBezTo>
                  <a:cubicBezTo>
                    <a:pt x="612" y="222"/>
                    <a:pt x="612" y="221"/>
                    <a:pt x="612" y="221"/>
                  </a:cubicBezTo>
                  <a:cubicBezTo>
                    <a:pt x="614" y="215"/>
                    <a:pt x="615" y="208"/>
                    <a:pt x="616" y="201"/>
                  </a:cubicBezTo>
                  <a:cubicBezTo>
                    <a:pt x="616" y="201"/>
                    <a:pt x="616" y="201"/>
                    <a:pt x="616" y="200"/>
                  </a:cubicBezTo>
                  <a:cubicBezTo>
                    <a:pt x="617" y="194"/>
                    <a:pt x="617" y="187"/>
                    <a:pt x="618" y="180"/>
                  </a:cubicBezTo>
                  <a:cubicBezTo>
                    <a:pt x="618" y="180"/>
                    <a:pt x="618" y="180"/>
                    <a:pt x="618" y="179"/>
                  </a:cubicBezTo>
                  <a:cubicBezTo>
                    <a:pt x="618" y="177"/>
                    <a:pt x="618" y="174"/>
                    <a:pt x="618" y="172"/>
                  </a:cubicBezTo>
                  <a:cubicBezTo>
                    <a:pt x="618" y="168"/>
                    <a:pt x="618" y="163"/>
                    <a:pt x="618" y="159"/>
                  </a:cubicBezTo>
                  <a:cubicBezTo>
                    <a:pt x="618" y="159"/>
                    <a:pt x="618" y="159"/>
                    <a:pt x="618" y="159"/>
                  </a:cubicBezTo>
                  <a:cubicBezTo>
                    <a:pt x="617" y="159"/>
                    <a:pt x="617" y="158"/>
                    <a:pt x="617" y="158"/>
                  </a:cubicBezTo>
                  <a:cubicBezTo>
                    <a:pt x="617" y="157"/>
                    <a:pt x="617" y="157"/>
                    <a:pt x="617" y="156"/>
                  </a:cubicBezTo>
                  <a:cubicBezTo>
                    <a:pt x="617" y="156"/>
                    <a:pt x="617" y="156"/>
                    <a:pt x="617" y="155"/>
                  </a:cubicBezTo>
                  <a:cubicBezTo>
                    <a:pt x="617" y="155"/>
                    <a:pt x="617" y="155"/>
                    <a:pt x="617" y="155"/>
                  </a:cubicBezTo>
                  <a:cubicBezTo>
                    <a:pt x="617" y="154"/>
                    <a:pt x="617" y="154"/>
                    <a:pt x="617" y="154"/>
                  </a:cubicBezTo>
                  <a:cubicBezTo>
                    <a:pt x="617" y="153"/>
                    <a:pt x="617" y="153"/>
                    <a:pt x="617" y="153"/>
                  </a:cubicBezTo>
                  <a:cubicBezTo>
                    <a:pt x="617" y="153"/>
                    <a:pt x="617" y="152"/>
                    <a:pt x="617" y="152"/>
                  </a:cubicBezTo>
                  <a:cubicBezTo>
                    <a:pt x="617" y="152"/>
                    <a:pt x="617" y="151"/>
                    <a:pt x="617" y="151"/>
                  </a:cubicBezTo>
                  <a:cubicBezTo>
                    <a:pt x="617" y="151"/>
                    <a:pt x="617" y="151"/>
                    <a:pt x="617" y="151"/>
                  </a:cubicBezTo>
                  <a:cubicBezTo>
                    <a:pt x="617" y="150"/>
                    <a:pt x="617" y="150"/>
                    <a:pt x="617" y="150"/>
                  </a:cubicBezTo>
                  <a:cubicBezTo>
                    <a:pt x="616" y="144"/>
                    <a:pt x="616" y="139"/>
                    <a:pt x="615" y="133"/>
                  </a:cubicBezTo>
                  <a:cubicBezTo>
                    <a:pt x="614" y="133"/>
                    <a:pt x="614" y="132"/>
                    <a:pt x="614" y="132"/>
                  </a:cubicBezTo>
                  <a:cubicBezTo>
                    <a:pt x="613" y="126"/>
                    <a:pt x="612" y="120"/>
                    <a:pt x="611" y="114"/>
                  </a:cubicBezTo>
                  <a:cubicBezTo>
                    <a:pt x="610" y="114"/>
                    <a:pt x="610" y="114"/>
                    <a:pt x="610" y="113"/>
                  </a:cubicBezTo>
                  <a:cubicBezTo>
                    <a:pt x="610" y="113"/>
                    <a:pt x="610" y="112"/>
                    <a:pt x="610" y="111"/>
                  </a:cubicBezTo>
                  <a:cubicBezTo>
                    <a:pt x="608" y="105"/>
                    <a:pt x="607" y="99"/>
                    <a:pt x="607" y="93"/>
                  </a:cubicBezTo>
                  <a:cubicBezTo>
                    <a:pt x="607" y="91"/>
                    <a:pt x="607" y="90"/>
                    <a:pt x="607" y="88"/>
                  </a:cubicBezTo>
                  <a:cubicBezTo>
                    <a:pt x="607" y="88"/>
                    <a:pt x="607" y="88"/>
                    <a:pt x="607" y="87"/>
                  </a:cubicBezTo>
                  <a:cubicBezTo>
                    <a:pt x="609" y="74"/>
                    <a:pt x="614" y="63"/>
                    <a:pt x="623" y="55"/>
                  </a:cubicBezTo>
                  <a:cubicBezTo>
                    <a:pt x="623" y="54"/>
                    <a:pt x="624" y="54"/>
                    <a:pt x="625" y="53"/>
                  </a:cubicBezTo>
                  <a:cubicBezTo>
                    <a:pt x="631" y="47"/>
                    <a:pt x="638" y="42"/>
                    <a:pt x="647" y="38"/>
                  </a:cubicBezTo>
                  <a:cubicBezTo>
                    <a:pt x="671" y="26"/>
                    <a:pt x="703" y="21"/>
                    <a:pt x="737" y="21"/>
                  </a:cubicBezTo>
                  <a:cubicBezTo>
                    <a:pt x="740" y="21"/>
                    <a:pt x="742" y="21"/>
                    <a:pt x="745" y="21"/>
                  </a:cubicBezTo>
                  <a:cubicBezTo>
                    <a:pt x="746" y="21"/>
                    <a:pt x="747" y="21"/>
                    <a:pt x="749" y="20"/>
                  </a:cubicBezTo>
                  <a:cubicBezTo>
                    <a:pt x="745" y="20"/>
                    <a:pt x="741" y="20"/>
                    <a:pt x="737" y="20"/>
                  </a:cubicBezTo>
                  <a:moveTo>
                    <a:pt x="1183" y="20"/>
                  </a:moveTo>
                  <a:cubicBezTo>
                    <a:pt x="1183" y="21"/>
                    <a:pt x="1182" y="21"/>
                    <a:pt x="1182" y="22"/>
                  </a:cubicBezTo>
                  <a:cubicBezTo>
                    <a:pt x="1182" y="25"/>
                    <a:pt x="1181" y="29"/>
                    <a:pt x="1180" y="33"/>
                  </a:cubicBezTo>
                  <a:cubicBezTo>
                    <a:pt x="1181" y="33"/>
                    <a:pt x="1181" y="32"/>
                    <a:pt x="1181" y="32"/>
                  </a:cubicBezTo>
                  <a:cubicBezTo>
                    <a:pt x="1182" y="28"/>
                    <a:pt x="1183" y="24"/>
                    <a:pt x="1183" y="20"/>
                  </a:cubicBezTo>
                  <a:moveTo>
                    <a:pt x="752" y="20"/>
                  </a:moveTo>
                  <a:cubicBezTo>
                    <a:pt x="751" y="21"/>
                    <a:pt x="750" y="21"/>
                    <a:pt x="749" y="21"/>
                  </a:cubicBezTo>
                  <a:cubicBezTo>
                    <a:pt x="760" y="22"/>
                    <a:pt x="772" y="23"/>
                    <a:pt x="783" y="24"/>
                  </a:cubicBezTo>
                  <a:cubicBezTo>
                    <a:pt x="784" y="24"/>
                    <a:pt x="785" y="24"/>
                    <a:pt x="785" y="23"/>
                  </a:cubicBezTo>
                  <a:cubicBezTo>
                    <a:pt x="774" y="22"/>
                    <a:pt x="763" y="21"/>
                    <a:pt x="752" y="20"/>
                  </a:cubicBezTo>
                  <a:moveTo>
                    <a:pt x="1144" y="24"/>
                  </a:moveTo>
                  <a:cubicBezTo>
                    <a:pt x="1142" y="27"/>
                    <a:pt x="1139" y="30"/>
                    <a:pt x="1136" y="33"/>
                  </a:cubicBezTo>
                  <a:cubicBezTo>
                    <a:pt x="1136" y="34"/>
                    <a:pt x="1135" y="35"/>
                    <a:pt x="1135" y="36"/>
                  </a:cubicBezTo>
                  <a:cubicBezTo>
                    <a:pt x="1138" y="32"/>
                    <a:pt x="1142" y="28"/>
                    <a:pt x="1145" y="24"/>
                  </a:cubicBezTo>
                  <a:cubicBezTo>
                    <a:pt x="1145" y="24"/>
                    <a:pt x="1145" y="24"/>
                    <a:pt x="1144" y="24"/>
                  </a:cubicBezTo>
                  <a:moveTo>
                    <a:pt x="787" y="24"/>
                  </a:moveTo>
                  <a:cubicBezTo>
                    <a:pt x="786" y="24"/>
                    <a:pt x="786" y="24"/>
                    <a:pt x="785" y="25"/>
                  </a:cubicBezTo>
                  <a:cubicBezTo>
                    <a:pt x="797" y="26"/>
                    <a:pt x="809" y="29"/>
                    <a:pt x="820" y="31"/>
                  </a:cubicBezTo>
                  <a:cubicBezTo>
                    <a:pt x="820" y="31"/>
                    <a:pt x="821" y="31"/>
                    <a:pt x="821" y="31"/>
                  </a:cubicBezTo>
                  <a:cubicBezTo>
                    <a:pt x="810" y="28"/>
                    <a:pt x="799" y="25"/>
                    <a:pt x="787" y="24"/>
                  </a:cubicBezTo>
                  <a:moveTo>
                    <a:pt x="822" y="31"/>
                  </a:moveTo>
                  <a:cubicBezTo>
                    <a:pt x="822" y="31"/>
                    <a:pt x="822" y="31"/>
                    <a:pt x="821" y="32"/>
                  </a:cubicBezTo>
                  <a:cubicBezTo>
                    <a:pt x="833" y="35"/>
                    <a:pt x="845" y="39"/>
                    <a:pt x="855" y="43"/>
                  </a:cubicBezTo>
                  <a:cubicBezTo>
                    <a:pt x="856" y="44"/>
                    <a:pt x="857" y="44"/>
                    <a:pt x="858" y="44"/>
                  </a:cubicBezTo>
                  <a:cubicBezTo>
                    <a:pt x="858" y="44"/>
                    <a:pt x="858" y="44"/>
                    <a:pt x="859" y="44"/>
                  </a:cubicBezTo>
                  <a:cubicBezTo>
                    <a:pt x="848" y="39"/>
                    <a:pt x="835" y="34"/>
                    <a:pt x="822" y="31"/>
                  </a:cubicBezTo>
                  <a:moveTo>
                    <a:pt x="1181" y="34"/>
                  </a:moveTo>
                  <a:cubicBezTo>
                    <a:pt x="1181" y="34"/>
                    <a:pt x="1180" y="35"/>
                    <a:pt x="1180" y="35"/>
                  </a:cubicBezTo>
                  <a:cubicBezTo>
                    <a:pt x="1179" y="41"/>
                    <a:pt x="1177" y="48"/>
                    <a:pt x="1175" y="57"/>
                  </a:cubicBezTo>
                  <a:cubicBezTo>
                    <a:pt x="1176" y="57"/>
                    <a:pt x="1176" y="57"/>
                    <a:pt x="1176" y="57"/>
                  </a:cubicBezTo>
                  <a:cubicBezTo>
                    <a:pt x="1178" y="48"/>
                    <a:pt x="1180" y="41"/>
                    <a:pt x="1181" y="34"/>
                  </a:cubicBezTo>
                  <a:moveTo>
                    <a:pt x="1134" y="35"/>
                  </a:moveTo>
                  <a:cubicBezTo>
                    <a:pt x="1128" y="42"/>
                    <a:pt x="1121" y="50"/>
                    <a:pt x="1113" y="59"/>
                  </a:cubicBezTo>
                  <a:cubicBezTo>
                    <a:pt x="1114" y="59"/>
                    <a:pt x="1115" y="58"/>
                    <a:pt x="1116" y="58"/>
                  </a:cubicBezTo>
                  <a:cubicBezTo>
                    <a:pt x="1122" y="51"/>
                    <a:pt x="1127" y="44"/>
                    <a:pt x="1133" y="38"/>
                  </a:cubicBezTo>
                  <a:cubicBezTo>
                    <a:pt x="1133" y="37"/>
                    <a:pt x="1134" y="36"/>
                    <a:pt x="1134" y="35"/>
                  </a:cubicBezTo>
                  <a:moveTo>
                    <a:pt x="860" y="44"/>
                  </a:moveTo>
                  <a:cubicBezTo>
                    <a:pt x="859" y="44"/>
                    <a:pt x="859" y="45"/>
                    <a:pt x="859" y="45"/>
                  </a:cubicBezTo>
                  <a:cubicBezTo>
                    <a:pt x="875" y="52"/>
                    <a:pt x="889" y="61"/>
                    <a:pt x="898" y="71"/>
                  </a:cubicBezTo>
                  <a:cubicBezTo>
                    <a:pt x="898" y="71"/>
                    <a:pt x="898" y="71"/>
                    <a:pt x="898" y="70"/>
                  </a:cubicBezTo>
                  <a:cubicBezTo>
                    <a:pt x="889" y="60"/>
                    <a:pt x="875" y="51"/>
                    <a:pt x="860" y="44"/>
                  </a:cubicBezTo>
                  <a:moveTo>
                    <a:pt x="1176" y="58"/>
                  </a:moveTo>
                  <a:cubicBezTo>
                    <a:pt x="1176" y="58"/>
                    <a:pt x="1175" y="58"/>
                    <a:pt x="1175" y="58"/>
                  </a:cubicBezTo>
                  <a:cubicBezTo>
                    <a:pt x="1175" y="59"/>
                    <a:pt x="1174" y="60"/>
                    <a:pt x="1174" y="62"/>
                  </a:cubicBezTo>
                  <a:cubicBezTo>
                    <a:pt x="1174" y="61"/>
                    <a:pt x="1175" y="60"/>
                    <a:pt x="1175" y="60"/>
                  </a:cubicBezTo>
                  <a:cubicBezTo>
                    <a:pt x="1176" y="59"/>
                    <a:pt x="1176" y="58"/>
                    <a:pt x="1176" y="58"/>
                  </a:cubicBezTo>
                  <a:moveTo>
                    <a:pt x="1114" y="60"/>
                  </a:moveTo>
                  <a:cubicBezTo>
                    <a:pt x="1113" y="60"/>
                    <a:pt x="1112" y="61"/>
                    <a:pt x="1112" y="61"/>
                  </a:cubicBezTo>
                  <a:cubicBezTo>
                    <a:pt x="1111" y="62"/>
                    <a:pt x="1111" y="62"/>
                    <a:pt x="1110" y="63"/>
                  </a:cubicBezTo>
                  <a:cubicBezTo>
                    <a:pt x="1111" y="63"/>
                    <a:pt x="1111" y="63"/>
                    <a:pt x="1112" y="63"/>
                  </a:cubicBezTo>
                  <a:cubicBezTo>
                    <a:pt x="1113" y="62"/>
                    <a:pt x="1113" y="61"/>
                    <a:pt x="1114" y="60"/>
                  </a:cubicBezTo>
                  <a:moveTo>
                    <a:pt x="1175" y="62"/>
                  </a:moveTo>
                  <a:cubicBezTo>
                    <a:pt x="1174" y="63"/>
                    <a:pt x="1174" y="64"/>
                    <a:pt x="1173" y="64"/>
                  </a:cubicBezTo>
                  <a:cubicBezTo>
                    <a:pt x="1171" y="72"/>
                    <a:pt x="1169" y="79"/>
                    <a:pt x="1167" y="86"/>
                  </a:cubicBezTo>
                  <a:cubicBezTo>
                    <a:pt x="1168" y="86"/>
                    <a:pt x="1168" y="86"/>
                    <a:pt x="1168" y="86"/>
                  </a:cubicBezTo>
                  <a:cubicBezTo>
                    <a:pt x="1171" y="78"/>
                    <a:pt x="1173" y="70"/>
                    <a:pt x="1175" y="62"/>
                  </a:cubicBezTo>
                  <a:moveTo>
                    <a:pt x="1111" y="64"/>
                  </a:moveTo>
                  <a:cubicBezTo>
                    <a:pt x="1110" y="64"/>
                    <a:pt x="1110" y="64"/>
                    <a:pt x="1109" y="64"/>
                  </a:cubicBezTo>
                  <a:cubicBezTo>
                    <a:pt x="1109" y="65"/>
                    <a:pt x="1108" y="65"/>
                    <a:pt x="1108" y="66"/>
                  </a:cubicBezTo>
                  <a:cubicBezTo>
                    <a:pt x="1108" y="66"/>
                    <a:pt x="1109" y="66"/>
                    <a:pt x="1109" y="66"/>
                  </a:cubicBezTo>
                  <a:cubicBezTo>
                    <a:pt x="1110" y="65"/>
                    <a:pt x="1110" y="65"/>
                    <a:pt x="1111" y="64"/>
                  </a:cubicBezTo>
                  <a:moveTo>
                    <a:pt x="1108" y="67"/>
                  </a:moveTo>
                  <a:cubicBezTo>
                    <a:pt x="1108" y="67"/>
                    <a:pt x="1107" y="67"/>
                    <a:pt x="1107" y="67"/>
                  </a:cubicBezTo>
                  <a:cubicBezTo>
                    <a:pt x="1100" y="75"/>
                    <a:pt x="1094" y="83"/>
                    <a:pt x="1087" y="92"/>
                  </a:cubicBezTo>
                  <a:cubicBezTo>
                    <a:pt x="1087" y="92"/>
                    <a:pt x="1088" y="92"/>
                    <a:pt x="1088" y="92"/>
                  </a:cubicBezTo>
                  <a:cubicBezTo>
                    <a:pt x="1095" y="83"/>
                    <a:pt x="1102" y="75"/>
                    <a:pt x="1108" y="67"/>
                  </a:cubicBezTo>
                  <a:moveTo>
                    <a:pt x="899" y="71"/>
                  </a:moveTo>
                  <a:cubicBezTo>
                    <a:pt x="899" y="71"/>
                    <a:pt x="899" y="72"/>
                    <a:pt x="899" y="72"/>
                  </a:cubicBezTo>
                  <a:cubicBezTo>
                    <a:pt x="907" y="81"/>
                    <a:pt x="911" y="92"/>
                    <a:pt x="911" y="103"/>
                  </a:cubicBezTo>
                  <a:cubicBezTo>
                    <a:pt x="911" y="115"/>
                    <a:pt x="906" y="128"/>
                    <a:pt x="894" y="142"/>
                  </a:cubicBezTo>
                  <a:cubicBezTo>
                    <a:pt x="894" y="143"/>
                    <a:pt x="894" y="143"/>
                    <a:pt x="893" y="144"/>
                  </a:cubicBezTo>
                  <a:cubicBezTo>
                    <a:pt x="906" y="129"/>
                    <a:pt x="912" y="115"/>
                    <a:pt x="912" y="103"/>
                  </a:cubicBezTo>
                  <a:cubicBezTo>
                    <a:pt x="912" y="91"/>
                    <a:pt x="907" y="81"/>
                    <a:pt x="899" y="71"/>
                  </a:cubicBezTo>
                  <a:moveTo>
                    <a:pt x="1168" y="87"/>
                  </a:moveTo>
                  <a:cubicBezTo>
                    <a:pt x="1168" y="87"/>
                    <a:pt x="1167" y="87"/>
                    <a:pt x="1167" y="87"/>
                  </a:cubicBezTo>
                  <a:cubicBezTo>
                    <a:pt x="1165" y="93"/>
                    <a:pt x="1163" y="99"/>
                    <a:pt x="1161" y="105"/>
                  </a:cubicBezTo>
                  <a:cubicBezTo>
                    <a:pt x="1162" y="104"/>
                    <a:pt x="1163" y="103"/>
                    <a:pt x="1163" y="103"/>
                  </a:cubicBezTo>
                  <a:cubicBezTo>
                    <a:pt x="1165" y="97"/>
                    <a:pt x="1167" y="92"/>
                    <a:pt x="1168" y="87"/>
                  </a:cubicBezTo>
                  <a:moveTo>
                    <a:pt x="1087" y="93"/>
                  </a:moveTo>
                  <a:cubicBezTo>
                    <a:pt x="1087" y="93"/>
                    <a:pt x="1086" y="93"/>
                    <a:pt x="1086" y="93"/>
                  </a:cubicBezTo>
                  <a:cubicBezTo>
                    <a:pt x="1084" y="96"/>
                    <a:pt x="1082" y="98"/>
                    <a:pt x="1080" y="101"/>
                  </a:cubicBezTo>
                  <a:cubicBezTo>
                    <a:pt x="1080" y="101"/>
                    <a:pt x="1081" y="101"/>
                    <a:pt x="1081" y="100"/>
                  </a:cubicBezTo>
                  <a:cubicBezTo>
                    <a:pt x="1083" y="98"/>
                    <a:pt x="1085" y="95"/>
                    <a:pt x="1087" y="93"/>
                  </a:cubicBezTo>
                  <a:moveTo>
                    <a:pt x="1080" y="102"/>
                  </a:moveTo>
                  <a:cubicBezTo>
                    <a:pt x="1080" y="102"/>
                    <a:pt x="1079" y="102"/>
                    <a:pt x="1078" y="102"/>
                  </a:cubicBezTo>
                  <a:cubicBezTo>
                    <a:pt x="1076" y="106"/>
                    <a:pt x="1073" y="109"/>
                    <a:pt x="1070" y="113"/>
                  </a:cubicBezTo>
                  <a:cubicBezTo>
                    <a:pt x="1069" y="114"/>
                    <a:pt x="1069" y="115"/>
                    <a:pt x="1069" y="116"/>
                  </a:cubicBezTo>
                  <a:cubicBezTo>
                    <a:pt x="1073" y="111"/>
                    <a:pt x="1076" y="106"/>
                    <a:pt x="1080" y="102"/>
                  </a:cubicBezTo>
                  <a:moveTo>
                    <a:pt x="1162" y="105"/>
                  </a:moveTo>
                  <a:cubicBezTo>
                    <a:pt x="1162" y="106"/>
                    <a:pt x="1161" y="107"/>
                    <a:pt x="1161" y="108"/>
                  </a:cubicBezTo>
                  <a:cubicBezTo>
                    <a:pt x="1160" y="111"/>
                    <a:pt x="1159" y="114"/>
                    <a:pt x="1158" y="117"/>
                  </a:cubicBezTo>
                  <a:cubicBezTo>
                    <a:pt x="1158" y="117"/>
                    <a:pt x="1158" y="117"/>
                    <a:pt x="1159" y="117"/>
                  </a:cubicBezTo>
                  <a:cubicBezTo>
                    <a:pt x="1160" y="113"/>
                    <a:pt x="1161" y="109"/>
                    <a:pt x="1162" y="105"/>
                  </a:cubicBezTo>
                  <a:moveTo>
                    <a:pt x="1068" y="115"/>
                  </a:moveTo>
                  <a:cubicBezTo>
                    <a:pt x="1067" y="116"/>
                    <a:pt x="1066" y="117"/>
                    <a:pt x="1066" y="118"/>
                  </a:cubicBezTo>
                  <a:cubicBezTo>
                    <a:pt x="1066" y="118"/>
                    <a:pt x="1067" y="118"/>
                    <a:pt x="1067" y="118"/>
                  </a:cubicBezTo>
                  <a:cubicBezTo>
                    <a:pt x="1067" y="118"/>
                    <a:pt x="1067" y="118"/>
                    <a:pt x="1067" y="118"/>
                  </a:cubicBezTo>
                  <a:cubicBezTo>
                    <a:pt x="1067" y="117"/>
                    <a:pt x="1068" y="116"/>
                    <a:pt x="1068" y="115"/>
                  </a:cubicBezTo>
                  <a:moveTo>
                    <a:pt x="1157" y="118"/>
                  </a:moveTo>
                  <a:cubicBezTo>
                    <a:pt x="1156" y="120"/>
                    <a:pt x="1156" y="122"/>
                    <a:pt x="1155" y="124"/>
                  </a:cubicBezTo>
                  <a:cubicBezTo>
                    <a:pt x="1155" y="125"/>
                    <a:pt x="1155" y="125"/>
                    <a:pt x="1156" y="125"/>
                  </a:cubicBezTo>
                  <a:cubicBezTo>
                    <a:pt x="1156" y="123"/>
                    <a:pt x="1157" y="120"/>
                    <a:pt x="1158" y="118"/>
                  </a:cubicBezTo>
                  <a:cubicBezTo>
                    <a:pt x="1158" y="118"/>
                    <a:pt x="1158" y="118"/>
                    <a:pt x="1157" y="118"/>
                  </a:cubicBezTo>
                  <a:moveTo>
                    <a:pt x="1066" y="119"/>
                  </a:moveTo>
                  <a:cubicBezTo>
                    <a:pt x="1066" y="119"/>
                    <a:pt x="1065" y="119"/>
                    <a:pt x="1065" y="119"/>
                  </a:cubicBezTo>
                  <a:cubicBezTo>
                    <a:pt x="1062" y="122"/>
                    <a:pt x="1059" y="126"/>
                    <a:pt x="1057" y="129"/>
                  </a:cubicBezTo>
                  <a:cubicBezTo>
                    <a:pt x="1055" y="131"/>
                    <a:pt x="1053" y="133"/>
                    <a:pt x="1052" y="135"/>
                  </a:cubicBezTo>
                  <a:cubicBezTo>
                    <a:pt x="1052" y="135"/>
                    <a:pt x="1053" y="135"/>
                    <a:pt x="1054" y="134"/>
                  </a:cubicBezTo>
                  <a:cubicBezTo>
                    <a:pt x="1055" y="133"/>
                    <a:pt x="1056" y="131"/>
                    <a:pt x="1058" y="130"/>
                  </a:cubicBezTo>
                  <a:cubicBezTo>
                    <a:pt x="1060" y="126"/>
                    <a:pt x="1063" y="122"/>
                    <a:pt x="1066" y="119"/>
                  </a:cubicBezTo>
                  <a:moveTo>
                    <a:pt x="1154" y="126"/>
                  </a:moveTo>
                  <a:cubicBezTo>
                    <a:pt x="1152" y="132"/>
                    <a:pt x="1150" y="139"/>
                    <a:pt x="1147" y="145"/>
                  </a:cubicBezTo>
                  <a:cubicBezTo>
                    <a:pt x="1147" y="146"/>
                    <a:pt x="1147" y="146"/>
                    <a:pt x="1148" y="146"/>
                  </a:cubicBezTo>
                  <a:cubicBezTo>
                    <a:pt x="1148" y="146"/>
                    <a:pt x="1148" y="146"/>
                    <a:pt x="1148" y="146"/>
                  </a:cubicBezTo>
                  <a:cubicBezTo>
                    <a:pt x="1150" y="140"/>
                    <a:pt x="1153" y="133"/>
                    <a:pt x="1155" y="126"/>
                  </a:cubicBezTo>
                  <a:cubicBezTo>
                    <a:pt x="1155" y="126"/>
                    <a:pt x="1155" y="126"/>
                    <a:pt x="1154" y="126"/>
                  </a:cubicBezTo>
                  <a:moveTo>
                    <a:pt x="1052" y="136"/>
                  </a:moveTo>
                  <a:cubicBezTo>
                    <a:pt x="1052" y="136"/>
                    <a:pt x="1051" y="136"/>
                    <a:pt x="1051" y="137"/>
                  </a:cubicBezTo>
                  <a:cubicBezTo>
                    <a:pt x="1048" y="140"/>
                    <a:pt x="1045" y="143"/>
                    <a:pt x="1042" y="147"/>
                  </a:cubicBezTo>
                  <a:cubicBezTo>
                    <a:pt x="1043" y="147"/>
                    <a:pt x="1043" y="147"/>
                    <a:pt x="1044" y="147"/>
                  </a:cubicBezTo>
                  <a:cubicBezTo>
                    <a:pt x="1047" y="143"/>
                    <a:pt x="1050" y="140"/>
                    <a:pt x="1052" y="136"/>
                  </a:cubicBezTo>
                  <a:moveTo>
                    <a:pt x="893" y="144"/>
                  </a:moveTo>
                  <a:cubicBezTo>
                    <a:pt x="892" y="144"/>
                    <a:pt x="891" y="145"/>
                    <a:pt x="891" y="146"/>
                  </a:cubicBezTo>
                  <a:cubicBezTo>
                    <a:pt x="891" y="146"/>
                    <a:pt x="890" y="146"/>
                    <a:pt x="890" y="146"/>
                  </a:cubicBezTo>
                  <a:cubicBezTo>
                    <a:pt x="890" y="147"/>
                    <a:pt x="889" y="147"/>
                    <a:pt x="889" y="148"/>
                  </a:cubicBezTo>
                  <a:cubicBezTo>
                    <a:pt x="889" y="148"/>
                    <a:pt x="889" y="148"/>
                    <a:pt x="889" y="148"/>
                  </a:cubicBezTo>
                  <a:cubicBezTo>
                    <a:pt x="888" y="148"/>
                    <a:pt x="888" y="148"/>
                    <a:pt x="888" y="149"/>
                  </a:cubicBezTo>
                  <a:cubicBezTo>
                    <a:pt x="882" y="155"/>
                    <a:pt x="877" y="161"/>
                    <a:pt x="872" y="166"/>
                  </a:cubicBezTo>
                  <a:cubicBezTo>
                    <a:pt x="873" y="166"/>
                    <a:pt x="873" y="166"/>
                    <a:pt x="874" y="166"/>
                  </a:cubicBezTo>
                  <a:cubicBezTo>
                    <a:pt x="878" y="161"/>
                    <a:pt x="883" y="155"/>
                    <a:pt x="888" y="150"/>
                  </a:cubicBezTo>
                  <a:cubicBezTo>
                    <a:pt x="889" y="149"/>
                    <a:pt x="889" y="149"/>
                    <a:pt x="890" y="148"/>
                  </a:cubicBezTo>
                  <a:cubicBezTo>
                    <a:pt x="890" y="148"/>
                    <a:pt x="891" y="147"/>
                    <a:pt x="891" y="146"/>
                  </a:cubicBezTo>
                  <a:cubicBezTo>
                    <a:pt x="892" y="146"/>
                    <a:pt x="892" y="146"/>
                    <a:pt x="892" y="146"/>
                  </a:cubicBezTo>
                  <a:cubicBezTo>
                    <a:pt x="892" y="145"/>
                    <a:pt x="892" y="144"/>
                    <a:pt x="893" y="144"/>
                  </a:cubicBezTo>
                  <a:moveTo>
                    <a:pt x="1147" y="146"/>
                  </a:moveTo>
                  <a:cubicBezTo>
                    <a:pt x="1146" y="147"/>
                    <a:pt x="1146" y="148"/>
                    <a:pt x="1146" y="148"/>
                  </a:cubicBezTo>
                  <a:cubicBezTo>
                    <a:pt x="1146" y="148"/>
                    <a:pt x="1147" y="147"/>
                    <a:pt x="1147" y="147"/>
                  </a:cubicBezTo>
                  <a:cubicBezTo>
                    <a:pt x="1147" y="147"/>
                    <a:pt x="1147" y="147"/>
                    <a:pt x="1147" y="146"/>
                  </a:cubicBezTo>
                  <a:moveTo>
                    <a:pt x="1043" y="148"/>
                  </a:moveTo>
                  <a:cubicBezTo>
                    <a:pt x="1042" y="148"/>
                    <a:pt x="1042" y="148"/>
                    <a:pt x="1042" y="148"/>
                  </a:cubicBezTo>
                  <a:cubicBezTo>
                    <a:pt x="1037" y="153"/>
                    <a:pt x="1033" y="159"/>
                    <a:pt x="1028" y="164"/>
                  </a:cubicBezTo>
                  <a:cubicBezTo>
                    <a:pt x="1028" y="165"/>
                    <a:pt x="1027" y="166"/>
                    <a:pt x="1027" y="167"/>
                  </a:cubicBezTo>
                  <a:cubicBezTo>
                    <a:pt x="1032" y="161"/>
                    <a:pt x="1038" y="154"/>
                    <a:pt x="1043" y="148"/>
                  </a:cubicBezTo>
                  <a:moveTo>
                    <a:pt x="1147" y="149"/>
                  </a:moveTo>
                  <a:cubicBezTo>
                    <a:pt x="1146" y="149"/>
                    <a:pt x="1146" y="150"/>
                    <a:pt x="1145" y="150"/>
                  </a:cubicBezTo>
                  <a:cubicBezTo>
                    <a:pt x="1145" y="150"/>
                    <a:pt x="1146" y="150"/>
                    <a:pt x="1146" y="150"/>
                  </a:cubicBezTo>
                  <a:cubicBezTo>
                    <a:pt x="1146" y="150"/>
                    <a:pt x="1146" y="149"/>
                    <a:pt x="1147" y="149"/>
                  </a:cubicBezTo>
                  <a:moveTo>
                    <a:pt x="1145" y="151"/>
                  </a:moveTo>
                  <a:cubicBezTo>
                    <a:pt x="1144" y="154"/>
                    <a:pt x="1143" y="156"/>
                    <a:pt x="1142" y="158"/>
                  </a:cubicBezTo>
                  <a:cubicBezTo>
                    <a:pt x="1142" y="158"/>
                    <a:pt x="1142" y="158"/>
                    <a:pt x="1143" y="158"/>
                  </a:cubicBezTo>
                  <a:cubicBezTo>
                    <a:pt x="1144" y="156"/>
                    <a:pt x="1145" y="154"/>
                    <a:pt x="1146" y="151"/>
                  </a:cubicBezTo>
                  <a:cubicBezTo>
                    <a:pt x="1145" y="151"/>
                    <a:pt x="1145" y="151"/>
                    <a:pt x="1145" y="151"/>
                  </a:cubicBezTo>
                  <a:moveTo>
                    <a:pt x="1142" y="159"/>
                  </a:moveTo>
                  <a:cubicBezTo>
                    <a:pt x="1142" y="159"/>
                    <a:pt x="1142" y="159"/>
                    <a:pt x="1141" y="159"/>
                  </a:cubicBezTo>
                  <a:cubicBezTo>
                    <a:pt x="1140" y="161"/>
                    <a:pt x="1140" y="163"/>
                    <a:pt x="1139" y="165"/>
                  </a:cubicBezTo>
                  <a:cubicBezTo>
                    <a:pt x="1139" y="165"/>
                    <a:pt x="1139" y="166"/>
                    <a:pt x="1140" y="166"/>
                  </a:cubicBezTo>
                  <a:cubicBezTo>
                    <a:pt x="1140" y="164"/>
                    <a:pt x="1141" y="162"/>
                    <a:pt x="1142" y="159"/>
                  </a:cubicBezTo>
                  <a:moveTo>
                    <a:pt x="1138" y="166"/>
                  </a:moveTo>
                  <a:cubicBezTo>
                    <a:pt x="1138" y="167"/>
                    <a:pt x="1138" y="168"/>
                    <a:pt x="1137" y="169"/>
                  </a:cubicBezTo>
                  <a:cubicBezTo>
                    <a:pt x="1138" y="169"/>
                    <a:pt x="1138" y="168"/>
                    <a:pt x="1139" y="168"/>
                  </a:cubicBezTo>
                  <a:cubicBezTo>
                    <a:pt x="1139" y="168"/>
                    <a:pt x="1139" y="167"/>
                    <a:pt x="1139" y="167"/>
                  </a:cubicBezTo>
                  <a:cubicBezTo>
                    <a:pt x="1139" y="167"/>
                    <a:pt x="1139" y="166"/>
                    <a:pt x="1138" y="166"/>
                  </a:cubicBezTo>
                  <a:moveTo>
                    <a:pt x="1026" y="167"/>
                  </a:moveTo>
                  <a:cubicBezTo>
                    <a:pt x="1025" y="168"/>
                    <a:pt x="1024" y="169"/>
                    <a:pt x="1023" y="170"/>
                  </a:cubicBezTo>
                  <a:cubicBezTo>
                    <a:pt x="1024" y="170"/>
                    <a:pt x="1024" y="169"/>
                    <a:pt x="1025" y="169"/>
                  </a:cubicBezTo>
                  <a:cubicBezTo>
                    <a:pt x="1025" y="168"/>
                    <a:pt x="1026" y="167"/>
                    <a:pt x="1026" y="167"/>
                  </a:cubicBezTo>
                  <a:moveTo>
                    <a:pt x="873" y="167"/>
                  </a:moveTo>
                  <a:cubicBezTo>
                    <a:pt x="872" y="167"/>
                    <a:pt x="872" y="168"/>
                    <a:pt x="871" y="168"/>
                  </a:cubicBezTo>
                  <a:cubicBezTo>
                    <a:pt x="867" y="172"/>
                    <a:pt x="863" y="177"/>
                    <a:pt x="860" y="181"/>
                  </a:cubicBezTo>
                  <a:cubicBezTo>
                    <a:pt x="860" y="181"/>
                    <a:pt x="861" y="181"/>
                    <a:pt x="861" y="181"/>
                  </a:cubicBezTo>
                  <a:cubicBezTo>
                    <a:pt x="865" y="177"/>
                    <a:pt x="868" y="172"/>
                    <a:pt x="872" y="168"/>
                  </a:cubicBezTo>
                  <a:cubicBezTo>
                    <a:pt x="872" y="168"/>
                    <a:pt x="873" y="167"/>
                    <a:pt x="873" y="167"/>
                  </a:cubicBezTo>
                  <a:moveTo>
                    <a:pt x="1138" y="170"/>
                  </a:moveTo>
                  <a:cubicBezTo>
                    <a:pt x="1137" y="170"/>
                    <a:pt x="1137" y="170"/>
                    <a:pt x="1137" y="170"/>
                  </a:cubicBezTo>
                  <a:cubicBezTo>
                    <a:pt x="1134" y="176"/>
                    <a:pt x="1131" y="182"/>
                    <a:pt x="1129" y="187"/>
                  </a:cubicBezTo>
                  <a:cubicBezTo>
                    <a:pt x="1129" y="188"/>
                    <a:pt x="1129" y="189"/>
                    <a:pt x="1129" y="189"/>
                  </a:cubicBezTo>
                  <a:cubicBezTo>
                    <a:pt x="1132" y="183"/>
                    <a:pt x="1135" y="176"/>
                    <a:pt x="1138" y="170"/>
                  </a:cubicBezTo>
                  <a:moveTo>
                    <a:pt x="1024" y="171"/>
                  </a:moveTo>
                  <a:cubicBezTo>
                    <a:pt x="1023" y="171"/>
                    <a:pt x="1022" y="172"/>
                    <a:pt x="1021" y="172"/>
                  </a:cubicBezTo>
                  <a:cubicBezTo>
                    <a:pt x="1021" y="173"/>
                    <a:pt x="1020" y="173"/>
                    <a:pt x="1020" y="174"/>
                  </a:cubicBezTo>
                  <a:cubicBezTo>
                    <a:pt x="1020" y="174"/>
                    <a:pt x="1020" y="175"/>
                    <a:pt x="1020" y="175"/>
                  </a:cubicBezTo>
                  <a:cubicBezTo>
                    <a:pt x="1021" y="174"/>
                    <a:pt x="1022" y="172"/>
                    <a:pt x="1024" y="171"/>
                  </a:cubicBezTo>
                  <a:moveTo>
                    <a:pt x="1019" y="175"/>
                  </a:moveTo>
                  <a:cubicBezTo>
                    <a:pt x="1018" y="176"/>
                    <a:pt x="1017" y="178"/>
                    <a:pt x="1015" y="179"/>
                  </a:cubicBezTo>
                  <a:cubicBezTo>
                    <a:pt x="1016" y="179"/>
                    <a:pt x="1016" y="179"/>
                    <a:pt x="1017" y="179"/>
                  </a:cubicBezTo>
                  <a:cubicBezTo>
                    <a:pt x="1017" y="178"/>
                    <a:pt x="1018" y="177"/>
                    <a:pt x="1019" y="176"/>
                  </a:cubicBezTo>
                  <a:cubicBezTo>
                    <a:pt x="1019" y="176"/>
                    <a:pt x="1019" y="175"/>
                    <a:pt x="1019" y="175"/>
                  </a:cubicBezTo>
                  <a:moveTo>
                    <a:pt x="1014" y="180"/>
                  </a:moveTo>
                  <a:cubicBezTo>
                    <a:pt x="1006" y="190"/>
                    <a:pt x="998" y="200"/>
                    <a:pt x="989" y="209"/>
                  </a:cubicBezTo>
                  <a:cubicBezTo>
                    <a:pt x="990" y="208"/>
                    <a:pt x="992" y="207"/>
                    <a:pt x="993" y="207"/>
                  </a:cubicBezTo>
                  <a:cubicBezTo>
                    <a:pt x="1000" y="198"/>
                    <a:pt x="1008" y="189"/>
                    <a:pt x="1016" y="180"/>
                  </a:cubicBezTo>
                  <a:cubicBezTo>
                    <a:pt x="1015" y="180"/>
                    <a:pt x="1015" y="180"/>
                    <a:pt x="1014" y="180"/>
                  </a:cubicBezTo>
                  <a:moveTo>
                    <a:pt x="860" y="182"/>
                  </a:moveTo>
                  <a:cubicBezTo>
                    <a:pt x="860" y="182"/>
                    <a:pt x="859" y="182"/>
                    <a:pt x="859" y="182"/>
                  </a:cubicBezTo>
                  <a:cubicBezTo>
                    <a:pt x="858" y="183"/>
                    <a:pt x="858" y="184"/>
                    <a:pt x="857" y="185"/>
                  </a:cubicBezTo>
                  <a:cubicBezTo>
                    <a:pt x="857" y="185"/>
                    <a:pt x="856" y="185"/>
                    <a:pt x="856" y="186"/>
                  </a:cubicBezTo>
                  <a:cubicBezTo>
                    <a:pt x="855" y="187"/>
                    <a:pt x="854" y="188"/>
                    <a:pt x="853" y="190"/>
                  </a:cubicBezTo>
                  <a:cubicBezTo>
                    <a:pt x="855" y="188"/>
                    <a:pt x="857" y="186"/>
                    <a:pt x="859" y="184"/>
                  </a:cubicBezTo>
                  <a:cubicBezTo>
                    <a:pt x="859" y="183"/>
                    <a:pt x="860" y="183"/>
                    <a:pt x="860" y="182"/>
                  </a:cubicBezTo>
                  <a:moveTo>
                    <a:pt x="1128" y="189"/>
                  </a:moveTo>
                  <a:cubicBezTo>
                    <a:pt x="1127" y="190"/>
                    <a:pt x="1127" y="191"/>
                    <a:pt x="1126" y="192"/>
                  </a:cubicBezTo>
                  <a:cubicBezTo>
                    <a:pt x="1127" y="192"/>
                    <a:pt x="1127" y="192"/>
                    <a:pt x="1127" y="192"/>
                  </a:cubicBezTo>
                  <a:cubicBezTo>
                    <a:pt x="1128" y="192"/>
                    <a:pt x="1128" y="191"/>
                    <a:pt x="1128" y="191"/>
                  </a:cubicBezTo>
                  <a:cubicBezTo>
                    <a:pt x="1128" y="190"/>
                    <a:pt x="1128" y="190"/>
                    <a:pt x="1128" y="189"/>
                  </a:cubicBezTo>
                  <a:moveTo>
                    <a:pt x="854" y="190"/>
                  </a:moveTo>
                  <a:cubicBezTo>
                    <a:pt x="851" y="193"/>
                    <a:pt x="848" y="196"/>
                    <a:pt x="846" y="200"/>
                  </a:cubicBezTo>
                  <a:cubicBezTo>
                    <a:pt x="845" y="201"/>
                    <a:pt x="844" y="202"/>
                    <a:pt x="843" y="203"/>
                  </a:cubicBezTo>
                  <a:cubicBezTo>
                    <a:pt x="843" y="203"/>
                    <a:pt x="843" y="203"/>
                    <a:pt x="843" y="204"/>
                  </a:cubicBezTo>
                  <a:cubicBezTo>
                    <a:pt x="841" y="205"/>
                    <a:pt x="840" y="207"/>
                    <a:pt x="839" y="209"/>
                  </a:cubicBezTo>
                  <a:cubicBezTo>
                    <a:pt x="839" y="209"/>
                    <a:pt x="840" y="209"/>
                    <a:pt x="840" y="209"/>
                  </a:cubicBezTo>
                  <a:cubicBezTo>
                    <a:pt x="841" y="207"/>
                    <a:pt x="842" y="206"/>
                    <a:pt x="844" y="204"/>
                  </a:cubicBezTo>
                  <a:cubicBezTo>
                    <a:pt x="844" y="204"/>
                    <a:pt x="844" y="204"/>
                    <a:pt x="844" y="203"/>
                  </a:cubicBezTo>
                  <a:cubicBezTo>
                    <a:pt x="847" y="199"/>
                    <a:pt x="850" y="195"/>
                    <a:pt x="854" y="190"/>
                  </a:cubicBezTo>
                  <a:moveTo>
                    <a:pt x="1126" y="193"/>
                  </a:moveTo>
                  <a:cubicBezTo>
                    <a:pt x="1124" y="196"/>
                    <a:pt x="1123" y="199"/>
                    <a:pt x="1121" y="203"/>
                  </a:cubicBezTo>
                  <a:cubicBezTo>
                    <a:pt x="1121" y="203"/>
                    <a:pt x="1121" y="204"/>
                    <a:pt x="1121" y="205"/>
                  </a:cubicBezTo>
                  <a:cubicBezTo>
                    <a:pt x="1123" y="201"/>
                    <a:pt x="1125" y="197"/>
                    <a:pt x="1127" y="193"/>
                  </a:cubicBezTo>
                  <a:cubicBezTo>
                    <a:pt x="1127" y="193"/>
                    <a:pt x="1126" y="193"/>
                    <a:pt x="1126" y="193"/>
                  </a:cubicBezTo>
                  <a:moveTo>
                    <a:pt x="1120" y="205"/>
                  </a:moveTo>
                  <a:cubicBezTo>
                    <a:pt x="1118" y="209"/>
                    <a:pt x="1115" y="213"/>
                    <a:pt x="1113" y="218"/>
                  </a:cubicBezTo>
                  <a:cubicBezTo>
                    <a:pt x="1113" y="218"/>
                    <a:pt x="1113" y="219"/>
                    <a:pt x="1113" y="220"/>
                  </a:cubicBezTo>
                  <a:cubicBezTo>
                    <a:pt x="1115" y="216"/>
                    <a:pt x="1118" y="211"/>
                    <a:pt x="1120" y="207"/>
                  </a:cubicBezTo>
                  <a:cubicBezTo>
                    <a:pt x="1120" y="207"/>
                    <a:pt x="1120" y="207"/>
                    <a:pt x="1120" y="206"/>
                  </a:cubicBezTo>
                  <a:cubicBezTo>
                    <a:pt x="1120" y="206"/>
                    <a:pt x="1120" y="205"/>
                    <a:pt x="1120" y="205"/>
                  </a:cubicBezTo>
                  <a:moveTo>
                    <a:pt x="990" y="210"/>
                  </a:moveTo>
                  <a:cubicBezTo>
                    <a:pt x="990" y="210"/>
                    <a:pt x="990" y="210"/>
                    <a:pt x="990" y="210"/>
                  </a:cubicBezTo>
                  <a:cubicBezTo>
                    <a:pt x="990" y="210"/>
                    <a:pt x="990" y="210"/>
                    <a:pt x="990" y="210"/>
                  </a:cubicBezTo>
                  <a:cubicBezTo>
                    <a:pt x="990" y="210"/>
                    <a:pt x="990" y="210"/>
                    <a:pt x="990" y="210"/>
                  </a:cubicBezTo>
                  <a:moveTo>
                    <a:pt x="840" y="210"/>
                  </a:moveTo>
                  <a:cubicBezTo>
                    <a:pt x="839" y="210"/>
                    <a:pt x="839" y="210"/>
                    <a:pt x="838" y="210"/>
                  </a:cubicBezTo>
                  <a:cubicBezTo>
                    <a:pt x="837" y="211"/>
                    <a:pt x="836" y="213"/>
                    <a:pt x="835" y="214"/>
                  </a:cubicBezTo>
                  <a:cubicBezTo>
                    <a:pt x="835" y="215"/>
                    <a:pt x="835" y="215"/>
                    <a:pt x="835" y="215"/>
                  </a:cubicBezTo>
                  <a:cubicBezTo>
                    <a:pt x="834" y="216"/>
                    <a:pt x="834" y="217"/>
                    <a:pt x="833" y="218"/>
                  </a:cubicBezTo>
                  <a:cubicBezTo>
                    <a:pt x="832" y="220"/>
                    <a:pt x="831" y="221"/>
                    <a:pt x="830" y="223"/>
                  </a:cubicBezTo>
                  <a:cubicBezTo>
                    <a:pt x="830" y="224"/>
                    <a:pt x="829" y="224"/>
                    <a:pt x="829" y="225"/>
                  </a:cubicBezTo>
                  <a:cubicBezTo>
                    <a:pt x="827" y="229"/>
                    <a:pt x="825" y="233"/>
                    <a:pt x="824" y="237"/>
                  </a:cubicBezTo>
                  <a:cubicBezTo>
                    <a:pt x="824" y="237"/>
                    <a:pt x="824" y="237"/>
                    <a:pt x="824" y="237"/>
                  </a:cubicBezTo>
                  <a:cubicBezTo>
                    <a:pt x="825" y="236"/>
                    <a:pt x="825" y="235"/>
                    <a:pt x="826" y="233"/>
                  </a:cubicBezTo>
                  <a:cubicBezTo>
                    <a:pt x="826" y="233"/>
                    <a:pt x="826" y="233"/>
                    <a:pt x="826" y="232"/>
                  </a:cubicBezTo>
                  <a:cubicBezTo>
                    <a:pt x="827" y="231"/>
                    <a:pt x="828" y="229"/>
                    <a:pt x="829" y="227"/>
                  </a:cubicBezTo>
                  <a:cubicBezTo>
                    <a:pt x="829" y="227"/>
                    <a:pt x="829" y="226"/>
                    <a:pt x="830" y="226"/>
                  </a:cubicBezTo>
                  <a:cubicBezTo>
                    <a:pt x="831" y="224"/>
                    <a:pt x="832" y="222"/>
                    <a:pt x="833" y="220"/>
                  </a:cubicBezTo>
                  <a:cubicBezTo>
                    <a:pt x="833" y="219"/>
                    <a:pt x="834" y="219"/>
                    <a:pt x="834" y="219"/>
                  </a:cubicBezTo>
                  <a:cubicBezTo>
                    <a:pt x="834" y="219"/>
                    <a:pt x="834" y="219"/>
                    <a:pt x="834" y="219"/>
                  </a:cubicBezTo>
                  <a:cubicBezTo>
                    <a:pt x="835" y="217"/>
                    <a:pt x="836" y="215"/>
                    <a:pt x="837" y="214"/>
                  </a:cubicBezTo>
                  <a:cubicBezTo>
                    <a:pt x="838" y="212"/>
                    <a:pt x="839" y="211"/>
                    <a:pt x="840" y="210"/>
                  </a:cubicBezTo>
                  <a:moveTo>
                    <a:pt x="989" y="211"/>
                  </a:moveTo>
                  <a:cubicBezTo>
                    <a:pt x="988" y="211"/>
                    <a:pt x="987" y="212"/>
                    <a:pt x="986" y="213"/>
                  </a:cubicBezTo>
                  <a:cubicBezTo>
                    <a:pt x="985" y="214"/>
                    <a:pt x="984" y="215"/>
                    <a:pt x="982" y="216"/>
                  </a:cubicBezTo>
                  <a:cubicBezTo>
                    <a:pt x="983" y="217"/>
                    <a:pt x="983" y="217"/>
                    <a:pt x="983" y="217"/>
                  </a:cubicBezTo>
                  <a:cubicBezTo>
                    <a:pt x="985" y="215"/>
                    <a:pt x="987" y="213"/>
                    <a:pt x="989" y="211"/>
                  </a:cubicBezTo>
                  <a:cubicBezTo>
                    <a:pt x="989" y="211"/>
                    <a:pt x="989" y="211"/>
                    <a:pt x="989" y="211"/>
                  </a:cubicBezTo>
                  <a:moveTo>
                    <a:pt x="982" y="217"/>
                  </a:moveTo>
                  <a:cubicBezTo>
                    <a:pt x="975" y="224"/>
                    <a:pt x="969" y="231"/>
                    <a:pt x="963" y="237"/>
                  </a:cubicBezTo>
                  <a:cubicBezTo>
                    <a:pt x="962" y="238"/>
                    <a:pt x="962" y="239"/>
                    <a:pt x="962" y="239"/>
                  </a:cubicBezTo>
                  <a:cubicBezTo>
                    <a:pt x="969" y="233"/>
                    <a:pt x="976" y="225"/>
                    <a:pt x="983" y="218"/>
                  </a:cubicBezTo>
                  <a:cubicBezTo>
                    <a:pt x="982" y="218"/>
                    <a:pt x="982" y="217"/>
                    <a:pt x="982" y="217"/>
                  </a:cubicBezTo>
                  <a:moveTo>
                    <a:pt x="1112" y="220"/>
                  </a:moveTo>
                  <a:cubicBezTo>
                    <a:pt x="1110" y="223"/>
                    <a:pt x="1108" y="226"/>
                    <a:pt x="1106" y="229"/>
                  </a:cubicBezTo>
                  <a:cubicBezTo>
                    <a:pt x="1107" y="229"/>
                    <a:pt x="1107" y="230"/>
                    <a:pt x="1107" y="230"/>
                  </a:cubicBezTo>
                  <a:cubicBezTo>
                    <a:pt x="1109" y="227"/>
                    <a:pt x="1110" y="224"/>
                    <a:pt x="1112" y="222"/>
                  </a:cubicBezTo>
                  <a:cubicBezTo>
                    <a:pt x="1112" y="221"/>
                    <a:pt x="1112" y="220"/>
                    <a:pt x="1112" y="220"/>
                  </a:cubicBezTo>
                  <a:moveTo>
                    <a:pt x="1106" y="230"/>
                  </a:moveTo>
                  <a:cubicBezTo>
                    <a:pt x="1105" y="231"/>
                    <a:pt x="1105" y="232"/>
                    <a:pt x="1104" y="233"/>
                  </a:cubicBezTo>
                  <a:cubicBezTo>
                    <a:pt x="1104" y="234"/>
                    <a:pt x="1104" y="234"/>
                    <a:pt x="1104" y="235"/>
                  </a:cubicBezTo>
                  <a:cubicBezTo>
                    <a:pt x="1105" y="234"/>
                    <a:pt x="1106" y="232"/>
                    <a:pt x="1107" y="230"/>
                  </a:cubicBezTo>
                  <a:cubicBezTo>
                    <a:pt x="1106" y="230"/>
                    <a:pt x="1106" y="230"/>
                    <a:pt x="1106" y="230"/>
                  </a:cubicBezTo>
                  <a:moveTo>
                    <a:pt x="1103" y="235"/>
                  </a:moveTo>
                  <a:cubicBezTo>
                    <a:pt x="1100" y="239"/>
                    <a:pt x="1098" y="244"/>
                    <a:pt x="1095" y="248"/>
                  </a:cubicBezTo>
                  <a:cubicBezTo>
                    <a:pt x="1095" y="249"/>
                    <a:pt x="1095" y="250"/>
                    <a:pt x="1094" y="251"/>
                  </a:cubicBezTo>
                  <a:cubicBezTo>
                    <a:pt x="1097" y="246"/>
                    <a:pt x="1100" y="242"/>
                    <a:pt x="1103" y="237"/>
                  </a:cubicBezTo>
                  <a:cubicBezTo>
                    <a:pt x="1103" y="236"/>
                    <a:pt x="1103" y="236"/>
                    <a:pt x="1103" y="235"/>
                  </a:cubicBezTo>
                  <a:moveTo>
                    <a:pt x="824" y="238"/>
                  </a:moveTo>
                  <a:cubicBezTo>
                    <a:pt x="824" y="238"/>
                    <a:pt x="823" y="238"/>
                    <a:pt x="823" y="238"/>
                  </a:cubicBezTo>
                  <a:cubicBezTo>
                    <a:pt x="821" y="243"/>
                    <a:pt x="819" y="249"/>
                    <a:pt x="818" y="255"/>
                  </a:cubicBezTo>
                  <a:cubicBezTo>
                    <a:pt x="817" y="257"/>
                    <a:pt x="817" y="259"/>
                    <a:pt x="817" y="261"/>
                  </a:cubicBezTo>
                  <a:cubicBezTo>
                    <a:pt x="817" y="264"/>
                    <a:pt x="818" y="267"/>
                    <a:pt x="819" y="270"/>
                  </a:cubicBezTo>
                  <a:cubicBezTo>
                    <a:pt x="819" y="270"/>
                    <a:pt x="819" y="270"/>
                    <a:pt x="819" y="269"/>
                  </a:cubicBezTo>
                  <a:cubicBezTo>
                    <a:pt x="819" y="267"/>
                    <a:pt x="818" y="264"/>
                    <a:pt x="818" y="261"/>
                  </a:cubicBezTo>
                  <a:cubicBezTo>
                    <a:pt x="818" y="258"/>
                    <a:pt x="818" y="255"/>
                    <a:pt x="819" y="253"/>
                  </a:cubicBezTo>
                  <a:cubicBezTo>
                    <a:pt x="819" y="252"/>
                    <a:pt x="819" y="252"/>
                    <a:pt x="819" y="252"/>
                  </a:cubicBezTo>
                  <a:cubicBezTo>
                    <a:pt x="820" y="248"/>
                    <a:pt x="821" y="244"/>
                    <a:pt x="823" y="240"/>
                  </a:cubicBezTo>
                  <a:cubicBezTo>
                    <a:pt x="823" y="240"/>
                    <a:pt x="823" y="239"/>
                    <a:pt x="823" y="239"/>
                  </a:cubicBezTo>
                  <a:cubicBezTo>
                    <a:pt x="823" y="239"/>
                    <a:pt x="824" y="238"/>
                    <a:pt x="824" y="238"/>
                  </a:cubicBezTo>
                  <a:moveTo>
                    <a:pt x="959" y="241"/>
                  </a:moveTo>
                  <a:cubicBezTo>
                    <a:pt x="958" y="241"/>
                    <a:pt x="958" y="242"/>
                    <a:pt x="957" y="242"/>
                  </a:cubicBezTo>
                  <a:cubicBezTo>
                    <a:pt x="957" y="243"/>
                    <a:pt x="957" y="244"/>
                    <a:pt x="957" y="244"/>
                  </a:cubicBezTo>
                  <a:cubicBezTo>
                    <a:pt x="957" y="244"/>
                    <a:pt x="957" y="244"/>
                    <a:pt x="958" y="244"/>
                  </a:cubicBezTo>
                  <a:cubicBezTo>
                    <a:pt x="958" y="243"/>
                    <a:pt x="959" y="242"/>
                    <a:pt x="959" y="241"/>
                  </a:cubicBezTo>
                  <a:cubicBezTo>
                    <a:pt x="959" y="241"/>
                    <a:pt x="959" y="241"/>
                    <a:pt x="959" y="241"/>
                  </a:cubicBezTo>
                  <a:moveTo>
                    <a:pt x="960" y="241"/>
                  </a:moveTo>
                  <a:cubicBezTo>
                    <a:pt x="960" y="241"/>
                    <a:pt x="960" y="241"/>
                    <a:pt x="960" y="241"/>
                  </a:cubicBezTo>
                  <a:cubicBezTo>
                    <a:pt x="960" y="241"/>
                    <a:pt x="960" y="241"/>
                    <a:pt x="960" y="241"/>
                  </a:cubicBezTo>
                  <a:cubicBezTo>
                    <a:pt x="960" y="241"/>
                    <a:pt x="960" y="241"/>
                    <a:pt x="960" y="241"/>
                  </a:cubicBezTo>
                  <a:moveTo>
                    <a:pt x="956" y="244"/>
                  </a:moveTo>
                  <a:cubicBezTo>
                    <a:pt x="955" y="245"/>
                    <a:pt x="954" y="246"/>
                    <a:pt x="952" y="247"/>
                  </a:cubicBezTo>
                  <a:cubicBezTo>
                    <a:pt x="953" y="247"/>
                    <a:pt x="953" y="247"/>
                    <a:pt x="954" y="247"/>
                  </a:cubicBezTo>
                  <a:cubicBezTo>
                    <a:pt x="954" y="247"/>
                    <a:pt x="955" y="246"/>
                    <a:pt x="956" y="245"/>
                  </a:cubicBezTo>
                  <a:cubicBezTo>
                    <a:pt x="956" y="245"/>
                    <a:pt x="956" y="244"/>
                    <a:pt x="956" y="244"/>
                  </a:cubicBezTo>
                  <a:moveTo>
                    <a:pt x="951" y="248"/>
                  </a:moveTo>
                  <a:cubicBezTo>
                    <a:pt x="951" y="248"/>
                    <a:pt x="951" y="249"/>
                    <a:pt x="951" y="249"/>
                  </a:cubicBezTo>
                  <a:cubicBezTo>
                    <a:pt x="951" y="249"/>
                    <a:pt x="951" y="249"/>
                    <a:pt x="950" y="249"/>
                  </a:cubicBezTo>
                  <a:cubicBezTo>
                    <a:pt x="950" y="250"/>
                    <a:pt x="950" y="250"/>
                    <a:pt x="950" y="251"/>
                  </a:cubicBezTo>
                  <a:cubicBezTo>
                    <a:pt x="951" y="250"/>
                    <a:pt x="952" y="249"/>
                    <a:pt x="953" y="248"/>
                  </a:cubicBezTo>
                  <a:cubicBezTo>
                    <a:pt x="952" y="248"/>
                    <a:pt x="952" y="248"/>
                    <a:pt x="951" y="248"/>
                  </a:cubicBezTo>
                  <a:moveTo>
                    <a:pt x="1094" y="250"/>
                  </a:moveTo>
                  <a:cubicBezTo>
                    <a:pt x="1090" y="255"/>
                    <a:pt x="1087" y="260"/>
                    <a:pt x="1084" y="264"/>
                  </a:cubicBezTo>
                  <a:cubicBezTo>
                    <a:pt x="1084" y="265"/>
                    <a:pt x="1084" y="265"/>
                    <a:pt x="1084" y="266"/>
                  </a:cubicBezTo>
                  <a:cubicBezTo>
                    <a:pt x="1087" y="261"/>
                    <a:pt x="1090" y="257"/>
                    <a:pt x="1093" y="252"/>
                  </a:cubicBezTo>
                  <a:cubicBezTo>
                    <a:pt x="1093" y="252"/>
                    <a:pt x="1093" y="251"/>
                    <a:pt x="1094" y="250"/>
                  </a:cubicBezTo>
                  <a:moveTo>
                    <a:pt x="948" y="252"/>
                  </a:moveTo>
                  <a:cubicBezTo>
                    <a:pt x="946" y="254"/>
                    <a:pt x="943" y="256"/>
                    <a:pt x="941" y="258"/>
                  </a:cubicBezTo>
                  <a:cubicBezTo>
                    <a:pt x="941" y="258"/>
                    <a:pt x="941" y="259"/>
                    <a:pt x="941" y="259"/>
                  </a:cubicBezTo>
                  <a:cubicBezTo>
                    <a:pt x="943" y="258"/>
                    <a:pt x="944" y="256"/>
                    <a:pt x="946" y="255"/>
                  </a:cubicBezTo>
                  <a:cubicBezTo>
                    <a:pt x="947" y="254"/>
                    <a:pt x="947" y="253"/>
                    <a:pt x="948" y="252"/>
                  </a:cubicBezTo>
                  <a:moveTo>
                    <a:pt x="940" y="259"/>
                  </a:moveTo>
                  <a:cubicBezTo>
                    <a:pt x="936" y="263"/>
                    <a:pt x="931" y="266"/>
                    <a:pt x="927" y="270"/>
                  </a:cubicBezTo>
                  <a:cubicBezTo>
                    <a:pt x="928" y="270"/>
                    <a:pt x="928" y="269"/>
                    <a:pt x="929" y="269"/>
                  </a:cubicBezTo>
                  <a:cubicBezTo>
                    <a:pt x="933" y="266"/>
                    <a:pt x="936" y="263"/>
                    <a:pt x="940" y="260"/>
                  </a:cubicBezTo>
                  <a:cubicBezTo>
                    <a:pt x="940" y="260"/>
                    <a:pt x="940" y="259"/>
                    <a:pt x="940" y="259"/>
                  </a:cubicBezTo>
                  <a:moveTo>
                    <a:pt x="1083" y="266"/>
                  </a:moveTo>
                  <a:cubicBezTo>
                    <a:pt x="1082" y="267"/>
                    <a:pt x="1081" y="268"/>
                    <a:pt x="1081" y="269"/>
                  </a:cubicBezTo>
                  <a:cubicBezTo>
                    <a:pt x="1081" y="269"/>
                    <a:pt x="1081" y="270"/>
                    <a:pt x="1082" y="270"/>
                  </a:cubicBezTo>
                  <a:cubicBezTo>
                    <a:pt x="1082" y="269"/>
                    <a:pt x="1083" y="268"/>
                    <a:pt x="1083" y="268"/>
                  </a:cubicBezTo>
                  <a:cubicBezTo>
                    <a:pt x="1083" y="267"/>
                    <a:pt x="1083" y="266"/>
                    <a:pt x="1083" y="266"/>
                  </a:cubicBezTo>
                  <a:moveTo>
                    <a:pt x="1080" y="270"/>
                  </a:moveTo>
                  <a:cubicBezTo>
                    <a:pt x="1078" y="273"/>
                    <a:pt x="1076" y="276"/>
                    <a:pt x="1074" y="279"/>
                  </a:cubicBezTo>
                  <a:cubicBezTo>
                    <a:pt x="1074" y="279"/>
                    <a:pt x="1074" y="280"/>
                    <a:pt x="1073" y="280"/>
                  </a:cubicBezTo>
                  <a:cubicBezTo>
                    <a:pt x="1073" y="281"/>
                    <a:pt x="1073" y="281"/>
                    <a:pt x="1073" y="281"/>
                  </a:cubicBezTo>
                  <a:cubicBezTo>
                    <a:pt x="1076" y="278"/>
                    <a:pt x="1078" y="274"/>
                    <a:pt x="1081" y="271"/>
                  </a:cubicBezTo>
                  <a:cubicBezTo>
                    <a:pt x="1081" y="270"/>
                    <a:pt x="1080" y="270"/>
                    <a:pt x="1080" y="270"/>
                  </a:cubicBezTo>
                  <a:moveTo>
                    <a:pt x="820" y="270"/>
                  </a:moveTo>
                  <a:cubicBezTo>
                    <a:pt x="820" y="271"/>
                    <a:pt x="819" y="271"/>
                    <a:pt x="819" y="271"/>
                  </a:cubicBezTo>
                  <a:cubicBezTo>
                    <a:pt x="820" y="274"/>
                    <a:pt x="822" y="277"/>
                    <a:pt x="824" y="279"/>
                  </a:cubicBezTo>
                  <a:cubicBezTo>
                    <a:pt x="825" y="279"/>
                    <a:pt x="825" y="279"/>
                    <a:pt x="825" y="280"/>
                  </a:cubicBezTo>
                  <a:cubicBezTo>
                    <a:pt x="829" y="283"/>
                    <a:pt x="833" y="285"/>
                    <a:pt x="838" y="287"/>
                  </a:cubicBezTo>
                  <a:cubicBezTo>
                    <a:pt x="838" y="287"/>
                    <a:pt x="839" y="286"/>
                    <a:pt x="839" y="286"/>
                  </a:cubicBezTo>
                  <a:cubicBezTo>
                    <a:pt x="834" y="284"/>
                    <a:pt x="829" y="282"/>
                    <a:pt x="826" y="279"/>
                  </a:cubicBezTo>
                  <a:cubicBezTo>
                    <a:pt x="826" y="279"/>
                    <a:pt x="825" y="279"/>
                    <a:pt x="825" y="278"/>
                  </a:cubicBezTo>
                  <a:cubicBezTo>
                    <a:pt x="823" y="276"/>
                    <a:pt x="821" y="273"/>
                    <a:pt x="820" y="270"/>
                  </a:cubicBezTo>
                  <a:moveTo>
                    <a:pt x="927" y="271"/>
                  </a:moveTo>
                  <a:cubicBezTo>
                    <a:pt x="927" y="271"/>
                    <a:pt x="926" y="271"/>
                    <a:pt x="926" y="271"/>
                  </a:cubicBezTo>
                  <a:cubicBezTo>
                    <a:pt x="925" y="271"/>
                    <a:pt x="924" y="272"/>
                    <a:pt x="924" y="272"/>
                  </a:cubicBezTo>
                  <a:cubicBezTo>
                    <a:pt x="923" y="273"/>
                    <a:pt x="923" y="273"/>
                    <a:pt x="923" y="273"/>
                  </a:cubicBezTo>
                  <a:cubicBezTo>
                    <a:pt x="922" y="274"/>
                    <a:pt x="921" y="275"/>
                    <a:pt x="920" y="275"/>
                  </a:cubicBezTo>
                  <a:cubicBezTo>
                    <a:pt x="919" y="276"/>
                    <a:pt x="919" y="276"/>
                    <a:pt x="919" y="276"/>
                  </a:cubicBezTo>
                  <a:cubicBezTo>
                    <a:pt x="918" y="277"/>
                    <a:pt x="917" y="277"/>
                    <a:pt x="916" y="278"/>
                  </a:cubicBezTo>
                  <a:cubicBezTo>
                    <a:pt x="916" y="278"/>
                    <a:pt x="916" y="278"/>
                    <a:pt x="916" y="278"/>
                  </a:cubicBezTo>
                  <a:cubicBezTo>
                    <a:pt x="914" y="279"/>
                    <a:pt x="912" y="281"/>
                    <a:pt x="911" y="282"/>
                  </a:cubicBezTo>
                  <a:cubicBezTo>
                    <a:pt x="910" y="282"/>
                    <a:pt x="909" y="283"/>
                    <a:pt x="909" y="283"/>
                  </a:cubicBezTo>
                  <a:cubicBezTo>
                    <a:pt x="908" y="284"/>
                    <a:pt x="907" y="284"/>
                    <a:pt x="906" y="285"/>
                  </a:cubicBezTo>
                  <a:cubicBezTo>
                    <a:pt x="906" y="285"/>
                    <a:pt x="906" y="285"/>
                    <a:pt x="905" y="285"/>
                  </a:cubicBezTo>
                  <a:cubicBezTo>
                    <a:pt x="904" y="286"/>
                    <a:pt x="904" y="286"/>
                    <a:pt x="903" y="287"/>
                  </a:cubicBezTo>
                  <a:cubicBezTo>
                    <a:pt x="902" y="288"/>
                    <a:pt x="901" y="288"/>
                    <a:pt x="900" y="289"/>
                  </a:cubicBezTo>
                  <a:cubicBezTo>
                    <a:pt x="902" y="288"/>
                    <a:pt x="904" y="287"/>
                    <a:pt x="906" y="286"/>
                  </a:cubicBezTo>
                  <a:cubicBezTo>
                    <a:pt x="906" y="286"/>
                    <a:pt x="907" y="285"/>
                    <a:pt x="907" y="285"/>
                  </a:cubicBezTo>
                  <a:cubicBezTo>
                    <a:pt x="907" y="285"/>
                    <a:pt x="907" y="285"/>
                    <a:pt x="907" y="285"/>
                  </a:cubicBezTo>
                  <a:cubicBezTo>
                    <a:pt x="908" y="285"/>
                    <a:pt x="909" y="284"/>
                    <a:pt x="909" y="284"/>
                  </a:cubicBezTo>
                  <a:cubicBezTo>
                    <a:pt x="912" y="282"/>
                    <a:pt x="914" y="281"/>
                    <a:pt x="916" y="279"/>
                  </a:cubicBezTo>
                  <a:cubicBezTo>
                    <a:pt x="916" y="279"/>
                    <a:pt x="917" y="279"/>
                    <a:pt x="917" y="279"/>
                  </a:cubicBezTo>
                  <a:cubicBezTo>
                    <a:pt x="918" y="278"/>
                    <a:pt x="919" y="277"/>
                    <a:pt x="919" y="277"/>
                  </a:cubicBezTo>
                  <a:cubicBezTo>
                    <a:pt x="920" y="277"/>
                    <a:pt x="920" y="276"/>
                    <a:pt x="920" y="276"/>
                  </a:cubicBezTo>
                  <a:cubicBezTo>
                    <a:pt x="921" y="275"/>
                    <a:pt x="922" y="275"/>
                    <a:pt x="923" y="274"/>
                  </a:cubicBezTo>
                  <a:cubicBezTo>
                    <a:pt x="923" y="274"/>
                    <a:pt x="924" y="274"/>
                    <a:pt x="924" y="273"/>
                  </a:cubicBezTo>
                  <a:cubicBezTo>
                    <a:pt x="925" y="272"/>
                    <a:pt x="926" y="272"/>
                    <a:pt x="927" y="271"/>
                  </a:cubicBezTo>
                  <a:moveTo>
                    <a:pt x="592" y="275"/>
                  </a:moveTo>
                  <a:cubicBezTo>
                    <a:pt x="592" y="275"/>
                    <a:pt x="591" y="276"/>
                    <a:pt x="591" y="276"/>
                  </a:cubicBezTo>
                  <a:cubicBezTo>
                    <a:pt x="586" y="285"/>
                    <a:pt x="581" y="294"/>
                    <a:pt x="575" y="302"/>
                  </a:cubicBezTo>
                  <a:cubicBezTo>
                    <a:pt x="574" y="302"/>
                    <a:pt x="574" y="303"/>
                    <a:pt x="574" y="303"/>
                  </a:cubicBezTo>
                  <a:cubicBezTo>
                    <a:pt x="573" y="304"/>
                    <a:pt x="573" y="304"/>
                    <a:pt x="573" y="305"/>
                  </a:cubicBezTo>
                  <a:cubicBezTo>
                    <a:pt x="572" y="305"/>
                    <a:pt x="572" y="306"/>
                    <a:pt x="571" y="307"/>
                  </a:cubicBezTo>
                  <a:cubicBezTo>
                    <a:pt x="570" y="308"/>
                    <a:pt x="569" y="309"/>
                    <a:pt x="569" y="310"/>
                  </a:cubicBezTo>
                  <a:cubicBezTo>
                    <a:pt x="568" y="310"/>
                    <a:pt x="568" y="311"/>
                    <a:pt x="568" y="311"/>
                  </a:cubicBezTo>
                  <a:cubicBezTo>
                    <a:pt x="565" y="314"/>
                    <a:pt x="563" y="317"/>
                    <a:pt x="560" y="320"/>
                  </a:cubicBezTo>
                  <a:cubicBezTo>
                    <a:pt x="560" y="320"/>
                    <a:pt x="560" y="321"/>
                    <a:pt x="560" y="321"/>
                  </a:cubicBezTo>
                  <a:cubicBezTo>
                    <a:pt x="557" y="324"/>
                    <a:pt x="555" y="327"/>
                    <a:pt x="552" y="329"/>
                  </a:cubicBezTo>
                  <a:cubicBezTo>
                    <a:pt x="552" y="330"/>
                    <a:pt x="551" y="330"/>
                    <a:pt x="551" y="330"/>
                  </a:cubicBezTo>
                  <a:cubicBezTo>
                    <a:pt x="548" y="333"/>
                    <a:pt x="546" y="336"/>
                    <a:pt x="543" y="339"/>
                  </a:cubicBezTo>
                  <a:cubicBezTo>
                    <a:pt x="542" y="339"/>
                    <a:pt x="542" y="339"/>
                    <a:pt x="542" y="340"/>
                  </a:cubicBezTo>
                  <a:cubicBezTo>
                    <a:pt x="539" y="342"/>
                    <a:pt x="536" y="345"/>
                    <a:pt x="533" y="348"/>
                  </a:cubicBezTo>
                  <a:cubicBezTo>
                    <a:pt x="533" y="348"/>
                    <a:pt x="533" y="349"/>
                    <a:pt x="533" y="349"/>
                  </a:cubicBezTo>
                  <a:cubicBezTo>
                    <a:pt x="536" y="346"/>
                    <a:pt x="539" y="344"/>
                    <a:pt x="542" y="341"/>
                  </a:cubicBezTo>
                  <a:cubicBezTo>
                    <a:pt x="542" y="340"/>
                    <a:pt x="543" y="340"/>
                    <a:pt x="543" y="340"/>
                  </a:cubicBezTo>
                  <a:cubicBezTo>
                    <a:pt x="546" y="337"/>
                    <a:pt x="549" y="334"/>
                    <a:pt x="551" y="331"/>
                  </a:cubicBezTo>
                  <a:cubicBezTo>
                    <a:pt x="552" y="331"/>
                    <a:pt x="552" y="331"/>
                    <a:pt x="552" y="331"/>
                  </a:cubicBezTo>
                  <a:cubicBezTo>
                    <a:pt x="555" y="328"/>
                    <a:pt x="557" y="325"/>
                    <a:pt x="560" y="322"/>
                  </a:cubicBezTo>
                  <a:cubicBezTo>
                    <a:pt x="560" y="322"/>
                    <a:pt x="560" y="322"/>
                    <a:pt x="561" y="321"/>
                  </a:cubicBezTo>
                  <a:cubicBezTo>
                    <a:pt x="563" y="318"/>
                    <a:pt x="565" y="316"/>
                    <a:pt x="568" y="313"/>
                  </a:cubicBezTo>
                  <a:cubicBezTo>
                    <a:pt x="568" y="312"/>
                    <a:pt x="568" y="312"/>
                    <a:pt x="569" y="311"/>
                  </a:cubicBezTo>
                  <a:cubicBezTo>
                    <a:pt x="569" y="311"/>
                    <a:pt x="570" y="310"/>
                    <a:pt x="570" y="309"/>
                  </a:cubicBezTo>
                  <a:cubicBezTo>
                    <a:pt x="571" y="309"/>
                    <a:pt x="571" y="308"/>
                    <a:pt x="572" y="307"/>
                  </a:cubicBezTo>
                  <a:cubicBezTo>
                    <a:pt x="572" y="307"/>
                    <a:pt x="573" y="306"/>
                    <a:pt x="573" y="305"/>
                  </a:cubicBezTo>
                  <a:cubicBezTo>
                    <a:pt x="574" y="305"/>
                    <a:pt x="574" y="304"/>
                    <a:pt x="575" y="304"/>
                  </a:cubicBezTo>
                  <a:cubicBezTo>
                    <a:pt x="581" y="295"/>
                    <a:pt x="587" y="285"/>
                    <a:pt x="592" y="275"/>
                  </a:cubicBezTo>
                  <a:moveTo>
                    <a:pt x="1072" y="281"/>
                  </a:moveTo>
                  <a:cubicBezTo>
                    <a:pt x="1069" y="285"/>
                    <a:pt x="1066" y="290"/>
                    <a:pt x="1062" y="294"/>
                  </a:cubicBezTo>
                  <a:cubicBezTo>
                    <a:pt x="1062" y="295"/>
                    <a:pt x="1062" y="295"/>
                    <a:pt x="1062" y="296"/>
                  </a:cubicBezTo>
                  <a:cubicBezTo>
                    <a:pt x="1065" y="291"/>
                    <a:pt x="1069" y="287"/>
                    <a:pt x="1072" y="283"/>
                  </a:cubicBezTo>
                  <a:cubicBezTo>
                    <a:pt x="1072" y="282"/>
                    <a:pt x="1072" y="281"/>
                    <a:pt x="1072" y="281"/>
                  </a:cubicBezTo>
                  <a:moveTo>
                    <a:pt x="840" y="286"/>
                  </a:moveTo>
                  <a:cubicBezTo>
                    <a:pt x="840" y="287"/>
                    <a:pt x="839" y="287"/>
                    <a:pt x="839" y="287"/>
                  </a:cubicBezTo>
                  <a:cubicBezTo>
                    <a:pt x="845" y="289"/>
                    <a:pt x="852" y="290"/>
                    <a:pt x="859" y="291"/>
                  </a:cubicBezTo>
                  <a:cubicBezTo>
                    <a:pt x="859" y="291"/>
                    <a:pt x="860" y="291"/>
                    <a:pt x="860" y="291"/>
                  </a:cubicBezTo>
                  <a:cubicBezTo>
                    <a:pt x="862" y="291"/>
                    <a:pt x="863" y="291"/>
                    <a:pt x="865" y="291"/>
                  </a:cubicBezTo>
                  <a:cubicBezTo>
                    <a:pt x="865" y="291"/>
                    <a:pt x="866" y="292"/>
                    <a:pt x="866" y="292"/>
                  </a:cubicBezTo>
                  <a:cubicBezTo>
                    <a:pt x="866" y="292"/>
                    <a:pt x="867" y="292"/>
                    <a:pt x="867" y="292"/>
                  </a:cubicBezTo>
                  <a:cubicBezTo>
                    <a:pt x="867" y="291"/>
                    <a:pt x="867" y="291"/>
                    <a:pt x="868" y="291"/>
                  </a:cubicBezTo>
                  <a:cubicBezTo>
                    <a:pt x="867" y="291"/>
                    <a:pt x="866" y="291"/>
                    <a:pt x="865" y="291"/>
                  </a:cubicBezTo>
                  <a:cubicBezTo>
                    <a:pt x="865" y="290"/>
                    <a:pt x="864" y="290"/>
                    <a:pt x="864" y="290"/>
                  </a:cubicBezTo>
                  <a:cubicBezTo>
                    <a:pt x="863" y="290"/>
                    <a:pt x="862" y="290"/>
                    <a:pt x="861" y="290"/>
                  </a:cubicBezTo>
                  <a:cubicBezTo>
                    <a:pt x="861" y="290"/>
                    <a:pt x="860" y="290"/>
                    <a:pt x="860" y="290"/>
                  </a:cubicBezTo>
                  <a:cubicBezTo>
                    <a:pt x="852" y="289"/>
                    <a:pt x="846" y="288"/>
                    <a:pt x="840" y="286"/>
                  </a:cubicBezTo>
                  <a:moveTo>
                    <a:pt x="899" y="289"/>
                  </a:moveTo>
                  <a:cubicBezTo>
                    <a:pt x="898" y="289"/>
                    <a:pt x="897" y="290"/>
                    <a:pt x="896" y="290"/>
                  </a:cubicBezTo>
                  <a:cubicBezTo>
                    <a:pt x="896" y="290"/>
                    <a:pt x="896" y="290"/>
                    <a:pt x="896" y="290"/>
                  </a:cubicBezTo>
                  <a:cubicBezTo>
                    <a:pt x="896" y="290"/>
                    <a:pt x="896" y="290"/>
                    <a:pt x="896" y="290"/>
                  </a:cubicBezTo>
                  <a:cubicBezTo>
                    <a:pt x="892" y="290"/>
                    <a:pt x="889" y="291"/>
                    <a:pt x="886" y="291"/>
                  </a:cubicBezTo>
                  <a:cubicBezTo>
                    <a:pt x="885" y="291"/>
                    <a:pt x="885" y="291"/>
                    <a:pt x="884" y="292"/>
                  </a:cubicBezTo>
                  <a:cubicBezTo>
                    <a:pt x="885" y="292"/>
                    <a:pt x="885" y="292"/>
                    <a:pt x="885" y="292"/>
                  </a:cubicBezTo>
                  <a:cubicBezTo>
                    <a:pt x="888" y="292"/>
                    <a:pt x="892" y="291"/>
                    <a:pt x="896" y="291"/>
                  </a:cubicBezTo>
                  <a:cubicBezTo>
                    <a:pt x="896" y="291"/>
                    <a:pt x="896" y="291"/>
                    <a:pt x="896" y="291"/>
                  </a:cubicBezTo>
                  <a:cubicBezTo>
                    <a:pt x="896" y="291"/>
                    <a:pt x="896" y="291"/>
                    <a:pt x="897" y="291"/>
                  </a:cubicBezTo>
                  <a:cubicBezTo>
                    <a:pt x="897" y="290"/>
                    <a:pt x="898" y="289"/>
                    <a:pt x="899" y="289"/>
                  </a:cubicBezTo>
                  <a:moveTo>
                    <a:pt x="869" y="291"/>
                  </a:moveTo>
                  <a:cubicBezTo>
                    <a:pt x="869" y="291"/>
                    <a:pt x="869" y="291"/>
                    <a:pt x="868" y="292"/>
                  </a:cubicBezTo>
                  <a:cubicBezTo>
                    <a:pt x="871" y="292"/>
                    <a:pt x="873" y="292"/>
                    <a:pt x="875" y="292"/>
                  </a:cubicBezTo>
                  <a:cubicBezTo>
                    <a:pt x="875" y="291"/>
                    <a:pt x="875" y="291"/>
                    <a:pt x="875" y="291"/>
                  </a:cubicBezTo>
                  <a:cubicBezTo>
                    <a:pt x="873" y="291"/>
                    <a:pt x="871" y="291"/>
                    <a:pt x="869" y="291"/>
                  </a:cubicBezTo>
                  <a:moveTo>
                    <a:pt x="884" y="291"/>
                  </a:moveTo>
                  <a:cubicBezTo>
                    <a:pt x="884" y="291"/>
                    <a:pt x="883" y="291"/>
                    <a:pt x="883" y="291"/>
                  </a:cubicBezTo>
                  <a:cubicBezTo>
                    <a:pt x="881" y="291"/>
                    <a:pt x="879" y="291"/>
                    <a:pt x="877" y="291"/>
                  </a:cubicBezTo>
                  <a:cubicBezTo>
                    <a:pt x="877" y="291"/>
                    <a:pt x="877" y="291"/>
                    <a:pt x="876" y="291"/>
                  </a:cubicBezTo>
                  <a:cubicBezTo>
                    <a:pt x="876" y="291"/>
                    <a:pt x="876" y="291"/>
                    <a:pt x="876" y="292"/>
                  </a:cubicBezTo>
                  <a:cubicBezTo>
                    <a:pt x="877" y="292"/>
                    <a:pt x="877" y="292"/>
                    <a:pt x="877" y="292"/>
                  </a:cubicBezTo>
                  <a:cubicBezTo>
                    <a:pt x="879" y="292"/>
                    <a:pt x="881" y="292"/>
                    <a:pt x="883" y="292"/>
                  </a:cubicBezTo>
                  <a:cubicBezTo>
                    <a:pt x="883" y="291"/>
                    <a:pt x="884" y="291"/>
                    <a:pt x="884" y="291"/>
                  </a:cubicBezTo>
                  <a:moveTo>
                    <a:pt x="1061" y="295"/>
                  </a:moveTo>
                  <a:cubicBezTo>
                    <a:pt x="1059" y="298"/>
                    <a:pt x="1057" y="301"/>
                    <a:pt x="1055" y="303"/>
                  </a:cubicBezTo>
                  <a:cubicBezTo>
                    <a:pt x="1055" y="304"/>
                    <a:pt x="1055" y="304"/>
                    <a:pt x="1054" y="305"/>
                  </a:cubicBezTo>
                  <a:cubicBezTo>
                    <a:pt x="1057" y="302"/>
                    <a:pt x="1059" y="300"/>
                    <a:pt x="1061" y="297"/>
                  </a:cubicBezTo>
                  <a:cubicBezTo>
                    <a:pt x="1061" y="297"/>
                    <a:pt x="1061" y="296"/>
                    <a:pt x="1061" y="296"/>
                  </a:cubicBezTo>
                  <a:cubicBezTo>
                    <a:pt x="1061" y="296"/>
                    <a:pt x="1061" y="296"/>
                    <a:pt x="1061" y="295"/>
                  </a:cubicBezTo>
                  <a:moveTo>
                    <a:pt x="1054" y="304"/>
                  </a:moveTo>
                  <a:cubicBezTo>
                    <a:pt x="1052" y="306"/>
                    <a:pt x="1050" y="308"/>
                    <a:pt x="1048" y="310"/>
                  </a:cubicBezTo>
                  <a:cubicBezTo>
                    <a:pt x="1049" y="311"/>
                    <a:pt x="1049" y="311"/>
                    <a:pt x="1049" y="312"/>
                  </a:cubicBezTo>
                  <a:cubicBezTo>
                    <a:pt x="1050" y="310"/>
                    <a:pt x="1052" y="308"/>
                    <a:pt x="1053" y="306"/>
                  </a:cubicBezTo>
                  <a:cubicBezTo>
                    <a:pt x="1053" y="306"/>
                    <a:pt x="1053" y="305"/>
                    <a:pt x="1054" y="304"/>
                  </a:cubicBezTo>
                  <a:moveTo>
                    <a:pt x="1048" y="311"/>
                  </a:moveTo>
                  <a:cubicBezTo>
                    <a:pt x="1036" y="324"/>
                    <a:pt x="1024" y="337"/>
                    <a:pt x="1011" y="349"/>
                  </a:cubicBezTo>
                  <a:cubicBezTo>
                    <a:pt x="1012" y="349"/>
                    <a:pt x="1012" y="350"/>
                    <a:pt x="1012" y="350"/>
                  </a:cubicBezTo>
                  <a:cubicBezTo>
                    <a:pt x="1024" y="338"/>
                    <a:pt x="1037" y="326"/>
                    <a:pt x="1048" y="313"/>
                  </a:cubicBezTo>
                  <a:cubicBezTo>
                    <a:pt x="1048" y="312"/>
                    <a:pt x="1048" y="312"/>
                    <a:pt x="1048" y="311"/>
                  </a:cubicBezTo>
                  <a:moveTo>
                    <a:pt x="532" y="349"/>
                  </a:moveTo>
                  <a:cubicBezTo>
                    <a:pt x="530" y="350"/>
                    <a:pt x="528" y="352"/>
                    <a:pt x="526" y="354"/>
                  </a:cubicBezTo>
                  <a:cubicBezTo>
                    <a:pt x="524" y="355"/>
                    <a:pt x="523" y="356"/>
                    <a:pt x="521" y="357"/>
                  </a:cubicBezTo>
                  <a:cubicBezTo>
                    <a:pt x="517" y="361"/>
                    <a:pt x="513" y="364"/>
                    <a:pt x="508" y="367"/>
                  </a:cubicBezTo>
                  <a:cubicBezTo>
                    <a:pt x="508" y="367"/>
                    <a:pt x="508" y="367"/>
                    <a:pt x="508" y="367"/>
                  </a:cubicBezTo>
                  <a:cubicBezTo>
                    <a:pt x="503" y="370"/>
                    <a:pt x="498" y="373"/>
                    <a:pt x="493" y="376"/>
                  </a:cubicBezTo>
                  <a:cubicBezTo>
                    <a:pt x="493" y="376"/>
                    <a:pt x="493" y="377"/>
                    <a:pt x="493" y="377"/>
                  </a:cubicBezTo>
                  <a:cubicBezTo>
                    <a:pt x="488" y="380"/>
                    <a:pt x="483" y="382"/>
                    <a:pt x="478" y="385"/>
                  </a:cubicBezTo>
                  <a:cubicBezTo>
                    <a:pt x="478" y="385"/>
                    <a:pt x="478" y="385"/>
                    <a:pt x="477" y="385"/>
                  </a:cubicBezTo>
                  <a:cubicBezTo>
                    <a:pt x="473" y="388"/>
                    <a:pt x="469" y="390"/>
                    <a:pt x="464" y="392"/>
                  </a:cubicBezTo>
                  <a:cubicBezTo>
                    <a:pt x="465" y="392"/>
                    <a:pt x="466" y="392"/>
                    <a:pt x="467" y="392"/>
                  </a:cubicBezTo>
                  <a:cubicBezTo>
                    <a:pt x="470" y="390"/>
                    <a:pt x="474" y="388"/>
                    <a:pt x="478" y="386"/>
                  </a:cubicBezTo>
                  <a:cubicBezTo>
                    <a:pt x="478" y="386"/>
                    <a:pt x="478" y="386"/>
                    <a:pt x="479" y="386"/>
                  </a:cubicBezTo>
                  <a:cubicBezTo>
                    <a:pt x="483" y="383"/>
                    <a:pt x="488" y="381"/>
                    <a:pt x="493" y="378"/>
                  </a:cubicBezTo>
                  <a:cubicBezTo>
                    <a:pt x="493" y="378"/>
                    <a:pt x="493" y="377"/>
                    <a:pt x="494" y="377"/>
                  </a:cubicBezTo>
                  <a:cubicBezTo>
                    <a:pt x="499" y="374"/>
                    <a:pt x="503" y="371"/>
                    <a:pt x="508" y="368"/>
                  </a:cubicBezTo>
                  <a:cubicBezTo>
                    <a:pt x="508" y="368"/>
                    <a:pt x="508" y="368"/>
                    <a:pt x="509" y="368"/>
                  </a:cubicBezTo>
                  <a:cubicBezTo>
                    <a:pt x="511" y="366"/>
                    <a:pt x="514" y="364"/>
                    <a:pt x="517" y="362"/>
                  </a:cubicBezTo>
                  <a:cubicBezTo>
                    <a:pt x="518" y="361"/>
                    <a:pt x="520" y="360"/>
                    <a:pt x="522" y="358"/>
                  </a:cubicBezTo>
                  <a:cubicBezTo>
                    <a:pt x="522" y="358"/>
                    <a:pt x="523" y="357"/>
                    <a:pt x="524" y="356"/>
                  </a:cubicBezTo>
                  <a:cubicBezTo>
                    <a:pt x="524" y="356"/>
                    <a:pt x="525" y="356"/>
                    <a:pt x="525" y="356"/>
                  </a:cubicBezTo>
                  <a:cubicBezTo>
                    <a:pt x="527" y="354"/>
                    <a:pt x="530" y="352"/>
                    <a:pt x="532" y="350"/>
                  </a:cubicBezTo>
                  <a:cubicBezTo>
                    <a:pt x="532" y="350"/>
                    <a:pt x="532" y="349"/>
                    <a:pt x="532" y="349"/>
                  </a:cubicBezTo>
                  <a:moveTo>
                    <a:pt x="1011" y="350"/>
                  </a:moveTo>
                  <a:cubicBezTo>
                    <a:pt x="1005" y="355"/>
                    <a:pt x="999" y="360"/>
                    <a:pt x="993" y="365"/>
                  </a:cubicBezTo>
                  <a:cubicBezTo>
                    <a:pt x="993" y="365"/>
                    <a:pt x="993" y="366"/>
                    <a:pt x="993" y="366"/>
                  </a:cubicBezTo>
                  <a:cubicBezTo>
                    <a:pt x="999" y="361"/>
                    <a:pt x="1005" y="356"/>
                    <a:pt x="1011" y="351"/>
                  </a:cubicBezTo>
                  <a:cubicBezTo>
                    <a:pt x="1011" y="350"/>
                    <a:pt x="1011" y="350"/>
                    <a:pt x="1011" y="350"/>
                  </a:cubicBezTo>
                  <a:moveTo>
                    <a:pt x="992" y="366"/>
                  </a:moveTo>
                  <a:cubicBezTo>
                    <a:pt x="984" y="373"/>
                    <a:pt x="976" y="380"/>
                    <a:pt x="967" y="386"/>
                  </a:cubicBezTo>
                  <a:cubicBezTo>
                    <a:pt x="967" y="386"/>
                    <a:pt x="968" y="387"/>
                    <a:pt x="968" y="387"/>
                  </a:cubicBezTo>
                  <a:cubicBezTo>
                    <a:pt x="976" y="381"/>
                    <a:pt x="984" y="374"/>
                    <a:pt x="992" y="367"/>
                  </a:cubicBezTo>
                  <a:cubicBezTo>
                    <a:pt x="992" y="367"/>
                    <a:pt x="992" y="366"/>
                    <a:pt x="992" y="366"/>
                  </a:cubicBezTo>
                  <a:moveTo>
                    <a:pt x="966" y="387"/>
                  </a:moveTo>
                  <a:cubicBezTo>
                    <a:pt x="957" y="393"/>
                    <a:pt x="948" y="400"/>
                    <a:pt x="938" y="406"/>
                  </a:cubicBezTo>
                  <a:cubicBezTo>
                    <a:pt x="938" y="407"/>
                    <a:pt x="938" y="407"/>
                    <a:pt x="938" y="407"/>
                  </a:cubicBezTo>
                  <a:cubicBezTo>
                    <a:pt x="948" y="401"/>
                    <a:pt x="958" y="394"/>
                    <a:pt x="967" y="388"/>
                  </a:cubicBezTo>
                  <a:cubicBezTo>
                    <a:pt x="967" y="387"/>
                    <a:pt x="967" y="387"/>
                    <a:pt x="966" y="387"/>
                  </a:cubicBezTo>
                  <a:moveTo>
                    <a:pt x="462" y="393"/>
                  </a:moveTo>
                  <a:cubicBezTo>
                    <a:pt x="461" y="393"/>
                    <a:pt x="461" y="393"/>
                    <a:pt x="460" y="394"/>
                  </a:cubicBezTo>
                  <a:cubicBezTo>
                    <a:pt x="460" y="394"/>
                    <a:pt x="459" y="394"/>
                    <a:pt x="459" y="394"/>
                  </a:cubicBezTo>
                  <a:cubicBezTo>
                    <a:pt x="455" y="396"/>
                    <a:pt x="451" y="397"/>
                    <a:pt x="447" y="399"/>
                  </a:cubicBezTo>
                  <a:cubicBezTo>
                    <a:pt x="448" y="399"/>
                    <a:pt x="449" y="399"/>
                    <a:pt x="450" y="399"/>
                  </a:cubicBezTo>
                  <a:cubicBezTo>
                    <a:pt x="453" y="398"/>
                    <a:pt x="456" y="396"/>
                    <a:pt x="459" y="395"/>
                  </a:cubicBezTo>
                  <a:cubicBezTo>
                    <a:pt x="460" y="395"/>
                    <a:pt x="460" y="395"/>
                    <a:pt x="460" y="395"/>
                  </a:cubicBezTo>
                  <a:cubicBezTo>
                    <a:pt x="462" y="394"/>
                    <a:pt x="463" y="393"/>
                    <a:pt x="464" y="393"/>
                  </a:cubicBezTo>
                  <a:cubicBezTo>
                    <a:pt x="464" y="393"/>
                    <a:pt x="463" y="393"/>
                    <a:pt x="462" y="393"/>
                  </a:cubicBezTo>
                  <a:moveTo>
                    <a:pt x="448" y="400"/>
                  </a:moveTo>
                  <a:cubicBezTo>
                    <a:pt x="447" y="400"/>
                    <a:pt x="446" y="400"/>
                    <a:pt x="445" y="400"/>
                  </a:cubicBezTo>
                  <a:cubicBezTo>
                    <a:pt x="444" y="400"/>
                    <a:pt x="442" y="401"/>
                    <a:pt x="441" y="401"/>
                  </a:cubicBezTo>
                  <a:cubicBezTo>
                    <a:pt x="441" y="401"/>
                    <a:pt x="441" y="401"/>
                    <a:pt x="440" y="402"/>
                  </a:cubicBezTo>
                  <a:cubicBezTo>
                    <a:pt x="437" y="403"/>
                    <a:pt x="433" y="404"/>
                    <a:pt x="429" y="405"/>
                  </a:cubicBezTo>
                  <a:cubicBezTo>
                    <a:pt x="430" y="405"/>
                    <a:pt x="431" y="405"/>
                    <a:pt x="432" y="405"/>
                  </a:cubicBezTo>
                  <a:cubicBezTo>
                    <a:pt x="435" y="404"/>
                    <a:pt x="438" y="403"/>
                    <a:pt x="441" y="402"/>
                  </a:cubicBezTo>
                  <a:cubicBezTo>
                    <a:pt x="441" y="402"/>
                    <a:pt x="441" y="402"/>
                    <a:pt x="442" y="402"/>
                  </a:cubicBezTo>
                  <a:cubicBezTo>
                    <a:pt x="444" y="401"/>
                    <a:pt x="446" y="401"/>
                    <a:pt x="448" y="400"/>
                  </a:cubicBezTo>
                  <a:moveTo>
                    <a:pt x="429" y="406"/>
                  </a:moveTo>
                  <a:cubicBezTo>
                    <a:pt x="428" y="406"/>
                    <a:pt x="427" y="406"/>
                    <a:pt x="426" y="406"/>
                  </a:cubicBezTo>
                  <a:cubicBezTo>
                    <a:pt x="424" y="407"/>
                    <a:pt x="423" y="407"/>
                    <a:pt x="421" y="408"/>
                  </a:cubicBezTo>
                  <a:cubicBezTo>
                    <a:pt x="421" y="408"/>
                    <a:pt x="421" y="408"/>
                    <a:pt x="420" y="408"/>
                  </a:cubicBezTo>
                  <a:cubicBezTo>
                    <a:pt x="416" y="409"/>
                    <a:pt x="412" y="410"/>
                    <a:pt x="408" y="411"/>
                  </a:cubicBezTo>
                  <a:cubicBezTo>
                    <a:pt x="410" y="411"/>
                    <a:pt x="411" y="411"/>
                    <a:pt x="413" y="411"/>
                  </a:cubicBezTo>
                  <a:cubicBezTo>
                    <a:pt x="416" y="410"/>
                    <a:pt x="418" y="410"/>
                    <a:pt x="421" y="409"/>
                  </a:cubicBezTo>
                  <a:cubicBezTo>
                    <a:pt x="421" y="409"/>
                    <a:pt x="422" y="409"/>
                    <a:pt x="422" y="409"/>
                  </a:cubicBezTo>
                  <a:cubicBezTo>
                    <a:pt x="424" y="408"/>
                    <a:pt x="427" y="407"/>
                    <a:pt x="429" y="406"/>
                  </a:cubicBezTo>
                  <a:moveTo>
                    <a:pt x="937" y="407"/>
                  </a:moveTo>
                  <a:cubicBezTo>
                    <a:pt x="935" y="408"/>
                    <a:pt x="934" y="409"/>
                    <a:pt x="932" y="410"/>
                  </a:cubicBezTo>
                  <a:cubicBezTo>
                    <a:pt x="930" y="411"/>
                    <a:pt x="928" y="413"/>
                    <a:pt x="926" y="414"/>
                  </a:cubicBezTo>
                  <a:cubicBezTo>
                    <a:pt x="925" y="414"/>
                    <a:pt x="925" y="415"/>
                    <a:pt x="924" y="415"/>
                  </a:cubicBezTo>
                  <a:cubicBezTo>
                    <a:pt x="924" y="415"/>
                    <a:pt x="925" y="415"/>
                    <a:pt x="925" y="416"/>
                  </a:cubicBezTo>
                  <a:cubicBezTo>
                    <a:pt x="925" y="416"/>
                    <a:pt x="925" y="415"/>
                    <a:pt x="926" y="415"/>
                  </a:cubicBezTo>
                  <a:cubicBezTo>
                    <a:pt x="929" y="413"/>
                    <a:pt x="933" y="411"/>
                    <a:pt x="937" y="408"/>
                  </a:cubicBezTo>
                  <a:cubicBezTo>
                    <a:pt x="937" y="408"/>
                    <a:pt x="937" y="407"/>
                    <a:pt x="937" y="407"/>
                  </a:cubicBezTo>
                  <a:moveTo>
                    <a:pt x="408" y="412"/>
                  </a:moveTo>
                  <a:cubicBezTo>
                    <a:pt x="406" y="412"/>
                    <a:pt x="404" y="412"/>
                    <a:pt x="403" y="412"/>
                  </a:cubicBezTo>
                  <a:cubicBezTo>
                    <a:pt x="399" y="413"/>
                    <a:pt x="395" y="414"/>
                    <a:pt x="391" y="415"/>
                  </a:cubicBezTo>
                  <a:cubicBezTo>
                    <a:pt x="393" y="415"/>
                    <a:pt x="395" y="415"/>
                    <a:pt x="397" y="415"/>
                  </a:cubicBezTo>
                  <a:cubicBezTo>
                    <a:pt x="401" y="414"/>
                    <a:pt x="404" y="413"/>
                    <a:pt x="408" y="412"/>
                  </a:cubicBezTo>
                  <a:moveTo>
                    <a:pt x="923" y="416"/>
                  </a:moveTo>
                  <a:cubicBezTo>
                    <a:pt x="921" y="417"/>
                    <a:pt x="918" y="419"/>
                    <a:pt x="915" y="420"/>
                  </a:cubicBezTo>
                  <a:cubicBezTo>
                    <a:pt x="915" y="421"/>
                    <a:pt x="914" y="421"/>
                    <a:pt x="913" y="421"/>
                  </a:cubicBezTo>
                  <a:cubicBezTo>
                    <a:pt x="912" y="422"/>
                    <a:pt x="912" y="422"/>
                    <a:pt x="911" y="423"/>
                  </a:cubicBezTo>
                  <a:cubicBezTo>
                    <a:pt x="910" y="423"/>
                    <a:pt x="909" y="423"/>
                    <a:pt x="909" y="424"/>
                  </a:cubicBezTo>
                  <a:cubicBezTo>
                    <a:pt x="907" y="425"/>
                    <a:pt x="906" y="426"/>
                    <a:pt x="904" y="426"/>
                  </a:cubicBezTo>
                  <a:cubicBezTo>
                    <a:pt x="898" y="430"/>
                    <a:pt x="891" y="433"/>
                    <a:pt x="885" y="437"/>
                  </a:cubicBezTo>
                  <a:cubicBezTo>
                    <a:pt x="885" y="437"/>
                    <a:pt x="885" y="437"/>
                    <a:pt x="885" y="438"/>
                  </a:cubicBezTo>
                  <a:cubicBezTo>
                    <a:pt x="890" y="435"/>
                    <a:pt x="895" y="432"/>
                    <a:pt x="900" y="430"/>
                  </a:cubicBezTo>
                  <a:cubicBezTo>
                    <a:pt x="902" y="429"/>
                    <a:pt x="903" y="428"/>
                    <a:pt x="905" y="427"/>
                  </a:cubicBezTo>
                  <a:cubicBezTo>
                    <a:pt x="906" y="426"/>
                    <a:pt x="907" y="426"/>
                    <a:pt x="909" y="425"/>
                  </a:cubicBezTo>
                  <a:cubicBezTo>
                    <a:pt x="910" y="425"/>
                    <a:pt x="910" y="424"/>
                    <a:pt x="911" y="424"/>
                  </a:cubicBezTo>
                  <a:cubicBezTo>
                    <a:pt x="912" y="423"/>
                    <a:pt x="913" y="423"/>
                    <a:pt x="914" y="422"/>
                  </a:cubicBezTo>
                  <a:cubicBezTo>
                    <a:pt x="915" y="421"/>
                    <a:pt x="917" y="420"/>
                    <a:pt x="918" y="419"/>
                  </a:cubicBezTo>
                  <a:cubicBezTo>
                    <a:pt x="920" y="418"/>
                    <a:pt x="922" y="417"/>
                    <a:pt x="924" y="416"/>
                  </a:cubicBezTo>
                  <a:cubicBezTo>
                    <a:pt x="924" y="416"/>
                    <a:pt x="923" y="416"/>
                    <a:pt x="923" y="416"/>
                  </a:cubicBezTo>
                  <a:moveTo>
                    <a:pt x="390" y="416"/>
                  </a:moveTo>
                  <a:cubicBezTo>
                    <a:pt x="388" y="416"/>
                    <a:pt x="385" y="416"/>
                    <a:pt x="382" y="416"/>
                  </a:cubicBezTo>
                  <a:cubicBezTo>
                    <a:pt x="382" y="416"/>
                    <a:pt x="381" y="416"/>
                    <a:pt x="381" y="416"/>
                  </a:cubicBezTo>
                  <a:cubicBezTo>
                    <a:pt x="380" y="417"/>
                    <a:pt x="379" y="417"/>
                    <a:pt x="378" y="417"/>
                  </a:cubicBezTo>
                  <a:cubicBezTo>
                    <a:pt x="381" y="417"/>
                    <a:pt x="385" y="416"/>
                    <a:pt x="388" y="416"/>
                  </a:cubicBezTo>
                  <a:cubicBezTo>
                    <a:pt x="389" y="416"/>
                    <a:pt x="390" y="416"/>
                    <a:pt x="390" y="416"/>
                  </a:cubicBezTo>
                  <a:moveTo>
                    <a:pt x="377" y="418"/>
                  </a:moveTo>
                  <a:cubicBezTo>
                    <a:pt x="373" y="418"/>
                    <a:pt x="369" y="418"/>
                    <a:pt x="365" y="419"/>
                  </a:cubicBezTo>
                  <a:cubicBezTo>
                    <a:pt x="354" y="420"/>
                    <a:pt x="343" y="422"/>
                    <a:pt x="331" y="423"/>
                  </a:cubicBezTo>
                  <a:cubicBezTo>
                    <a:pt x="337" y="423"/>
                    <a:pt x="343" y="422"/>
                    <a:pt x="349" y="422"/>
                  </a:cubicBezTo>
                  <a:cubicBezTo>
                    <a:pt x="359" y="420"/>
                    <a:pt x="369" y="419"/>
                    <a:pt x="377" y="418"/>
                  </a:cubicBezTo>
                  <a:moveTo>
                    <a:pt x="330" y="424"/>
                  </a:moveTo>
                  <a:cubicBezTo>
                    <a:pt x="323" y="425"/>
                    <a:pt x="317" y="426"/>
                    <a:pt x="310" y="426"/>
                  </a:cubicBezTo>
                  <a:cubicBezTo>
                    <a:pt x="303" y="427"/>
                    <a:pt x="296" y="428"/>
                    <a:pt x="289" y="429"/>
                  </a:cubicBezTo>
                  <a:cubicBezTo>
                    <a:pt x="301" y="428"/>
                    <a:pt x="314" y="426"/>
                    <a:pt x="326" y="425"/>
                  </a:cubicBezTo>
                  <a:cubicBezTo>
                    <a:pt x="327" y="425"/>
                    <a:pt x="328" y="425"/>
                    <a:pt x="330" y="424"/>
                  </a:cubicBezTo>
                  <a:moveTo>
                    <a:pt x="286" y="431"/>
                  </a:moveTo>
                  <a:cubicBezTo>
                    <a:pt x="271" y="432"/>
                    <a:pt x="256" y="434"/>
                    <a:pt x="241" y="437"/>
                  </a:cubicBezTo>
                  <a:cubicBezTo>
                    <a:pt x="197" y="443"/>
                    <a:pt x="152" y="451"/>
                    <a:pt x="113" y="460"/>
                  </a:cubicBezTo>
                  <a:cubicBezTo>
                    <a:pt x="113" y="460"/>
                    <a:pt x="112" y="461"/>
                    <a:pt x="112" y="461"/>
                  </a:cubicBezTo>
                  <a:cubicBezTo>
                    <a:pt x="111" y="461"/>
                    <a:pt x="110" y="461"/>
                    <a:pt x="109" y="461"/>
                  </a:cubicBezTo>
                  <a:cubicBezTo>
                    <a:pt x="109" y="461"/>
                    <a:pt x="108" y="462"/>
                    <a:pt x="108" y="462"/>
                  </a:cubicBezTo>
                  <a:cubicBezTo>
                    <a:pt x="107" y="462"/>
                    <a:pt x="107" y="462"/>
                    <a:pt x="106" y="462"/>
                  </a:cubicBezTo>
                  <a:cubicBezTo>
                    <a:pt x="106" y="462"/>
                    <a:pt x="105" y="462"/>
                    <a:pt x="105" y="462"/>
                  </a:cubicBezTo>
                  <a:cubicBezTo>
                    <a:pt x="104" y="463"/>
                    <a:pt x="104" y="463"/>
                    <a:pt x="103" y="463"/>
                  </a:cubicBezTo>
                  <a:cubicBezTo>
                    <a:pt x="103" y="463"/>
                    <a:pt x="103" y="463"/>
                    <a:pt x="102" y="463"/>
                  </a:cubicBezTo>
                  <a:cubicBezTo>
                    <a:pt x="102" y="463"/>
                    <a:pt x="102" y="463"/>
                    <a:pt x="102" y="463"/>
                  </a:cubicBezTo>
                  <a:cubicBezTo>
                    <a:pt x="102" y="463"/>
                    <a:pt x="101" y="463"/>
                    <a:pt x="101" y="463"/>
                  </a:cubicBezTo>
                  <a:cubicBezTo>
                    <a:pt x="101" y="463"/>
                    <a:pt x="100" y="463"/>
                    <a:pt x="100" y="463"/>
                  </a:cubicBezTo>
                  <a:cubicBezTo>
                    <a:pt x="99" y="463"/>
                    <a:pt x="99" y="463"/>
                    <a:pt x="99" y="463"/>
                  </a:cubicBezTo>
                  <a:cubicBezTo>
                    <a:pt x="99" y="463"/>
                    <a:pt x="99" y="463"/>
                    <a:pt x="100" y="464"/>
                  </a:cubicBezTo>
                  <a:cubicBezTo>
                    <a:pt x="99" y="464"/>
                    <a:pt x="99" y="464"/>
                    <a:pt x="99" y="464"/>
                  </a:cubicBezTo>
                  <a:cubicBezTo>
                    <a:pt x="98" y="464"/>
                    <a:pt x="98" y="464"/>
                    <a:pt x="98" y="464"/>
                  </a:cubicBezTo>
                  <a:cubicBezTo>
                    <a:pt x="98" y="464"/>
                    <a:pt x="97" y="464"/>
                    <a:pt x="97" y="464"/>
                  </a:cubicBezTo>
                  <a:cubicBezTo>
                    <a:pt x="97" y="464"/>
                    <a:pt x="97" y="464"/>
                    <a:pt x="97" y="464"/>
                  </a:cubicBezTo>
                  <a:cubicBezTo>
                    <a:pt x="97" y="464"/>
                    <a:pt x="97" y="464"/>
                    <a:pt x="97" y="464"/>
                  </a:cubicBezTo>
                  <a:cubicBezTo>
                    <a:pt x="96" y="465"/>
                    <a:pt x="95" y="466"/>
                    <a:pt x="94" y="466"/>
                  </a:cubicBezTo>
                  <a:cubicBezTo>
                    <a:pt x="96" y="466"/>
                    <a:pt x="97" y="465"/>
                    <a:pt x="99" y="465"/>
                  </a:cubicBezTo>
                  <a:cubicBezTo>
                    <a:pt x="103" y="467"/>
                    <a:pt x="107" y="469"/>
                    <a:pt x="112" y="472"/>
                  </a:cubicBezTo>
                  <a:cubicBezTo>
                    <a:pt x="114" y="472"/>
                    <a:pt x="115" y="473"/>
                    <a:pt x="116" y="474"/>
                  </a:cubicBezTo>
                  <a:cubicBezTo>
                    <a:pt x="118" y="475"/>
                    <a:pt x="120" y="475"/>
                    <a:pt x="122" y="476"/>
                  </a:cubicBezTo>
                  <a:cubicBezTo>
                    <a:pt x="123" y="477"/>
                    <a:pt x="125" y="478"/>
                    <a:pt x="127" y="479"/>
                  </a:cubicBezTo>
                  <a:cubicBezTo>
                    <a:pt x="128" y="479"/>
                    <a:pt x="129" y="480"/>
                    <a:pt x="130" y="481"/>
                  </a:cubicBezTo>
                  <a:cubicBezTo>
                    <a:pt x="130" y="480"/>
                    <a:pt x="131" y="480"/>
                    <a:pt x="131" y="480"/>
                  </a:cubicBezTo>
                  <a:cubicBezTo>
                    <a:pt x="131" y="480"/>
                    <a:pt x="130" y="480"/>
                    <a:pt x="130" y="479"/>
                  </a:cubicBezTo>
                  <a:cubicBezTo>
                    <a:pt x="127" y="478"/>
                    <a:pt x="125" y="477"/>
                    <a:pt x="123" y="476"/>
                  </a:cubicBezTo>
                  <a:cubicBezTo>
                    <a:pt x="122" y="476"/>
                    <a:pt x="122" y="476"/>
                    <a:pt x="122" y="475"/>
                  </a:cubicBezTo>
                  <a:cubicBezTo>
                    <a:pt x="120" y="475"/>
                    <a:pt x="118" y="474"/>
                    <a:pt x="116" y="473"/>
                  </a:cubicBezTo>
                  <a:cubicBezTo>
                    <a:pt x="115" y="472"/>
                    <a:pt x="114" y="472"/>
                    <a:pt x="113" y="471"/>
                  </a:cubicBezTo>
                  <a:cubicBezTo>
                    <a:pt x="112" y="470"/>
                    <a:pt x="110" y="470"/>
                    <a:pt x="109" y="469"/>
                  </a:cubicBezTo>
                  <a:cubicBezTo>
                    <a:pt x="106" y="468"/>
                    <a:pt x="103" y="466"/>
                    <a:pt x="100" y="465"/>
                  </a:cubicBezTo>
                  <a:cubicBezTo>
                    <a:pt x="101" y="465"/>
                    <a:pt x="101" y="465"/>
                    <a:pt x="101" y="464"/>
                  </a:cubicBezTo>
                  <a:cubicBezTo>
                    <a:pt x="103" y="465"/>
                    <a:pt x="105" y="466"/>
                    <a:pt x="106" y="467"/>
                  </a:cubicBezTo>
                  <a:cubicBezTo>
                    <a:pt x="107" y="467"/>
                    <a:pt x="109" y="468"/>
                    <a:pt x="110" y="469"/>
                  </a:cubicBezTo>
                  <a:cubicBezTo>
                    <a:pt x="110" y="469"/>
                    <a:pt x="111" y="469"/>
                    <a:pt x="111" y="469"/>
                  </a:cubicBezTo>
                  <a:cubicBezTo>
                    <a:pt x="113" y="470"/>
                    <a:pt x="115" y="471"/>
                    <a:pt x="117" y="472"/>
                  </a:cubicBezTo>
                  <a:cubicBezTo>
                    <a:pt x="118" y="473"/>
                    <a:pt x="119" y="473"/>
                    <a:pt x="120" y="473"/>
                  </a:cubicBezTo>
                  <a:cubicBezTo>
                    <a:pt x="122" y="475"/>
                    <a:pt x="125" y="476"/>
                    <a:pt x="127" y="477"/>
                  </a:cubicBezTo>
                  <a:cubicBezTo>
                    <a:pt x="129" y="478"/>
                    <a:pt x="130" y="478"/>
                    <a:pt x="131" y="479"/>
                  </a:cubicBezTo>
                  <a:cubicBezTo>
                    <a:pt x="131" y="479"/>
                    <a:pt x="132" y="479"/>
                    <a:pt x="132" y="480"/>
                  </a:cubicBezTo>
                  <a:cubicBezTo>
                    <a:pt x="133" y="479"/>
                    <a:pt x="133" y="479"/>
                    <a:pt x="133" y="479"/>
                  </a:cubicBezTo>
                  <a:cubicBezTo>
                    <a:pt x="132" y="478"/>
                    <a:pt x="130" y="477"/>
                    <a:pt x="128" y="476"/>
                  </a:cubicBezTo>
                  <a:cubicBezTo>
                    <a:pt x="127" y="476"/>
                    <a:pt x="125" y="475"/>
                    <a:pt x="124" y="475"/>
                  </a:cubicBezTo>
                  <a:cubicBezTo>
                    <a:pt x="122" y="473"/>
                    <a:pt x="119" y="472"/>
                    <a:pt x="117" y="471"/>
                  </a:cubicBezTo>
                  <a:cubicBezTo>
                    <a:pt x="115" y="470"/>
                    <a:pt x="114" y="469"/>
                    <a:pt x="113" y="469"/>
                  </a:cubicBezTo>
                  <a:cubicBezTo>
                    <a:pt x="112" y="469"/>
                    <a:pt x="112" y="469"/>
                    <a:pt x="112" y="468"/>
                  </a:cubicBezTo>
                  <a:cubicBezTo>
                    <a:pt x="110" y="467"/>
                    <a:pt x="107" y="466"/>
                    <a:pt x="105" y="465"/>
                  </a:cubicBezTo>
                  <a:cubicBezTo>
                    <a:pt x="105" y="465"/>
                    <a:pt x="104" y="464"/>
                    <a:pt x="103" y="464"/>
                  </a:cubicBezTo>
                  <a:cubicBezTo>
                    <a:pt x="103" y="464"/>
                    <a:pt x="103" y="464"/>
                    <a:pt x="103" y="464"/>
                  </a:cubicBezTo>
                  <a:cubicBezTo>
                    <a:pt x="103" y="464"/>
                    <a:pt x="103" y="464"/>
                    <a:pt x="103" y="464"/>
                  </a:cubicBezTo>
                  <a:cubicBezTo>
                    <a:pt x="104" y="464"/>
                    <a:pt x="104" y="464"/>
                    <a:pt x="105" y="464"/>
                  </a:cubicBezTo>
                  <a:cubicBezTo>
                    <a:pt x="105" y="463"/>
                    <a:pt x="105" y="463"/>
                    <a:pt x="106" y="463"/>
                  </a:cubicBezTo>
                  <a:cubicBezTo>
                    <a:pt x="106" y="463"/>
                    <a:pt x="107" y="463"/>
                    <a:pt x="107" y="463"/>
                  </a:cubicBezTo>
                  <a:cubicBezTo>
                    <a:pt x="108" y="463"/>
                    <a:pt x="108" y="463"/>
                    <a:pt x="109" y="462"/>
                  </a:cubicBezTo>
                  <a:cubicBezTo>
                    <a:pt x="110" y="462"/>
                    <a:pt x="110" y="462"/>
                    <a:pt x="110" y="462"/>
                  </a:cubicBezTo>
                  <a:cubicBezTo>
                    <a:pt x="111" y="462"/>
                    <a:pt x="112" y="462"/>
                    <a:pt x="113" y="462"/>
                  </a:cubicBezTo>
                  <a:cubicBezTo>
                    <a:pt x="114" y="461"/>
                    <a:pt x="114" y="461"/>
                    <a:pt x="114" y="461"/>
                  </a:cubicBezTo>
                  <a:cubicBezTo>
                    <a:pt x="167" y="449"/>
                    <a:pt x="231" y="439"/>
                    <a:pt x="286" y="431"/>
                  </a:cubicBezTo>
                  <a:moveTo>
                    <a:pt x="884" y="437"/>
                  </a:moveTo>
                  <a:cubicBezTo>
                    <a:pt x="882" y="438"/>
                    <a:pt x="881" y="438"/>
                    <a:pt x="880" y="439"/>
                  </a:cubicBezTo>
                  <a:cubicBezTo>
                    <a:pt x="881" y="439"/>
                    <a:pt x="881" y="439"/>
                    <a:pt x="881" y="439"/>
                  </a:cubicBezTo>
                  <a:cubicBezTo>
                    <a:pt x="882" y="439"/>
                    <a:pt x="883" y="439"/>
                    <a:pt x="883" y="438"/>
                  </a:cubicBezTo>
                  <a:cubicBezTo>
                    <a:pt x="884" y="438"/>
                    <a:pt x="884" y="437"/>
                    <a:pt x="884" y="437"/>
                  </a:cubicBezTo>
                  <a:moveTo>
                    <a:pt x="879" y="439"/>
                  </a:moveTo>
                  <a:cubicBezTo>
                    <a:pt x="870" y="444"/>
                    <a:pt x="860" y="448"/>
                    <a:pt x="850" y="452"/>
                  </a:cubicBezTo>
                  <a:cubicBezTo>
                    <a:pt x="849" y="453"/>
                    <a:pt x="848" y="453"/>
                    <a:pt x="847" y="454"/>
                  </a:cubicBezTo>
                  <a:cubicBezTo>
                    <a:pt x="843" y="455"/>
                    <a:pt x="839" y="457"/>
                    <a:pt x="836" y="458"/>
                  </a:cubicBezTo>
                  <a:cubicBezTo>
                    <a:pt x="836" y="458"/>
                    <a:pt x="836" y="459"/>
                    <a:pt x="837" y="459"/>
                  </a:cubicBezTo>
                  <a:cubicBezTo>
                    <a:pt x="841" y="457"/>
                    <a:pt x="846" y="455"/>
                    <a:pt x="851" y="453"/>
                  </a:cubicBezTo>
                  <a:cubicBezTo>
                    <a:pt x="852" y="452"/>
                    <a:pt x="854" y="452"/>
                    <a:pt x="855" y="451"/>
                  </a:cubicBezTo>
                  <a:cubicBezTo>
                    <a:pt x="864" y="448"/>
                    <a:pt x="872" y="444"/>
                    <a:pt x="880" y="440"/>
                  </a:cubicBezTo>
                  <a:cubicBezTo>
                    <a:pt x="880" y="440"/>
                    <a:pt x="880" y="439"/>
                    <a:pt x="879" y="439"/>
                  </a:cubicBezTo>
                  <a:moveTo>
                    <a:pt x="72" y="450"/>
                  </a:moveTo>
                  <a:cubicBezTo>
                    <a:pt x="72" y="450"/>
                    <a:pt x="71" y="450"/>
                    <a:pt x="71" y="450"/>
                  </a:cubicBezTo>
                  <a:cubicBezTo>
                    <a:pt x="72" y="451"/>
                    <a:pt x="72" y="451"/>
                    <a:pt x="73" y="451"/>
                  </a:cubicBezTo>
                  <a:cubicBezTo>
                    <a:pt x="73" y="452"/>
                    <a:pt x="73" y="452"/>
                    <a:pt x="73" y="452"/>
                  </a:cubicBezTo>
                  <a:cubicBezTo>
                    <a:pt x="73" y="451"/>
                    <a:pt x="74" y="451"/>
                    <a:pt x="74" y="451"/>
                  </a:cubicBezTo>
                  <a:cubicBezTo>
                    <a:pt x="73" y="450"/>
                    <a:pt x="72" y="450"/>
                    <a:pt x="72" y="450"/>
                  </a:cubicBezTo>
                  <a:moveTo>
                    <a:pt x="75" y="451"/>
                  </a:moveTo>
                  <a:cubicBezTo>
                    <a:pt x="75" y="452"/>
                    <a:pt x="74" y="452"/>
                    <a:pt x="74" y="452"/>
                  </a:cubicBezTo>
                  <a:cubicBezTo>
                    <a:pt x="75" y="453"/>
                    <a:pt x="76" y="454"/>
                    <a:pt x="78" y="454"/>
                  </a:cubicBezTo>
                  <a:cubicBezTo>
                    <a:pt x="78" y="454"/>
                    <a:pt x="79" y="454"/>
                    <a:pt x="79" y="454"/>
                  </a:cubicBezTo>
                  <a:cubicBezTo>
                    <a:pt x="79" y="454"/>
                    <a:pt x="78" y="453"/>
                    <a:pt x="78" y="453"/>
                  </a:cubicBezTo>
                  <a:cubicBezTo>
                    <a:pt x="78" y="453"/>
                    <a:pt x="79" y="454"/>
                    <a:pt x="79" y="454"/>
                  </a:cubicBezTo>
                  <a:cubicBezTo>
                    <a:pt x="79" y="454"/>
                    <a:pt x="80" y="454"/>
                    <a:pt x="80" y="453"/>
                  </a:cubicBezTo>
                  <a:cubicBezTo>
                    <a:pt x="78" y="452"/>
                    <a:pt x="77" y="452"/>
                    <a:pt x="75" y="451"/>
                  </a:cubicBezTo>
                  <a:moveTo>
                    <a:pt x="81" y="454"/>
                  </a:moveTo>
                  <a:cubicBezTo>
                    <a:pt x="81" y="454"/>
                    <a:pt x="81" y="454"/>
                    <a:pt x="80" y="454"/>
                  </a:cubicBezTo>
                  <a:cubicBezTo>
                    <a:pt x="82" y="455"/>
                    <a:pt x="84" y="456"/>
                    <a:pt x="86" y="457"/>
                  </a:cubicBezTo>
                  <a:cubicBezTo>
                    <a:pt x="86" y="457"/>
                    <a:pt x="87" y="457"/>
                    <a:pt x="87" y="456"/>
                  </a:cubicBezTo>
                  <a:cubicBezTo>
                    <a:pt x="85" y="456"/>
                    <a:pt x="83" y="455"/>
                    <a:pt x="81" y="454"/>
                  </a:cubicBezTo>
                  <a:moveTo>
                    <a:pt x="80" y="455"/>
                  </a:moveTo>
                  <a:cubicBezTo>
                    <a:pt x="80" y="455"/>
                    <a:pt x="79" y="455"/>
                    <a:pt x="79" y="455"/>
                  </a:cubicBezTo>
                  <a:cubicBezTo>
                    <a:pt x="80" y="456"/>
                    <a:pt x="82" y="457"/>
                    <a:pt x="84" y="458"/>
                  </a:cubicBezTo>
                  <a:cubicBezTo>
                    <a:pt x="84" y="457"/>
                    <a:pt x="85" y="457"/>
                    <a:pt x="85" y="457"/>
                  </a:cubicBezTo>
                  <a:cubicBezTo>
                    <a:pt x="83" y="456"/>
                    <a:pt x="82" y="455"/>
                    <a:pt x="80" y="455"/>
                  </a:cubicBezTo>
                  <a:moveTo>
                    <a:pt x="88" y="457"/>
                  </a:moveTo>
                  <a:cubicBezTo>
                    <a:pt x="88" y="457"/>
                    <a:pt x="87" y="457"/>
                    <a:pt x="87" y="458"/>
                  </a:cubicBezTo>
                  <a:cubicBezTo>
                    <a:pt x="89" y="458"/>
                    <a:pt x="90" y="459"/>
                    <a:pt x="92" y="460"/>
                  </a:cubicBezTo>
                  <a:cubicBezTo>
                    <a:pt x="92" y="460"/>
                    <a:pt x="93" y="460"/>
                    <a:pt x="93" y="459"/>
                  </a:cubicBezTo>
                  <a:cubicBezTo>
                    <a:pt x="92" y="459"/>
                    <a:pt x="90" y="458"/>
                    <a:pt x="88" y="457"/>
                  </a:cubicBezTo>
                  <a:moveTo>
                    <a:pt x="86" y="458"/>
                  </a:moveTo>
                  <a:cubicBezTo>
                    <a:pt x="86" y="458"/>
                    <a:pt x="86" y="458"/>
                    <a:pt x="85" y="458"/>
                  </a:cubicBezTo>
                  <a:cubicBezTo>
                    <a:pt x="87" y="459"/>
                    <a:pt x="88" y="460"/>
                    <a:pt x="90" y="461"/>
                  </a:cubicBezTo>
                  <a:cubicBezTo>
                    <a:pt x="90" y="460"/>
                    <a:pt x="91" y="460"/>
                    <a:pt x="91" y="460"/>
                  </a:cubicBezTo>
                  <a:cubicBezTo>
                    <a:pt x="89" y="459"/>
                    <a:pt x="88" y="459"/>
                    <a:pt x="87" y="458"/>
                  </a:cubicBezTo>
                  <a:cubicBezTo>
                    <a:pt x="87" y="458"/>
                    <a:pt x="86" y="458"/>
                    <a:pt x="86" y="458"/>
                  </a:cubicBezTo>
                  <a:moveTo>
                    <a:pt x="834" y="459"/>
                  </a:moveTo>
                  <a:cubicBezTo>
                    <a:pt x="833" y="459"/>
                    <a:pt x="832" y="459"/>
                    <a:pt x="831" y="460"/>
                  </a:cubicBezTo>
                  <a:cubicBezTo>
                    <a:pt x="831" y="460"/>
                    <a:pt x="831" y="461"/>
                    <a:pt x="831" y="461"/>
                  </a:cubicBezTo>
                  <a:cubicBezTo>
                    <a:pt x="833" y="460"/>
                    <a:pt x="834" y="460"/>
                    <a:pt x="835" y="459"/>
                  </a:cubicBezTo>
                  <a:cubicBezTo>
                    <a:pt x="835" y="459"/>
                    <a:pt x="835" y="459"/>
                    <a:pt x="834" y="459"/>
                  </a:cubicBezTo>
                  <a:moveTo>
                    <a:pt x="95" y="460"/>
                  </a:moveTo>
                  <a:cubicBezTo>
                    <a:pt x="94" y="460"/>
                    <a:pt x="94" y="460"/>
                    <a:pt x="93" y="461"/>
                  </a:cubicBezTo>
                  <a:cubicBezTo>
                    <a:pt x="94" y="461"/>
                    <a:pt x="95" y="462"/>
                    <a:pt x="97" y="462"/>
                  </a:cubicBezTo>
                  <a:cubicBezTo>
                    <a:pt x="97" y="462"/>
                    <a:pt x="98" y="462"/>
                    <a:pt x="98" y="462"/>
                  </a:cubicBezTo>
                  <a:cubicBezTo>
                    <a:pt x="97" y="461"/>
                    <a:pt x="96" y="461"/>
                    <a:pt x="95" y="460"/>
                  </a:cubicBezTo>
                  <a:moveTo>
                    <a:pt x="830" y="460"/>
                  </a:moveTo>
                  <a:cubicBezTo>
                    <a:pt x="817" y="465"/>
                    <a:pt x="804" y="470"/>
                    <a:pt x="790" y="474"/>
                  </a:cubicBezTo>
                  <a:cubicBezTo>
                    <a:pt x="789" y="474"/>
                    <a:pt x="789" y="474"/>
                    <a:pt x="789" y="474"/>
                  </a:cubicBezTo>
                  <a:cubicBezTo>
                    <a:pt x="787" y="475"/>
                    <a:pt x="785" y="475"/>
                    <a:pt x="783" y="476"/>
                  </a:cubicBezTo>
                  <a:cubicBezTo>
                    <a:pt x="784" y="476"/>
                    <a:pt x="784" y="476"/>
                    <a:pt x="785" y="476"/>
                  </a:cubicBezTo>
                  <a:cubicBezTo>
                    <a:pt x="786" y="476"/>
                    <a:pt x="788" y="475"/>
                    <a:pt x="789" y="475"/>
                  </a:cubicBezTo>
                  <a:cubicBezTo>
                    <a:pt x="790" y="475"/>
                    <a:pt x="790" y="475"/>
                    <a:pt x="791" y="475"/>
                  </a:cubicBezTo>
                  <a:cubicBezTo>
                    <a:pt x="804" y="471"/>
                    <a:pt x="817" y="466"/>
                    <a:pt x="830" y="461"/>
                  </a:cubicBezTo>
                  <a:cubicBezTo>
                    <a:pt x="830" y="461"/>
                    <a:pt x="830" y="461"/>
                    <a:pt x="830" y="460"/>
                  </a:cubicBezTo>
                  <a:moveTo>
                    <a:pt x="92" y="461"/>
                  </a:moveTo>
                  <a:cubicBezTo>
                    <a:pt x="92" y="461"/>
                    <a:pt x="92" y="461"/>
                    <a:pt x="91" y="461"/>
                  </a:cubicBezTo>
                  <a:cubicBezTo>
                    <a:pt x="92" y="462"/>
                    <a:pt x="93" y="462"/>
                    <a:pt x="94" y="463"/>
                  </a:cubicBezTo>
                  <a:cubicBezTo>
                    <a:pt x="95" y="463"/>
                    <a:pt x="95" y="463"/>
                    <a:pt x="95" y="462"/>
                  </a:cubicBezTo>
                  <a:cubicBezTo>
                    <a:pt x="94" y="462"/>
                    <a:pt x="93" y="461"/>
                    <a:pt x="92" y="461"/>
                  </a:cubicBezTo>
                  <a:moveTo>
                    <a:pt x="97" y="463"/>
                  </a:moveTo>
                  <a:cubicBezTo>
                    <a:pt x="96" y="463"/>
                    <a:pt x="96" y="463"/>
                    <a:pt x="95" y="463"/>
                  </a:cubicBezTo>
                  <a:cubicBezTo>
                    <a:pt x="96" y="464"/>
                    <a:pt x="96" y="464"/>
                    <a:pt x="96" y="464"/>
                  </a:cubicBezTo>
                  <a:cubicBezTo>
                    <a:pt x="96" y="464"/>
                    <a:pt x="97" y="463"/>
                    <a:pt x="97" y="463"/>
                  </a:cubicBezTo>
                  <a:cubicBezTo>
                    <a:pt x="97" y="463"/>
                    <a:pt x="97" y="463"/>
                    <a:pt x="97" y="463"/>
                  </a:cubicBezTo>
                  <a:moveTo>
                    <a:pt x="94" y="465"/>
                  </a:moveTo>
                  <a:cubicBezTo>
                    <a:pt x="91" y="466"/>
                    <a:pt x="87" y="467"/>
                    <a:pt x="84" y="468"/>
                  </a:cubicBezTo>
                  <a:cubicBezTo>
                    <a:pt x="83" y="468"/>
                    <a:pt x="83" y="468"/>
                    <a:pt x="83" y="468"/>
                  </a:cubicBezTo>
                  <a:cubicBezTo>
                    <a:pt x="79" y="469"/>
                    <a:pt x="75" y="470"/>
                    <a:pt x="71" y="472"/>
                  </a:cubicBezTo>
                  <a:cubicBezTo>
                    <a:pt x="71" y="472"/>
                    <a:pt x="71" y="472"/>
                    <a:pt x="72" y="473"/>
                  </a:cubicBezTo>
                  <a:cubicBezTo>
                    <a:pt x="76" y="471"/>
                    <a:pt x="80" y="470"/>
                    <a:pt x="84" y="469"/>
                  </a:cubicBezTo>
                  <a:cubicBezTo>
                    <a:pt x="84" y="469"/>
                    <a:pt x="85" y="469"/>
                    <a:pt x="85" y="469"/>
                  </a:cubicBezTo>
                  <a:cubicBezTo>
                    <a:pt x="87" y="468"/>
                    <a:pt x="89" y="467"/>
                    <a:pt x="92" y="467"/>
                  </a:cubicBezTo>
                  <a:cubicBezTo>
                    <a:pt x="92" y="466"/>
                    <a:pt x="93" y="466"/>
                    <a:pt x="94" y="465"/>
                  </a:cubicBezTo>
                  <a:moveTo>
                    <a:pt x="70" y="472"/>
                  </a:moveTo>
                  <a:cubicBezTo>
                    <a:pt x="68" y="473"/>
                    <a:pt x="65" y="473"/>
                    <a:pt x="63" y="474"/>
                  </a:cubicBezTo>
                  <a:cubicBezTo>
                    <a:pt x="63" y="474"/>
                    <a:pt x="63" y="474"/>
                    <a:pt x="63" y="474"/>
                  </a:cubicBezTo>
                  <a:cubicBezTo>
                    <a:pt x="63" y="475"/>
                    <a:pt x="63" y="475"/>
                    <a:pt x="63" y="475"/>
                  </a:cubicBezTo>
                  <a:cubicBezTo>
                    <a:pt x="63" y="475"/>
                    <a:pt x="64" y="475"/>
                    <a:pt x="64" y="475"/>
                  </a:cubicBezTo>
                  <a:cubicBezTo>
                    <a:pt x="66" y="474"/>
                    <a:pt x="68" y="474"/>
                    <a:pt x="71" y="473"/>
                  </a:cubicBezTo>
                  <a:cubicBezTo>
                    <a:pt x="70" y="473"/>
                    <a:pt x="70" y="472"/>
                    <a:pt x="70" y="472"/>
                  </a:cubicBezTo>
                  <a:moveTo>
                    <a:pt x="62" y="475"/>
                  </a:moveTo>
                  <a:cubicBezTo>
                    <a:pt x="62" y="475"/>
                    <a:pt x="62" y="475"/>
                    <a:pt x="62" y="475"/>
                  </a:cubicBezTo>
                  <a:cubicBezTo>
                    <a:pt x="60" y="475"/>
                    <a:pt x="58" y="476"/>
                    <a:pt x="56" y="477"/>
                  </a:cubicBezTo>
                  <a:cubicBezTo>
                    <a:pt x="56" y="477"/>
                    <a:pt x="56" y="477"/>
                    <a:pt x="56" y="477"/>
                  </a:cubicBezTo>
                  <a:cubicBezTo>
                    <a:pt x="56" y="477"/>
                    <a:pt x="56" y="477"/>
                    <a:pt x="56" y="478"/>
                  </a:cubicBezTo>
                  <a:cubicBezTo>
                    <a:pt x="56" y="478"/>
                    <a:pt x="56" y="478"/>
                    <a:pt x="56" y="478"/>
                  </a:cubicBezTo>
                  <a:cubicBezTo>
                    <a:pt x="57" y="477"/>
                    <a:pt x="57" y="477"/>
                    <a:pt x="58" y="477"/>
                  </a:cubicBezTo>
                  <a:cubicBezTo>
                    <a:pt x="59" y="477"/>
                    <a:pt x="61" y="476"/>
                    <a:pt x="62" y="476"/>
                  </a:cubicBezTo>
                  <a:cubicBezTo>
                    <a:pt x="62" y="475"/>
                    <a:pt x="62" y="475"/>
                    <a:pt x="62" y="475"/>
                  </a:cubicBezTo>
                  <a:moveTo>
                    <a:pt x="782" y="476"/>
                  </a:moveTo>
                  <a:cubicBezTo>
                    <a:pt x="781" y="476"/>
                    <a:pt x="780" y="477"/>
                    <a:pt x="778" y="477"/>
                  </a:cubicBezTo>
                  <a:cubicBezTo>
                    <a:pt x="778" y="477"/>
                    <a:pt x="778" y="478"/>
                    <a:pt x="778" y="478"/>
                  </a:cubicBezTo>
                  <a:cubicBezTo>
                    <a:pt x="780" y="478"/>
                    <a:pt x="782" y="477"/>
                    <a:pt x="783" y="477"/>
                  </a:cubicBezTo>
                  <a:cubicBezTo>
                    <a:pt x="783" y="477"/>
                    <a:pt x="782" y="476"/>
                    <a:pt x="782" y="476"/>
                  </a:cubicBezTo>
                  <a:moveTo>
                    <a:pt x="55" y="477"/>
                  </a:moveTo>
                  <a:cubicBezTo>
                    <a:pt x="53" y="478"/>
                    <a:pt x="52" y="478"/>
                    <a:pt x="50" y="479"/>
                  </a:cubicBezTo>
                  <a:cubicBezTo>
                    <a:pt x="50" y="479"/>
                    <a:pt x="50" y="480"/>
                    <a:pt x="50" y="480"/>
                  </a:cubicBezTo>
                  <a:cubicBezTo>
                    <a:pt x="52" y="479"/>
                    <a:pt x="53" y="479"/>
                    <a:pt x="55" y="478"/>
                  </a:cubicBezTo>
                  <a:cubicBezTo>
                    <a:pt x="55" y="478"/>
                    <a:pt x="55" y="477"/>
                    <a:pt x="55" y="477"/>
                  </a:cubicBezTo>
                  <a:moveTo>
                    <a:pt x="777" y="477"/>
                  </a:moveTo>
                  <a:cubicBezTo>
                    <a:pt x="775" y="478"/>
                    <a:pt x="773" y="479"/>
                    <a:pt x="771" y="479"/>
                  </a:cubicBezTo>
                  <a:cubicBezTo>
                    <a:pt x="769" y="480"/>
                    <a:pt x="765" y="481"/>
                    <a:pt x="761" y="482"/>
                  </a:cubicBezTo>
                  <a:cubicBezTo>
                    <a:pt x="761" y="482"/>
                    <a:pt x="761" y="482"/>
                    <a:pt x="760" y="483"/>
                  </a:cubicBezTo>
                  <a:cubicBezTo>
                    <a:pt x="760" y="483"/>
                    <a:pt x="760" y="483"/>
                    <a:pt x="760" y="483"/>
                  </a:cubicBezTo>
                  <a:cubicBezTo>
                    <a:pt x="759" y="483"/>
                    <a:pt x="759" y="483"/>
                    <a:pt x="758" y="483"/>
                  </a:cubicBezTo>
                  <a:cubicBezTo>
                    <a:pt x="756" y="484"/>
                    <a:pt x="754" y="485"/>
                    <a:pt x="752" y="485"/>
                  </a:cubicBezTo>
                  <a:cubicBezTo>
                    <a:pt x="751" y="485"/>
                    <a:pt x="751" y="486"/>
                    <a:pt x="750" y="486"/>
                  </a:cubicBezTo>
                  <a:cubicBezTo>
                    <a:pt x="744" y="488"/>
                    <a:pt x="737" y="490"/>
                    <a:pt x="729" y="493"/>
                  </a:cubicBezTo>
                  <a:cubicBezTo>
                    <a:pt x="730" y="493"/>
                    <a:pt x="730" y="493"/>
                    <a:pt x="731" y="493"/>
                  </a:cubicBezTo>
                  <a:cubicBezTo>
                    <a:pt x="738" y="491"/>
                    <a:pt x="744" y="489"/>
                    <a:pt x="749" y="487"/>
                  </a:cubicBezTo>
                  <a:cubicBezTo>
                    <a:pt x="750" y="487"/>
                    <a:pt x="750" y="487"/>
                    <a:pt x="751" y="487"/>
                  </a:cubicBezTo>
                  <a:cubicBezTo>
                    <a:pt x="753" y="486"/>
                    <a:pt x="756" y="485"/>
                    <a:pt x="758" y="484"/>
                  </a:cubicBezTo>
                  <a:cubicBezTo>
                    <a:pt x="758" y="484"/>
                    <a:pt x="759" y="484"/>
                    <a:pt x="759" y="484"/>
                  </a:cubicBezTo>
                  <a:cubicBezTo>
                    <a:pt x="759" y="484"/>
                    <a:pt x="760" y="484"/>
                    <a:pt x="760" y="484"/>
                  </a:cubicBezTo>
                  <a:cubicBezTo>
                    <a:pt x="760" y="484"/>
                    <a:pt x="761" y="483"/>
                    <a:pt x="761" y="483"/>
                  </a:cubicBezTo>
                  <a:cubicBezTo>
                    <a:pt x="765" y="482"/>
                    <a:pt x="769" y="481"/>
                    <a:pt x="771" y="480"/>
                  </a:cubicBezTo>
                  <a:cubicBezTo>
                    <a:pt x="773" y="480"/>
                    <a:pt x="775" y="479"/>
                    <a:pt x="777" y="478"/>
                  </a:cubicBezTo>
                  <a:cubicBezTo>
                    <a:pt x="777" y="478"/>
                    <a:pt x="777" y="478"/>
                    <a:pt x="777" y="477"/>
                  </a:cubicBezTo>
                  <a:moveTo>
                    <a:pt x="49" y="480"/>
                  </a:moveTo>
                  <a:cubicBezTo>
                    <a:pt x="48" y="480"/>
                    <a:pt x="47" y="480"/>
                    <a:pt x="47" y="481"/>
                  </a:cubicBezTo>
                  <a:cubicBezTo>
                    <a:pt x="46" y="481"/>
                    <a:pt x="46" y="481"/>
                    <a:pt x="46" y="481"/>
                  </a:cubicBezTo>
                  <a:cubicBezTo>
                    <a:pt x="47" y="481"/>
                    <a:pt x="48" y="481"/>
                    <a:pt x="49" y="480"/>
                  </a:cubicBezTo>
                  <a:cubicBezTo>
                    <a:pt x="49" y="480"/>
                    <a:pt x="49" y="480"/>
                    <a:pt x="49" y="480"/>
                  </a:cubicBezTo>
                  <a:moveTo>
                    <a:pt x="135" y="480"/>
                  </a:moveTo>
                  <a:cubicBezTo>
                    <a:pt x="134" y="480"/>
                    <a:pt x="134" y="480"/>
                    <a:pt x="133" y="480"/>
                  </a:cubicBezTo>
                  <a:cubicBezTo>
                    <a:pt x="134" y="481"/>
                    <a:pt x="135" y="481"/>
                    <a:pt x="136" y="482"/>
                  </a:cubicBezTo>
                  <a:cubicBezTo>
                    <a:pt x="137" y="482"/>
                    <a:pt x="137" y="482"/>
                    <a:pt x="138" y="483"/>
                  </a:cubicBezTo>
                  <a:cubicBezTo>
                    <a:pt x="139" y="483"/>
                    <a:pt x="140" y="484"/>
                    <a:pt x="141" y="484"/>
                  </a:cubicBezTo>
                  <a:cubicBezTo>
                    <a:pt x="142" y="485"/>
                    <a:pt x="144" y="485"/>
                    <a:pt x="145" y="486"/>
                  </a:cubicBezTo>
                  <a:cubicBezTo>
                    <a:pt x="148" y="488"/>
                    <a:pt x="151" y="489"/>
                    <a:pt x="154" y="491"/>
                  </a:cubicBezTo>
                  <a:cubicBezTo>
                    <a:pt x="151" y="490"/>
                    <a:pt x="149" y="488"/>
                    <a:pt x="146" y="487"/>
                  </a:cubicBezTo>
                  <a:cubicBezTo>
                    <a:pt x="145" y="487"/>
                    <a:pt x="144" y="486"/>
                    <a:pt x="143" y="486"/>
                  </a:cubicBezTo>
                  <a:cubicBezTo>
                    <a:pt x="141" y="485"/>
                    <a:pt x="139" y="484"/>
                    <a:pt x="137" y="483"/>
                  </a:cubicBezTo>
                  <a:cubicBezTo>
                    <a:pt x="136" y="483"/>
                    <a:pt x="136" y="482"/>
                    <a:pt x="135" y="482"/>
                  </a:cubicBezTo>
                  <a:cubicBezTo>
                    <a:pt x="135" y="482"/>
                    <a:pt x="135" y="482"/>
                    <a:pt x="134" y="482"/>
                  </a:cubicBezTo>
                  <a:cubicBezTo>
                    <a:pt x="134" y="482"/>
                    <a:pt x="134" y="482"/>
                    <a:pt x="134" y="482"/>
                  </a:cubicBezTo>
                  <a:cubicBezTo>
                    <a:pt x="134" y="482"/>
                    <a:pt x="134" y="482"/>
                    <a:pt x="134" y="482"/>
                  </a:cubicBezTo>
                  <a:cubicBezTo>
                    <a:pt x="134" y="483"/>
                    <a:pt x="134" y="483"/>
                    <a:pt x="134" y="483"/>
                  </a:cubicBezTo>
                  <a:cubicBezTo>
                    <a:pt x="134" y="483"/>
                    <a:pt x="135" y="483"/>
                    <a:pt x="135" y="483"/>
                  </a:cubicBezTo>
                  <a:cubicBezTo>
                    <a:pt x="136" y="483"/>
                    <a:pt x="136" y="483"/>
                    <a:pt x="136" y="484"/>
                  </a:cubicBezTo>
                  <a:cubicBezTo>
                    <a:pt x="139" y="485"/>
                    <a:pt x="142" y="487"/>
                    <a:pt x="145" y="488"/>
                  </a:cubicBezTo>
                  <a:cubicBezTo>
                    <a:pt x="146" y="488"/>
                    <a:pt x="147" y="489"/>
                    <a:pt x="148" y="489"/>
                  </a:cubicBezTo>
                  <a:cubicBezTo>
                    <a:pt x="154" y="492"/>
                    <a:pt x="160" y="495"/>
                    <a:pt x="166" y="497"/>
                  </a:cubicBezTo>
                  <a:cubicBezTo>
                    <a:pt x="173" y="501"/>
                    <a:pt x="180" y="504"/>
                    <a:pt x="187" y="508"/>
                  </a:cubicBezTo>
                  <a:cubicBezTo>
                    <a:pt x="188" y="508"/>
                    <a:pt x="188" y="508"/>
                    <a:pt x="189" y="508"/>
                  </a:cubicBezTo>
                  <a:cubicBezTo>
                    <a:pt x="184" y="506"/>
                    <a:pt x="180" y="503"/>
                    <a:pt x="176" y="501"/>
                  </a:cubicBezTo>
                  <a:cubicBezTo>
                    <a:pt x="181" y="503"/>
                    <a:pt x="186" y="505"/>
                    <a:pt x="192" y="507"/>
                  </a:cubicBezTo>
                  <a:cubicBezTo>
                    <a:pt x="192" y="507"/>
                    <a:pt x="193" y="507"/>
                    <a:pt x="193" y="507"/>
                  </a:cubicBezTo>
                  <a:cubicBezTo>
                    <a:pt x="185" y="503"/>
                    <a:pt x="176" y="500"/>
                    <a:pt x="167" y="496"/>
                  </a:cubicBezTo>
                  <a:cubicBezTo>
                    <a:pt x="158" y="492"/>
                    <a:pt x="150" y="487"/>
                    <a:pt x="142" y="483"/>
                  </a:cubicBezTo>
                  <a:cubicBezTo>
                    <a:pt x="141" y="483"/>
                    <a:pt x="140" y="483"/>
                    <a:pt x="139" y="482"/>
                  </a:cubicBezTo>
                  <a:cubicBezTo>
                    <a:pt x="139" y="482"/>
                    <a:pt x="138" y="482"/>
                    <a:pt x="138" y="481"/>
                  </a:cubicBezTo>
                  <a:cubicBezTo>
                    <a:pt x="137" y="481"/>
                    <a:pt x="136" y="480"/>
                    <a:pt x="135" y="480"/>
                  </a:cubicBezTo>
                  <a:moveTo>
                    <a:pt x="132" y="481"/>
                  </a:moveTo>
                  <a:cubicBezTo>
                    <a:pt x="132" y="481"/>
                    <a:pt x="132" y="481"/>
                    <a:pt x="131" y="481"/>
                  </a:cubicBezTo>
                  <a:cubicBezTo>
                    <a:pt x="132" y="481"/>
                    <a:pt x="132" y="482"/>
                    <a:pt x="133" y="482"/>
                  </a:cubicBezTo>
                  <a:cubicBezTo>
                    <a:pt x="133" y="482"/>
                    <a:pt x="133" y="482"/>
                    <a:pt x="134" y="482"/>
                  </a:cubicBezTo>
                  <a:cubicBezTo>
                    <a:pt x="134" y="482"/>
                    <a:pt x="134" y="483"/>
                    <a:pt x="134" y="483"/>
                  </a:cubicBezTo>
                  <a:cubicBezTo>
                    <a:pt x="134" y="482"/>
                    <a:pt x="134" y="482"/>
                    <a:pt x="134" y="482"/>
                  </a:cubicBezTo>
                  <a:cubicBezTo>
                    <a:pt x="134" y="482"/>
                    <a:pt x="134" y="482"/>
                    <a:pt x="134" y="482"/>
                  </a:cubicBezTo>
                  <a:cubicBezTo>
                    <a:pt x="134" y="482"/>
                    <a:pt x="134" y="482"/>
                    <a:pt x="134" y="482"/>
                  </a:cubicBezTo>
                  <a:cubicBezTo>
                    <a:pt x="134" y="481"/>
                    <a:pt x="134" y="481"/>
                    <a:pt x="133" y="481"/>
                  </a:cubicBezTo>
                  <a:cubicBezTo>
                    <a:pt x="133" y="481"/>
                    <a:pt x="133" y="481"/>
                    <a:pt x="132" y="481"/>
                  </a:cubicBezTo>
                  <a:moveTo>
                    <a:pt x="44" y="481"/>
                  </a:moveTo>
                  <a:cubicBezTo>
                    <a:pt x="43" y="481"/>
                    <a:pt x="43" y="481"/>
                    <a:pt x="43" y="482"/>
                  </a:cubicBezTo>
                  <a:cubicBezTo>
                    <a:pt x="42" y="482"/>
                    <a:pt x="42" y="482"/>
                    <a:pt x="41" y="482"/>
                  </a:cubicBezTo>
                  <a:cubicBezTo>
                    <a:pt x="40" y="483"/>
                    <a:pt x="38" y="484"/>
                    <a:pt x="36" y="484"/>
                  </a:cubicBezTo>
                  <a:cubicBezTo>
                    <a:pt x="36" y="484"/>
                    <a:pt x="36" y="485"/>
                    <a:pt x="35" y="485"/>
                  </a:cubicBezTo>
                  <a:cubicBezTo>
                    <a:pt x="34" y="485"/>
                    <a:pt x="33" y="486"/>
                    <a:pt x="32" y="487"/>
                  </a:cubicBezTo>
                  <a:cubicBezTo>
                    <a:pt x="31" y="487"/>
                    <a:pt x="31" y="487"/>
                    <a:pt x="30" y="487"/>
                  </a:cubicBezTo>
                  <a:cubicBezTo>
                    <a:pt x="27" y="489"/>
                    <a:pt x="23" y="491"/>
                    <a:pt x="20" y="493"/>
                  </a:cubicBezTo>
                  <a:cubicBezTo>
                    <a:pt x="20" y="493"/>
                    <a:pt x="19" y="493"/>
                    <a:pt x="19" y="493"/>
                  </a:cubicBezTo>
                  <a:cubicBezTo>
                    <a:pt x="18" y="494"/>
                    <a:pt x="17" y="495"/>
                    <a:pt x="16" y="496"/>
                  </a:cubicBezTo>
                  <a:cubicBezTo>
                    <a:pt x="15" y="496"/>
                    <a:pt x="15" y="496"/>
                    <a:pt x="15" y="496"/>
                  </a:cubicBezTo>
                  <a:cubicBezTo>
                    <a:pt x="14" y="497"/>
                    <a:pt x="13" y="498"/>
                    <a:pt x="12" y="499"/>
                  </a:cubicBezTo>
                  <a:cubicBezTo>
                    <a:pt x="11" y="499"/>
                    <a:pt x="11" y="499"/>
                    <a:pt x="11" y="499"/>
                  </a:cubicBezTo>
                  <a:cubicBezTo>
                    <a:pt x="11" y="500"/>
                    <a:pt x="10" y="500"/>
                    <a:pt x="10" y="500"/>
                  </a:cubicBezTo>
                  <a:cubicBezTo>
                    <a:pt x="6" y="503"/>
                    <a:pt x="4" y="507"/>
                    <a:pt x="2" y="510"/>
                  </a:cubicBezTo>
                  <a:cubicBezTo>
                    <a:pt x="2" y="511"/>
                    <a:pt x="2" y="511"/>
                    <a:pt x="2" y="511"/>
                  </a:cubicBezTo>
                  <a:cubicBezTo>
                    <a:pt x="1" y="513"/>
                    <a:pt x="0" y="515"/>
                    <a:pt x="0" y="517"/>
                  </a:cubicBezTo>
                  <a:cubicBezTo>
                    <a:pt x="1" y="523"/>
                    <a:pt x="3" y="529"/>
                    <a:pt x="10" y="535"/>
                  </a:cubicBezTo>
                  <a:cubicBezTo>
                    <a:pt x="10" y="535"/>
                    <a:pt x="10" y="536"/>
                    <a:pt x="11" y="536"/>
                  </a:cubicBezTo>
                  <a:cubicBezTo>
                    <a:pt x="19" y="544"/>
                    <a:pt x="35" y="553"/>
                    <a:pt x="57" y="562"/>
                  </a:cubicBezTo>
                  <a:cubicBezTo>
                    <a:pt x="58" y="562"/>
                    <a:pt x="58" y="562"/>
                    <a:pt x="58" y="563"/>
                  </a:cubicBezTo>
                  <a:cubicBezTo>
                    <a:pt x="68" y="567"/>
                    <a:pt x="80" y="571"/>
                    <a:pt x="93" y="575"/>
                  </a:cubicBezTo>
                  <a:cubicBezTo>
                    <a:pt x="93" y="575"/>
                    <a:pt x="93" y="574"/>
                    <a:pt x="93" y="574"/>
                  </a:cubicBezTo>
                  <a:cubicBezTo>
                    <a:pt x="80" y="570"/>
                    <a:pt x="69" y="566"/>
                    <a:pt x="59" y="562"/>
                  </a:cubicBezTo>
                  <a:cubicBezTo>
                    <a:pt x="59" y="562"/>
                    <a:pt x="59" y="562"/>
                    <a:pt x="58" y="561"/>
                  </a:cubicBezTo>
                  <a:cubicBezTo>
                    <a:pt x="35" y="552"/>
                    <a:pt x="20" y="543"/>
                    <a:pt x="11" y="535"/>
                  </a:cubicBezTo>
                  <a:cubicBezTo>
                    <a:pt x="11" y="535"/>
                    <a:pt x="11" y="535"/>
                    <a:pt x="10" y="534"/>
                  </a:cubicBezTo>
                  <a:cubicBezTo>
                    <a:pt x="4" y="528"/>
                    <a:pt x="1" y="523"/>
                    <a:pt x="1" y="517"/>
                  </a:cubicBezTo>
                  <a:cubicBezTo>
                    <a:pt x="1" y="515"/>
                    <a:pt x="2" y="513"/>
                    <a:pt x="2" y="512"/>
                  </a:cubicBezTo>
                  <a:cubicBezTo>
                    <a:pt x="3" y="511"/>
                    <a:pt x="3" y="511"/>
                    <a:pt x="3" y="511"/>
                  </a:cubicBezTo>
                  <a:cubicBezTo>
                    <a:pt x="4" y="507"/>
                    <a:pt x="7" y="504"/>
                    <a:pt x="11" y="500"/>
                  </a:cubicBezTo>
                  <a:cubicBezTo>
                    <a:pt x="11" y="500"/>
                    <a:pt x="11" y="500"/>
                    <a:pt x="12" y="500"/>
                  </a:cubicBezTo>
                  <a:cubicBezTo>
                    <a:pt x="12" y="500"/>
                    <a:pt x="12" y="499"/>
                    <a:pt x="12" y="499"/>
                  </a:cubicBezTo>
                  <a:cubicBezTo>
                    <a:pt x="13" y="498"/>
                    <a:pt x="15" y="497"/>
                    <a:pt x="16" y="497"/>
                  </a:cubicBezTo>
                  <a:cubicBezTo>
                    <a:pt x="16" y="496"/>
                    <a:pt x="16" y="496"/>
                    <a:pt x="17" y="496"/>
                  </a:cubicBezTo>
                  <a:cubicBezTo>
                    <a:pt x="18" y="495"/>
                    <a:pt x="19" y="494"/>
                    <a:pt x="20" y="494"/>
                  </a:cubicBezTo>
                  <a:cubicBezTo>
                    <a:pt x="21" y="493"/>
                    <a:pt x="21" y="493"/>
                    <a:pt x="21" y="493"/>
                  </a:cubicBezTo>
                  <a:cubicBezTo>
                    <a:pt x="24" y="491"/>
                    <a:pt x="28" y="489"/>
                    <a:pt x="32" y="488"/>
                  </a:cubicBezTo>
                  <a:cubicBezTo>
                    <a:pt x="32" y="487"/>
                    <a:pt x="32" y="487"/>
                    <a:pt x="33" y="487"/>
                  </a:cubicBezTo>
                  <a:cubicBezTo>
                    <a:pt x="34" y="486"/>
                    <a:pt x="35" y="486"/>
                    <a:pt x="36" y="485"/>
                  </a:cubicBezTo>
                  <a:cubicBezTo>
                    <a:pt x="36" y="485"/>
                    <a:pt x="37" y="485"/>
                    <a:pt x="37" y="485"/>
                  </a:cubicBezTo>
                  <a:cubicBezTo>
                    <a:pt x="39" y="484"/>
                    <a:pt x="41" y="482"/>
                    <a:pt x="44" y="481"/>
                  </a:cubicBezTo>
                  <a:moveTo>
                    <a:pt x="728" y="493"/>
                  </a:moveTo>
                  <a:cubicBezTo>
                    <a:pt x="728" y="493"/>
                    <a:pt x="728" y="493"/>
                    <a:pt x="727" y="493"/>
                  </a:cubicBezTo>
                  <a:cubicBezTo>
                    <a:pt x="727" y="494"/>
                    <a:pt x="726" y="494"/>
                    <a:pt x="726" y="494"/>
                  </a:cubicBezTo>
                  <a:cubicBezTo>
                    <a:pt x="726" y="494"/>
                    <a:pt x="726" y="494"/>
                    <a:pt x="726" y="494"/>
                  </a:cubicBezTo>
                  <a:cubicBezTo>
                    <a:pt x="726" y="494"/>
                    <a:pt x="726" y="495"/>
                    <a:pt x="726" y="495"/>
                  </a:cubicBezTo>
                  <a:cubicBezTo>
                    <a:pt x="726" y="495"/>
                    <a:pt x="726" y="495"/>
                    <a:pt x="726" y="495"/>
                  </a:cubicBezTo>
                  <a:cubicBezTo>
                    <a:pt x="727" y="494"/>
                    <a:pt x="728" y="494"/>
                    <a:pt x="729" y="494"/>
                  </a:cubicBezTo>
                  <a:cubicBezTo>
                    <a:pt x="729" y="494"/>
                    <a:pt x="728" y="493"/>
                    <a:pt x="728" y="493"/>
                  </a:cubicBezTo>
                  <a:moveTo>
                    <a:pt x="725" y="494"/>
                  </a:moveTo>
                  <a:cubicBezTo>
                    <a:pt x="719" y="496"/>
                    <a:pt x="712" y="498"/>
                    <a:pt x="705" y="500"/>
                  </a:cubicBezTo>
                  <a:cubicBezTo>
                    <a:pt x="704" y="501"/>
                    <a:pt x="703" y="501"/>
                    <a:pt x="702" y="501"/>
                  </a:cubicBezTo>
                  <a:cubicBezTo>
                    <a:pt x="701" y="502"/>
                    <a:pt x="701" y="502"/>
                    <a:pt x="700" y="502"/>
                  </a:cubicBezTo>
                  <a:cubicBezTo>
                    <a:pt x="698" y="503"/>
                    <a:pt x="695" y="503"/>
                    <a:pt x="693" y="504"/>
                  </a:cubicBezTo>
                  <a:cubicBezTo>
                    <a:pt x="691" y="505"/>
                    <a:pt x="689" y="506"/>
                    <a:pt x="687" y="507"/>
                  </a:cubicBezTo>
                  <a:cubicBezTo>
                    <a:pt x="690" y="506"/>
                    <a:pt x="693" y="505"/>
                    <a:pt x="697" y="504"/>
                  </a:cubicBezTo>
                  <a:cubicBezTo>
                    <a:pt x="697" y="504"/>
                    <a:pt x="698" y="503"/>
                    <a:pt x="699" y="503"/>
                  </a:cubicBezTo>
                  <a:cubicBezTo>
                    <a:pt x="700" y="503"/>
                    <a:pt x="700" y="503"/>
                    <a:pt x="701" y="503"/>
                  </a:cubicBezTo>
                  <a:cubicBezTo>
                    <a:pt x="701" y="503"/>
                    <a:pt x="701" y="503"/>
                    <a:pt x="701" y="503"/>
                  </a:cubicBezTo>
                  <a:cubicBezTo>
                    <a:pt x="710" y="500"/>
                    <a:pt x="718" y="498"/>
                    <a:pt x="725" y="495"/>
                  </a:cubicBezTo>
                  <a:cubicBezTo>
                    <a:pt x="725" y="495"/>
                    <a:pt x="725" y="495"/>
                    <a:pt x="725" y="495"/>
                  </a:cubicBezTo>
                  <a:cubicBezTo>
                    <a:pt x="725" y="495"/>
                    <a:pt x="725" y="495"/>
                    <a:pt x="725" y="494"/>
                  </a:cubicBezTo>
                  <a:moveTo>
                    <a:pt x="686" y="506"/>
                  </a:moveTo>
                  <a:cubicBezTo>
                    <a:pt x="683" y="507"/>
                    <a:pt x="679" y="508"/>
                    <a:pt x="676" y="509"/>
                  </a:cubicBezTo>
                  <a:cubicBezTo>
                    <a:pt x="676" y="509"/>
                    <a:pt x="677" y="509"/>
                    <a:pt x="677" y="509"/>
                  </a:cubicBezTo>
                  <a:cubicBezTo>
                    <a:pt x="678" y="509"/>
                    <a:pt x="679" y="509"/>
                    <a:pt x="680" y="509"/>
                  </a:cubicBezTo>
                  <a:cubicBezTo>
                    <a:pt x="682" y="508"/>
                    <a:pt x="684" y="507"/>
                    <a:pt x="686" y="506"/>
                  </a:cubicBezTo>
                  <a:moveTo>
                    <a:pt x="195" y="507"/>
                  </a:moveTo>
                  <a:cubicBezTo>
                    <a:pt x="195" y="507"/>
                    <a:pt x="194" y="508"/>
                    <a:pt x="193" y="508"/>
                  </a:cubicBezTo>
                  <a:cubicBezTo>
                    <a:pt x="195" y="508"/>
                    <a:pt x="196" y="509"/>
                    <a:pt x="197" y="509"/>
                  </a:cubicBezTo>
                  <a:cubicBezTo>
                    <a:pt x="198" y="509"/>
                    <a:pt x="199" y="509"/>
                    <a:pt x="199" y="510"/>
                  </a:cubicBezTo>
                  <a:cubicBezTo>
                    <a:pt x="212" y="514"/>
                    <a:pt x="226" y="518"/>
                    <a:pt x="239" y="522"/>
                  </a:cubicBezTo>
                  <a:cubicBezTo>
                    <a:pt x="240" y="522"/>
                    <a:pt x="241" y="522"/>
                    <a:pt x="241" y="522"/>
                  </a:cubicBezTo>
                  <a:cubicBezTo>
                    <a:pt x="228" y="518"/>
                    <a:pt x="214" y="514"/>
                    <a:pt x="201" y="509"/>
                  </a:cubicBezTo>
                  <a:cubicBezTo>
                    <a:pt x="200" y="509"/>
                    <a:pt x="200" y="509"/>
                    <a:pt x="199" y="509"/>
                  </a:cubicBezTo>
                  <a:cubicBezTo>
                    <a:pt x="198" y="508"/>
                    <a:pt x="196" y="508"/>
                    <a:pt x="195" y="507"/>
                  </a:cubicBezTo>
                  <a:moveTo>
                    <a:pt x="190" y="509"/>
                  </a:moveTo>
                  <a:cubicBezTo>
                    <a:pt x="190" y="509"/>
                    <a:pt x="189" y="509"/>
                    <a:pt x="189" y="509"/>
                  </a:cubicBezTo>
                  <a:cubicBezTo>
                    <a:pt x="190" y="509"/>
                    <a:pt x="191" y="510"/>
                    <a:pt x="192" y="511"/>
                  </a:cubicBezTo>
                  <a:cubicBezTo>
                    <a:pt x="192" y="511"/>
                    <a:pt x="193" y="511"/>
                    <a:pt x="193" y="511"/>
                  </a:cubicBezTo>
                  <a:cubicBezTo>
                    <a:pt x="197" y="514"/>
                    <a:pt x="202" y="516"/>
                    <a:pt x="206" y="518"/>
                  </a:cubicBezTo>
                  <a:cubicBezTo>
                    <a:pt x="211" y="521"/>
                    <a:pt x="216" y="524"/>
                    <a:pt x="221" y="527"/>
                  </a:cubicBezTo>
                  <a:cubicBezTo>
                    <a:pt x="221" y="527"/>
                    <a:pt x="222" y="526"/>
                    <a:pt x="222" y="526"/>
                  </a:cubicBezTo>
                  <a:cubicBezTo>
                    <a:pt x="213" y="521"/>
                    <a:pt x="204" y="516"/>
                    <a:pt x="194" y="511"/>
                  </a:cubicBezTo>
                  <a:cubicBezTo>
                    <a:pt x="194" y="511"/>
                    <a:pt x="194" y="510"/>
                    <a:pt x="193" y="510"/>
                  </a:cubicBezTo>
                  <a:cubicBezTo>
                    <a:pt x="192" y="510"/>
                    <a:pt x="191" y="509"/>
                    <a:pt x="190" y="509"/>
                  </a:cubicBezTo>
                  <a:moveTo>
                    <a:pt x="674" y="509"/>
                  </a:moveTo>
                  <a:cubicBezTo>
                    <a:pt x="674" y="509"/>
                    <a:pt x="674" y="509"/>
                    <a:pt x="674" y="509"/>
                  </a:cubicBezTo>
                  <a:cubicBezTo>
                    <a:pt x="674" y="509"/>
                    <a:pt x="673" y="510"/>
                    <a:pt x="673" y="510"/>
                  </a:cubicBezTo>
                  <a:cubicBezTo>
                    <a:pt x="673" y="510"/>
                    <a:pt x="673" y="510"/>
                    <a:pt x="673" y="511"/>
                  </a:cubicBezTo>
                  <a:cubicBezTo>
                    <a:pt x="674" y="510"/>
                    <a:pt x="674" y="510"/>
                    <a:pt x="675" y="510"/>
                  </a:cubicBezTo>
                  <a:cubicBezTo>
                    <a:pt x="675" y="510"/>
                    <a:pt x="675" y="510"/>
                    <a:pt x="676" y="510"/>
                  </a:cubicBezTo>
                  <a:cubicBezTo>
                    <a:pt x="675" y="510"/>
                    <a:pt x="674" y="510"/>
                    <a:pt x="674" y="509"/>
                  </a:cubicBezTo>
                  <a:moveTo>
                    <a:pt x="672" y="510"/>
                  </a:moveTo>
                  <a:cubicBezTo>
                    <a:pt x="672" y="510"/>
                    <a:pt x="672" y="510"/>
                    <a:pt x="671" y="510"/>
                  </a:cubicBezTo>
                  <a:cubicBezTo>
                    <a:pt x="670" y="510"/>
                    <a:pt x="669" y="511"/>
                    <a:pt x="668" y="511"/>
                  </a:cubicBezTo>
                  <a:cubicBezTo>
                    <a:pt x="665" y="512"/>
                    <a:pt x="661" y="513"/>
                    <a:pt x="658" y="514"/>
                  </a:cubicBezTo>
                  <a:cubicBezTo>
                    <a:pt x="658" y="514"/>
                    <a:pt x="657" y="514"/>
                    <a:pt x="657" y="514"/>
                  </a:cubicBezTo>
                  <a:cubicBezTo>
                    <a:pt x="654" y="515"/>
                    <a:pt x="651" y="516"/>
                    <a:pt x="649" y="517"/>
                  </a:cubicBezTo>
                  <a:cubicBezTo>
                    <a:pt x="650" y="517"/>
                    <a:pt x="652" y="516"/>
                    <a:pt x="654" y="516"/>
                  </a:cubicBezTo>
                  <a:cubicBezTo>
                    <a:pt x="654" y="516"/>
                    <a:pt x="655" y="515"/>
                    <a:pt x="655" y="515"/>
                  </a:cubicBezTo>
                  <a:cubicBezTo>
                    <a:pt x="656" y="515"/>
                    <a:pt x="656" y="515"/>
                    <a:pt x="656" y="515"/>
                  </a:cubicBezTo>
                  <a:cubicBezTo>
                    <a:pt x="659" y="514"/>
                    <a:pt x="663" y="513"/>
                    <a:pt x="666" y="512"/>
                  </a:cubicBezTo>
                  <a:cubicBezTo>
                    <a:pt x="667" y="512"/>
                    <a:pt x="668" y="512"/>
                    <a:pt x="669" y="512"/>
                  </a:cubicBezTo>
                  <a:cubicBezTo>
                    <a:pt x="670" y="511"/>
                    <a:pt x="671" y="511"/>
                    <a:pt x="672" y="511"/>
                  </a:cubicBezTo>
                  <a:cubicBezTo>
                    <a:pt x="672" y="511"/>
                    <a:pt x="672" y="510"/>
                    <a:pt x="672" y="510"/>
                  </a:cubicBezTo>
                  <a:moveTo>
                    <a:pt x="648" y="516"/>
                  </a:moveTo>
                  <a:cubicBezTo>
                    <a:pt x="638" y="519"/>
                    <a:pt x="628" y="521"/>
                    <a:pt x="618" y="523"/>
                  </a:cubicBezTo>
                  <a:cubicBezTo>
                    <a:pt x="618" y="523"/>
                    <a:pt x="618" y="524"/>
                    <a:pt x="618" y="524"/>
                  </a:cubicBezTo>
                  <a:cubicBezTo>
                    <a:pt x="626" y="522"/>
                    <a:pt x="633" y="521"/>
                    <a:pt x="640" y="519"/>
                  </a:cubicBezTo>
                  <a:cubicBezTo>
                    <a:pt x="642" y="518"/>
                    <a:pt x="644" y="518"/>
                    <a:pt x="646" y="517"/>
                  </a:cubicBezTo>
                  <a:cubicBezTo>
                    <a:pt x="647" y="517"/>
                    <a:pt x="647" y="516"/>
                    <a:pt x="648" y="516"/>
                  </a:cubicBezTo>
                  <a:moveTo>
                    <a:pt x="244" y="522"/>
                  </a:moveTo>
                  <a:cubicBezTo>
                    <a:pt x="243" y="522"/>
                    <a:pt x="242" y="523"/>
                    <a:pt x="242" y="523"/>
                  </a:cubicBezTo>
                  <a:cubicBezTo>
                    <a:pt x="250" y="525"/>
                    <a:pt x="259" y="527"/>
                    <a:pt x="268" y="529"/>
                  </a:cubicBezTo>
                  <a:cubicBezTo>
                    <a:pt x="268" y="529"/>
                    <a:pt x="269" y="530"/>
                    <a:pt x="270" y="530"/>
                  </a:cubicBezTo>
                  <a:cubicBezTo>
                    <a:pt x="276" y="531"/>
                    <a:pt x="282" y="532"/>
                    <a:pt x="288" y="533"/>
                  </a:cubicBezTo>
                  <a:cubicBezTo>
                    <a:pt x="288" y="533"/>
                    <a:pt x="289" y="533"/>
                    <a:pt x="290" y="533"/>
                  </a:cubicBezTo>
                  <a:cubicBezTo>
                    <a:pt x="284" y="532"/>
                    <a:pt x="278" y="530"/>
                    <a:pt x="272" y="529"/>
                  </a:cubicBezTo>
                  <a:cubicBezTo>
                    <a:pt x="271" y="529"/>
                    <a:pt x="270" y="529"/>
                    <a:pt x="270" y="529"/>
                  </a:cubicBezTo>
                  <a:cubicBezTo>
                    <a:pt x="261" y="527"/>
                    <a:pt x="252" y="525"/>
                    <a:pt x="244" y="522"/>
                  </a:cubicBezTo>
                  <a:moveTo>
                    <a:pt x="617" y="523"/>
                  </a:moveTo>
                  <a:cubicBezTo>
                    <a:pt x="615" y="524"/>
                    <a:pt x="614" y="524"/>
                    <a:pt x="613" y="524"/>
                  </a:cubicBezTo>
                  <a:cubicBezTo>
                    <a:pt x="614" y="524"/>
                    <a:pt x="614" y="525"/>
                    <a:pt x="615" y="525"/>
                  </a:cubicBezTo>
                  <a:cubicBezTo>
                    <a:pt x="616" y="525"/>
                    <a:pt x="616" y="524"/>
                    <a:pt x="617" y="524"/>
                  </a:cubicBezTo>
                  <a:cubicBezTo>
                    <a:pt x="617" y="524"/>
                    <a:pt x="617" y="524"/>
                    <a:pt x="617" y="523"/>
                  </a:cubicBezTo>
                  <a:moveTo>
                    <a:pt x="611" y="524"/>
                  </a:moveTo>
                  <a:cubicBezTo>
                    <a:pt x="605" y="526"/>
                    <a:pt x="600" y="527"/>
                    <a:pt x="594" y="528"/>
                  </a:cubicBezTo>
                  <a:cubicBezTo>
                    <a:pt x="592" y="529"/>
                    <a:pt x="591" y="529"/>
                    <a:pt x="590" y="530"/>
                  </a:cubicBezTo>
                  <a:cubicBezTo>
                    <a:pt x="598" y="528"/>
                    <a:pt x="605" y="527"/>
                    <a:pt x="613" y="525"/>
                  </a:cubicBezTo>
                  <a:cubicBezTo>
                    <a:pt x="612" y="525"/>
                    <a:pt x="612" y="525"/>
                    <a:pt x="611" y="524"/>
                  </a:cubicBezTo>
                  <a:moveTo>
                    <a:pt x="224" y="527"/>
                  </a:moveTo>
                  <a:cubicBezTo>
                    <a:pt x="223" y="527"/>
                    <a:pt x="223" y="527"/>
                    <a:pt x="222" y="527"/>
                  </a:cubicBezTo>
                  <a:cubicBezTo>
                    <a:pt x="228" y="531"/>
                    <a:pt x="234" y="534"/>
                    <a:pt x="240" y="537"/>
                  </a:cubicBezTo>
                  <a:cubicBezTo>
                    <a:pt x="240" y="538"/>
                    <a:pt x="241" y="538"/>
                    <a:pt x="241" y="538"/>
                  </a:cubicBezTo>
                  <a:cubicBezTo>
                    <a:pt x="244" y="540"/>
                    <a:pt x="246" y="541"/>
                    <a:pt x="249" y="543"/>
                  </a:cubicBezTo>
                  <a:cubicBezTo>
                    <a:pt x="249" y="542"/>
                    <a:pt x="250" y="542"/>
                    <a:pt x="250" y="542"/>
                  </a:cubicBezTo>
                  <a:cubicBezTo>
                    <a:pt x="248" y="541"/>
                    <a:pt x="245" y="539"/>
                    <a:pt x="242" y="538"/>
                  </a:cubicBezTo>
                  <a:cubicBezTo>
                    <a:pt x="242" y="537"/>
                    <a:pt x="242" y="537"/>
                    <a:pt x="241" y="537"/>
                  </a:cubicBezTo>
                  <a:cubicBezTo>
                    <a:pt x="235" y="534"/>
                    <a:pt x="230" y="530"/>
                    <a:pt x="224" y="527"/>
                  </a:cubicBezTo>
                  <a:moveTo>
                    <a:pt x="589" y="529"/>
                  </a:moveTo>
                  <a:cubicBezTo>
                    <a:pt x="576" y="531"/>
                    <a:pt x="563" y="534"/>
                    <a:pt x="548" y="536"/>
                  </a:cubicBezTo>
                  <a:cubicBezTo>
                    <a:pt x="548" y="536"/>
                    <a:pt x="547" y="536"/>
                    <a:pt x="546" y="536"/>
                  </a:cubicBezTo>
                  <a:cubicBezTo>
                    <a:pt x="545" y="537"/>
                    <a:pt x="544" y="537"/>
                    <a:pt x="543" y="537"/>
                  </a:cubicBezTo>
                  <a:cubicBezTo>
                    <a:pt x="558" y="535"/>
                    <a:pt x="572" y="533"/>
                    <a:pt x="585" y="531"/>
                  </a:cubicBezTo>
                  <a:cubicBezTo>
                    <a:pt x="587" y="530"/>
                    <a:pt x="588" y="529"/>
                    <a:pt x="589" y="529"/>
                  </a:cubicBezTo>
                  <a:moveTo>
                    <a:pt x="293" y="533"/>
                  </a:moveTo>
                  <a:cubicBezTo>
                    <a:pt x="292" y="534"/>
                    <a:pt x="291" y="534"/>
                    <a:pt x="290" y="534"/>
                  </a:cubicBezTo>
                  <a:cubicBezTo>
                    <a:pt x="294" y="535"/>
                    <a:pt x="297" y="535"/>
                    <a:pt x="301" y="536"/>
                  </a:cubicBezTo>
                  <a:cubicBezTo>
                    <a:pt x="300" y="535"/>
                    <a:pt x="299" y="535"/>
                    <a:pt x="298" y="534"/>
                  </a:cubicBezTo>
                  <a:cubicBezTo>
                    <a:pt x="297" y="534"/>
                    <a:pt x="295" y="534"/>
                    <a:pt x="293" y="533"/>
                  </a:cubicBezTo>
                  <a:moveTo>
                    <a:pt x="301" y="535"/>
                  </a:moveTo>
                  <a:cubicBezTo>
                    <a:pt x="302" y="535"/>
                    <a:pt x="302" y="536"/>
                    <a:pt x="303" y="536"/>
                  </a:cubicBezTo>
                  <a:cubicBezTo>
                    <a:pt x="311" y="538"/>
                    <a:pt x="320" y="539"/>
                    <a:pt x="328" y="540"/>
                  </a:cubicBezTo>
                  <a:cubicBezTo>
                    <a:pt x="328" y="540"/>
                    <a:pt x="329" y="540"/>
                    <a:pt x="330" y="540"/>
                  </a:cubicBezTo>
                  <a:cubicBezTo>
                    <a:pt x="332" y="540"/>
                    <a:pt x="335" y="541"/>
                    <a:pt x="337" y="541"/>
                  </a:cubicBezTo>
                  <a:cubicBezTo>
                    <a:pt x="338" y="541"/>
                    <a:pt x="339" y="540"/>
                    <a:pt x="340" y="540"/>
                  </a:cubicBezTo>
                  <a:cubicBezTo>
                    <a:pt x="337" y="540"/>
                    <a:pt x="335" y="540"/>
                    <a:pt x="332" y="539"/>
                  </a:cubicBezTo>
                  <a:cubicBezTo>
                    <a:pt x="331" y="539"/>
                    <a:pt x="331" y="539"/>
                    <a:pt x="330" y="539"/>
                  </a:cubicBezTo>
                  <a:cubicBezTo>
                    <a:pt x="320" y="538"/>
                    <a:pt x="311" y="536"/>
                    <a:pt x="301" y="535"/>
                  </a:cubicBezTo>
                  <a:moveTo>
                    <a:pt x="541" y="537"/>
                  </a:moveTo>
                  <a:cubicBezTo>
                    <a:pt x="540" y="537"/>
                    <a:pt x="539" y="538"/>
                    <a:pt x="538" y="538"/>
                  </a:cubicBezTo>
                  <a:cubicBezTo>
                    <a:pt x="538" y="538"/>
                    <a:pt x="538" y="538"/>
                    <a:pt x="539" y="538"/>
                  </a:cubicBezTo>
                  <a:cubicBezTo>
                    <a:pt x="539" y="538"/>
                    <a:pt x="539" y="538"/>
                    <a:pt x="539" y="538"/>
                  </a:cubicBezTo>
                  <a:cubicBezTo>
                    <a:pt x="540" y="538"/>
                    <a:pt x="541" y="537"/>
                    <a:pt x="541" y="537"/>
                  </a:cubicBezTo>
                  <a:moveTo>
                    <a:pt x="533" y="538"/>
                  </a:moveTo>
                  <a:cubicBezTo>
                    <a:pt x="525" y="539"/>
                    <a:pt x="516" y="540"/>
                    <a:pt x="508" y="541"/>
                  </a:cubicBezTo>
                  <a:cubicBezTo>
                    <a:pt x="508" y="541"/>
                    <a:pt x="509" y="541"/>
                    <a:pt x="510" y="541"/>
                  </a:cubicBezTo>
                  <a:cubicBezTo>
                    <a:pt x="514" y="541"/>
                    <a:pt x="518" y="541"/>
                    <a:pt x="522" y="540"/>
                  </a:cubicBezTo>
                  <a:cubicBezTo>
                    <a:pt x="526" y="539"/>
                    <a:pt x="530" y="538"/>
                    <a:pt x="533" y="538"/>
                  </a:cubicBezTo>
                  <a:cubicBezTo>
                    <a:pt x="533" y="538"/>
                    <a:pt x="533" y="538"/>
                    <a:pt x="533" y="538"/>
                  </a:cubicBezTo>
                  <a:moveTo>
                    <a:pt x="535" y="538"/>
                  </a:moveTo>
                  <a:cubicBezTo>
                    <a:pt x="535" y="538"/>
                    <a:pt x="534" y="539"/>
                    <a:pt x="533" y="539"/>
                  </a:cubicBezTo>
                  <a:cubicBezTo>
                    <a:pt x="534" y="539"/>
                    <a:pt x="535" y="538"/>
                    <a:pt x="536" y="538"/>
                  </a:cubicBezTo>
                  <a:cubicBezTo>
                    <a:pt x="536" y="538"/>
                    <a:pt x="536" y="538"/>
                    <a:pt x="535" y="538"/>
                  </a:cubicBezTo>
                  <a:moveTo>
                    <a:pt x="343" y="541"/>
                  </a:moveTo>
                  <a:cubicBezTo>
                    <a:pt x="342" y="541"/>
                    <a:pt x="341" y="541"/>
                    <a:pt x="340" y="541"/>
                  </a:cubicBezTo>
                  <a:cubicBezTo>
                    <a:pt x="349" y="542"/>
                    <a:pt x="357" y="543"/>
                    <a:pt x="366" y="544"/>
                  </a:cubicBezTo>
                  <a:cubicBezTo>
                    <a:pt x="367" y="543"/>
                    <a:pt x="368" y="543"/>
                    <a:pt x="368" y="543"/>
                  </a:cubicBezTo>
                  <a:cubicBezTo>
                    <a:pt x="360" y="542"/>
                    <a:pt x="352" y="542"/>
                    <a:pt x="343" y="541"/>
                  </a:cubicBezTo>
                  <a:moveTo>
                    <a:pt x="506" y="541"/>
                  </a:moveTo>
                  <a:cubicBezTo>
                    <a:pt x="505" y="541"/>
                    <a:pt x="504" y="542"/>
                    <a:pt x="503" y="542"/>
                  </a:cubicBezTo>
                  <a:cubicBezTo>
                    <a:pt x="505" y="542"/>
                    <a:pt x="506" y="542"/>
                    <a:pt x="507" y="542"/>
                  </a:cubicBezTo>
                  <a:cubicBezTo>
                    <a:pt x="507" y="541"/>
                    <a:pt x="506" y="541"/>
                    <a:pt x="506" y="541"/>
                  </a:cubicBezTo>
                  <a:moveTo>
                    <a:pt x="503" y="541"/>
                  </a:moveTo>
                  <a:cubicBezTo>
                    <a:pt x="498" y="542"/>
                    <a:pt x="493" y="542"/>
                    <a:pt x="488" y="542"/>
                  </a:cubicBezTo>
                  <a:cubicBezTo>
                    <a:pt x="488" y="543"/>
                    <a:pt x="489" y="543"/>
                    <a:pt x="489" y="543"/>
                  </a:cubicBezTo>
                  <a:cubicBezTo>
                    <a:pt x="493" y="543"/>
                    <a:pt x="496" y="543"/>
                    <a:pt x="500" y="542"/>
                  </a:cubicBezTo>
                  <a:cubicBezTo>
                    <a:pt x="501" y="542"/>
                    <a:pt x="502" y="541"/>
                    <a:pt x="503" y="541"/>
                  </a:cubicBezTo>
                  <a:moveTo>
                    <a:pt x="487" y="542"/>
                  </a:moveTo>
                  <a:cubicBezTo>
                    <a:pt x="483" y="543"/>
                    <a:pt x="478" y="543"/>
                    <a:pt x="474" y="543"/>
                  </a:cubicBezTo>
                  <a:cubicBezTo>
                    <a:pt x="476" y="544"/>
                    <a:pt x="478" y="544"/>
                    <a:pt x="480" y="544"/>
                  </a:cubicBezTo>
                  <a:cubicBezTo>
                    <a:pt x="483" y="544"/>
                    <a:pt x="485" y="544"/>
                    <a:pt x="488" y="543"/>
                  </a:cubicBezTo>
                  <a:cubicBezTo>
                    <a:pt x="487" y="543"/>
                    <a:pt x="487" y="543"/>
                    <a:pt x="487" y="542"/>
                  </a:cubicBezTo>
                  <a:moveTo>
                    <a:pt x="251" y="543"/>
                  </a:moveTo>
                  <a:cubicBezTo>
                    <a:pt x="251" y="543"/>
                    <a:pt x="251" y="543"/>
                    <a:pt x="250" y="543"/>
                  </a:cubicBezTo>
                  <a:cubicBezTo>
                    <a:pt x="258" y="548"/>
                    <a:pt x="265" y="552"/>
                    <a:pt x="272" y="556"/>
                  </a:cubicBezTo>
                  <a:cubicBezTo>
                    <a:pt x="272" y="556"/>
                    <a:pt x="273" y="556"/>
                    <a:pt x="273" y="556"/>
                  </a:cubicBezTo>
                  <a:cubicBezTo>
                    <a:pt x="266" y="552"/>
                    <a:pt x="259" y="547"/>
                    <a:pt x="251" y="543"/>
                  </a:cubicBezTo>
                  <a:moveTo>
                    <a:pt x="374" y="543"/>
                  </a:moveTo>
                  <a:cubicBezTo>
                    <a:pt x="373" y="544"/>
                    <a:pt x="372" y="544"/>
                    <a:pt x="370" y="544"/>
                  </a:cubicBezTo>
                  <a:cubicBezTo>
                    <a:pt x="371" y="544"/>
                    <a:pt x="371" y="544"/>
                    <a:pt x="371" y="544"/>
                  </a:cubicBezTo>
                  <a:cubicBezTo>
                    <a:pt x="372" y="544"/>
                    <a:pt x="374" y="544"/>
                    <a:pt x="375" y="544"/>
                  </a:cubicBezTo>
                  <a:cubicBezTo>
                    <a:pt x="375" y="544"/>
                    <a:pt x="376" y="544"/>
                    <a:pt x="376" y="544"/>
                  </a:cubicBezTo>
                  <a:cubicBezTo>
                    <a:pt x="377" y="545"/>
                    <a:pt x="379" y="545"/>
                    <a:pt x="380" y="545"/>
                  </a:cubicBezTo>
                  <a:cubicBezTo>
                    <a:pt x="380" y="545"/>
                    <a:pt x="380" y="545"/>
                    <a:pt x="380" y="545"/>
                  </a:cubicBezTo>
                  <a:cubicBezTo>
                    <a:pt x="381" y="545"/>
                    <a:pt x="381" y="545"/>
                    <a:pt x="382" y="545"/>
                  </a:cubicBezTo>
                  <a:cubicBezTo>
                    <a:pt x="382" y="545"/>
                    <a:pt x="382" y="545"/>
                    <a:pt x="382" y="545"/>
                  </a:cubicBezTo>
                  <a:cubicBezTo>
                    <a:pt x="383" y="544"/>
                    <a:pt x="384" y="544"/>
                    <a:pt x="384" y="544"/>
                  </a:cubicBezTo>
                  <a:cubicBezTo>
                    <a:pt x="384" y="544"/>
                    <a:pt x="384" y="544"/>
                    <a:pt x="383" y="544"/>
                  </a:cubicBezTo>
                  <a:cubicBezTo>
                    <a:pt x="383" y="544"/>
                    <a:pt x="382" y="544"/>
                    <a:pt x="382" y="544"/>
                  </a:cubicBezTo>
                  <a:cubicBezTo>
                    <a:pt x="381" y="544"/>
                    <a:pt x="381" y="544"/>
                    <a:pt x="381" y="544"/>
                  </a:cubicBezTo>
                  <a:cubicBezTo>
                    <a:pt x="379" y="544"/>
                    <a:pt x="378" y="544"/>
                    <a:pt x="377" y="543"/>
                  </a:cubicBezTo>
                  <a:cubicBezTo>
                    <a:pt x="377" y="543"/>
                    <a:pt x="376" y="543"/>
                    <a:pt x="376" y="543"/>
                  </a:cubicBezTo>
                  <a:cubicBezTo>
                    <a:pt x="375" y="543"/>
                    <a:pt x="374" y="543"/>
                    <a:pt x="374" y="543"/>
                  </a:cubicBezTo>
                  <a:moveTo>
                    <a:pt x="467" y="544"/>
                  </a:moveTo>
                  <a:cubicBezTo>
                    <a:pt x="465" y="544"/>
                    <a:pt x="464" y="544"/>
                    <a:pt x="463" y="544"/>
                  </a:cubicBezTo>
                  <a:cubicBezTo>
                    <a:pt x="464" y="544"/>
                    <a:pt x="465" y="544"/>
                    <a:pt x="466" y="544"/>
                  </a:cubicBezTo>
                  <a:cubicBezTo>
                    <a:pt x="466" y="544"/>
                    <a:pt x="466" y="544"/>
                    <a:pt x="467" y="544"/>
                  </a:cubicBezTo>
                  <a:moveTo>
                    <a:pt x="469" y="544"/>
                  </a:moveTo>
                  <a:cubicBezTo>
                    <a:pt x="469" y="544"/>
                    <a:pt x="469" y="544"/>
                    <a:pt x="469" y="544"/>
                  </a:cubicBezTo>
                  <a:cubicBezTo>
                    <a:pt x="469" y="544"/>
                    <a:pt x="470" y="544"/>
                    <a:pt x="471" y="544"/>
                  </a:cubicBezTo>
                  <a:cubicBezTo>
                    <a:pt x="471" y="544"/>
                    <a:pt x="470" y="544"/>
                    <a:pt x="469" y="544"/>
                  </a:cubicBezTo>
                  <a:moveTo>
                    <a:pt x="387" y="544"/>
                  </a:moveTo>
                  <a:cubicBezTo>
                    <a:pt x="386" y="544"/>
                    <a:pt x="385" y="545"/>
                    <a:pt x="385" y="545"/>
                  </a:cubicBezTo>
                  <a:cubicBezTo>
                    <a:pt x="385" y="545"/>
                    <a:pt x="385" y="545"/>
                    <a:pt x="385" y="545"/>
                  </a:cubicBezTo>
                  <a:cubicBezTo>
                    <a:pt x="386" y="545"/>
                    <a:pt x="387" y="545"/>
                    <a:pt x="387" y="545"/>
                  </a:cubicBezTo>
                  <a:cubicBezTo>
                    <a:pt x="388" y="545"/>
                    <a:pt x="388" y="545"/>
                    <a:pt x="389" y="545"/>
                  </a:cubicBezTo>
                  <a:cubicBezTo>
                    <a:pt x="390" y="545"/>
                    <a:pt x="391" y="545"/>
                    <a:pt x="391" y="545"/>
                  </a:cubicBezTo>
                  <a:cubicBezTo>
                    <a:pt x="391" y="544"/>
                    <a:pt x="391" y="544"/>
                    <a:pt x="391" y="544"/>
                  </a:cubicBezTo>
                  <a:cubicBezTo>
                    <a:pt x="391" y="544"/>
                    <a:pt x="390" y="544"/>
                    <a:pt x="390" y="544"/>
                  </a:cubicBezTo>
                  <a:cubicBezTo>
                    <a:pt x="389" y="544"/>
                    <a:pt x="388" y="544"/>
                    <a:pt x="387" y="544"/>
                  </a:cubicBezTo>
                  <a:cubicBezTo>
                    <a:pt x="387" y="544"/>
                    <a:pt x="387" y="544"/>
                    <a:pt x="387" y="544"/>
                  </a:cubicBezTo>
                  <a:moveTo>
                    <a:pt x="397" y="544"/>
                  </a:moveTo>
                  <a:cubicBezTo>
                    <a:pt x="396" y="545"/>
                    <a:pt x="395" y="545"/>
                    <a:pt x="394" y="545"/>
                  </a:cubicBezTo>
                  <a:cubicBezTo>
                    <a:pt x="394" y="545"/>
                    <a:pt x="394" y="545"/>
                    <a:pt x="394" y="545"/>
                  </a:cubicBezTo>
                  <a:cubicBezTo>
                    <a:pt x="394" y="545"/>
                    <a:pt x="394" y="545"/>
                    <a:pt x="394" y="545"/>
                  </a:cubicBezTo>
                  <a:cubicBezTo>
                    <a:pt x="395" y="545"/>
                    <a:pt x="396" y="545"/>
                    <a:pt x="396" y="545"/>
                  </a:cubicBezTo>
                  <a:cubicBezTo>
                    <a:pt x="400" y="546"/>
                    <a:pt x="404" y="546"/>
                    <a:pt x="408" y="546"/>
                  </a:cubicBezTo>
                  <a:cubicBezTo>
                    <a:pt x="409" y="545"/>
                    <a:pt x="410" y="545"/>
                    <a:pt x="410" y="545"/>
                  </a:cubicBezTo>
                  <a:cubicBezTo>
                    <a:pt x="406" y="545"/>
                    <a:pt x="402" y="545"/>
                    <a:pt x="398" y="544"/>
                  </a:cubicBezTo>
                  <a:cubicBezTo>
                    <a:pt x="397" y="544"/>
                    <a:pt x="397" y="544"/>
                    <a:pt x="397" y="544"/>
                  </a:cubicBezTo>
                  <a:moveTo>
                    <a:pt x="448" y="545"/>
                  </a:moveTo>
                  <a:cubicBezTo>
                    <a:pt x="445" y="545"/>
                    <a:pt x="442" y="545"/>
                    <a:pt x="440" y="545"/>
                  </a:cubicBezTo>
                  <a:cubicBezTo>
                    <a:pt x="439" y="545"/>
                    <a:pt x="438" y="545"/>
                    <a:pt x="438" y="546"/>
                  </a:cubicBezTo>
                  <a:cubicBezTo>
                    <a:pt x="441" y="546"/>
                    <a:pt x="444" y="546"/>
                    <a:pt x="447" y="546"/>
                  </a:cubicBezTo>
                  <a:cubicBezTo>
                    <a:pt x="448" y="545"/>
                    <a:pt x="450" y="545"/>
                    <a:pt x="451" y="545"/>
                  </a:cubicBezTo>
                  <a:cubicBezTo>
                    <a:pt x="450" y="545"/>
                    <a:pt x="449" y="545"/>
                    <a:pt x="448" y="545"/>
                  </a:cubicBezTo>
                  <a:moveTo>
                    <a:pt x="437" y="545"/>
                  </a:moveTo>
                  <a:cubicBezTo>
                    <a:pt x="433" y="545"/>
                    <a:pt x="428" y="545"/>
                    <a:pt x="424" y="545"/>
                  </a:cubicBezTo>
                  <a:cubicBezTo>
                    <a:pt x="423" y="545"/>
                    <a:pt x="422" y="545"/>
                    <a:pt x="421" y="545"/>
                  </a:cubicBezTo>
                  <a:cubicBezTo>
                    <a:pt x="420" y="545"/>
                    <a:pt x="419" y="545"/>
                    <a:pt x="418" y="545"/>
                  </a:cubicBezTo>
                  <a:cubicBezTo>
                    <a:pt x="417" y="545"/>
                    <a:pt x="416" y="545"/>
                    <a:pt x="415" y="545"/>
                  </a:cubicBezTo>
                  <a:cubicBezTo>
                    <a:pt x="414" y="545"/>
                    <a:pt x="414" y="545"/>
                    <a:pt x="413" y="545"/>
                  </a:cubicBezTo>
                  <a:cubicBezTo>
                    <a:pt x="412" y="545"/>
                    <a:pt x="411" y="545"/>
                    <a:pt x="411" y="546"/>
                  </a:cubicBezTo>
                  <a:cubicBezTo>
                    <a:pt x="411" y="546"/>
                    <a:pt x="412" y="546"/>
                    <a:pt x="413" y="546"/>
                  </a:cubicBezTo>
                  <a:cubicBezTo>
                    <a:pt x="414" y="546"/>
                    <a:pt x="414" y="546"/>
                    <a:pt x="415" y="546"/>
                  </a:cubicBezTo>
                  <a:cubicBezTo>
                    <a:pt x="416" y="546"/>
                    <a:pt x="417" y="546"/>
                    <a:pt x="418" y="546"/>
                  </a:cubicBezTo>
                  <a:cubicBezTo>
                    <a:pt x="420" y="546"/>
                    <a:pt x="422" y="546"/>
                    <a:pt x="424" y="546"/>
                  </a:cubicBezTo>
                  <a:cubicBezTo>
                    <a:pt x="427" y="546"/>
                    <a:pt x="431" y="546"/>
                    <a:pt x="435" y="546"/>
                  </a:cubicBezTo>
                  <a:cubicBezTo>
                    <a:pt x="436" y="545"/>
                    <a:pt x="437" y="545"/>
                    <a:pt x="437" y="545"/>
                  </a:cubicBezTo>
                  <a:moveTo>
                    <a:pt x="455" y="545"/>
                  </a:moveTo>
                  <a:cubicBezTo>
                    <a:pt x="454" y="545"/>
                    <a:pt x="453" y="545"/>
                    <a:pt x="452" y="545"/>
                  </a:cubicBezTo>
                  <a:cubicBezTo>
                    <a:pt x="456" y="545"/>
                    <a:pt x="459" y="545"/>
                    <a:pt x="462" y="545"/>
                  </a:cubicBezTo>
                  <a:cubicBezTo>
                    <a:pt x="460" y="545"/>
                    <a:pt x="457" y="545"/>
                    <a:pt x="455" y="545"/>
                  </a:cubicBezTo>
                  <a:moveTo>
                    <a:pt x="274" y="557"/>
                  </a:moveTo>
                  <a:cubicBezTo>
                    <a:pt x="274" y="557"/>
                    <a:pt x="273" y="557"/>
                    <a:pt x="273" y="557"/>
                  </a:cubicBezTo>
                  <a:cubicBezTo>
                    <a:pt x="273" y="557"/>
                    <a:pt x="274" y="558"/>
                    <a:pt x="274" y="558"/>
                  </a:cubicBezTo>
                  <a:cubicBezTo>
                    <a:pt x="274" y="558"/>
                    <a:pt x="274" y="558"/>
                    <a:pt x="274" y="558"/>
                  </a:cubicBezTo>
                  <a:cubicBezTo>
                    <a:pt x="275" y="559"/>
                    <a:pt x="276" y="559"/>
                    <a:pt x="276" y="559"/>
                  </a:cubicBezTo>
                  <a:cubicBezTo>
                    <a:pt x="280" y="562"/>
                    <a:pt x="284" y="564"/>
                    <a:pt x="287" y="567"/>
                  </a:cubicBezTo>
                  <a:cubicBezTo>
                    <a:pt x="288" y="566"/>
                    <a:pt x="288" y="566"/>
                    <a:pt x="289" y="566"/>
                  </a:cubicBezTo>
                  <a:cubicBezTo>
                    <a:pt x="285" y="564"/>
                    <a:pt x="282" y="562"/>
                    <a:pt x="279" y="560"/>
                  </a:cubicBezTo>
                  <a:cubicBezTo>
                    <a:pt x="278" y="559"/>
                    <a:pt x="277" y="559"/>
                    <a:pt x="277" y="558"/>
                  </a:cubicBezTo>
                  <a:cubicBezTo>
                    <a:pt x="277" y="558"/>
                    <a:pt x="276" y="558"/>
                    <a:pt x="276" y="558"/>
                  </a:cubicBezTo>
                  <a:cubicBezTo>
                    <a:pt x="276" y="558"/>
                    <a:pt x="276" y="558"/>
                    <a:pt x="275" y="557"/>
                  </a:cubicBezTo>
                  <a:cubicBezTo>
                    <a:pt x="275" y="557"/>
                    <a:pt x="275" y="557"/>
                    <a:pt x="274" y="557"/>
                  </a:cubicBezTo>
                  <a:moveTo>
                    <a:pt x="290" y="567"/>
                  </a:moveTo>
                  <a:cubicBezTo>
                    <a:pt x="289" y="567"/>
                    <a:pt x="289" y="567"/>
                    <a:pt x="288" y="567"/>
                  </a:cubicBezTo>
                  <a:cubicBezTo>
                    <a:pt x="289" y="568"/>
                    <a:pt x="290" y="568"/>
                    <a:pt x="291" y="569"/>
                  </a:cubicBezTo>
                  <a:cubicBezTo>
                    <a:pt x="291" y="569"/>
                    <a:pt x="292" y="569"/>
                    <a:pt x="292" y="568"/>
                  </a:cubicBezTo>
                  <a:cubicBezTo>
                    <a:pt x="291" y="568"/>
                    <a:pt x="291" y="567"/>
                    <a:pt x="290" y="567"/>
                  </a:cubicBezTo>
                  <a:moveTo>
                    <a:pt x="293" y="569"/>
                  </a:moveTo>
                  <a:cubicBezTo>
                    <a:pt x="293" y="569"/>
                    <a:pt x="292" y="570"/>
                    <a:pt x="292" y="570"/>
                  </a:cubicBezTo>
                  <a:cubicBezTo>
                    <a:pt x="293" y="570"/>
                    <a:pt x="294" y="571"/>
                    <a:pt x="295" y="571"/>
                  </a:cubicBezTo>
                  <a:cubicBezTo>
                    <a:pt x="295" y="571"/>
                    <a:pt x="295" y="571"/>
                    <a:pt x="296" y="571"/>
                  </a:cubicBezTo>
                  <a:cubicBezTo>
                    <a:pt x="295" y="570"/>
                    <a:pt x="294" y="570"/>
                    <a:pt x="293" y="569"/>
                  </a:cubicBezTo>
                  <a:moveTo>
                    <a:pt x="297" y="572"/>
                  </a:moveTo>
                  <a:cubicBezTo>
                    <a:pt x="296" y="572"/>
                    <a:pt x="296" y="572"/>
                    <a:pt x="296" y="572"/>
                  </a:cubicBezTo>
                  <a:cubicBezTo>
                    <a:pt x="298" y="574"/>
                    <a:pt x="300" y="575"/>
                    <a:pt x="302" y="576"/>
                  </a:cubicBezTo>
                  <a:cubicBezTo>
                    <a:pt x="302" y="577"/>
                    <a:pt x="302" y="577"/>
                    <a:pt x="303" y="577"/>
                  </a:cubicBezTo>
                  <a:cubicBezTo>
                    <a:pt x="303" y="577"/>
                    <a:pt x="304" y="578"/>
                    <a:pt x="304" y="578"/>
                  </a:cubicBezTo>
                  <a:cubicBezTo>
                    <a:pt x="305" y="578"/>
                    <a:pt x="305" y="578"/>
                    <a:pt x="305" y="578"/>
                  </a:cubicBezTo>
                  <a:cubicBezTo>
                    <a:pt x="305" y="577"/>
                    <a:pt x="304" y="577"/>
                    <a:pt x="304" y="577"/>
                  </a:cubicBezTo>
                  <a:cubicBezTo>
                    <a:pt x="304" y="576"/>
                    <a:pt x="303" y="576"/>
                    <a:pt x="303" y="576"/>
                  </a:cubicBezTo>
                  <a:cubicBezTo>
                    <a:pt x="301" y="575"/>
                    <a:pt x="299" y="573"/>
                    <a:pt x="297" y="572"/>
                  </a:cubicBezTo>
                  <a:moveTo>
                    <a:pt x="94" y="574"/>
                  </a:moveTo>
                  <a:cubicBezTo>
                    <a:pt x="94" y="575"/>
                    <a:pt x="94" y="575"/>
                    <a:pt x="94" y="575"/>
                  </a:cubicBezTo>
                  <a:cubicBezTo>
                    <a:pt x="98" y="577"/>
                    <a:pt x="103" y="578"/>
                    <a:pt x="108" y="580"/>
                  </a:cubicBezTo>
                  <a:cubicBezTo>
                    <a:pt x="108" y="579"/>
                    <a:pt x="108" y="579"/>
                    <a:pt x="108" y="579"/>
                  </a:cubicBezTo>
                  <a:cubicBezTo>
                    <a:pt x="103" y="577"/>
                    <a:pt x="98" y="576"/>
                    <a:pt x="94" y="574"/>
                  </a:cubicBezTo>
                  <a:moveTo>
                    <a:pt x="306" y="578"/>
                  </a:moveTo>
                  <a:cubicBezTo>
                    <a:pt x="306" y="578"/>
                    <a:pt x="305" y="579"/>
                    <a:pt x="305" y="579"/>
                  </a:cubicBezTo>
                  <a:cubicBezTo>
                    <a:pt x="306" y="579"/>
                    <a:pt x="306" y="580"/>
                    <a:pt x="307" y="580"/>
                  </a:cubicBezTo>
                  <a:cubicBezTo>
                    <a:pt x="308" y="580"/>
                    <a:pt x="308" y="580"/>
                    <a:pt x="308" y="580"/>
                  </a:cubicBezTo>
                  <a:cubicBezTo>
                    <a:pt x="308" y="579"/>
                    <a:pt x="307" y="579"/>
                    <a:pt x="306" y="578"/>
                  </a:cubicBezTo>
                  <a:moveTo>
                    <a:pt x="109" y="579"/>
                  </a:moveTo>
                  <a:cubicBezTo>
                    <a:pt x="109" y="579"/>
                    <a:pt x="109" y="580"/>
                    <a:pt x="109" y="580"/>
                  </a:cubicBezTo>
                  <a:cubicBezTo>
                    <a:pt x="111" y="581"/>
                    <a:pt x="114" y="582"/>
                    <a:pt x="117" y="582"/>
                  </a:cubicBezTo>
                  <a:cubicBezTo>
                    <a:pt x="118" y="583"/>
                    <a:pt x="118" y="583"/>
                    <a:pt x="119" y="583"/>
                  </a:cubicBezTo>
                  <a:cubicBezTo>
                    <a:pt x="123" y="584"/>
                    <a:pt x="129" y="586"/>
                    <a:pt x="134" y="587"/>
                  </a:cubicBezTo>
                  <a:cubicBezTo>
                    <a:pt x="134" y="587"/>
                    <a:pt x="134" y="587"/>
                    <a:pt x="135" y="587"/>
                  </a:cubicBezTo>
                  <a:cubicBezTo>
                    <a:pt x="130" y="585"/>
                    <a:pt x="125" y="584"/>
                    <a:pt x="120" y="582"/>
                  </a:cubicBezTo>
                  <a:cubicBezTo>
                    <a:pt x="119" y="582"/>
                    <a:pt x="119" y="582"/>
                    <a:pt x="118" y="582"/>
                  </a:cubicBezTo>
                  <a:cubicBezTo>
                    <a:pt x="115" y="581"/>
                    <a:pt x="112" y="580"/>
                    <a:pt x="109" y="579"/>
                  </a:cubicBezTo>
                  <a:moveTo>
                    <a:pt x="309" y="581"/>
                  </a:moveTo>
                  <a:cubicBezTo>
                    <a:pt x="309" y="581"/>
                    <a:pt x="309" y="581"/>
                    <a:pt x="308" y="581"/>
                  </a:cubicBezTo>
                  <a:cubicBezTo>
                    <a:pt x="311" y="583"/>
                    <a:pt x="313" y="585"/>
                    <a:pt x="315" y="586"/>
                  </a:cubicBezTo>
                  <a:cubicBezTo>
                    <a:pt x="315" y="586"/>
                    <a:pt x="316" y="586"/>
                    <a:pt x="316" y="586"/>
                  </a:cubicBezTo>
                  <a:cubicBezTo>
                    <a:pt x="314" y="584"/>
                    <a:pt x="312" y="582"/>
                    <a:pt x="309" y="581"/>
                  </a:cubicBezTo>
                  <a:moveTo>
                    <a:pt x="317" y="587"/>
                  </a:moveTo>
                  <a:cubicBezTo>
                    <a:pt x="316" y="587"/>
                    <a:pt x="316" y="587"/>
                    <a:pt x="316" y="587"/>
                  </a:cubicBezTo>
                  <a:cubicBezTo>
                    <a:pt x="316" y="588"/>
                    <a:pt x="317" y="588"/>
                    <a:pt x="318" y="589"/>
                  </a:cubicBezTo>
                  <a:cubicBezTo>
                    <a:pt x="318" y="589"/>
                    <a:pt x="318" y="589"/>
                    <a:pt x="319" y="589"/>
                  </a:cubicBezTo>
                  <a:cubicBezTo>
                    <a:pt x="319" y="590"/>
                    <a:pt x="320" y="591"/>
                    <a:pt x="321" y="591"/>
                  </a:cubicBezTo>
                  <a:cubicBezTo>
                    <a:pt x="321" y="591"/>
                    <a:pt x="321" y="591"/>
                    <a:pt x="322" y="591"/>
                  </a:cubicBezTo>
                  <a:cubicBezTo>
                    <a:pt x="321" y="590"/>
                    <a:pt x="320" y="590"/>
                    <a:pt x="320" y="589"/>
                  </a:cubicBezTo>
                  <a:cubicBezTo>
                    <a:pt x="319" y="589"/>
                    <a:pt x="319" y="588"/>
                    <a:pt x="319" y="588"/>
                  </a:cubicBezTo>
                  <a:cubicBezTo>
                    <a:pt x="318" y="588"/>
                    <a:pt x="317" y="587"/>
                    <a:pt x="317" y="587"/>
                  </a:cubicBezTo>
                  <a:moveTo>
                    <a:pt x="136" y="587"/>
                  </a:moveTo>
                  <a:cubicBezTo>
                    <a:pt x="136" y="587"/>
                    <a:pt x="135" y="587"/>
                    <a:pt x="135" y="588"/>
                  </a:cubicBezTo>
                  <a:cubicBezTo>
                    <a:pt x="137" y="588"/>
                    <a:pt x="139" y="589"/>
                    <a:pt x="141" y="589"/>
                  </a:cubicBezTo>
                  <a:cubicBezTo>
                    <a:pt x="140" y="589"/>
                    <a:pt x="139" y="588"/>
                    <a:pt x="138" y="587"/>
                  </a:cubicBezTo>
                  <a:cubicBezTo>
                    <a:pt x="137" y="587"/>
                    <a:pt x="137" y="587"/>
                    <a:pt x="136" y="587"/>
                  </a:cubicBezTo>
                  <a:moveTo>
                    <a:pt x="141" y="588"/>
                  </a:moveTo>
                  <a:cubicBezTo>
                    <a:pt x="142" y="589"/>
                    <a:pt x="143" y="589"/>
                    <a:pt x="144" y="590"/>
                  </a:cubicBezTo>
                  <a:cubicBezTo>
                    <a:pt x="150" y="592"/>
                    <a:pt x="157" y="593"/>
                    <a:pt x="163" y="595"/>
                  </a:cubicBezTo>
                  <a:cubicBezTo>
                    <a:pt x="164" y="595"/>
                    <a:pt x="164" y="595"/>
                    <a:pt x="165" y="594"/>
                  </a:cubicBezTo>
                  <a:cubicBezTo>
                    <a:pt x="157" y="592"/>
                    <a:pt x="149" y="590"/>
                    <a:pt x="141" y="588"/>
                  </a:cubicBezTo>
                  <a:moveTo>
                    <a:pt x="323" y="592"/>
                  </a:moveTo>
                  <a:cubicBezTo>
                    <a:pt x="322" y="592"/>
                    <a:pt x="322" y="592"/>
                    <a:pt x="322" y="592"/>
                  </a:cubicBezTo>
                  <a:cubicBezTo>
                    <a:pt x="322" y="592"/>
                    <a:pt x="322" y="593"/>
                    <a:pt x="323" y="593"/>
                  </a:cubicBezTo>
                  <a:cubicBezTo>
                    <a:pt x="323" y="593"/>
                    <a:pt x="323" y="593"/>
                    <a:pt x="324" y="592"/>
                  </a:cubicBezTo>
                  <a:cubicBezTo>
                    <a:pt x="323" y="592"/>
                    <a:pt x="323" y="592"/>
                    <a:pt x="323" y="592"/>
                  </a:cubicBezTo>
                  <a:moveTo>
                    <a:pt x="324" y="593"/>
                  </a:moveTo>
                  <a:cubicBezTo>
                    <a:pt x="324" y="593"/>
                    <a:pt x="324" y="593"/>
                    <a:pt x="324" y="594"/>
                  </a:cubicBezTo>
                  <a:cubicBezTo>
                    <a:pt x="324" y="594"/>
                    <a:pt x="324" y="594"/>
                    <a:pt x="324" y="594"/>
                  </a:cubicBezTo>
                  <a:cubicBezTo>
                    <a:pt x="324" y="594"/>
                    <a:pt x="325" y="595"/>
                    <a:pt x="325" y="595"/>
                  </a:cubicBezTo>
                  <a:cubicBezTo>
                    <a:pt x="325" y="595"/>
                    <a:pt x="325" y="595"/>
                    <a:pt x="325" y="595"/>
                  </a:cubicBezTo>
                  <a:cubicBezTo>
                    <a:pt x="326" y="596"/>
                    <a:pt x="326" y="596"/>
                    <a:pt x="326" y="596"/>
                  </a:cubicBezTo>
                  <a:cubicBezTo>
                    <a:pt x="326" y="596"/>
                    <a:pt x="326" y="596"/>
                    <a:pt x="326" y="596"/>
                  </a:cubicBezTo>
                  <a:cubicBezTo>
                    <a:pt x="327" y="597"/>
                    <a:pt x="327" y="597"/>
                    <a:pt x="327" y="597"/>
                  </a:cubicBezTo>
                  <a:cubicBezTo>
                    <a:pt x="327" y="597"/>
                    <a:pt x="328" y="598"/>
                    <a:pt x="328" y="598"/>
                  </a:cubicBezTo>
                  <a:cubicBezTo>
                    <a:pt x="329" y="598"/>
                    <a:pt x="329" y="598"/>
                    <a:pt x="329" y="598"/>
                  </a:cubicBezTo>
                  <a:cubicBezTo>
                    <a:pt x="329" y="597"/>
                    <a:pt x="328" y="597"/>
                    <a:pt x="328" y="596"/>
                  </a:cubicBezTo>
                  <a:cubicBezTo>
                    <a:pt x="327" y="596"/>
                    <a:pt x="327" y="596"/>
                    <a:pt x="327" y="595"/>
                  </a:cubicBezTo>
                  <a:cubicBezTo>
                    <a:pt x="326" y="595"/>
                    <a:pt x="326" y="595"/>
                    <a:pt x="326" y="595"/>
                  </a:cubicBezTo>
                  <a:cubicBezTo>
                    <a:pt x="326" y="594"/>
                    <a:pt x="326" y="594"/>
                    <a:pt x="325" y="594"/>
                  </a:cubicBezTo>
                  <a:cubicBezTo>
                    <a:pt x="325" y="594"/>
                    <a:pt x="325" y="594"/>
                    <a:pt x="325" y="594"/>
                  </a:cubicBezTo>
                  <a:cubicBezTo>
                    <a:pt x="325" y="594"/>
                    <a:pt x="325" y="593"/>
                    <a:pt x="324" y="593"/>
                  </a:cubicBezTo>
                  <a:moveTo>
                    <a:pt x="166" y="595"/>
                  </a:moveTo>
                  <a:cubicBezTo>
                    <a:pt x="166" y="595"/>
                    <a:pt x="165" y="595"/>
                    <a:pt x="165" y="595"/>
                  </a:cubicBezTo>
                  <a:cubicBezTo>
                    <a:pt x="168" y="596"/>
                    <a:pt x="171" y="597"/>
                    <a:pt x="174" y="598"/>
                  </a:cubicBezTo>
                  <a:cubicBezTo>
                    <a:pt x="174" y="598"/>
                    <a:pt x="175" y="598"/>
                    <a:pt x="175" y="598"/>
                  </a:cubicBezTo>
                  <a:cubicBezTo>
                    <a:pt x="178" y="599"/>
                    <a:pt x="181" y="599"/>
                    <a:pt x="184" y="600"/>
                  </a:cubicBezTo>
                  <a:cubicBezTo>
                    <a:pt x="178" y="598"/>
                    <a:pt x="173" y="597"/>
                    <a:pt x="168" y="595"/>
                  </a:cubicBezTo>
                  <a:cubicBezTo>
                    <a:pt x="167" y="595"/>
                    <a:pt x="167" y="595"/>
                    <a:pt x="166" y="595"/>
                  </a:cubicBezTo>
                  <a:moveTo>
                    <a:pt x="330" y="599"/>
                  </a:moveTo>
                  <a:cubicBezTo>
                    <a:pt x="330" y="599"/>
                    <a:pt x="329" y="599"/>
                    <a:pt x="329" y="599"/>
                  </a:cubicBezTo>
                  <a:cubicBezTo>
                    <a:pt x="330" y="600"/>
                    <a:pt x="331" y="601"/>
                    <a:pt x="331" y="602"/>
                  </a:cubicBezTo>
                  <a:cubicBezTo>
                    <a:pt x="332" y="602"/>
                    <a:pt x="332" y="602"/>
                    <a:pt x="332" y="602"/>
                  </a:cubicBezTo>
                  <a:cubicBezTo>
                    <a:pt x="332" y="601"/>
                    <a:pt x="331" y="600"/>
                    <a:pt x="330" y="599"/>
                  </a:cubicBezTo>
                  <a:moveTo>
                    <a:pt x="183" y="599"/>
                  </a:moveTo>
                  <a:cubicBezTo>
                    <a:pt x="187" y="600"/>
                    <a:pt x="190" y="601"/>
                    <a:pt x="194" y="602"/>
                  </a:cubicBezTo>
                  <a:cubicBezTo>
                    <a:pt x="194" y="602"/>
                    <a:pt x="194" y="602"/>
                    <a:pt x="195" y="602"/>
                  </a:cubicBezTo>
                  <a:cubicBezTo>
                    <a:pt x="194" y="602"/>
                    <a:pt x="193" y="601"/>
                    <a:pt x="192" y="601"/>
                  </a:cubicBezTo>
                  <a:cubicBezTo>
                    <a:pt x="189" y="600"/>
                    <a:pt x="186" y="600"/>
                    <a:pt x="183" y="599"/>
                  </a:cubicBezTo>
                  <a:moveTo>
                    <a:pt x="333" y="602"/>
                  </a:moveTo>
                  <a:cubicBezTo>
                    <a:pt x="333" y="602"/>
                    <a:pt x="332" y="603"/>
                    <a:pt x="332" y="603"/>
                  </a:cubicBezTo>
                  <a:cubicBezTo>
                    <a:pt x="332" y="603"/>
                    <a:pt x="332" y="603"/>
                    <a:pt x="332" y="603"/>
                  </a:cubicBezTo>
                  <a:cubicBezTo>
                    <a:pt x="333" y="603"/>
                    <a:pt x="333" y="603"/>
                    <a:pt x="333" y="604"/>
                  </a:cubicBezTo>
                  <a:cubicBezTo>
                    <a:pt x="333" y="604"/>
                    <a:pt x="333" y="604"/>
                    <a:pt x="333" y="604"/>
                  </a:cubicBezTo>
                  <a:cubicBezTo>
                    <a:pt x="334" y="604"/>
                    <a:pt x="334" y="604"/>
                    <a:pt x="334" y="604"/>
                  </a:cubicBezTo>
                  <a:cubicBezTo>
                    <a:pt x="334" y="604"/>
                    <a:pt x="334" y="603"/>
                    <a:pt x="333" y="603"/>
                  </a:cubicBezTo>
                  <a:cubicBezTo>
                    <a:pt x="333" y="603"/>
                    <a:pt x="333" y="603"/>
                    <a:pt x="333" y="602"/>
                  </a:cubicBezTo>
                  <a:moveTo>
                    <a:pt x="196" y="602"/>
                  </a:moveTo>
                  <a:cubicBezTo>
                    <a:pt x="196" y="603"/>
                    <a:pt x="196" y="603"/>
                    <a:pt x="196" y="603"/>
                  </a:cubicBezTo>
                  <a:cubicBezTo>
                    <a:pt x="196" y="603"/>
                    <a:pt x="196" y="603"/>
                    <a:pt x="196" y="603"/>
                  </a:cubicBezTo>
                  <a:cubicBezTo>
                    <a:pt x="196" y="603"/>
                    <a:pt x="196" y="603"/>
                    <a:pt x="196" y="603"/>
                  </a:cubicBezTo>
                  <a:cubicBezTo>
                    <a:pt x="196" y="602"/>
                    <a:pt x="196" y="602"/>
                    <a:pt x="196" y="602"/>
                  </a:cubicBezTo>
                  <a:moveTo>
                    <a:pt x="197" y="603"/>
                  </a:moveTo>
                  <a:cubicBezTo>
                    <a:pt x="197" y="603"/>
                    <a:pt x="197" y="603"/>
                    <a:pt x="197" y="603"/>
                  </a:cubicBezTo>
                  <a:cubicBezTo>
                    <a:pt x="198" y="603"/>
                    <a:pt x="199" y="604"/>
                    <a:pt x="199" y="604"/>
                  </a:cubicBezTo>
                  <a:cubicBezTo>
                    <a:pt x="200" y="604"/>
                    <a:pt x="200" y="604"/>
                    <a:pt x="201" y="604"/>
                  </a:cubicBezTo>
                  <a:cubicBezTo>
                    <a:pt x="199" y="604"/>
                    <a:pt x="198" y="603"/>
                    <a:pt x="197" y="603"/>
                  </a:cubicBezTo>
                  <a:moveTo>
                    <a:pt x="200" y="603"/>
                  </a:moveTo>
                  <a:cubicBezTo>
                    <a:pt x="203" y="604"/>
                    <a:pt x="206" y="605"/>
                    <a:pt x="209" y="606"/>
                  </a:cubicBezTo>
                  <a:cubicBezTo>
                    <a:pt x="210" y="606"/>
                    <a:pt x="211" y="606"/>
                    <a:pt x="211" y="607"/>
                  </a:cubicBezTo>
                  <a:cubicBezTo>
                    <a:pt x="212" y="607"/>
                    <a:pt x="212" y="607"/>
                    <a:pt x="213" y="607"/>
                  </a:cubicBezTo>
                  <a:cubicBezTo>
                    <a:pt x="213" y="607"/>
                    <a:pt x="213" y="607"/>
                    <a:pt x="213" y="607"/>
                  </a:cubicBezTo>
                  <a:cubicBezTo>
                    <a:pt x="213" y="607"/>
                    <a:pt x="214" y="606"/>
                    <a:pt x="214" y="606"/>
                  </a:cubicBezTo>
                  <a:cubicBezTo>
                    <a:pt x="214" y="606"/>
                    <a:pt x="214" y="606"/>
                    <a:pt x="214" y="606"/>
                  </a:cubicBezTo>
                  <a:cubicBezTo>
                    <a:pt x="213" y="606"/>
                    <a:pt x="213" y="606"/>
                    <a:pt x="213" y="606"/>
                  </a:cubicBezTo>
                  <a:cubicBezTo>
                    <a:pt x="213" y="606"/>
                    <a:pt x="212" y="606"/>
                    <a:pt x="212" y="606"/>
                  </a:cubicBezTo>
                  <a:cubicBezTo>
                    <a:pt x="212" y="606"/>
                    <a:pt x="211" y="605"/>
                    <a:pt x="211" y="605"/>
                  </a:cubicBezTo>
                  <a:cubicBezTo>
                    <a:pt x="210" y="605"/>
                    <a:pt x="208" y="605"/>
                    <a:pt x="207" y="605"/>
                  </a:cubicBezTo>
                  <a:cubicBezTo>
                    <a:pt x="207" y="604"/>
                    <a:pt x="206" y="604"/>
                    <a:pt x="206" y="604"/>
                  </a:cubicBezTo>
                  <a:cubicBezTo>
                    <a:pt x="204" y="604"/>
                    <a:pt x="202" y="603"/>
                    <a:pt x="200" y="603"/>
                  </a:cubicBezTo>
                  <a:moveTo>
                    <a:pt x="335" y="605"/>
                  </a:moveTo>
                  <a:cubicBezTo>
                    <a:pt x="334" y="605"/>
                    <a:pt x="334" y="605"/>
                    <a:pt x="334" y="605"/>
                  </a:cubicBezTo>
                  <a:cubicBezTo>
                    <a:pt x="335" y="606"/>
                    <a:pt x="336" y="608"/>
                    <a:pt x="336" y="609"/>
                  </a:cubicBezTo>
                  <a:cubicBezTo>
                    <a:pt x="336" y="609"/>
                    <a:pt x="337" y="609"/>
                    <a:pt x="337" y="609"/>
                  </a:cubicBezTo>
                  <a:cubicBezTo>
                    <a:pt x="336" y="607"/>
                    <a:pt x="336" y="606"/>
                    <a:pt x="335" y="605"/>
                  </a:cubicBezTo>
                  <a:moveTo>
                    <a:pt x="215" y="607"/>
                  </a:moveTo>
                  <a:cubicBezTo>
                    <a:pt x="215" y="607"/>
                    <a:pt x="215" y="607"/>
                    <a:pt x="214" y="607"/>
                  </a:cubicBezTo>
                  <a:cubicBezTo>
                    <a:pt x="214" y="607"/>
                    <a:pt x="214" y="607"/>
                    <a:pt x="215" y="607"/>
                  </a:cubicBezTo>
                  <a:cubicBezTo>
                    <a:pt x="215" y="607"/>
                    <a:pt x="216" y="607"/>
                    <a:pt x="216" y="608"/>
                  </a:cubicBezTo>
                  <a:cubicBezTo>
                    <a:pt x="216" y="608"/>
                    <a:pt x="217" y="608"/>
                    <a:pt x="217" y="608"/>
                  </a:cubicBezTo>
                  <a:cubicBezTo>
                    <a:pt x="217" y="608"/>
                    <a:pt x="217" y="608"/>
                    <a:pt x="217" y="608"/>
                  </a:cubicBezTo>
                  <a:cubicBezTo>
                    <a:pt x="217" y="608"/>
                    <a:pt x="218" y="608"/>
                    <a:pt x="218" y="608"/>
                  </a:cubicBezTo>
                  <a:cubicBezTo>
                    <a:pt x="219" y="608"/>
                    <a:pt x="219" y="608"/>
                    <a:pt x="220" y="608"/>
                  </a:cubicBezTo>
                  <a:cubicBezTo>
                    <a:pt x="218" y="608"/>
                    <a:pt x="217" y="607"/>
                    <a:pt x="215" y="607"/>
                  </a:cubicBezTo>
                  <a:moveTo>
                    <a:pt x="221" y="608"/>
                  </a:moveTo>
                  <a:cubicBezTo>
                    <a:pt x="222" y="608"/>
                    <a:pt x="223" y="608"/>
                    <a:pt x="223" y="609"/>
                  </a:cubicBezTo>
                  <a:cubicBezTo>
                    <a:pt x="224" y="609"/>
                    <a:pt x="224" y="609"/>
                    <a:pt x="224" y="609"/>
                  </a:cubicBezTo>
                  <a:cubicBezTo>
                    <a:pt x="224" y="609"/>
                    <a:pt x="225" y="609"/>
                    <a:pt x="225" y="608"/>
                  </a:cubicBezTo>
                  <a:cubicBezTo>
                    <a:pt x="225" y="608"/>
                    <a:pt x="224" y="608"/>
                    <a:pt x="224" y="608"/>
                  </a:cubicBezTo>
                  <a:cubicBezTo>
                    <a:pt x="224" y="608"/>
                    <a:pt x="223" y="608"/>
                    <a:pt x="223" y="608"/>
                  </a:cubicBezTo>
                  <a:cubicBezTo>
                    <a:pt x="222" y="608"/>
                    <a:pt x="222" y="608"/>
                    <a:pt x="221" y="608"/>
                  </a:cubicBezTo>
                  <a:moveTo>
                    <a:pt x="227" y="609"/>
                  </a:moveTo>
                  <a:cubicBezTo>
                    <a:pt x="226" y="609"/>
                    <a:pt x="226" y="609"/>
                    <a:pt x="225" y="609"/>
                  </a:cubicBezTo>
                  <a:cubicBezTo>
                    <a:pt x="226" y="610"/>
                    <a:pt x="226" y="610"/>
                    <a:pt x="226" y="610"/>
                  </a:cubicBezTo>
                  <a:cubicBezTo>
                    <a:pt x="227" y="610"/>
                    <a:pt x="227" y="610"/>
                    <a:pt x="227" y="610"/>
                  </a:cubicBezTo>
                  <a:cubicBezTo>
                    <a:pt x="228" y="610"/>
                    <a:pt x="228" y="610"/>
                    <a:pt x="229" y="610"/>
                  </a:cubicBezTo>
                  <a:cubicBezTo>
                    <a:pt x="229" y="610"/>
                    <a:pt x="229" y="610"/>
                    <a:pt x="230" y="610"/>
                  </a:cubicBezTo>
                  <a:cubicBezTo>
                    <a:pt x="230" y="610"/>
                    <a:pt x="230" y="610"/>
                    <a:pt x="230" y="611"/>
                  </a:cubicBezTo>
                  <a:cubicBezTo>
                    <a:pt x="230" y="610"/>
                    <a:pt x="231" y="610"/>
                    <a:pt x="231" y="610"/>
                  </a:cubicBezTo>
                  <a:cubicBezTo>
                    <a:pt x="231" y="610"/>
                    <a:pt x="231" y="610"/>
                    <a:pt x="230" y="610"/>
                  </a:cubicBezTo>
                  <a:cubicBezTo>
                    <a:pt x="230" y="610"/>
                    <a:pt x="229" y="609"/>
                    <a:pt x="229" y="609"/>
                  </a:cubicBezTo>
                  <a:cubicBezTo>
                    <a:pt x="229" y="609"/>
                    <a:pt x="229" y="609"/>
                    <a:pt x="229" y="609"/>
                  </a:cubicBezTo>
                  <a:cubicBezTo>
                    <a:pt x="228" y="609"/>
                    <a:pt x="227" y="609"/>
                    <a:pt x="227" y="609"/>
                  </a:cubicBezTo>
                  <a:moveTo>
                    <a:pt x="337" y="610"/>
                  </a:moveTo>
                  <a:cubicBezTo>
                    <a:pt x="337" y="610"/>
                    <a:pt x="337" y="610"/>
                    <a:pt x="336" y="610"/>
                  </a:cubicBezTo>
                  <a:cubicBezTo>
                    <a:pt x="336" y="611"/>
                    <a:pt x="337" y="612"/>
                    <a:pt x="337" y="612"/>
                  </a:cubicBezTo>
                  <a:cubicBezTo>
                    <a:pt x="337" y="613"/>
                    <a:pt x="337" y="613"/>
                    <a:pt x="336" y="614"/>
                  </a:cubicBezTo>
                  <a:cubicBezTo>
                    <a:pt x="337" y="613"/>
                    <a:pt x="337" y="613"/>
                    <a:pt x="338" y="613"/>
                  </a:cubicBezTo>
                  <a:cubicBezTo>
                    <a:pt x="338" y="613"/>
                    <a:pt x="338" y="613"/>
                    <a:pt x="338" y="612"/>
                  </a:cubicBezTo>
                  <a:cubicBezTo>
                    <a:pt x="338" y="612"/>
                    <a:pt x="337" y="611"/>
                    <a:pt x="337" y="610"/>
                  </a:cubicBezTo>
                  <a:moveTo>
                    <a:pt x="233" y="610"/>
                  </a:moveTo>
                  <a:cubicBezTo>
                    <a:pt x="233" y="610"/>
                    <a:pt x="232" y="611"/>
                    <a:pt x="232" y="611"/>
                  </a:cubicBezTo>
                  <a:cubicBezTo>
                    <a:pt x="234" y="611"/>
                    <a:pt x="236" y="612"/>
                    <a:pt x="239" y="612"/>
                  </a:cubicBezTo>
                  <a:cubicBezTo>
                    <a:pt x="239" y="612"/>
                    <a:pt x="240" y="613"/>
                    <a:pt x="240" y="613"/>
                  </a:cubicBezTo>
                  <a:cubicBezTo>
                    <a:pt x="240" y="613"/>
                    <a:pt x="240" y="613"/>
                    <a:pt x="241" y="613"/>
                  </a:cubicBezTo>
                  <a:cubicBezTo>
                    <a:pt x="239" y="612"/>
                    <a:pt x="237" y="611"/>
                    <a:pt x="236" y="611"/>
                  </a:cubicBezTo>
                  <a:cubicBezTo>
                    <a:pt x="235" y="611"/>
                    <a:pt x="234" y="610"/>
                    <a:pt x="233" y="610"/>
                  </a:cubicBezTo>
                  <a:moveTo>
                    <a:pt x="241" y="612"/>
                  </a:moveTo>
                  <a:cubicBezTo>
                    <a:pt x="242" y="612"/>
                    <a:pt x="244" y="613"/>
                    <a:pt x="246" y="614"/>
                  </a:cubicBezTo>
                  <a:cubicBezTo>
                    <a:pt x="247" y="614"/>
                    <a:pt x="247" y="614"/>
                    <a:pt x="248" y="614"/>
                  </a:cubicBezTo>
                  <a:cubicBezTo>
                    <a:pt x="249" y="614"/>
                    <a:pt x="249" y="614"/>
                    <a:pt x="250" y="613"/>
                  </a:cubicBezTo>
                  <a:cubicBezTo>
                    <a:pt x="250" y="613"/>
                    <a:pt x="249" y="613"/>
                    <a:pt x="249" y="613"/>
                  </a:cubicBezTo>
                  <a:cubicBezTo>
                    <a:pt x="248" y="613"/>
                    <a:pt x="248" y="613"/>
                    <a:pt x="247" y="613"/>
                  </a:cubicBezTo>
                  <a:cubicBezTo>
                    <a:pt x="245" y="613"/>
                    <a:pt x="243" y="612"/>
                    <a:pt x="241" y="612"/>
                  </a:cubicBezTo>
                  <a:moveTo>
                    <a:pt x="251" y="614"/>
                  </a:moveTo>
                  <a:cubicBezTo>
                    <a:pt x="251" y="614"/>
                    <a:pt x="250" y="614"/>
                    <a:pt x="250" y="614"/>
                  </a:cubicBezTo>
                  <a:cubicBezTo>
                    <a:pt x="250" y="615"/>
                    <a:pt x="250" y="615"/>
                    <a:pt x="250" y="615"/>
                  </a:cubicBezTo>
                  <a:cubicBezTo>
                    <a:pt x="251" y="615"/>
                    <a:pt x="252" y="615"/>
                    <a:pt x="252" y="615"/>
                  </a:cubicBezTo>
                  <a:cubicBezTo>
                    <a:pt x="253" y="615"/>
                    <a:pt x="254" y="615"/>
                    <a:pt x="254" y="614"/>
                  </a:cubicBezTo>
                  <a:cubicBezTo>
                    <a:pt x="254" y="614"/>
                    <a:pt x="254" y="614"/>
                    <a:pt x="254" y="614"/>
                  </a:cubicBezTo>
                  <a:cubicBezTo>
                    <a:pt x="253" y="614"/>
                    <a:pt x="253" y="614"/>
                    <a:pt x="252" y="614"/>
                  </a:cubicBezTo>
                  <a:cubicBezTo>
                    <a:pt x="252" y="614"/>
                    <a:pt x="252" y="614"/>
                    <a:pt x="251" y="614"/>
                  </a:cubicBezTo>
                  <a:moveTo>
                    <a:pt x="337" y="615"/>
                  </a:moveTo>
                  <a:cubicBezTo>
                    <a:pt x="337" y="615"/>
                    <a:pt x="336" y="615"/>
                    <a:pt x="336" y="615"/>
                  </a:cubicBezTo>
                  <a:cubicBezTo>
                    <a:pt x="335" y="616"/>
                    <a:pt x="334" y="617"/>
                    <a:pt x="332" y="618"/>
                  </a:cubicBezTo>
                  <a:cubicBezTo>
                    <a:pt x="333" y="618"/>
                    <a:pt x="335" y="617"/>
                    <a:pt x="336" y="617"/>
                  </a:cubicBezTo>
                  <a:cubicBezTo>
                    <a:pt x="336" y="616"/>
                    <a:pt x="337" y="615"/>
                    <a:pt x="337" y="615"/>
                  </a:cubicBezTo>
                  <a:moveTo>
                    <a:pt x="256" y="615"/>
                  </a:moveTo>
                  <a:cubicBezTo>
                    <a:pt x="255" y="615"/>
                    <a:pt x="255" y="615"/>
                    <a:pt x="254" y="615"/>
                  </a:cubicBezTo>
                  <a:cubicBezTo>
                    <a:pt x="255" y="615"/>
                    <a:pt x="255" y="615"/>
                    <a:pt x="255" y="615"/>
                  </a:cubicBezTo>
                  <a:cubicBezTo>
                    <a:pt x="256" y="616"/>
                    <a:pt x="257" y="616"/>
                    <a:pt x="258" y="616"/>
                  </a:cubicBezTo>
                  <a:cubicBezTo>
                    <a:pt x="258" y="616"/>
                    <a:pt x="258" y="616"/>
                    <a:pt x="259" y="616"/>
                  </a:cubicBezTo>
                  <a:cubicBezTo>
                    <a:pt x="259" y="616"/>
                    <a:pt x="259" y="616"/>
                    <a:pt x="260" y="616"/>
                  </a:cubicBezTo>
                  <a:cubicBezTo>
                    <a:pt x="260" y="616"/>
                    <a:pt x="260" y="616"/>
                    <a:pt x="260" y="616"/>
                  </a:cubicBezTo>
                  <a:cubicBezTo>
                    <a:pt x="260" y="616"/>
                    <a:pt x="261" y="617"/>
                    <a:pt x="261" y="617"/>
                  </a:cubicBezTo>
                  <a:cubicBezTo>
                    <a:pt x="260" y="616"/>
                    <a:pt x="259" y="615"/>
                    <a:pt x="257" y="615"/>
                  </a:cubicBezTo>
                  <a:cubicBezTo>
                    <a:pt x="257" y="615"/>
                    <a:pt x="257" y="615"/>
                    <a:pt x="257" y="615"/>
                  </a:cubicBezTo>
                  <a:cubicBezTo>
                    <a:pt x="256" y="615"/>
                    <a:pt x="256" y="615"/>
                    <a:pt x="256" y="615"/>
                  </a:cubicBezTo>
                  <a:moveTo>
                    <a:pt x="262" y="616"/>
                  </a:moveTo>
                  <a:cubicBezTo>
                    <a:pt x="262" y="616"/>
                    <a:pt x="263" y="616"/>
                    <a:pt x="264" y="616"/>
                  </a:cubicBezTo>
                  <a:cubicBezTo>
                    <a:pt x="264" y="616"/>
                    <a:pt x="264" y="616"/>
                    <a:pt x="265" y="616"/>
                  </a:cubicBezTo>
                  <a:cubicBezTo>
                    <a:pt x="264" y="616"/>
                    <a:pt x="263" y="616"/>
                    <a:pt x="263" y="616"/>
                  </a:cubicBezTo>
                  <a:cubicBezTo>
                    <a:pt x="262" y="616"/>
                    <a:pt x="262" y="616"/>
                    <a:pt x="262" y="616"/>
                  </a:cubicBezTo>
                  <a:moveTo>
                    <a:pt x="266" y="616"/>
                  </a:moveTo>
                  <a:cubicBezTo>
                    <a:pt x="266" y="617"/>
                    <a:pt x="265" y="617"/>
                    <a:pt x="265" y="617"/>
                  </a:cubicBezTo>
                  <a:cubicBezTo>
                    <a:pt x="265" y="617"/>
                    <a:pt x="265" y="617"/>
                    <a:pt x="266" y="617"/>
                  </a:cubicBezTo>
                  <a:cubicBezTo>
                    <a:pt x="266" y="617"/>
                    <a:pt x="266" y="617"/>
                    <a:pt x="266" y="617"/>
                  </a:cubicBezTo>
                  <a:cubicBezTo>
                    <a:pt x="266" y="617"/>
                    <a:pt x="266" y="617"/>
                    <a:pt x="266" y="617"/>
                  </a:cubicBezTo>
                  <a:cubicBezTo>
                    <a:pt x="270" y="618"/>
                    <a:pt x="273" y="618"/>
                    <a:pt x="276" y="619"/>
                  </a:cubicBezTo>
                  <a:cubicBezTo>
                    <a:pt x="276" y="619"/>
                    <a:pt x="277" y="618"/>
                    <a:pt x="278" y="618"/>
                  </a:cubicBezTo>
                  <a:cubicBezTo>
                    <a:pt x="275" y="618"/>
                    <a:pt x="272" y="617"/>
                    <a:pt x="269" y="617"/>
                  </a:cubicBezTo>
                  <a:cubicBezTo>
                    <a:pt x="268" y="617"/>
                    <a:pt x="267" y="617"/>
                    <a:pt x="266" y="616"/>
                  </a:cubicBezTo>
                  <a:moveTo>
                    <a:pt x="279" y="619"/>
                  </a:moveTo>
                  <a:cubicBezTo>
                    <a:pt x="279" y="619"/>
                    <a:pt x="278" y="619"/>
                    <a:pt x="278" y="619"/>
                  </a:cubicBezTo>
                  <a:cubicBezTo>
                    <a:pt x="279" y="619"/>
                    <a:pt x="280" y="620"/>
                    <a:pt x="281" y="620"/>
                  </a:cubicBezTo>
                  <a:cubicBezTo>
                    <a:pt x="281" y="620"/>
                    <a:pt x="281" y="620"/>
                    <a:pt x="281" y="620"/>
                  </a:cubicBezTo>
                  <a:cubicBezTo>
                    <a:pt x="281" y="619"/>
                    <a:pt x="280" y="619"/>
                    <a:pt x="279" y="619"/>
                  </a:cubicBezTo>
                  <a:moveTo>
                    <a:pt x="282" y="619"/>
                  </a:moveTo>
                  <a:cubicBezTo>
                    <a:pt x="282" y="619"/>
                    <a:pt x="282" y="619"/>
                    <a:pt x="283" y="619"/>
                  </a:cubicBezTo>
                  <a:cubicBezTo>
                    <a:pt x="283" y="619"/>
                    <a:pt x="283" y="619"/>
                    <a:pt x="283" y="619"/>
                  </a:cubicBezTo>
                  <a:cubicBezTo>
                    <a:pt x="283" y="619"/>
                    <a:pt x="282" y="619"/>
                    <a:pt x="282" y="619"/>
                  </a:cubicBezTo>
                  <a:moveTo>
                    <a:pt x="333" y="619"/>
                  </a:moveTo>
                  <a:cubicBezTo>
                    <a:pt x="331" y="620"/>
                    <a:pt x="330" y="620"/>
                    <a:pt x="329" y="621"/>
                  </a:cubicBezTo>
                  <a:cubicBezTo>
                    <a:pt x="330" y="620"/>
                    <a:pt x="332" y="620"/>
                    <a:pt x="333" y="619"/>
                  </a:cubicBezTo>
                  <a:moveTo>
                    <a:pt x="286" y="619"/>
                  </a:moveTo>
                  <a:cubicBezTo>
                    <a:pt x="285" y="619"/>
                    <a:pt x="285" y="620"/>
                    <a:pt x="284" y="620"/>
                  </a:cubicBezTo>
                  <a:cubicBezTo>
                    <a:pt x="284" y="620"/>
                    <a:pt x="285" y="620"/>
                    <a:pt x="285" y="620"/>
                  </a:cubicBezTo>
                  <a:cubicBezTo>
                    <a:pt x="287" y="620"/>
                    <a:pt x="289" y="621"/>
                    <a:pt x="290" y="621"/>
                  </a:cubicBezTo>
                  <a:cubicBezTo>
                    <a:pt x="291" y="621"/>
                    <a:pt x="292" y="620"/>
                    <a:pt x="292" y="620"/>
                  </a:cubicBezTo>
                  <a:cubicBezTo>
                    <a:pt x="292" y="620"/>
                    <a:pt x="292" y="620"/>
                    <a:pt x="292" y="620"/>
                  </a:cubicBezTo>
                  <a:cubicBezTo>
                    <a:pt x="290" y="620"/>
                    <a:pt x="288" y="620"/>
                    <a:pt x="286" y="619"/>
                  </a:cubicBezTo>
                  <a:cubicBezTo>
                    <a:pt x="286" y="619"/>
                    <a:pt x="286" y="619"/>
                    <a:pt x="286" y="619"/>
                  </a:cubicBezTo>
                  <a:moveTo>
                    <a:pt x="328" y="620"/>
                  </a:moveTo>
                  <a:cubicBezTo>
                    <a:pt x="327" y="620"/>
                    <a:pt x="325" y="620"/>
                    <a:pt x="324" y="621"/>
                  </a:cubicBezTo>
                  <a:cubicBezTo>
                    <a:pt x="323" y="621"/>
                    <a:pt x="323" y="621"/>
                    <a:pt x="322" y="621"/>
                  </a:cubicBezTo>
                  <a:cubicBezTo>
                    <a:pt x="321" y="621"/>
                    <a:pt x="320" y="621"/>
                    <a:pt x="319" y="621"/>
                  </a:cubicBezTo>
                  <a:cubicBezTo>
                    <a:pt x="318" y="622"/>
                    <a:pt x="317" y="622"/>
                    <a:pt x="316" y="622"/>
                  </a:cubicBezTo>
                  <a:cubicBezTo>
                    <a:pt x="318" y="622"/>
                    <a:pt x="320" y="622"/>
                    <a:pt x="322" y="622"/>
                  </a:cubicBezTo>
                  <a:cubicBezTo>
                    <a:pt x="322" y="622"/>
                    <a:pt x="323" y="622"/>
                    <a:pt x="323" y="622"/>
                  </a:cubicBezTo>
                  <a:cubicBezTo>
                    <a:pt x="325" y="621"/>
                    <a:pt x="327" y="620"/>
                    <a:pt x="328" y="620"/>
                  </a:cubicBezTo>
                  <a:moveTo>
                    <a:pt x="294" y="620"/>
                  </a:moveTo>
                  <a:cubicBezTo>
                    <a:pt x="294" y="621"/>
                    <a:pt x="293" y="621"/>
                    <a:pt x="292" y="621"/>
                  </a:cubicBezTo>
                  <a:cubicBezTo>
                    <a:pt x="294" y="621"/>
                    <a:pt x="296" y="621"/>
                    <a:pt x="298" y="622"/>
                  </a:cubicBezTo>
                  <a:cubicBezTo>
                    <a:pt x="299" y="622"/>
                    <a:pt x="299" y="622"/>
                    <a:pt x="299" y="622"/>
                  </a:cubicBezTo>
                  <a:cubicBezTo>
                    <a:pt x="300" y="622"/>
                    <a:pt x="300" y="622"/>
                    <a:pt x="300" y="622"/>
                  </a:cubicBezTo>
                  <a:cubicBezTo>
                    <a:pt x="299" y="621"/>
                    <a:pt x="298" y="621"/>
                    <a:pt x="297" y="621"/>
                  </a:cubicBezTo>
                  <a:cubicBezTo>
                    <a:pt x="296" y="620"/>
                    <a:pt x="295" y="620"/>
                    <a:pt x="294" y="620"/>
                  </a:cubicBezTo>
                  <a:moveTo>
                    <a:pt x="300" y="621"/>
                  </a:moveTo>
                  <a:cubicBezTo>
                    <a:pt x="301" y="621"/>
                    <a:pt x="302" y="621"/>
                    <a:pt x="303" y="622"/>
                  </a:cubicBezTo>
                  <a:cubicBezTo>
                    <a:pt x="303" y="622"/>
                    <a:pt x="304" y="621"/>
                    <a:pt x="305" y="621"/>
                  </a:cubicBezTo>
                  <a:cubicBezTo>
                    <a:pt x="303" y="621"/>
                    <a:pt x="302" y="621"/>
                    <a:pt x="300" y="621"/>
                  </a:cubicBezTo>
                  <a:cubicBezTo>
                    <a:pt x="300" y="621"/>
                    <a:pt x="300" y="621"/>
                    <a:pt x="300" y="621"/>
                  </a:cubicBezTo>
                  <a:moveTo>
                    <a:pt x="307" y="621"/>
                  </a:moveTo>
                  <a:cubicBezTo>
                    <a:pt x="306" y="621"/>
                    <a:pt x="305" y="622"/>
                    <a:pt x="305" y="622"/>
                  </a:cubicBezTo>
                  <a:cubicBezTo>
                    <a:pt x="305" y="622"/>
                    <a:pt x="306" y="622"/>
                    <a:pt x="307" y="622"/>
                  </a:cubicBezTo>
                  <a:cubicBezTo>
                    <a:pt x="307" y="622"/>
                    <a:pt x="307" y="622"/>
                    <a:pt x="308" y="622"/>
                  </a:cubicBezTo>
                  <a:cubicBezTo>
                    <a:pt x="310" y="622"/>
                    <a:pt x="311" y="622"/>
                    <a:pt x="313" y="622"/>
                  </a:cubicBezTo>
                  <a:cubicBezTo>
                    <a:pt x="313" y="622"/>
                    <a:pt x="313" y="622"/>
                    <a:pt x="313" y="622"/>
                  </a:cubicBezTo>
                  <a:cubicBezTo>
                    <a:pt x="314" y="622"/>
                    <a:pt x="315" y="622"/>
                    <a:pt x="316" y="621"/>
                  </a:cubicBezTo>
                  <a:cubicBezTo>
                    <a:pt x="315" y="621"/>
                    <a:pt x="314" y="621"/>
                    <a:pt x="313" y="621"/>
                  </a:cubicBezTo>
                  <a:cubicBezTo>
                    <a:pt x="312" y="621"/>
                    <a:pt x="310" y="621"/>
                    <a:pt x="309" y="621"/>
                  </a:cubicBezTo>
                  <a:cubicBezTo>
                    <a:pt x="308" y="621"/>
                    <a:pt x="308" y="621"/>
                    <a:pt x="307" y="621"/>
                  </a:cubicBezTo>
                  <a:cubicBezTo>
                    <a:pt x="307" y="621"/>
                    <a:pt x="307" y="621"/>
                    <a:pt x="307" y="621"/>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48" name="Freeform 77"/>
            <p:cNvSpPr>
              <a:spLocks noEditPoints="1"/>
            </p:cNvSpPr>
            <p:nvPr userDrawn="1"/>
          </p:nvSpPr>
          <p:spPr bwMode="auto">
            <a:xfrm>
              <a:off x="1810" y="3758"/>
              <a:ext cx="2576" cy="1452"/>
            </a:xfrm>
            <a:custGeom>
              <a:avLst/>
              <a:gdLst>
                <a:gd name="T0" fmla="*/ 2147483646 w 1271"/>
                <a:gd name="T1" fmla="*/ 2147483646 h 716"/>
                <a:gd name="T2" fmla="*/ 2147483646 w 1271"/>
                <a:gd name="T3" fmla="*/ 2147483646 h 716"/>
                <a:gd name="T4" fmla="*/ 2147483646 w 1271"/>
                <a:gd name="T5" fmla="*/ 2147483646 h 716"/>
                <a:gd name="T6" fmla="*/ 2147483646 w 1271"/>
                <a:gd name="T7" fmla="*/ 2147483646 h 716"/>
                <a:gd name="T8" fmla="*/ 2147483646 w 1271"/>
                <a:gd name="T9" fmla="*/ 2147483646 h 716"/>
                <a:gd name="T10" fmla="*/ 2147483646 w 1271"/>
                <a:gd name="T11" fmla="*/ 2147483646 h 716"/>
                <a:gd name="T12" fmla="*/ 2147483646 w 1271"/>
                <a:gd name="T13" fmla="*/ 2147483646 h 716"/>
                <a:gd name="T14" fmla="*/ 2147483646 w 1271"/>
                <a:gd name="T15" fmla="*/ 2147483646 h 716"/>
                <a:gd name="T16" fmla="*/ 2147483646 w 1271"/>
                <a:gd name="T17" fmla="*/ 2147483646 h 716"/>
                <a:gd name="T18" fmla="*/ 2147483646 w 1271"/>
                <a:gd name="T19" fmla="*/ 2147483646 h 716"/>
                <a:gd name="T20" fmla="*/ 2147483646 w 1271"/>
                <a:gd name="T21" fmla="*/ 2147483646 h 716"/>
                <a:gd name="T22" fmla="*/ 2147483646 w 1271"/>
                <a:gd name="T23" fmla="*/ 2147483646 h 716"/>
                <a:gd name="T24" fmla="*/ 2147483646 w 1271"/>
                <a:gd name="T25" fmla="*/ 2147483646 h 716"/>
                <a:gd name="T26" fmla="*/ 2147483646 w 1271"/>
                <a:gd name="T27" fmla="*/ 2147483646 h 716"/>
                <a:gd name="T28" fmla="*/ 2147483646 w 1271"/>
                <a:gd name="T29" fmla="*/ 2147483646 h 716"/>
                <a:gd name="T30" fmla="*/ 2147483646 w 1271"/>
                <a:gd name="T31" fmla="*/ 2147483646 h 716"/>
                <a:gd name="T32" fmla="*/ 2147483646 w 1271"/>
                <a:gd name="T33" fmla="*/ 2147483646 h 716"/>
                <a:gd name="T34" fmla="*/ 2147483646 w 1271"/>
                <a:gd name="T35" fmla="*/ 2147483646 h 716"/>
                <a:gd name="T36" fmla="*/ 2147483646 w 1271"/>
                <a:gd name="T37" fmla="*/ 2147483646 h 716"/>
                <a:gd name="T38" fmla="*/ 2147483646 w 1271"/>
                <a:gd name="T39" fmla="*/ 2147483646 h 716"/>
                <a:gd name="T40" fmla="*/ 2147483646 w 1271"/>
                <a:gd name="T41" fmla="*/ 2147483646 h 716"/>
                <a:gd name="T42" fmla="*/ 2147483646 w 1271"/>
                <a:gd name="T43" fmla="*/ 2147483646 h 716"/>
                <a:gd name="T44" fmla="*/ 2147483646 w 1271"/>
                <a:gd name="T45" fmla="*/ 2147483646 h 716"/>
                <a:gd name="T46" fmla="*/ 2147483646 w 1271"/>
                <a:gd name="T47" fmla="*/ 2147483646 h 716"/>
                <a:gd name="T48" fmla="*/ 2147483646 w 1271"/>
                <a:gd name="T49" fmla="*/ 2147483646 h 716"/>
                <a:gd name="T50" fmla="*/ 2147483646 w 1271"/>
                <a:gd name="T51" fmla="*/ 2147483646 h 716"/>
                <a:gd name="T52" fmla="*/ 2147483646 w 1271"/>
                <a:gd name="T53" fmla="*/ 2147483646 h 716"/>
                <a:gd name="T54" fmla="*/ 2147483646 w 1271"/>
                <a:gd name="T55" fmla="*/ 2147483646 h 716"/>
                <a:gd name="T56" fmla="*/ 2147483646 w 1271"/>
                <a:gd name="T57" fmla="*/ 2147483646 h 716"/>
                <a:gd name="T58" fmla="*/ 2147483646 w 1271"/>
                <a:gd name="T59" fmla="*/ 2147483646 h 716"/>
                <a:gd name="T60" fmla="*/ 2147483646 w 1271"/>
                <a:gd name="T61" fmla="*/ 2147483646 h 716"/>
                <a:gd name="T62" fmla="*/ 2147483646 w 1271"/>
                <a:gd name="T63" fmla="*/ 2147483646 h 716"/>
                <a:gd name="T64" fmla="*/ 2147483646 w 1271"/>
                <a:gd name="T65" fmla="*/ 2147483646 h 716"/>
                <a:gd name="T66" fmla="*/ 2147483646 w 1271"/>
                <a:gd name="T67" fmla="*/ 2147483646 h 716"/>
                <a:gd name="T68" fmla="*/ 0 w 1271"/>
                <a:gd name="T69" fmla="*/ 2147483646 h 716"/>
                <a:gd name="T70" fmla="*/ 2147483646 w 1271"/>
                <a:gd name="T71" fmla="*/ 2147483646 h 716"/>
                <a:gd name="T72" fmla="*/ 2147483646 w 1271"/>
                <a:gd name="T73" fmla="*/ 2147483646 h 716"/>
                <a:gd name="T74" fmla="*/ 2147483646 w 1271"/>
                <a:gd name="T75" fmla="*/ 2147483646 h 716"/>
                <a:gd name="T76" fmla="*/ 2147483646 w 1271"/>
                <a:gd name="T77" fmla="*/ 2147483646 h 716"/>
                <a:gd name="T78" fmla="*/ 2147483646 w 1271"/>
                <a:gd name="T79" fmla="*/ 2147483646 h 716"/>
                <a:gd name="T80" fmla="*/ 2147483646 w 1271"/>
                <a:gd name="T81" fmla="*/ 2147483646 h 716"/>
                <a:gd name="T82" fmla="*/ 2147483646 w 1271"/>
                <a:gd name="T83" fmla="*/ 2147483646 h 716"/>
                <a:gd name="T84" fmla="*/ 2147483646 w 1271"/>
                <a:gd name="T85" fmla="*/ 2147483646 h 716"/>
                <a:gd name="T86" fmla="*/ 2147483646 w 1271"/>
                <a:gd name="T87" fmla="*/ 2147483646 h 716"/>
                <a:gd name="T88" fmla="*/ 2147483646 w 1271"/>
                <a:gd name="T89" fmla="*/ 2147483646 h 716"/>
                <a:gd name="T90" fmla="*/ 2147483646 w 1271"/>
                <a:gd name="T91" fmla="*/ 2147483646 h 716"/>
                <a:gd name="T92" fmla="*/ 2147483646 w 1271"/>
                <a:gd name="T93" fmla="*/ 2147483646 h 716"/>
                <a:gd name="T94" fmla="*/ 2147483646 w 1271"/>
                <a:gd name="T95" fmla="*/ 2147483646 h 716"/>
                <a:gd name="T96" fmla="*/ 2147483646 w 1271"/>
                <a:gd name="T97" fmla="*/ 2147483646 h 716"/>
                <a:gd name="T98" fmla="*/ 2147483646 w 1271"/>
                <a:gd name="T99" fmla="*/ 2147483646 h 716"/>
                <a:gd name="T100" fmla="*/ 2147483646 w 1271"/>
                <a:gd name="T101" fmla="*/ 2147483646 h 716"/>
                <a:gd name="T102" fmla="*/ 2147483646 w 1271"/>
                <a:gd name="T103" fmla="*/ 2147483646 h 716"/>
                <a:gd name="T104" fmla="*/ 2147483646 w 1271"/>
                <a:gd name="T105" fmla="*/ 2147483646 h 716"/>
                <a:gd name="T106" fmla="*/ 2147483646 w 1271"/>
                <a:gd name="T107" fmla="*/ 2147483646 h 716"/>
                <a:gd name="T108" fmla="*/ 2147483646 w 1271"/>
                <a:gd name="T109" fmla="*/ 2147483646 h 716"/>
                <a:gd name="T110" fmla="*/ 2147483646 w 1271"/>
                <a:gd name="T111" fmla="*/ 2147483646 h 716"/>
                <a:gd name="T112" fmla="*/ 2147483646 w 1271"/>
                <a:gd name="T113" fmla="*/ 2147483646 h 716"/>
                <a:gd name="T114" fmla="*/ 2147483646 w 1271"/>
                <a:gd name="T115" fmla="*/ 2147483646 h 716"/>
                <a:gd name="T116" fmla="*/ 2147483646 w 1271"/>
                <a:gd name="T117" fmla="*/ 2147483646 h 716"/>
                <a:gd name="T118" fmla="*/ 2147483646 w 1271"/>
                <a:gd name="T119" fmla="*/ 2147483646 h 716"/>
                <a:gd name="T120" fmla="*/ 2147483646 w 1271"/>
                <a:gd name="T121" fmla="*/ 2147483646 h 71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71" h="716">
                  <a:moveTo>
                    <a:pt x="1255" y="0"/>
                  </a:moveTo>
                  <a:cubicBezTo>
                    <a:pt x="1237" y="0"/>
                    <a:pt x="1205" y="37"/>
                    <a:pt x="1166" y="85"/>
                  </a:cubicBezTo>
                  <a:cubicBezTo>
                    <a:pt x="1166" y="86"/>
                    <a:pt x="1165" y="86"/>
                    <a:pt x="1165" y="87"/>
                  </a:cubicBezTo>
                  <a:cubicBezTo>
                    <a:pt x="1161" y="92"/>
                    <a:pt x="1157" y="97"/>
                    <a:pt x="1153" y="102"/>
                  </a:cubicBezTo>
                  <a:cubicBezTo>
                    <a:pt x="1154" y="102"/>
                    <a:pt x="1154" y="102"/>
                    <a:pt x="1155" y="102"/>
                  </a:cubicBezTo>
                  <a:cubicBezTo>
                    <a:pt x="1158" y="97"/>
                    <a:pt x="1162" y="93"/>
                    <a:pt x="1165" y="89"/>
                  </a:cubicBezTo>
                  <a:cubicBezTo>
                    <a:pt x="1165" y="88"/>
                    <a:pt x="1166" y="88"/>
                    <a:pt x="1166" y="87"/>
                  </a:cubicBezTo>
                  <a:cubicBezTo>
                    <a:pt x="1205" y="38"/>
                    <a:pt x="1237" y="1"/>
                    <a:pt x="1255" y="1"/>
                  </a:cubicBezTo>
                  <a:cubicBezTo>
                    <a:pt x="1255" y="1"/>
                    <a:pt x="1255" y="1"/>
                    <a:pt x="1255" y="1"/>
                  </a:cubicBezTo>
                  <a:cubicBezTo>
                    <a:pt x="1256" y="1"/>
                    <a:pt x="1256" y="1"/>
                    <a:pt x="1257" y="2"/>
                  </a:cubicBezTo>
                  <a:cubicBezTo>
                    <a:pt x="1257" y="1"/>
                    <a:pt x="1258" y="1"/>
                    <a:pt x="1258" y="1"/>
                  </a:cubicBezTo>
                  <a:cubicBezTo>
                    <a:pt x="1257" y="0"/>
                    <a:pt x="1256" y="0"/>
                    <a:pt x="1255" y="0"/>
                  </a:cubicBezTo>
                  <a:moveTo>
                    <a:pt x="1259" y="1"/>
                  </a:moveTo>
                  <a:cubicBezTo>
                    <a:pt x="1259" y="1"/>
                    <a:pt x="1259" y="2"/>
                    <a:pt x="1258" y="2"/>
                  </a:cubicBezTo>
                  <a:cubicBezTo>
                    <a:pt x="1262" y="3"/>
                    <a:pt x="1265" y="6"/>
                    <a:pt x="1267" y="12"/>
                  </a:cubicBezTo>
                  <a:cubicBezTo>
                    <a:pt x="1267" y="12"/>
                    <a:pt x="1267" y="11"/>
                    <a:pt x="1267" y="11"/>
                  </a:cubicBezTo>
                  <a:cubicBezTo>
                    <a:pt x="1265" y="6"/>
                    <a:pt x="1263" y="2"/>
                    <a:pt x="1259" y="1"/>
                  </a:cubicBezTo>
                  <a:moveTo>
                    <a:pt x="1268" y="12"/>
                  </a:moveTo>
                  <a:cubicBezTo>
                    <a:pt x="1268" y="12"/>
                    <a:pt x="1267" y="13"/>
                    <a:pt x="1267" y="13"/>
                  </a:cubicBezTo>
                  <a:cubicBezTo>
                    <a:pt x="1269" y="18"/>
                    <a:pt x="1270" y="24"/>
                    <a:pt x="1270" y="32"/>
                  </a:cubicBezTo>
                  <a:cubicBezTo>
                    <a:pt x="1270" y="31"/>
                    <a:pt x="1270" y="31"/>
                    <a:pt x="1271" y="31"/>
                  </a:cubicBezTo>
                  <a:cubicBezTo>
                    <a:pt x="1270" y="23"/>
                    <a:pt x="1269" y="17"/>
                    <a:pt x="1268" y="12"/>
                  </a:cubicBezTo>
                  <a:moveTo>
                    <a:pt x="1271" y="32"/>
                  </a:moveTo>
                  <a:cubicBezTo>
                    <a:pt x="1271" y="33"/>
                    <a:pt x="1270" y="33"/>
                    <a:pt x="1270" y="33"/>
                  </a:cubicBezTo>
                  <a:cubicBezTo>
                    <a:pt x="1270" y="35"/>
                    <a:pt x="1270" y="36"/>
                    <a:pt x="1270" y="38"/>
                  </a:cubicBezTo>
                  <a:cubicBezTo>
                    <a:pt x="1270" y="42"/>
                    <a:pt x="1270" y="47"/>
                    <a:pt x="1270" y="52"/>
                  </a:cubicBezTo>
                  <a:cubicBezTo>
                    <a:pt x="1270" y="51"/>
                    <a:pt x="1270" y="51"/>
                    <a:pt x="1271" y="51"/>
                  </a:cubicBezTo>
                  <a:cubicBezTo>
                    <a:pt x="1271" y="46"/>
                    <a:pt x="1271" y="42"/>
                    <a:pt x="1271" y="38"/>
                  </a:cubicBezTo>
                  <a:cubicBezTo>
                    <a:pt x="1271" y="36"/>
                    <a:pt x="1271" y="34"/>
                    <a:pt x="1271" y="32"/>
                  </a:cubicBezTo>
                  <a:moveTo>
                    <a:pt x="1270" y="52"/>
                  </a:moveTo>
                  <a:cubicBezTo>
                    <a:pt x="1270" y="52"/>
                    <a:pt x="1270" y="53"/>
                    <a:pt x="1269" y="53"/>
                  </a:cubicBezTo>
                  <a:cubicBezTo>
                    <a:pt x="1269" y="55"/>
                    <a:pt x="1269" y="58"/>
                    <a:pt x="1269" y="60"/>
                  </a:cubicBezTo>
                  <a:cubicBezTo>
                    <a:pt x="1269" y="60"/>
                    <a:pt x="1270" y="59"/>
                    <a:pt x="1270" y="59"/>
                  </a:cubicBezTo>
                  <a:cubicBezTo>
                    <a:pt x="1270" y="57"/>
                    <a:pt x="1270" y="55"/>
                    <a:pt x="1270" y="52"/>
                  </a:cubicBezTo>
                  <a:cubicBezTo>
                    <a:pt x="1270" y="52"/>
                    <a:pt x="1270" y="52"/>
                    <a:pt x="1270" y="52"/>
                  </a:cubicBezTo>
                  <a:moveTo>
                    <a:pt x="1270" y="61"/>
                  </a:moveTo>
                  <a:cubicBezTo>
                    <a:pt x="1270" y="61"/>
                    <a:pt x="1269" y="62"/>
                    <a:pt x="1269" y="62"/>
                  </a:cubicBezTo>
                  <a:cubicBezTo>
                    <a:pt x="1269" y="63"/>
                    <a:pt x="1269" y="63"/>
                    <a:pt x="1269" y="63"/>
                  </a:cubicBezTo>
                  <a:cubicBezTo>
                    <a:pt x="1269" y="63"/>
                    <a:pt x="1269" y="63"/>
                    <a:pt x="1270" y="63"/>
                  </a:cubicBezTo>
                  <a:cubicBezTo>
                    <a:pt x="1270" y="62"/>
                    <a:pt x="1270" y="61"/>
                    <a:pt x="1270" y="61"/>
                  </a:cubicBezTo>
                  <a:moveTo>
                    <a:pt x="1269" y="64"/>
                  </a:moveTo>
                  <a:cubicBezTo>
                    <a:pt x="1269" y="64"/>
                    <a:pt x="1269" y="64"/>
                    <a:pt x="1269" y="64"/>
                  </a:cubicBezTo>
                  <a:cubicBezTo>
                    <a:pt x="1269" y="64"/>
                    <a:pt x="1269" y="64"/>
                    <a:pt x="1269" y="64"/>
                  </a:cubicBezTo>
                  <a:cubicBezTo>
                    <a:pt x="1269" y="64"/>
                    <a:pt x="1269" y="64"/>
                    <a:pt x="1269" y="64"/>
                  </a:cubicBezTo>
                  <a:moveTo>
                    <a:pt x="1270" y="65"/>
                  </a:moveTo>
                  <a:cubicBezTo>
                    <a:pt x="1269" y="65"/>
                    <a:pt x="1269" y="65"/>
                    <a:pt x="1268" y="66"/>
                  </a:cubicBezTo>
                  <a:cubicBezTo>
                    <a:pt x="1268" y="68"/>
                    <a:pt x="1268" y="70"/>
                    <a:pt x="1268" y="72"/>
                  </a:cubicBezTo>
                  <a:cubicBezTo>
                    <a:pt x="1268" y="71"/>
                    <a:pt x="1269" y="71"/>
                    <a:pt x="1269" y="70"/>
                  </a:cubicBezTo>
                  <a:cubicBezTo>
                    <a:pt x="1269" y="68"/>
                    <a:pt x="1269" y="66"/>
                    <a:pt x="1270" y="65"/>
                  </a:cubicBezTo>
                  <a:moveTo>
                    <a:pt x="1269" y="72"/>
                  </a:moveTo>
                  <a:cubicBezTo>
                    <a:pt x="1268" y="73"/>
                    <a:pt x="1268" y="73"/>
                    <a:pt x="1268" y="74"/>
                  </a:cubicBezTo>
                  <a:cubicBezTo>
                    <a:pt x="1267" y="79"/>
                    <a:pt x="1266" y="85"/>
                    <a:pt x="1265" y="91"/>
                  </a:cubicBezTo>
                  <a:cubicBezTo>
                    <a:pt x="1266" y="90"/>
                    <a:pt x="1266" y="89"/>
                    <a:pt x="1267" y="88"/>
                  </a:cubicBezTo>
                  <a:cubicBezTo>
                    <a:pt x="1268" y="83"/>
                    <a:pt x="1268" y="77"/>
                    <a:pt x="1269" y="72"/>
                  </a:cubicBezTo>
                  <a:moveTo>
                    <a:pt x="791" y="81"/>
                  </a:moveTo>
                  <a:cubicBezTo>
                    <a:pt x="770" y="81"/>
                    <a:pt x="750" y="83"/>
                    <a:pt x="732" y="87"/>
                  </a:cubicBezTo>
                  <a:cubicBezTo>
                    <a:pt x="730" y="88"/>
                    <a:pt x="729" y="88"/>
                    <a:pt x="728" y="88"/>
                  </a:cubicBezTo>
                  <a:cubicBezTo>
                    <a:pt x="708" y="93"/>
                    <a:pt x="690" y="101"/>
                    <a:pt x="677" y="112"/>
                  </a:cubicBezTo>
                  <a:cubicBezTo>
                    <a:pt x="676" y="112"/>
                    <a:pt x="676" y="113"/>
                    <a:pt x="675" y="113"/>
                  </a:cubicBezTo>
                  <a:cubicBezTo>
                    <a:pt x="665" y="122"/>
                    <a:pt x="658" y="132"/>
                    <a:pt x="655" y="145"/>
                  </a:cubicBezTo>
                  <a:cubicBezTo>
                    <a:pt x="655" y="145"/>
                    <a:pt x="655" y="146"/>
                    <a:pt x="655" y="146"/>
                  </a:cubicBezTo>
                  <a:cubicBezTo>
                    <a:pt x="654" y="150"/>
                    <a:pt x="653" y="155"/>
                    <a:pt x="653" y="160"/>
                  </a:cubicBezTo>
                  <a:cubicBezTo>
                    <a:pt x="653" y="165"/>
                    <a:pt x="654" y="170"/>
                    <a:pt x="655" y="176"/>
                  </a:cubicBezTo>
                  <a:cubicBezTo>
                    <a:pt x="655" y="176"/>
                    <a:pt x="655" y="177"/>
                    <a:pt x="655" y="177"/>
                  </a:cubicBezTo>
                  <a:cubicBezTo>
                    <a:pt x="655" y="177"/>
                    <a:pt x="655" y="177"/>
                    <a:pt x="655" y="177"/>
                  </a:cubicBezTo>
                  <a:cubicBezTo>
                    <a:pt x="657" y="185"/>
                    <a:pt x="658" y="192"/>
                    <a:pt x="659" y="200"/>
                  </a:cubicBezTo>
                  <a:cubicBezTo>
                    <a:pt x="659" y="200"/>
                    <a:pt x="659" y="200"/>
                    <a:pt x="659" y="201"/>
                  </a:cubicBezTo>
                  <a:cubicBezTo>
                    <a:pt x="660" y="207"/>
                    <a:pt x="661" y="214"/>
                    <a:pt x="661" y="221"/>
                  </a:cubicBezTo>
                  <a:cubicBezTo>
                    <a:pt x="661" y="221"/>
                    <a:pt x="661" y="221"/>
                    <a:pt x="661" y="222"/>
                  </a:cubicBezTo>
                  <a:cubicBezTo>
                    <a:pt x="661" y="223"/>
                    <a:pt x="661" y="224"/>
                    <a:pt x="661" y="225"/>
                  </a:cubicBezTo>
                  <a:cubicBezTo>
                    <a:pt x="661" y="227"/>
                    <a:pt x="661" y="230"/>
                    <a:pt x="661" y="232"/>
                  </a:cubicBezTo>
                  <a:cubicBezTo>
                    <a:pt x="661" y="232"/>
                    <a:pt x="661" y="233"/>
                    <a:pt x="661" y="233"/>
                  </a:cubicBezTo>
                  <a:cubicBezTo>
                    <a:pt x="661" y="233"/>
                    <a:pt x="661" y="233"/>
                    <a:pt x="661" y="233"/>
                  </a:cubicBezTo>
                  <a:cubicBezTo>
                    <a:pt x="661" y="233"/>
                    <a:pt x="661" y="234"/>
                    <a:pt x="661" y="234"/>
                  </a:cubicBezTo>
                  <a:cubicBezTo>
                    <a:pt x="661" y="234"/>
                    <a:pt x="661" y="235"/>
                    <a:pt x="660" y="235"/>
                  </a:cubicBezTo>
                  <a:cubicBezTo>
                    <a:pt x="660" y="235"/>
                    <a:pt x="660" y="235"/>
                    <a:pt x="660" y="236"/>
                  </a:cubicBezTo>
                  <a:cubicBezTo>
                    <a:pt x="660" y="236"/>
                    <a:pt x="660" y="236"/>
                    <a:pt x="660" y="237"/>
                  </a:cubicBezTo>
                  <a:cubicBezTo>
                    <a:pt x="660" y="237"/>
                    <a:pt x="660" y="237"/>
                    <a:pt x="660" y="237"/>
                  </a:cubicBezTo>
                  <a:cubicBezTo>
                    <a:pt x="660" y="238"/>
                    <a:pt x="660" y="238"/>
                    <a:pt x="660" y="238"/>
                  </a:cubicBezTo>
                  <a:cubicBezTo>
                    <a:pt x="660" y="241"/>
                    <a:pt x="660" y="244"/>
                    <a:pt x="660" y="246"/>
                  </a:cubicBezTo>
                  <a:cubicBezTo>
                    <a:pt x="660" y="247"/>
                    <a:pt x="660" y="247"/>
                    <a:pt x="660" y="247"/>
                  </a:cubicBezTo>
                  <a:cubicBezTo>
                    <a:pt x="659" y="254"/>
                    <a:pt x="658" y="261"/>
                    <a:pt x="656" y="268"/>
                  </a:cubicBezTo>
                  <a:cubicBezTo>
                    <a:pt x="656" y="268"/>
                    <a:pt x="656" y="269"/>
                    <a:pt x="656" y="269"/>
                  </a:cubicBezTo>
                  <a:cubicBezTo>
                    <a:pt x="655" y="276"/>
                    <a:pt x="653" y="282"/>
                    <a:pt x="651" y="289"/>
                  </a:cubicBezTo>
                  <a:cubicBezTo>
                    <a:pt x="651" y="289"/>
                    <a:pt x="650" y="290"/>
                    <a:pt x="650" y="290"/>
                  </a:cubicBezTo>
                  <a:cubicBezTo>
                    <a:pt x="648" y="297"/>
                    <a:pt x="646" y="303"/>
                    <a:pt x="643" y="309"/>
                  </a:cubicBezTo>
                  <a:cubicBezTo>
                    <a:pt x="643" y="310"/>
                    <a:pt x="643" y="310"/>
                    <a:pt x="643" y="310"/>
                  </a:cubicBezTo>
                  <a:cubicBezTo>
                    <a:pt x="642" y="311"/>
                    <a:pt x="642" y="313"/>
                    <a:pt x="641" y="314"/>
                  </a:cubicBezTo>
                  <a:cubicBezTo>
                    <a:pt x="642" y="314"/>
                    <a:pt x="642" y="313"/>
                    <a:pt x="643" y="313"/>
                  </a:cubicBezTo>
                  <a:cubicBezTo>
                    <a:pt x="643" y="312"/>
                    <a:pt x="643" y="311"/>
                    <a:pt x="644" y="311"/>
                  </a:cubicBezTo>
                  <a:cubicBezTo>
                    <a:pt x="644" y="310"/>
                    <a:pt x="644" y="310"/>
                    <a:pt x="644" y="310"/>
                  </a:cubicBezTo>
                  <a:cubicBezTo>
                    <a:pt x="647" y="303"/>
                    <a:pt x="649" y="297"/>
                    <a:pt x="651" y="290"/>
                  </a:cubicBezTo>
                  <a:cubicBezTo>
                    <a:pt x="651" y="290"/>
                    <a:pt x="651" y="290"/>
                    <a:pt x="652" y="289"/>
                  </a:cubicBezTo>
                  <a:cubicBezTo>
                    <a:pt x="654" y="283"/>
                    <a:pt x="655" y="276"/>
                    <a:pt x="657" y="269"/>
                  </a:cubicBezTo>
                  <a:cubicBezTo>
                    <a:pt x="657" y="269"/>
                    <a:pt x="657" y="269"/>
                    <a:pt x="657" y="268"/>
                  </a:cubicBezTo>
                  <a:cubicBezTo>
                    <a:pt x="659" y="262"/>
                    <a:pt x="660" y="255"/>
                    <a:pt x="660" y="248"/>
                  </a:cubicBezTo>
                  <a:cubicBezTo>
                    <a:pt x="661" y="247"/>
                    <a:pt x="661" y="247"/>
                    <a:pt x="661" y="247"/>
                  </a:cubicBezTo>
                  <a:cubicBezTo>
                    <a:pt x="661" y="244"/>
                    <a:pt x="661" y="241"/>
                    <a:pt x="661" y="239"/>
                  </a:cubicBezTo>
                  <a:cubicBezTo>
                    <a:pt x="661" y="238"/>
                    <a:pt x="661" y="238"/>
                    <a:pt x="661" y="238"/>
                  </a:cubicBezTo>
                  <a:cubicBezTo>
                    <a:pt x="661" y="237"/>
                    <a:pt x="661" y="237"/>
                    <a:pt x="661" y="237"/>
                  </a:cubicBezTo>
                  <a:cubicBezTo>
                    <a:pt x="661" y="237"/>
                    <a:pt x="661" y="236"/>
                    <a:pt x="661" y="236"/>
                  </a:cubicBezTo>
                  <a:cubicBezTo>
                    <a:pt x="661" y="236"/>
                    <a:pt x="661" y="236"/>
                    <a:pt x="661" y="235"/>
                  </a:cubicBezTo>
                  <a:cubicBezTo>
                    <a:pt x="661" y="235"/>
                    <a:pt x="662" y="235"/>
                    <a:pt x="662" y="234"/>
                  </a:cubicBezTo>
                  <a:cubicBezTo>
                    <a:pt x="662" y="234"/>
                    <a:pt x="662" y="234"/>
                    <a:pt x="662" y="233"/>
                  </a:cubicBezTo>
                  <a:cubicBezTo>
                    <a:pt x="662" y="233"/>
                    <a:pt x="662" y="233"/>
                    <a:pt x="662" y="233"/>
                  </a:cubicBezTo>
                  <a:cubicBezTo>
                    <a:pt x="662" y="233"/>
                    <a:pt x="662" y="232"/>
                    <a:pt x="662" y="232"/>
                  </a:cubicBezTo>
                  <a:cubicBezTo>
                    <a:pt x="662" y="230"/>
                    <a:pt x="662" y="227"/>
                    <a:pt x="662" y="225"/>
                  </a:cubicBezTo>
                  <a:cubicBezTo>
                    <a:pt x="662" y="224"/>
                    <a:pt x="662" y="223"/>
                    <a:pt x="662" y="222"/>
                  </a:cubicBezTo>
                  <a:cubicBezTo>
                    <a:pt x="662" y="222"/>
                    <a:pt x="662" y="221"/>
                    <a:pt x="662" y="221"/>
                  </a:cubicBezTo>
                  <a:cubicBezTo>
                    <a:pt x="662" y="214"/>
                    <a:pt x="661" y="207"/>
                    <a:pt x="660" y="201"/>
                  </a:cubicBezTo>
                  <a:cubicBezTo>
                    <a:pt x="660" y="200"/>
                    <a:pt x="660" y="200"/>
                    <a:pt x="660" y="200"/>
                  </a:cubicBezTo>
                  <a:cubicBezTo>
                    <a:pt x="659" y="192"/>
                    <a:pt x="658" y="185"/>
                    <a:pt x="656" y="177"/>
                  </a:cubicBezTo>
                  <a:cubicBezTo>
                    <a:pt x="656" y="177"/>
                    <a:pt x="656" y="177"/>
                    <a:pt x="656" y="177"/>
                  </a:cubicBezTo>
                  <a:cubicBezTo>
                    <a:pt x="656" y="177"/>
                    <a:pt x="656" y="176"/>
                    <a:pt x="656" y="176"/>
                  </a:cubicBezTo>
                  <a:cubicBezTo>
                    <a:pt x="655" y="170"/>
                    <a:pt x="654" y="165"/>
                    <a:pt x="654" y="160"/>
                  </a:cubicBezTo>
                  <a:cubicBezTo>
                    <a:pt x="654" y="155"/>
                    <a:pt x="655" y="150"/>
                    <a:pt x="656" y="146"/>
                  </a:cubicBezTo>
                  <a:cubicBezTo>
                    <a:pt x="656" y="146"/>
                    <a:pt x="656" y="145"/>
                    <a:pt x="656" y="145"/>
                  </a:cubicBezTo>
                  <a:cubicBezTo>
                    <a:pt x="659" y="132"/>
                    <a:pt x="666" y="122"/>
                    <a:pt x="677" y="113"/>
                  </a:cubicBezTo>
                  <a:cubicBezTo>
                    <a:pt x="677" y="113"/>
                    <a:pt x="678" y="112"/>
                    <a:pt x="678" y="112"/>
                  </a:cubicBezTo>
                  <a:cubicBezTo>
                    <a:pt x="684" y="108"/>
                    <a:pt x="690" y="104"/>
                    <a:pt x="696" y="101"/>
                  </a:cubicBezTo>
                  <a:cubicBezTo>
                    <a:pt x="707" y="95"/>
                    <a:pt x="719" y="91"/>
                    <a:pt x="732" y="88"/>
                  </a:cubicBezTo>
                  <a:cubicBezTo>
                    <a:pt x="733" y="88"/>
                    <a:pt x="734" y="88"/>
                    <a:pt x="735" y="87"/>
                  </a:cubicBezTo>
                  <a:cubicBezTo>
                    <a:pt x="753" y="84"/>
                    <a:pt x="772" y="82"/>
                    <a:pt x="791" y="82"/>
                  </a:cubicBezTo>
                  <a:cubicBezTo>
                    <a:pt x="792" y="82"/>
                    <a:pt x="793" y="82"/>
                    <a:pt x="793" y="82"/>
                  </a:cubicBezTo>
                  <a:cubicBezTo>
                    <a:pt x="795" y="82"/>
                    <a:pt x="796" y="81"/>
                    <a:pt x="797" y="81"/>
                  </a:cubicBezTo>
                  <a:cubicBezTo>
                    <a:pt x="795" y="81"/>
                    <a:pt x="793" y="81"/>
                    <a:pt x="791" y="81"/>
                  </a:cubicBezTo>
                  <a:moveTo>
                    <a:pt x="801" y="81"/>
                  </a:moveTo>
                  <a:cubicBezTo>
                    <a:pt x="800" y="81"/>
                    <a:pt x="799" y="82"/>
                    <a:pt x="797" y="82"/>
                  </a:cubicBezTo>
                  <a:cubicBezTo>
                    <a:pt x="808" y="82"/>
                    <a:pt x="818" y="83"/>
                    <a:pt x="828" y="84"/>
                  </a:cubicBezTo>
                  <a:cubicBezTo>
                    <a:pt x="828" y="84"/>
                    <a:pt x="829" y="84"/>
                    <a:pt x="829" y="83"/>
                  </a:cubicBezTo>
                  <a:cubicBezTo>
                    <a:pt x="820" y="82"/>
                    <a:pt x="811" y="81"/>
                    <a:pt x="801" y="81"/>
                  </a:cubicBezTo>
                  <a:moveTo>
                    <a:pt x="831" y="84"/>
                  </a:moveTo>
                  <a:cubicBezTo>
                    <a:pt x="831" y="84"/>
                    <a:pt x="830" y="84"/>
                    <a:pt x="830" y="84"/>
                  </a:cubicBezTo>
                  <a:cubicBezTo>
                    <a:pt x="841" y="86"/>
                    <a:pt x="852" y="88"/>
                    <a:pt x="862" y="91"/>
                  </a:cubicBezTo>
                  <a:cubicBezTo>
                    <a:pt x="863" y="90"/>
                    <a:pt x="863" y="90"/>
                    <a:pt x="863" y="90"/>
                  </a:cubicBezTo>
                  <a:cubicBezTo>
                    <a:pt x="853" y="87"/>
                    <a:pt x="842" y="85"/>
                    <a:pt x="831" y="84"/>
                  </a:cubicBezTo>
                  <a:moveTo>
                    <a:pt x="865" y="90"/>
                  </a:moveTo>
                  <a:cubicBezTo>
                    <a:pt x="864" y="90"/>
                    <a:pt x="864" y="91"/>
                    <a:pt x="864" y="91"/>
                  </a:cubicBezTo>
                  <a:cubicBezTo>
                    <a:pt x="874" y="94"/>
                    <a:pt x="884" y="97"/>
                    <a:pt x="893" y="101"/>
                  </a:cubicBezTo>
                  <a:cubicBezTo>
                    <a:pt x="895" y="102"/>
                    <a:pt x="896" y="103"/>
                    <a:pt x="898" y="104"/>
                  </a:cubicBezTo>
                  <a:cubicBezTo>
                    <a:pt x="898" y="103"/>
                    <a:pt x="899" y="103"/>
                    <a:pt x="899" y="103"/>
                  </a:cubicBezTo>
                  <a:cubicBezTo>
                    <a:pt x="889" y="98"/>
                    <a:pt x="877" y="94"/>
                    <a:pt x="865" y="90"/>
                  </a:cubicBezTo>
                  <a:moveTo>
                    <a:pt x="1266" y="91"/>
                  </a:moveTo>
                  <a:cubicBezTo>
                    <a:pt x="1266" y="92"/>
                    <a:pt x="1265" y="92"/>
                    <a:pt x="1265" y="93"/>
                  </a:cubicBezTo>
                  <a:cubicBezTo>
                    <a:pt x="1265" y="93"/>
                    <a:pt x="1265" y="94"/>
                    <a:pt x="1265" y="94"/>
                  </a:cubicBezTo>
                  <a:cubicBezTo>
                    <a:pt x="1265" y="94"/>
                    <a:pt x="1265" y="94"/>
                    <a:pt x="1266" y="94"/>
                  </a:cubicBezTo>
                  <a:cubicBezTo>
                    <a:pt x="1266" y="93"/>
                    <a:pt x="1266" y="92"/>
                    <a:pt x="1266" y="91"/>
                  </a:cubicBezTo>
                  <a:moveTo>
                    <a:pt x="1265" y="95"/>
                  </a:moveTo>
                  <a:cubicBezTo>
                    <a:pt x="1264" y="97"/>
                    <a:pt x="1264" y="99"/>
                    <a:pt x="1264" y="101"/>
                  </a:cubicBezTo>
                  <a:cubicBezTo>
                    <a:pt x="1264" y="100"/>
                    <a:pt x="1265" y="100"/>
                    <a:pt x="1265" y="99"/>
                  </a:cubicBezTo>
                  <a:cubicBezTo>
                    <a:pt x="1265" y="98"/>
                    <a:pt x="1265" y="96"/>
                    <a:pt x="1266" y="95"/>
                  </a:cubicBezTo>
                  <a:cubicBezTo>
                    <a:pt x="1265" y="95"/>
                    <a:pt x="1265" y="95"/>
                    <a:pt x="1265" y="95"/>
                  </a:cubicBezTo>
                  <a:moveTo>
                    <a:pt x="1265" y="101"/>
                  </a:moveTo>
                  <a:cubicBezTo>
                    <a:pt x="1264" y="102"/>
                    <a:pt x="1264" y="103"/>
                    <a:pt x="1263" y="103"/>
                  </a:cubicBezTo>
                  <a:cubicBezTo>
                    <a:pt x="1262" y="110"/>
                    <a:pt x="1261" y="116"/>
                    <a:pt x="1259" y="122"/>
                  </a:cubicBezTo>
                  <a:cubicBezTo>
                    <a:pt x="1260" y="121"/>
                    <a:pt x="1260" y="120"/>
                    <a:pt x="1261" y="119"/>
                  </a:cubicBezTo>
                  <a:cubicBezTo>
                    <a:pt x="1262" y="113"/>
                    <a:pt x="1264" y="107"/>
                    <a:pt x="1265" y="101"/>
                  </a:cubicBezTo>
                  <a:moveTo>
                    <a:pt x="1154" y="103"/>
                  </a:moveTo>
                  <a:cubicBezTo>
                    <a:pt x="1153" y="103"/>
                    <a:pt x="1153" y="103"/>
                    <a:pt x="1152" y="103"/>
                  </a:cubicBezTo>
                  <a:cubicBezTo>
                    <a:pt x="1150" y="106"/>
                    <a:pt x="1148" y="108"/>
                    <a:pt x="1146" y="111"/>
                  </a:cubicBezTo>
                  <a:cubicBezTo>
                    <a:pt x="1146" y="112"/>
                    <a:pt x="1146" y="113"/>
                    <a:pt x="1145" y="114"/>
                  </a:cubicBezTo>
                  <a:cubicBezTo>
                    <a:pt x="1148" y="110"/>
                    <a:pt x="1151" y="107"/>
                    <a:pt x="1154" y="103"/>
                  </a:cubicBezTo>
                  <a:moveTo>
                    <a:pt x="900" y="103"/>
                  </a:moveTo>
                  <a:cubicBezTo>
                    <a:pt x="900" y="104"/>
                    <a:pt x="899" y="104"/>
                    <a:pt x="899" y="104"/>
                  </a:cubicBezTo>
                  <a:cubicBezTo>
                    <a:pt x="916" y="112"/>
                    <a:pt x="928" y="123"/>
                    <a:pt x="935" y="136"/>
                  </a:cubicBezTo>
                  <a:cubicBezTo>
                    <a:pt x="935" y="135"/>
                    <a:pt x="935" y="135"/>
                    <a:pt x="935" y="134"/>
                  </a:cubicBezTo>
                  <a:cubicBezTo>
                    <a:pt x="929" y="122"/>
                    <a:pt x="916" y="112"/>
                    <a:pt x="900" y="103"/>
                  </a:cubicBezTo>
                  <a:moveTo>
                    <a:pt x="1144" y="113"/>
                  </a:moveTo>
                  <a:cubicBezTo>
                    <a:pt x="1143" y="115"/>
                    <a:pt x="1142" y="116"/>
                    <a:pt x="1141" y="118"/>
                  </a:cubicBezTo>
                  <a:cubicBezTo>
                    <a:pt x="1141" y="118"/>
                    <a:pt x="1141" y="118"/>
                    <a:pt x="1141" y="118"/>
                  </a:cubicBezTo>
                  <a:cubicBezTo>
                    <a:pt x="1142" y="118"/>
                    <a:pt x="1143" y="117"/>
                    <a:pt x="1143" y="116"/>
                  </a:cubicBezTo>
                  <a:cubicBezTo>
                    <a:pt x="1144" y="115"/>
                    <a:pt x="1144" y="114"/>
                    <a:pt x="1144" y="113"/>
                  </a:cubicBezTo>
                  <a:moveTo>
                    <a:pt x="1140" y="119"/>
                  </a:moveTo>
                  <a:cubicBezTo>
                    <a:pt x="1140" y="119"/>
                    <a:pt x="1140" y="119"/>
                    <a:pt x="1139" y="120"/>
                  </a:cubicBezTo>
                  <a:cubicBezTo>
                    <a:pt x="1140" y="120"/>
                    <a:pt x="1140" y="119"/>
                    <a:pt x="1140" y="119"/>
                  </a:cubicBezTo>
                  <a:cubicBezTo>
                    <a:pt x="1140" y="119"/>
                    <a:pt x="1140" y="119"/>
                    <a:pt x="1140" y="119"/>
                  </a:cubicBezTo>
                  <a:moveTo>
                    <a:pt x="1140" y="121"/>
                  </a:moveTo>
                  <a:cubicBezTo>
                    <a:pt x="1139" y="121"/>
                    <a:pt x="1138" y="122"/>
                    <a:pt x="1137" y="123"/>
                  </a:cubicBezTo>
                  <a:cubicBezTo>
                    <a:pt x="1137" y="124"/>
                    <a:pt x="1137" y="124"/>
                    <a:pt x="1137" y="124"/>
                  </a:cubicBezTo>
                  <a:cubicBezTo>
                    <a:pt x="1137" y="124"/>
                    <a:pt x="1137" y="124"/>
                    <a:pt x="1137" y="124"/>
                  </a:cubicBezTo>
                  <a:cubicBezTo>
                    <a:pt x="1138" y="123"/>
                    <a:pt x="1139" y="122"/>
                    <a:pt x="1140" y="121"/>
                  </a:cubicBezTo>
                  <a:cubicBezTo>
                    <a:pt x="1140" y="121"/>
                    <a:pt x="1140" y="121"/>
                    <a:pt x="1140" y="121"/>
                  </a:cubicBezTo>
                  <a:moveTo>
                    <a:pt x="1260" y="123"/>
                  </a:moveTo>
                  <a:cubicBezTo>
                    <a:pt x="1260" y="124"/>
                    <a:pt x="1259" y="125"/>
                    <a:pt x="1258" y="126"/>
                  </a:cubicBezTo>
                  <a:cubicBezTo>
                    <a:pt x="1258" y="128"/>
                    <a:pt x="1258" y="129"/>
                    <a:pt x="1257" y="131"/>
                  </a:cubicBezTo>
                  <a:cubicBezTo>
                    <a:pt x="1258" y="131"/>
                    <a:pt x="1258" y="131"/>
                    <a:pt x="1258" y="131"/>
                  </a:cubicBezTo>
                  <a:cubicBezTo>
                    <a:pt x="1259" y="128"/>
                    <a:pt x="1260" y="125"/>
                    <a:pt x="1260" y="123"/>
                  </a:cubicBezTo>
                  <a:moveTo>
                    <a:pt x="1135" y="126"/>
                  </a:moveTo>
                  <a:cubicBezTo>
                    <a:pt x="1135" y="126"/>
                    <a:pt x="1135" y="126"/>
                    <a:pt x="1135" y="126"/>
                  </a:cubicBezTo>
                  <a:cubicBezTo>
                    <a:pt x="1131" y="131"/>
                    <a:pt x="1126" y="137"/>
                    <a:pt x="1122" y="142"/>
                  </a:cubicBezTo>
                  <a:cubicBezTo>
                    <a:pt x="1122" y="143"/>
                    <a:pt x="1122" y="143"/>
                    <a:pt x="1123" y="143"/>
                  </a:cubicBezTo>
                  <a:cubicBezTo>
                    <a:pt x="1127" y="138"/>
                    <a:pt x="1131" y="133"/>
                    <a:pt x="1135" y="128"/>
                  </a:cubicBezTo>
                  <a:cubicBezTo>
                    <a:pt x="1135" y="127"/>
                    <a:pt x="1135" y="126"/>
                    <a:pt x="1135" y="126"/>
                  </a:cubicBezTo>
                  <a:moveTo>
                    <a:pt x="1257" y="132"/>
                  </a:moveTo>
                  <a:cubicBezTo>
                    <a:pt x="1255" y="140"/>
                    <a:pt x="1253" y="148"/>
                    <a:pt x="1250" y="156"/>
                  </a:cubicBezTo>
                  <a:cubicBezTo>
                    <a:pt x="1250" y="156"/>
                    <a:pt x="1251" y="156"/>
                    <a:pt x="1251" y="156"/>
                  </a:cubicBezTo>
                  <a:cubicBezTo>
                    <a:pt x="1254" y="148"/>
                    <a:pt x="1256" y="140"/>
                    <a:pt x="1258" y="132"/>
                  </a:cubicBezTo>
                  <a:cubicBezTo>
                    <a:pt x="1258" y="132"/>
                    <a:pt x="1257" y="132"/>
                    <a:pt x="1257" y="132"/>
                  </a:cubicBezTo>
                  <a:moveTo>
                    <a:pt x="936" y="136"/>
                  </a:moveTo>
                  <a:cubicBezTo>
                    <a:pt x="936" y="136"/>
                    <a:pt x="935" y="137"/>
                    <a:pt x="935" y="137"/>
                  </a:cubicBezTo>
                  <a:cubicBezTo>
                    <a:pt x="938" y="143"/>
                    <a:pt x="939" y="148"/>
                    <a:pt x="939" y="154"/>
                  </a:cubicBezTo>
                  <a:cubicBezTo>
                    <a:pt x="939" y="162"/>
                    <a:pt x="937" y="170"/>
                    <a:pt x="933" y="178"/>
                  </a:cubicBezTo>
                  <a:cubicBezTo>
                    <a:pt x="933" y="179"/>
                    <a:pt x="933" y="180"/>
                    <a:pt x="932" y="181"/>
                  </a:cubicBezTo>
                  <a:cubicBezTo>
                    <a:pt x="938" y="172"/>
                    <a:pt x="940" y="163"/>
                    <a:pt x="940" y="154"/>
                  </a:cubicBezTo>
                  <a:cubicBezTo>
                    <a:pt x="940" y="148"/>
                    <a:pt x="939" y="141"/>
                    <a:pt x="936" y="136"/>
                  </a:cubicBezTo>
                  <a:moveTo>
                    <a:pt x="1121" y="143"/>
                  </a:moveTo>
                  <a:cubicBezTo>
                    <a:pt x="1118" y="147"/>
                    <a:pt x="1115" y="151"/>
                    <a:pt x="1112" y="155"/>
                  </a:cubicBezTo>
                  <a:cubicBezTo>
                    <a:pt x="1113" y="155"/>
                    <a:pt x="1113" y="154"/>
                    <a:pt x="1114" y="154"/>
                  </a:cubicBezTo>
                  <a:cubicBezTo>
                    <a:pt x="1117" y="151"/>
                    <a:pt x="1119" y="147"/>
                    <a:pt x="1122" y="144"/>
                  </a:cubicBezTo>
                  <a:cubicBezTo>
                    <a:pt x="1122" y="144"/>
                    <a:pt x="1121" y="143"/>
                    <a:pt x="1121" y="143"/>
                  </a:cubicBezTo>
                  <a:moveTo>
                    <a:pt x="1113" y="156"/>
                  </a:moveTo>
                  <a:cubicBezTo>
                    <a:pt x="1113" y="156"/>
                    <a:pt x="1112" y="156"/>
                    <a:pt x="1112" y="156"/>
                  </a:cubicBezTo>
                  <a:cubicBezTo>
                    <a:pt x="1108" y="160"/>
                    <a:pt x="1105" y="164"/>
                    <a:pt x="1101" y="169"/>
                  </a:cubicBezTo>
                  <a:cubicBezTo>
                    <a:pt x="1102" y="169"/>
                    <a:pt x="1102" y="169"/>
                    <a:pt x="1102" y="169"/>
                  </a:cubicBezTo>
                  <a:cubicBezTo>
                    <a:pt x="1106" y="165"/>
                    <a:pt x="1110" y="160"/>
                    <a:pt x="1113" y="156"/>
                  </a:cubicBezTo>
                  <a:moveTo>
                    <a:pt x="1250" y="157"/>
                  </a:moveTo>
                  <a:cubicBezTo>
                    <a:pt x="1249" y="158"/>
                    <a:pt x="1249" y="159"/>
                    <a:pt x="1249" y="160"/>
                  </a:cubicBezTo>
                  <a:cubicBezTo>
                    <a:pt x="1249" y="160"/>
                    <a:pt x="1250" y="159"/>
                    <a:pt x="1250" y="159"/>
                  </a:cubicBezTo>
                  <a:cubicBezTo>
                    <a:pt x="1250" y="158"/>
                    <a:pt x="1251" y="158"/>
                    <a:pt x="1251" y="157"/>
                  </a:cubicBezTo>
                  <a:cubicBezTo>
                    <a:pt x="1250" y="157"/>
                    <a:pt x="1250" y="157"/>
                    <a:pt x="1250" y="157"/>
                  </a:cubicBezTo>
                  <a:moveTo>
                    <a:pt x="1249" y="161"/>
                  </a:moveTo>
                  <a:cubicBezTo>
                    <a:pt x="1249" y="162"/>
                    <a:pt x="1248" y="162"/>
                    <a:pt x="1248" y="163"/>
                  </a:cubicBezTo>
                  <a:cubicBezTo>
                    <a:pt x="1245" y="170"/>
                    <a:pt x="1243" y="177"/>
                    <a:pt x="1240" y="185"/>
                  </a:cubicBezTo>
                  <a:cubicBezTo>
                    <a:pt x="1242" y="181"/>
                    <a:pt x="1244" y="177"/>
                    <a:pt x="1245" y="172"/>
                  </a:cubicBezTo>
                  <a:cubicBezTo>
                    <a:pt x="1247" y="169"/>
                    <a:pt x="1248" y="165"/>
                    <a:pt x="1249" y="161"/>
                  </a:cubicBezTo>
                  <a:moveTo>
                    <a:pt x="1101" y="169"/>
                  </a:moveTo>
                  <a:cubicBezTo>
                    <a:pt x="1099" y="171"/>
                    <a:pt x="1098" y="173"/>
                    <a:pt x="1096" y="175"/>
                  </a:cubicBezTo>
                  <a:cubicBezTo>
                    <a:pt x="1095" y="177"/>
                    <a:pt x="1094" y="180"/>
                    <a:pt x="1093" y="182"/>
                  </a:cubicBezTo>
                  <a:cubicBezTo>
                    <a:pt x="1096" y="178"/>
                    <a:pt x="1099" y="174"/>
                    <a:pt x="1102" y="170"/>
                  </a:cubicBezTo>
                  <a:cubicBezTo>
                    <a:pt x="1101" y="170"/>
                    <a:pt x="1101" y="170"/>
                    <a:pt x="1101" y="169"/>
                  </a:cubicBezTo>
                  <a:moveTo>
                    <a:pt x="932" y="181"/>
                  </a:moveTo>
                  <a:cubicBezTo>
                    <a:pt x="929" y="186"/>
                    <a:pt x="925" y="191"/>
                    <a:pt x="920" y="197"/>
                  </a:cubicBezTo>
                  <a:cubicBezTo>
                    <a:pt x="916" y="202"/>
                    <a:pt x="912" y="206"/>
                    <a:pt x="909" y="211"/>
                  </a:cubicBezTo>
                  <a:cubicBezTo>
                    <a:pt x="909" y="210"/>
                    <a:pt x="910" y="210"/>
                    <a:pt x="911" y="210"/>
                  </a:cubicBezTo>
                  <a:cubicBezTo>
                    <a:pt x="914" y="206"/>
                    <a:pt x="917" y="202"/>
                    <a:pt x="921" y="198"/>
                  </a:cubicBezTo>
                  <a:cubicBezTo>
                    <a:pt x="925" y="193"/>
                    <a:pt x="928" y="188"/>
                    <a:pt x="931" y="183"/>
                  </a:cubicBezTo>
                  <a:cubicBezTo>
                    <a:pt x="931" y="182"/>
                    <a:pt x="931" y="182"/>
                    <a:pt x="932" y="181"/>
                  </a:cubicBezTo>
                  <a:moveTo>
                    <a:pt x="1092" y="181"/>
                  </a:moveTo>
                  <a:cubicBezTo>
                    <a:pt x="1091" y="182"/>
                    <a:pt x="1091" y="183"/>
                    <a:pt x="1090" y="183"/>
                  </a:cubicBezTo>
                  <a:cubicBezTo>
                    <a:pt x="1090" y="183"/>
                    <a:pt x="1090" y="183"/>
                    <a:pt x="1090" y="183"/>
                  </a:cubicBezTo>
                  <a:cubicBezTo>
                    <a:pt x="1091" y="183"/>
                    <a:pt x="1091" y="182"/>
                    <a:pt x="1092" y="181"/>
                  </a:cubicBezTo>
                  <a:moveTo>
                    <a:pt x="1090" y="184"/>
                  </a:moveTo>
                  <a:cubicBezTo>
                    <a:pt x="1090" y="184"/>
                    <a:pt x="1089" y="184"/>
                    <a:pt x="1089" y="184"/>
                  </a:cubicBezTo>
                  <a:cubicBezTo>
                    <a:pt x="1089" y="185"/>
                    <a:pt x="1089" y="185"/>
                    <a:pt x="1088" y="185"/>
                  </a:cubicBezTo>
                  <a:cubicBezTo>
                    <a:pt x="1088" y="186"/>
                    <a:pt x="1088" y="186"/>
                    <a:pt x="1088" y="187"/>
                  </a:cubicBezTo>
                  <a:cubicBezTo>
                    <a:pt x="1088" y="187"/>
                    <a:pt x="1089" y="187"/>
                    <a:pt x="1089" y="186"/>
                  </a:cubicBezTo>
                  <a:cubicBezTo>
                    <a:pt x="1089" y="186"/>
                    <a:pt x="1090" y="185"/>
                    <a:pt x="1090" y="184"/>
                  </a:cubicBezTo>
                  <a:moveTo>
                    <a:pt x="1087" y="187"/>
                  </a:moveTo>
                  <a:cubicBezTo>
                    <a:pt x="1085" y="189"/>
                    <a:pt x="1083" y="192"/>
                    <a:pt x="1080" y="195"/>
                  </a:cubicBezTo>
                  <a:cubicBezTo>
                    <a:pt x="1080" y="195"/>
                    <a:pt x="1080" y="195"/>
                    <a:pt x="1080" y="196"/>
                  </a:cubicBezTo>
                  <a:cubicBezTo>
                    <a:pt x="1081" y="196"/>
                    <a:pt x="1081" y="196"/>
                    <a:pt x="1081" y="196"/>
                  </a:cubicBezTo>
                  <a:cubicBezTo>
                    <a:pt x="1083" y="193"/>
                    <a:pt x="1085" y="191"/>
                    <a:pt x="1087" y="188"/>
                  </a:cubicBezTo>
                  <a:cubicBezTo>
                    <a:pt x="1087" y="188"/>
                    <a:pt x="1087" y="187"/>
                    <a:pt x="1087" y="187"/>
                  </a:cubicBezTo>
                  <a:moveTo>
                    <a:pt x="1240" y="188"/>
                  </a:moveTo>
                  <a:cubicBezTo>
                    <a:pt x="1240" y="188"/>
                    <a:pt x="1240" y="188"/>
                    <a:pt x="1239" y="188"/>
                  </a:cubicBezTo>
                  <a:cubicBezTo>
                    <a:pt x="1239" y="190"/>
                    <a:pt x="1238" y="192"/>
                    <a:pt x="1237" y="194"/>
                  </a:cubicBezTo>
                  <a:cubicBezTo>
                    <a:pt x="1237" y="194"/>
                    <a:pt x="1237" y="194"/>
                    <a:pt x="1237" y="194"/>
                  </a:cubicBezTo>
                  <a:cubicBezTo>
                    <a:pt x="1238" y="192"/>
                    <a:pt x="1239" y="190"/>
                    <a:pt x="1240" y="188"/>
                  </a:cubicBezTo>
                  <a:moveTo>
                    <a:pt x="1236" y="195"/>
                  </a:moveTo>
                  <a:cubicBezTo>
                    <a:pt x="1234" y="201"/>
                    <a:pt x="1231" y="207"/>
                    <a:pt x="1228" y="213"/>
                  </a:cubicBezTo>
                  <a:cubicBezTo>
                    <a:pt x="1229" y="212"/>
                    <a:pt x="1229" y="212"/>
                    <a:pt x="1229" y="212"/>
                  </a:cubicBezTo>
                  <a:cubicBezTo>
                    <a:pt x="1232" y="206"/>
                    <a:pt x="1234" y="201"/>
                    <a:pt x="1237" y="195"/>
                  </a:cubicBezTo>
                  <a:cubicBezTo>
                    <a:pt x="1237" y="195"/>
                    <a:pt x="1236" y="195"/>
                    <a:pt x="1236" y="195"/>
                  </a:cubicBezTo>
                  <a:moveTo>
                    <a:pt x="1079" y="196"/>
                  </a:moveTo>
                  <a:cubicBezTo>
                    <a:pt x="1079" y="197"/>
                    <a:pt x="1079" y="197"/>
                    <a:pt x="1078" y="198"/>
                  </a:cubicBezTo>
                  <a:cubicBezTo>
                    <a:pt x="1074" y="203"/>
                    <a:pt x="1070" y="209"/>
                    <a:pt x="1065" y="214"/>
                  </a:cubicBezTo>
                  <a:cubicBezTo>
                    <a:pt x="1066" y="214"/>
                    <a:pt x="1066" y="214"/>
                    <a:pt x="1067" y="214"/>
                  </a:cubicBezTo>
                  <a:cubicBezTo>
                    <a:pt x="1070" y="210"/>
                    <a:pt x="1073" y="206"/>
                    <a:pt x="1077" y="201"/>
                  </a:cubicBezTo>
                  <a:cubicBezTo>
                    <a:pt x="1078" y="200"/>
                    <a:pt x="1078" y="200"/>
                    <a:pt x="1079" y="199"/>
                  </a:cubicBezTo>
                  <a:cubicBezTo>
                    <a:pt x="1080" y="198"/>
                    <a:pt x="1080" y="197"/>
                    <a:pt x="1081" y="197"/>
                  </a:cubicBezTo>
                  <a:cubicBezTo>
                    <a:pt x="1080" y="197"/>
                    <a:pt x="1080" y="196"/>
                    <a:pt x="1079" y="196"/>
                  </a:cubicBezTo>
                  <a:moveTo>
                    <a:pt x="909" y="211"/>
                  </a:moveTo>
                  <a:cubicBezTo>
                    <a:pt x="909" y="212"/>
                    <a:pt x="908" y="212"/>
                    <a:pt x="908" y="212"/>
                  </a:cubicBezTo>
                  <a:cubicBezTo>
                    <a:pt x="904" y="216"/>
                    <a:pt x="901" y="220"/>
                    <a:pt x="899" y="224"/>
                  </a:cubicBezTo>
                  <a:cubicBezTo>
                    <a:pt x="899" y="224"/>
                    <a:pt x="900" y="223"/>
                    <a:pt x="900" y="223"/>
                  </a:cubicBezTo>
                  <a:cubicBezTo>
                    <a:pt x="903" y="220"/>
                    <a:pt x="906" y="216"/>
                    <a:pt x="909" y="211"/>
                  </a:cubicBezTo>
                  <a:moveTo>
                    <a:pt x="1065" y="215"/>
                  </a:moveTo>
                  <a:cubicBezTo>
                    <a:pt x="1062" y="217"/>
                    <a:pt x="1060" y="220"/>
                    <a:pt x="1058" y="223"/>
                  </a:cubicBezTo>
                  <a:cubicBezTo>
                    <a:pt x="1058" y="223"/>
                    <a:pt x="1059" y="223"/>
                    <a:pt x="1059" y="223"/>
                  </a:cubicBezTo>
                  <a:cubicBezTo>
                    <a:pt x="1062" y="220"/>
                    <a:pt x="1064" y="217"/>
                    <a:pt x="1066" y="215"/>
                  </a:cubicBezTo>
                  <a:cubicBezTo>
                    <a:pt x="1065" y="215"/>
                    <a:pt x="1065" y="215"/>
                    <a:pt x="1065" y="215"/>
                  </a:cubicBezTo>
                  <a:moveTo>
                    <a:pt x="1228" y="215"/>
                  </a:moveTo>
                  <a:cubicBezTo>
                    <a:pt x="1228" y="215"/>
                    <a:pt x="1227" y="215"/>
                    <a:pt x="1227" y="216"/>
                  </a:cubicBezTo>
                  <a:cubicBezTo>
                    <a:pt x="1226" y="219"/>
                    <a:pt x="1225" y="221"/>
                    <a:pt x="1223" y="224"/>
                  </a:cubicBezTo>
                  <a:cubicBezTo>
                    <a:pt x="1225" y="221"/>
                    <a:pt x="1227" y="218"/>
                    <a:pt x="1228" y="215"/>
                  </a:cubicBezTo>
                  <a:moveTo>
                    <a:pt x="1058" y="223"/>
                  </a:moveTo>
                  <a:cubicBezTo>
                    <a:pt x="1058" y="223"/>
                    <a:pt x="1057" y="223"/>
                    <a:pt x="1057" y="223"/>
                  </a:cubicBezTo>
                  <a:cubicBezTo>
                    <a:pt x="1055" y="226"/>
                    <a:pt x="1053" y="229"/>
                    <a:pt x="1050" y="232"/>
                  </a:cubicBezTo>
                  <a:cubicBezTo>
                    <a:pt x="1050" y="232"/>
                    <a:pt x="1050" y="232"/>
                    <a:pt x="1051" y="233"/>
                  </a:cubicBezTo>
                  <a:cubicBezTo>
                    <a:pt x="1053" y="230"/>
                    <a:pt x="1056" y="227"/>
                    <a:pt x="1059" y="223"/>
                  </a:cubicBezTo>
                  <a:cubicBezTo>
                    <a:pt x="1058" y="223"/>
                    <a:pt x="1058" y="223"/>
                    <a:pt x="1058" y="223"/>
                  </a:cubicBezTo>
                  <a:moveTo>
                    <a:pt x="1223" y="224"/>
                  </a:moveTo>
                  <a:cubicBezTo>
                    <a:pt x="1221" y="227"/>
                    <a:pt x="1219" y="231"/>
                    <a:pt x="1217" y="235"/>
                  </a:cubicBezTo>
                  <a:cubicBezTo>
                    <a:pt x="1217" y="235"/>
                    <a:pt x="1217" y="236"/>
                    <a:pt x="1217" y="236"/>
                  </a:cubicBezTo>
                  <a:cubicBezTo>
                    <a:pt x="1219" y="232"/>
                    <a:pt x="1221" y="228"/>
                    <a:pt x="1223" y="224"/>
                  </a:cubicBezTo>
                  <a:moveTo>
                    <a:pt x="899" y="225"/>
                  </a:moveTo>
                  <a:cubicBezTo>
                    <a:pt x="899" y="225"/>
                    <a:pt x="898" y="225"/>
                    <a:pt x="898" y="225"/>
                  </a:cubicBezTo>
                  <a:cubicBezTo>
                    <a:pt x="893" y="231"/>
                    <a:pt x="889" y="237"/>
                    <a:pt x="885" y="242"/>
                  </a:cubicBezTo>
                  <a:cubicBezTo>
                    <a:pt x="885" y="243"/>
                    <a:pt x="885" y="243"/>
                    <a:pt x="884" y="244"/>
                  </a:cubicBezTo>
                  <a:cubicBezTo>
                    <a:pt x="884" y="244"/>
                    <a:pt x="884" y="245"/>
                    <a:pt x="883" y="246"/>
                  </a:cubicBezTo>
                  <a:cubicBezTo>
                    <a:pt x="883" y="246"/>
                    <a:pt x="884" y="246"/>
                    <a:pt x="884" y="246"/>
                  </a:cubicBezTo>
                  <a:cubicBezTo>
                    <a:pt x="884" y="246"/>
                    <a:pt x="884" y="245"/>
                    <a:pt x="885" y="245"/>
                  </a:cubicBezTo>
                  <a:cubicBezTo>
                    <a:pt x="885" y="245"/>
                    <a:pt x="885" y="244"/>
                    <a:pt x="885" y="244"/>
                  </a:cubicBezTo>
                  <a:cubicBezTo>
                    <a:pt x="889" y="238"/>
                    <a:pt x="894" y="231"/>
                    <a:pt x="899" y="225"/>
                  </a:cubicBezTo>
                  <a:moveTo>
                    <a:pt x="1049" y="233"/>
                  </a:moveTo>
                  <a:cubicBezTo>
                    <a:pt x="1045" y="238"/>
                    <a:pt x="1040" y="243"/>
                    <a:pt x="1035" y="249"/>
                  </a:cubicBezTo>
                  <a:cubicBezTo>
                    <a:pt x="1036" y="249"/>
                    <a:pt x="1036" y="249"/>
                    <a:pt x="1037" y="249"/>
                  </a:cubicBezTo>
                  <a:cubicBezTo>
                    <a:pt x="1041" y="244"/>
                    <a:pt x="1046" y="239"/>
                    <a:pt x="1050" y="234"/>
                  </a:cubicBezTo>
                  <a:cubicBezTo>
                    <a:pt x="1050" y="233"/>
                    <a:pt x="1050" y="233"/>
                    <a:pt x="1049" y="233"/>
                  </a:cubicBezTo>
                  <a:moveTo>
                    <a:pt x="1216" y="236"/>
                  </a:moveTo>
                  <a:cubicBezTo>
                    <a:pt x="1209" y="249"/>
                    <a:pt x="1202" y="261"/>
                    <a:pt x="1194" y="273"/>
                  </a:cubicBezTo>
                  <a:cubicBezTo>
                    <a:pt x="1194" y="275"/>
                    <a:pt x="1193" y="276"/>
                    <a:pt x="1193" y="277"/>
                  </a:cubicBezTo>
                  <a:cubicBezTo>
                    <a:pt x="1193" y="277"/>
                    <a:pt x="1193" y="277"/>
                    <a:pt x="1193" y="277"/>
                  </a:cubicBezTo>
                  <a:cubicBezTo>
                    <a:pt x="1201" y="264"/>
                    <a:pt x="1210" y="250"/>
                    <a:pt x="1217" y="237"/>
                  </a:cubicBezTo>
                  <a:cubicBezTo>
                    <a:pt x="1217" y="237"/>
                    <a:pt x="1217" y="237"/>
                    <a:pt x="1217" y="236"/>
                  </a:cubicBezTo>
                  <a:cubicBezTo>
                    <a:pt x="1217" y="236"/>
                    <a:pt x="1216" y="236"/>
                    <a:pt x="1216" y="236"/>
                  </a:cubicBezTo>
                  <a:moveTo>
                    <a:pt x="884" y="247"/>
                  </a:moveTo>
                  <a:cubicBezTo>
                    <a:pt x="883" y="247"/>
                    <a:pt x="883" y="247"/>
                    <a:pt x="882" y="247"/>
                  </a:cubicBezTo>
                  <a:cubicBezTo>
                    <a:pt x="881" y="249"/>
                    <a:pt x="880" y="251"/>
                    <a:pt x="878" y="253"/>
                  </a:cubicBezTo>
                  <a:cubicBezTo>
                    <a:pt x="878" y="254"/>
                    <a:pt x="878" y="254"/>
                    <a:pt x="878" y="254"/>
                  </a:cubicBezTo>
                  <a:cubicBezTo>
                    <a:pt x="874" y="260"/>
                    <a:pt x="871" y="265"/>
                    <a:pt x="869" y="270"/>
                  </a:cubicBezTo>
                  <a:cubicBezTo>
                    <a:pt x="869" y="271"/>
                    <a:pt x="869" y="271"/>
                    <a:pt x="868" y="271"/>
                  </a:cubicBezTo>
                  <a:cubicBezTo>
                    <a:pt x="868" y="272"/>
                    <a:pt x="867" y="273"/>
                    <a:pt x="867" y="275"/>
                  </a:cubicBezTo>
                  <a:cubicBezTo>
                    <a:pt x="867" y="274"/>
                    <a:pt x="868" y="274"/>
                    <a:pt x="868" y="274"/>
                  </a:cubicBezTo>
                  <a:cubicBezTo>
                    <a:pt x="868" y="274"/>
                    <a:pt x="869" y="273"/>
                    <a:pt x="869" y="272"/>
                  </a:cubicBezTo>
                  <a:cubicBezTo>
                    <a:pt x="869" y="272"/>
                    <a:pt x="869" y="271"/>
                    <a:pt x="870" y="271"/>
                  </a:cubicBezTo>
                  <a:cubicBezTo>
                    <a:pt x="872" y="266"/>
                    <a:pt x="875" y="261"/>
                    <a:pt x="879" y="255"/>
                  </a:cubicBezTo>
                  <a:cubicBezTo>
                    <a:pt x="879" y="255"/>
                    <a:pt x="879" y="254"/>
                    <a:pt x="879" y="254"/>
                  </a:cubicBezTo>
                  <a:cubicBezTo>
                    <a:pt x="880" y="252"/>
                    <a:pt x="882" y="249"/>
                    <a:pt x="884" y="247"/>
                  </a:cubicBezTo>
                  <a:moveTo>
                    <a:pt x="1035" y="250"/>
                  </a:moveTo>
                  <a:cubicBezTo>
                    <a:pt x="1035" y="250"/>
                    <a:pt x="1034" y="250"/>
                    <a:pt x="1034" y="250"/>
                  </a:cubicBezTo>
                  <a:cubicBezTo>
                    <a:pt x="1035" y="250"/>
                    <a:pt x="1035" y="250"/>
                    <a:pt x="1036" y="250"/>
                  </a:cubicBezTo>
                  <a:cubicBezTo>
                    <a:pt x="1035" y="250"/>
                    <a:pt x="1035" y="250"/>
                    <a:pt x="1035" y="250"/>
                  </a:cubicBezTo>
                  <a:moveTo>
                    <a:pt x="1035" y="251"/>
                  </a:moveTo>
                  <a:cubicBezTo>
                    <a:pt x="1034" y="251"/>
                    <a:pt x="1034" y="251"/>
                    <a:pt x="1033" y="251"/>
                  </a:cubicBezTo>
                  <a:cubicBezTo>
                    <a:pt x="1029" y="256"/>
                    <a:pt x="1024" y="261"/>
                    <a:pt x="1019" y="266"/>
                  </a:cubicBezTo>
                  <a:cubicBezTo>
                    <a:pt x="1019" y="267"/>
                    <a:pt x="1020" y="267"/>
                    <a:pt x="1020" y="267"/>
                  </a:cubicBezTo>
                  <a:cubicBezTo>
                    <a:pt x="1025" y="262"/>
                    <a:pt x="1030" y="256"/>
                    <a:pt x="1035" y="251"/>
                  </a:cubicBezTo>
                  <a:moveTo>
                    <a:pt x="1018" y="267"/>
                  </a:moveTo>
                  <a:cubicBezTo>
                    <a:pt x="1015" y="271"/>
                    <a:pt x="1011" y="275"/>
                    <a:pt x="1007" y="279"/>
                  </a:cubicBezTo>
                  <a:cubicBezTo>
                    <a:pt x="1008" y="278"/>
                    <a:pt x="1008" y="278"/>
                    <a:pt x="1009" y="278"/>
                  </a:cubicBezTo>
                  <a:cubicBezTo>
                    <a:pt x="1012" y="275"/>
                    <a:pt x="1016" y="271"/>
                    <a:pt x="1019" y="268"/>
                  </a:cubicBezTo>
                  <a:cubicBezTo>
                    <a:pt x="1019" y="267"/>
                    <a:pt x="1019" y="267"/>
                    <a:pt x="1018" y="267"/>
                  </a:cubicBezTo>
                  <a:moveTo>
                    <a:pt x="868" y="275"/>
                  </a:moveTo>
                  <a:cubicBezTo>
                    <a:pt x="867" y="275"/>
                    <a:pt x="867" y="275"/>
                    <a:pt x="866" y="275"/>
                  </a:cubicBezTo>
                  <a:cubicBezTo>
                    <a:pt x="864" y="281"/>
                    <a:pt x="862" y="285"/>
                    <a:pt x="861" y="290"/>
                  </a:cubicBezTo>
                  <a:cubicBezTo>
                    <a:pt x="861" y="290"/>
                    <a:pt x="861" y="290"/>
                    <a:pt x="861" y="291"/>
                  </a:cubicBezTo>
                  <a:cubicBezTo>
                    <a:pt x="861" y="291"/>
                    <a:pt x="860" y="292"/>
                    <a:pt x="860" y="293"/>
                  </a:cubicBezTo>
                  <a:cubicBezTo>
                    <a:pt x="860" y="293"/>
                    <a:pt x="860" y="294"/>
                    <a:pt x="860" y="294"/>
                  </a:cubicBezTo>
                  <a:cubicBezTo>
                    <a:pt x="859" y="297"/>
                    <a:pt x="858" y="300"/>
                    <a:pt x="858" y="303"/>
                  </a:cubicBezTo>
                  <a:cubicBezTo>
                    <a:pt x="858" y="303"/>
                    <a:pt x="859" y="303"/>
                    <a:pt x="859" y="303"/>
                  </a:cubicBezTo>
                  <a:cubicBezTo>
                    <a:pt x="859" y="300"/>
                    <a:pt x="860" y="297"/>
                    <a:pt x="861" y="293"/>
                  </a:cubicBezTo>
                  <a:cubicBezTo>
                    <a:pt x="861" y="292"/>
                    <a:pt x="861" y="292"/>
                    <a:pt x="862" y="291"/>
                  </a:cubicBezTo>
                  <a:cubicBezTo>
                    <a:pt x="862" y="291"/>
                    <a:pt x="862" y="291"/>
                    <a:pt x="862" y="290"/>
                  </a:cubicBezTo>
                  <a:cubicBezTo>
                    <a:pt x="863" y="286"/>
                    <a:pt x="865" y="281"/>
                    <a:pt x="868" y="275"/>
                  </a:cubicBezTo>
                  <a:moveTo>
                    <a:pt x="1192" y="277"/>
                  </a:moveTo>
                  <a:cubicBezTo>
                    <a:pt x="1191" y="278"/>
                    <a:pt x="1191" y="278"/>
                    <a:pt x="1190" y="279"/>
                  </a:cubicBezTo>
                  <a:cubicBezTo>
                    <a:pt x="1191" y="279"/>
                    <a:pt x="1191" y="279"/>
                    <a:pt x="1191" y="278"/>
                  </a:cubicBezTo>
                  <a:cubicBezTo>
                    <a:pt x="1191" y="278"/>
                    <a:pt x="1192" y="277"/>
                    <a:pt x="1192" y="277"/>
                  </a:cubicBezTo>
                  <a:moveTo>
                    <a:pt x="1008" y="280"/>
                  </a:moveTo>
                  <a:cubicBezTo>
                    <a:pt x="1007" y="280"/>
                    <a:pt x="1007" y="280"/>
                    <a:pt x="1006" y="280"/>
                  </a:cubicBezTo>
                  <a:cubicBezTo>
                    <a:pt x="1007" y="280"/>
                    <a:pt x="1007" y="280"/>
                    <a:pt x="1007" y="280"/>
                  </a:cubicBezTo>
                  <a:cubicBezTo>
                    <a:pt x="1007" y="280"/>
                    <a:pt x="1007" y="280"/>
                    <a:pt x="1008" y="280"/>
                  </a:cubicBezTo>
                  <a:moveTo>
                    <a:pt x="1191" y="280"/>
                  </a:moveTo>
                  <a:cubicBezTo>
                    <a:pt x="1190" y="280"/>
                    <a:pt x="1190" y="281"/>
                    <a:pt x="1189" y="281"/>
                  </a:cubicBezTo>
                  <a:cubicBezTo>
                    <a:pt x="1188" y="282"/>
                    <a:pt x="1187" y="283"/>
                    <a:pt x="1187" y="285"/>
                  </a:cubicBezTo>
                  <a:cubicBezTo>
                    <a:pt x="1187" y="285"/>
                    <a:pt x="1187" y="285"/>
                    <a:pt x="1187" y="285"/>
                  </a:cubicBezTo>
                  <a:cubicBezTo>
                    <a:pt x="1188" y="284"/>
                    <a:pt x="1189" y="282"/>
                    <a:pt x="1190" y="281"/>
                  </a:cubicBezTo>
                  <a:cubicBezTo>
                    <a:pt x="1190" y="281"/>
                    <a:pt x="1190" y="280"/>
                    <a:pt x="1191" y="280"/>
                  </a:cubicBezTo>
                  <a:moveTo>
                    <a:pt x="1005" y="281"/>
                  </a:moveTo>
                  <a:cubicBezTo>
                    <a:pt x="1001" y="285"/>
                    <a:pt x="997" y="288"/>
                    <a:pt x="993" y="292"/>
                  </a:cubicBezTo>
                  <a:cubicBezTo>
                    <a:pt x="993" y="292"/>
                    <a:pt x="994" y="292"/>
                    <a:pt x="994" y="292"/>
                  </a:cubicBezTo>
                  <a:cubicBezTo>
                    <a:pt x="998" y="288"/>
                    <a:pt x="1002" y="285"/>
                    <a:pt x="1006" y="281"/>
                  </a:cubicBezTo>
                  <a:cubicBezTo>
                    <a:pt x="1006" y="281"/>
                    <a:pt x="1005" y="281"/>
                    <a:pt x="1005" y="281"/>
                  </a:cubicBezTo>
                  <a:moveTo>
                    <a:pt x="1186" y="285"/>
                  </a:moveTo>
                  <a:cubicBezTo>
                    <a:pt x="1182" y="291"/>
                    <a:pt x="1178" y="297"/>
                    <a:pt x="1174" y="303"/>
                  </a:cubicBezTo>
                  <a:cubicBezTo>
                    <a:pt x="1173" y="304"/>
                    <a:pt x="1173" y="305"/>
                    <a:pt x="1173" y="306"/>
                  </a:cubicBezTo>
                  <a:cubicBezTo>
                    <a:pt x="1178" y="299"/>
                    <a:pt x="1182" y="293"/>
                    <a:pt x="1187" y="286"/>
                  </a:cubicBezTo>
                  <a:cubicBezTo>
                    <a:pt x="1187" y="286"/>
                    <a:pt x="1186" y="286"/>
                    <a:pt x="1186" y="285"/>
                  </a:cubicBezTo>
                  <a:moveTo>
                    <a:pt x="993" y="293"/>
                  </a:moveTo>
                  <a:cubicBezTo>
                    <a:pt x="993" y="293"/>
                    <a:pt x="992" y="293"/>
                    <a:pt x="992" y="293"/>
                  </a:cubicBezTo>
                  <a:cubicBezTo>
                    <a:pt x="992" y="293"/>
                    <a:pt x="992" y="293"/>
                    <a:pt x="991" y="293"/>
                  </a:cubicBezTo>
                  <a:cubicBezTo>
                    <a:pt x="991" y="294"/>
                    <a:pt x="991" y="295"/>
                    <a:pt x="991" y="295"/>
                  </a:cubicBezTo>
                  <a:cubicBezTo>
                    <a:pt x="992" y="294"/>
                    <a:pt x="993" y="294"/>
                    <a:pt x="993" y="293"/>
                  </a:cubicBezTo>
                  <a:moveTo>
                    <a:pt x="990" y="295"/>
                  </a:moveTo>
                  <a:cubicBezTo>
                    <a:pt x="984" y="300"/>
                    <a:pt x="977" y="306"/>
                    <a:pt x="971" y="310"/>
                  </a:cubicBezTo>
                  <a:cubicBezTo>
                    <a:pt x="972" y="310"/>
                    <a:pt x="973" y="310"/>
                    <a:pt x="974" y="309"/>
                  </a:cubicBezTo>
                  <a:cubicBezTo>
                    <a:pt x="979" y="305"/>
                    <a:pt x="984" y="301"/>
                    <a:pt x="990" y="296"/>
                  </a:cubicBezTo>
                  <a:cubicBezTo>
                    <a:pt x="990" y="296"/>
                    <a:pt x="990" y="295"/>
                    <a:pt x="990" y="295"/>
                  </a:cubicBezTo>
                  <a:moveTo>
                    <a:pt x="858" y="304"/>
                  </a:moveTo>
                  <a:cubicBezTo>
                    <a:pt x="858" y="304"/>
                    <a:pt x="858" y="304"/>
                    <a:pt x="858" y="304"/>
                  </a:cubicBezTo>
                  <a:cubicBezTo>
                    <a:pt x="858" y="306"/>
                    <a:pt x="858" y="307"/>
                    <a:pt x="858" y="309"/>
                  </a:cubicBezTo>
                  <a:cubicBezTo>
                    <a:pt x="858" y="309"/>
                    <a:pt x="858" y="309"/>
                    <a:pt x="858" y="309"/>
                  </a:cubicBezTo>
                  <a:cubicBezTo>
                    <a:pt x="858" y="310"/>
                    <a:pt x="858" y="310"/>
                    <a:pt x="858" y="310"/>
                  </a:cubicBezTo>
                  <a:cubicBezTo>
                    <a:pt x="858" y="313"/>
                    <a:pt x="858" y="315"/>
                    <a:pt x="859" y="318"/>
                  </a:cubicBezTo>
                  <a:cubicBezTo>
                    <a:pt x="859" y="317"/>
                    <a:pt x="859" y="317"/>
                    <a:pt x="860" y="317"/>
                  </a:cubicBezTo>
                  <a:cubicBezTo>
                    <a:pt x="859" y="315"/>
                    <a:pt x="859" y="313"/>
                    <a:pt x="859" y="311"/>
                  </a:cubicBezTo>
                  <a:cubicBezTo>
                    <a:pt x="859" y="311"/>
                    <a:pt x="859" y="310"/>
                    <a:pt x="859" y="310"/>
                  </a:cubicBezTo>
                  <a:cubicBezTo>
                    <a:pt x="859" y="309"/>
                    <a:pt x="859" y="309"/>
                    <a:pt x="859" y="309"/>
                  </a:cubicBezTo>
                  <a:cubicBezTo>
                    <a:pt x="859" y="307"/>
                    <a:pt x="859" y="306"/>
                    <a:pt x="859" y="305"/>
                  </a:cubicBezTo>
                  <a:cubicBezTo>
                    <a:pt x="859" y="305"/>
                    <a:pt x="859" y="304"/>
                    <a:pt x="859" y="304"/>
                  </a:cubicBezTo>
                  <a:cubicBezTo>
                    <a:pt x="859" y="304"/>
                    <a:pt x="858" y="304"/>
                    <a:pt x="858" y="304"/>
                  </a:cubicBezTo>
                  <a:moveTo>
                    <a:pt x="1172" y="305"/>
                  </a:moveTo>
                  <a:cubicBezTo>
                    <a:pt x="1170" y="307"/>
                    <a:pt x="1169" y="309"/>
                    <a:pt x="1167" y="312"/>
                  </a:cubicBezTo>
                  <a:cubicBezTo>
                    <a:pt x="1168" y="311"/>
                    <a:pt x="1168" y="311"/>
                    <a:pt x="1169" y="311"/>
                  </a:cubicBezTo>
                  <a:cubicBezTo>
                    <a:pt x="1170" y="310"/>
                    <a:pt x="1170" y="309"/>
                    <a:pt x="1171" y="308"/>
                  </a:cubicBezTo>
                  <a:cubicBezTo>
                    <a:pt x="1171" y="307"/>
                    <a:pt x="1172" y="306"/>
                    <a:pt x="1172" y="305"/>
                  </a:cubicBezTo>
                  <a:moveTo>
                    <a:pt x="971" y="311"/>
                  </a:moveTo>
                  <a:cubicBezTo>
                    <a:pt x="970" y="312"/>
                    <a:pt x="969" y="312"/>
                    <a:pt x="968" y="312"/>
                  </a:cubicBezTo>
                  <a:cubicBezTo>
                    <a:pt x="965" y="315"/>
                    <a:pt x="961" y="317"/>
                    <a:pt x="958" y="319"/>
                  </a:cubicBezTo>
                  <a:cubicBezTo>
                    <a:pt x="961" y="317"/>
                    <a:pt x="964" y="316"/>
                    <a:pt x="967" y="314"/>
                  </a:cubicBezTo>
                  <a:cubicBezTo>
                    <a:pt x="968" y="313"/>
                    <a:pt x="970" y="312"/>
                    <a:pt x="971" y="312"/>
                  </a:cubicBezTo>
                  <a:cubicBezTo>
                    <a:pt x="971" y="311"/>
                    <a:pt x="971" y="311"/>
                    <a:pt x="971" y="311"/>
                  </a:cubicBezTo>
                  <a:moveTo>
                    <a:pt x="1168" y="312"/>
                  </a:moveTo>
                  <a:cubicBezTo>
                    <a:pt x="1167" y="313"/>
                    <a:pt x="1166" y="313"/>
                    <a:pt x="1166" y="313"/>
                  </a:cubicBezTo>
                  <a:cubicBezTo>
                    <a:pt x="1162" y="317"/>
                    <a:pt x="1159" y="321"/>
                    <a:pt x="1156" y="325"/>
                  </a:cubicBezTo>
                  <a:cubicBezTo>
                    <a:pt x="1156" y="326"/>
                    <a:pt x="1155" y="327"/>
                    <a:pt x="1155" y="328"/>
                  </a:cubicBezTo>
                  <a:cubicBezTo>
                    <a:pt x="1159" y="323"/>
                    <a:pt x="1164" y="318"/>
                    <a:pt x="1168" y="312"/>
                  </a:cubicBezTo>
                  <a:moveTo>
                    <a:pt x="642" y="315"/>
                  </a:moveTo>
                  <a:cubicBezTo>
                    <a:pt x="641" y="315"/>
                    <a:pt x="641" y="315"/>
                    <a:pt x="640" y="315"/>
                  </a:cubicBezTo>
                  <a:cubicBezTo>
                    <a:pt x="640" y="317"/>
                    <a:pt x="639" y="319"/>
                    <a:pt x="638" y="321"/>
                  </a:cubicBezTo>
                  <a:cubicBezTo>
                    <a:pt x="638" y="321"/>
                    <a:pt x="639" y="321"/>
                    <a:pt x="639" y="320"/>
                  </a:cubicBezTo>
                  <a:cubicBezTo>
                    <a:pt x="640" y="319"/>
                    <a:pt x="641" y="317"/>
                    <a:pt x="642" y="315"/>
                  </a:cubicBezTo>
                  <a:moveTo>
                    <a:pt x="860" y="318"/>
                  </a:moveTo>
                  <a:cubicBezTo>
                    <a:pt x="860" y="318"/>
                    <a:pt x="859" y="318"/>
                    <a:pt x="859" y="319"/>
                  </a:cubicBezTo>
                  <a:cubicBezTo>
                    <a:pt x="860" y="321"/>
                    <a:pt x="861" y="323"/>
                    <a:pt x="862" y="325"/>
                  </a:cubicBezTo>
                  <a:cubicBezTo>
                    <a:pt x="862" y="325"/>
                    <a:pt x="862" y="325"/>
                    <a:pt x="862" y="326"/>
                  </a:cubicBezTo>
                  <a:cubicBezTo>
                    <a:pt x="862" y="325"/>
                    <a:pt x="863" y="325"/>
                    <a:pt x="863" y="324"/>
                  </a:cubicBezTo>
                  <a:cubicBezTo>
                    <a:pt x="861" y="322"/>
                    <a:pt x="861" y="320"/>
                    <a:pt x="860" y="318"/>
                  </a:cubicBezTo>
                  <a:moveTo>
                    <a:pt x="958" y="320"/>
                  </a:moveTo>
                  <a:cubicBezTo>
                    <a:pt x="957" y="321"/>
                    <a:pt x="956" y="321"/>
                    <a:pt x="955" y="322"/>
                  </a:cubicBezTo>
                  <a:cubicBezTo>
                    <a:pt x="956" y="321"/>
                    <a:pt x="957" y="321"/>
                    <a:pt x="958" y="320"/>
                  </a:cubicBezTo>
                  <a:moveTo>
                    <a:pt x="953" y="322"/>
                  </a:moveTo>
                  <a:cubicBezTo>
                    <a:pt x="950" y="323"/>
                    <a:pt x="947" y="325"/>
                    <a:pt x="944" y="326"/>
                  </a:cubicBezTo>
                  <a:cubicBezTo>
                    <a:pt x="943" y="327"/>
                    <a:pt x="943" y="327"/>
                    <a:pt x="942" y="327"/>
                  </a:cubicBezTo>
                  <a:cubicBezTo>
                    <a:pt x="942" y="327"/>
                    <a:pt x="941" y="328"/>
                    <a:pt x="941" y="328"/>
                  </a:cubicBezTo>
                  <a:cubicBezTo>
                    <a:pt x="938" y="329"/>
                    <a:pt x="936" y="330"/>
                    <a:pt x="933" y="331"/>
                  </a:cubicBezTo>
                  <a:cubicBezTo>
                    <a:pt x="933" y="331"/>
                    <a:pt x="933" y="331"/>
                    <a:pt x="933" y="332"/>
                  </a:cubicBezTo>
                  <a:cubicBezTo>
                    <a:pt x="935" y="331"/>
                    <a:pt x="938" y="330"/>
                    <a:pt x="940" y="329"/>
                  </a:cubicBezTo>
                  <a:cubicBezTo>
                    <a:pt x="941" y="329"/>
                    <a:pt x="941" y="329"/>
                    <a:pt x="941" y="329"/>
                  </a:cubicBezTo>
                  <a:cubicBezTo>
                    <a:pt x="942" y="328"/>
                    <a:pt x="942" y="328"/>
                    <a:pt x="942" y="328"/>
                  </a:cubicBezTo>
                  <a:cubicBezTo>
                    <a:pt x="943" y="328"/>
                    <a:pt x="944" y="327"/>
                    <a:pt x="945" y="327"/>
                  </a:cubicBezTo>
                  <a:cubicBezTo>
                    <a:pt x="948" y="325"/>
                    <a:pt x="951" y="323"/>
                    <a:pt x="953" y="322"/>
                  </a:cubicBezTo>
                  <a:moveTo>
                    <a:pt x="639" y="322"/>
                  </a:moveTo>
                  <a:cubicBezTo>
                    <a:pt x="638" y="322"/>
                    <a:pt x="638" y="322"/>
                    <a:pt x="637" y="322"/>
                  </a:cubicBezTo>
                  <a:cubicBezTo>
                    <a:pt x="625" y="347"/>
                    <a:pt x="608" y="370"/>
                    <a:pt x="587" y="391"/>
                  </a:cubicBezTo>
                  <a:cubicBezTo>
                    <a:pt x="587" y="392"/>
                    <a:pt x="587" y="392"/>
                    <a:pt x="587" y="393"/>
                  </a:cubicBezTo>
                  <a:cubicBezTo>
                    <a:pt x="608" y="372"/>
                    <a:pt x="626" y="348"/>
                    <a:pt x="639" y="322"/>
                  </a:cubicBezTo>
                  <a:moveTo>
                    <a:pt x="863" y="325"/>
                  </a:moveTo>
                  <a:cubicBezTo>
                    <a:pt x="863" y="326"/>
                    <a:pt x="863" y="326"/>
                    <a:pt x="863" y="327"/>
                  </a:cubicBezTo>
                  <a:cubicBezTo>
                    <a:pt x="863" y="327"/>
                    <a:pt x="864" y="327"/>
                    <a:pt x="864" y="328"/>
                  </a:cubicBezTo>
                  <a:cubicBezTo>
                    <a:pt x="866" y="330"/>
                    <a:pt x="868" y="331"/>
                    <a:pt x="870" y="333"/>
                  </a:cubicBezTo>
                  <a:cubicBezTo>
                    <a:pt x="870" y="333"/>
                    <a:pt x="870" y="333"/>
                    <a:pt x="871" y="333"/>
                  </a:cubicBezTo>
                  <a:cubicBezTo>
                    <a:pt x="871" y="334"/>
                    <a:pt x="871" y="334"/>
                    <a:pt x="871" y="334"/>
                  </a:cubicBezTo>
                  <a:cubicBezTo>
                    <a:pt x="872" y="334"/>
                    <a:pt x="873" y="335"/>
                    <a:pt x="874" y="335"/>
                  </a:cubicBezTo>
                  <a:cubicBezTo>
                    <a:pt x="875" y="336"/>
                    <a:pt x="876" y="336"/>
                    <a:pt x="877" y="336"/>
                  </a:cubicBezTo>
                  <a:cubicBezTo>
                    <a:pt x="877" y="336"/>
                    <a:pt x="877" y="336"/>
                    <a:pt x="878" y="336"/>
                  </a:cubicBezTo>
                  <a:cubicBezTo>
                    <a:pt x="875" y="335"/>
                    <a:pt x="873" y="334"/>
                    <a:pt x="872" y="333"/>
                  </a:cubicBezTo>
                  <a:cubicBezTo>
                    <a:pt x="872" y="333"/>
                    <a:pt x="871" y="333"/>
                    <a:pt x="871" y="333"/>
                  </a:cubicBezTo>
                  <a:cubicBezTo>
                    <a:pt x="871" y="333"/>
                    <a:pt x="871" y="332"/>
                    <a:pt x="870" y="332"/>
                  </a:cubicBezTo>
                  <a:cubicBezTo>
                    <a:pt x="868" y="331"/>
                    <a:pt x="866" y="329"/>
                    <a:pt x="864" y="327"/>
                  </a:cubicBezTo>
                  <a:cubicBezTo>
                    <a:pt x="864" y="326"/>
                    <a:pt x="864" y="326"/>
                    <a:pt x="863" y="325"/>
                  </a:cubicBezTo>
                  <a:moveTo>
                    <a:pt x="1154" y="327"/>
                  </a:moveTo>
                  <a:cubicBezTo>
                    <a:pt x="1154" y="328"/>
                    <a:pt x="1153" y="328"/>
                    <a:pt x="1153" y="329"/>
                  </a:cubicBezTo>
                  <a:cubicBezTo>
                    <a:pt x="1153" y="329"/>
                    <a:pt x="1153" y="329"/>
                    <a:pt x="1154" y="330"/>
                  </a:cubicBezTo>
                  <a:cubicBezTo>
                    <a:pt x="1154" y="329"/>
                    <a:pt x="1154" y="328"/>
                    <a:pt x="1154" y="327"/>
                  </a:cubicBezTo>
                  <a:moveTo>
                    <a:pt x="1152" y="330"/>
                  </a:moveTo>
                  <a:cubicBezTo>
                    <a:pt x="1150" y="333"/>
                    <a:pt x="1147" y="335"/>
                    <a:pt x="1145" y="338"/>
                  </a:cubicBezTo>
                  <a:cubicBezTo>
                    <a:pt x="1145" y="338"/>
                    <a:pt x="1146" y="338"/>
                    <a:pt x="1147" y="338"/>
                  </a:cubicBezTo>
                  <a:cubicBezTo>
                    <a:pt x="1149" y="335"/>
                    <a:pt x="1151" y="333"/>
                    <a:pt x="1153" y="330"/>
                  </a:cubicBezTo>
                  <a:cubicBezTo>
                    <a:pt x="1153" y="330"/>
                    <a:pt x="1152" y="330"/>
                    <a:pt x="1152" y="330"/>
                  </a:cubicBezTo>
                  <a:moveTo>
                    <a:pt x="932" y="331"/>
                  </a:moveTo>
                  <a:cubicBezTo>
                    <a:pt x="931" y="331"/>
                    <a:pt x="930" y="332"/>
                    <a:pt x="929" y="332"/>
                  </a:cubicBezTo>
                  <a:cubicBezTo>
                    <a:pt x="929" y="332"/>
                    <a:pt x="929" y="333"/>
                    <a:pt x="929" y="333"/>
                  </a:cubicBezTo>
                  <a:cubicBezTo>
                    <a:pt x="930" y="333"/>
                    <a:pt x="930" y="333"/>
                    <a:pt x="931" y="332"/>
                  </a:cubicBezTo>
                  <a:cubicBezTo>
                    <a:pt x="931" y="332"/>
                    <a:pt x="931" y="332"/>
                    <a:pt x="932" y="331"/>
                  </a:cubicBezTo>
                  <a:moveTo>
                    <a:pt x="928" y="332"/>
                  </a:moveTo>
                  <a:cubicBezTo>
                    <a:pt x="928" y="332"/>
                    <a:pt x="928" y="332"/>
                    <a:pt x="928" y="332"/>
                  </a:cubicBezTo>
                  <a:cubicBezTo>
                    <a:pt x="927" y="333"/>
                    <a:pt x="927" y="333"/>
                    <a:pt x="927" y="334"/>
                  </a:cubicBezTo>
                  <a:cubicBezTo>
                    <a:pt x="927" y="334"/>
                    <a:pt x="928" y="333"/>
                    <a:pt x="928" y="333"/>
                  </a:cubicBezTo>
                  <a:cubicBezTo>
                    <a:pt x="928" y="333"/>
                    <a:pt x="928" y="333"/>
                    <a:pt x="928" y="332"/>
                  </a:cubicBezTo>
                  <a:moveTo>
                    <a:pt x="925" y="333"/>
                  </a:moveTo>
                  <a:cubicBezTo>
                    <a:pt x="925" y="333"/>
                    <a:pt x="925" y="333"/>
                    <a:pt x="924" y="333"/>
                  </a:cubicBezTo>
                  <a:cubicBezTo>
                    <a:pt x="924" y="334"/>
                    <a:pt x="924" y="334"/>
                    <a:pt x="924" y="335"/>
                  </a:cubicBezTo>
                  <a:cubicBezTo>
                    <a:pt x="924" y="335"/>
                    <a:pt x="924" y="334"/>
                    <a:pt x="924" y="334"/>
                  </a:cubicBezTo>
                  <a:cubicBezTo>
                    <a:pt x="925" y="334"/>
                    <a:pt x="925" y="334"/>
                    <a:pt x="925" y="333"/>
                  </a:cubicBezTo>
                  <a:moveTo>
                    <a:pt x="923" y="334"/>
                  </a:moveTo>
                  <a:cubicBezTo>
                    <a:pt x="923" y="334"/>
                    <a:pt x="923" y="334"/>
                    <a:pt x="923" y="334"/>
                  </a:cubicBezTo>
                  <a:cubicBezTo>
                    <a:pt x="923" y="334"/>
                    <a:pt x="923" y="334"/>
                    <a:pt x="923" y="334"/>
                  </a:cubicBezTo>
                  <a:cubicBezTo>
                    <a:pt x="923" y="334"/>
                    <a:pt x="923" y="334"/>
                    <a:pt x="923" y="334"/>
                  </a:cubicBezTo>
                  <a:moveTo>
                    <a:pt x="922" y="334"/>
                  </a:moveTo>
                  <a:cubicBezTo>
                    <a:pt x="919" y="335"/>
                    <a:pt x="915" y="336"/>
                    <a:pt x="912" y="336"/>
                  </a:cubicBezTo>
                  <a:cubicBezTo>
                    <a:pt x="911" y="336"/>
                    <a:pt x="911" y="337"/>
                    <a:pt x="910" y="337"/>
                  </a:cubicBezTo>
                  <a:cubicBezTo>
                    <a:pt x="909" y="337"/>
                    <a:pt x="907" y="337"/>
                    <a:pt x="906" y="337"/>
                  </a:cubicBezTo>
                  <a:cubicBezTo>
                    <a:pt x="905" y="337"/>
                    <a:pt x="905" y="337"/>
                    <a:pt x="905" y="337"/>
                  </a:cubicBezTo>
                  <a:cubicBezTo>
                    <a:pt x="904" y="338"/>
                    <a:pt x="903" y="338"/>
                    <a:pt x="902" y="338"/>
                  </a:cubicBezTo>
                  <a:cubicBezTo>
                    <a:pt x="901" y="338"/>
                    <a:pt x="901" y="338"/>
                    <a:pt x="901" y="339"/>
                  </a:cubicBezTo>
                  <a:cubicBezTo>
                    <a:pt x="902" y="339"/>
                    <a:pt x="904" y="339"/>
                    <a:pt x="905" y="338"/>
                  </a:cubicBezTo>
                  <a:cubicBezTo>
                    <a:pt x="906" y="338"/>
                    <a:pt x="906" y="338"/>
                    <a:pt x="906" y="338"/>
                  </a:cubicBezTo>
                  <a:cubicBezTo>
                    <a:pt x="907" y="338"/>
                    <a:pt x="908" y="338"/>
                    <a:pt x="909" y="338"/>
                  </a:cubicBezTo>
                  <a:cubicBezTo>
                    <a:pt x="909" y="338"/>
                    <a:pt x="910" y="338"/>
                    <a:pt x="910" y="338"/>
                  </a:cubicBezTo>
                  <a:cubicBezTo>
                    <a:pt x="914" y="337"/>
                    <a:pt x="918" y="336"/>
                    <a:pt x="922" y="335"/>
                  </a:cubicBezTo>
                  <a:cubicBezTo>
                    <a:pt x="922" y="335"/>
                    <a:pt x="922" y="334"/>
                    <a:pt x="922" y="334"/>
                  </a:cubicBezTo>
                  <a:moveTo>
                    <a:pt x="879" y="336"/>
                  </a:moveTo>
                  <a:cubicBezTo>
                    <a:pt x="878" y="336"/>
                    <a:pt x="878" y="336"/>
                    <a:pt x="878" y="337"/>
                  </a:cubicBezTo>
                  <a:cubicBezTo>
                    <a:pt x="881" y="338"/>
                    <a:pt x="884" y="338"/>
                    <a:pt x="888" y="339"/>
                  </a:cubicBezTo>
                  <a:cubicBezTo>
                    <a:pt x="889" y="338"/>
                    <a:pt x="889" y="338"/>
                    <a:pt x="889" y="338"/>
                  </a:cubicBezTo>
                  <a:cubicBezTo>
                    <a:pt x="885" y="338"/>
                    <a:pt x="882" y="337"/>
                    <a:pt x="879" y="336"/>
                  </a:cubicBezTo>
                  <a:moveTo>
                    <a:pt x="900" y="338"/>
                  </a:moveTo>
                  <a:cubicBezTo>
                    <a:pt x="900" y="338"/>
                    <a:pt x="900" y="338"/>
                    <a:pt x="900" y="338"/>
                  </a:cubicBezTo>
                  <a:cubicBezTo>
                    <a:pt x="899" y="338"/>
                    <a:pt x="899" y="338"/>
                    <a:pt x="898" y="338"/>
                  </a:cubicBezTo>
                  <a:cubicBezTo>
                    <a:pt x="898" y="338"/>
                    <a:pt x="898" y="338"/>
                    <a:pt x="898" y="338"/>
                  </a:cubicBezTo>
                  <a:cubicBezTo>
                    <a:pt x="897" y="338"/>
                    <a:pt x="896" y="338"/>
                    <a:pt x="894" y="338"/>
                  </a:cubicBezTo>
                  <a:cubicBezTo>
                    <a:pt x="894" y="338"/>
                    <a:pt x="894" y="338"/>
                    <a:pt x="893" y="338"/>
                  </a:cubicBezTo>
                  <a:cubicBezTo>
                    <a:pt x="893" y="338"/>
                    <a:pt x="893" y="338"/>
                    <a:pt x="892" y="338"/>
                  </a:cubicBezTo>
                  <a:cubicBezTo>
                    <a:pt x="892" y="338"/>
                    <a:pt x="891" y="338"/>
                    <a:pt x="891" y="338"/>
                  </a:cubicBezTo>
                  <a:cubicBezTo>
                    <a:pt x="890" y="338"/>
                    <a:pt x="890" y="339"/>
                    <a:pt x="890" y="339"/>
                  </a:cubicBezTo>
                  <a:cubicBezTo>
                    <a:pt x="891" y="339"/>
                    <a:pt x="892" y="339"/>
                    <a:pt x="893" y="339"/>
                  </a:cubicBezTo>
                  <a:cubicBezTo>
                    <a:pt x="893" y="339"/>
                    <a:pt x="894" y="339"/>
                    <a:pt x="894" y="339"/>
                  </a:cubicBezTo>
                  <a:cubicBezTo>
                    <a:pt x="894" y="339"/>
                    <a:pt x="894" y="339"/>
                    <a:pt x="894" y="339"/>
                  </a:cubicBezTo>
                  <a:cubicBezTo>
                    <a:pt x="896" y="339"/>
                    <a:pt x="897" y="339"/>
                    <a:pt x="898" y="339"/>
                  </a:cubicBezTo>
                  <a:cubicBezTo>
                    <a:pt x="898" y="339"/>
                    <a:pt x="899" y="339"/>
                    <a:pt x="899" y="339"/>
                  </a:cubicBezTo>
                  <a:cubicBezTo>
                    <a:pt x="899" y="339"/>
                    <a:pt x="900" y="338"/>
                    <a:pt x="900" y="338"/>
                  </a:cubicBezTo>
                  <a:moveTo>
                    <a:pt x="1145" y="339"/>
                  </a:moveTo>
                  <a:cubicBezTo>
                    <a:pt x="1145" y="339"/>
                    <a:pt x="1144" y="339"/>
                    <a:pt x="1144" y="339"/>
                  </a:cubicBezTo>
                  <a:cubicBezTo>
                    <a:pt x="1142" y="341"/>
                    <a:pt x="1140" y="343"/>
                    <a:pt x="1138" y="345"/>
                  </a:cubicBezTo>
                  <a:cubicBezTo>
                    <a:pt x="1138" y="346"/>
                    <a:pt x="1138" y="347"/>
                    <a:pt x="1138" y="347"/>
                  </a:cubicBezTo>
                  <a:cubicBezTo>
                    <a:pt x="1140" y="345"/>
                    <a:pt x="1143" y="342"/>
                    <a:pt x="1145" y="339"/>
                  </a:cubicBezTo>
                  <a:moveTo>
                    <a:pt x="1137" y="347"/>
                  </a:moveTo>
                  <a:cubicBezTo>
                    <a:pt x="1133" y="351"/>
                    <a:pt x="1129" y="355"/>
                    <a:pt x="1125" y="360"/>
                  </a:cubicBezTo>
                  <a:cubicBezTo>
                    <a:pt x="1125" y="360"/>
                    <a:pt x="1126" y="360"/>
                    <a:pt x="1126" y="360"/>
                  </a:cubicBezTo>
                  <a:cubicBezTo>
                    <a:pt x="1130" y="356"/>
                    <a:pt x="1133" y="352"/>
                    <a:pt x="1137" y="349"/>
                  </a:cubicBezTo>
                  <a:cubicBezTo>
                    <a:pt x="1137" y="348"/>
                    <a:pt x="1137" y="347"/>
                    <a:pt x="1137" y="347"/>
                  </a:cubicBezTo>
                  <a:moveTo>
                    <a:pt x="1125" y="361"/>
                  </a:moveTo>
                  <a:cubicBezTo>
                    <a:pt x="1125" y="361"/>
                    <a:pt x="1124" y="361"/>
                    <a:pt x="1124" y="361"/>
                  </a:cubicBezTo>
                  <a:cubicBezTo>
                    <a:pt x="1119" y="366"/>
                    <a:pt x="1114" y="370"/>
                    <a:pt x="1109" y="375"/>
                  </a:cubicBezTo>
                  <a:cubicBezTo>
                    <a:pt x="1109" y="375"/>
                    <a:pt x="1110" y="376"/>
                    <a:pt x="1110" y="376"/>
                  </a:cubicBezTo>
                  <a:cubicBezTo>
                    <a:pt x="1115" y="371"/>
                    <a:pt x="1120" y="366"/>
                    <a:pt x="1125" y="361"/>
                  </a:cubicBezTo>
                  <a:moveTo>
                    <a:pt x="1108" y="376"/>
                  </a:moveTo>
                  <a:cubicBezTo>
                    <a:pt x="1108" y="376"/>
                    <a:pt x="1107" y="377"/>
                    <a:pt x="1106" y="378"/>
                  </a:cubicBezTo>
                  <a:cubicBezTo>
                    <a:pt x="1107" y="378"/>
                    <a:pt x="1107" y="378"/>
                    <a:pt x="1108" y="378"/>
                  </a:cubicBezTo>
                  <a:cubicBezTo>
                    <a:pt x="1108" y="377"/>
                    <a:pt x="1109" y="377"/>
                    <a:pt x="1109" y="377"/>
                  </a:cubicBezTo>
                  <a:cubicBezTo>
                    <a:pt x="1109" y="376"/>
                    <a:pt x="1109" y="376"/>
                    <a:pt x="1108" y="376"/>
                  </a:cubicBezTo>
                  <a:moveTo>
                    <a:pt x="1106" y="378"/>
                  </a:moveTo>
                  <a:cubicBezTo>
                    <a:pt x="1100" y="383"/>
                    <a:pt x="1095" y="388"/>
                    <a:pt x="1090" y="393"/>
                  </a:cubicBezTo>
                  <a:cubicBezTo>
                    <a:pt x="1090" y="393"/>
                    <a:pt x="1090" y="393"/>
                    <a:pt x="1091" y="393"/>
                  </a:cubicBezTo>
                  <a:cubicBezTo>
                    <a:pt x="1096" y="388"/>
                    <a:pt x="1102" y="384"/>
                    <a:pt x="1107" y="379"/>
                  </a:cubicBezTo>
                  <a:cubicBezTo>
                    <a:pt x="1106" y="379"/>
                    <a:pt x="1106" y="379"/>
                    <a:pt x="1106" y="378"/>
                  </a:cubicBezTo>
                  <a:moveTo>
                    <a:pt x="586" y="392"/>
                  </a:moveTo>
                  <a:cubicBezTo>
                    <a:pt x="576" y="403"/>
                    <a:pt x="564" y="413"/>
                    <a:pt x="551" y="422"/>
                  </a:cubicBezTo>
                  <a:cubicBezTo>
                    <a:pt x="551" y="422"/>
                    <a:pt x="551" y="423"/>
                    <a:pt x="550" y="423"/>
                  </a:cubicBezTo>
                  <a:cubicBezTo>
                    <a:pt x="550" y="423"/>
                    <a:pt x="550" y="423"/>
                    <a:pt x="549" y="424"/>
                  </a:cubicBezTo>
                  <a:cubicBezTo>
                    <a:pt x="549" y="424"/>
                    <a:pt x="548" y="424"/>
                    <a:pt x="548" y="425"/>
                  </a:cubicBezTo>
                  <a:cubicBezTo>
                    <a:pt x="548" y="425"/>
                    <a:pt x="548" y="425"/>
                    <a:pt x="548" y="425"/>
                  </a:cubicBezTo>
                  <a:cubicBezTo>
                    <a:pt x="547" y="425"/>
                    <a:pt x="547" y="425"/>
                    <a:pt x="547" y="426"/>
                  </a:cubicBezTo>
                  <a:cubicBezTo>
                    <a:pt x="545" y="427"/>
                    <a:pt x="543" y="428"/>
                    <a:pt x="541" y="430"/>
                  </a:cubicBezTo>
                  <a:cubicBezTo>
                    <a:pt x="541" y="430"/>
                    <a:pt x="540" y="430"/>
                    <a:pt x="540" y="430"/>
                  </a:cubicBezTo>
                  <a:cubicBezTo>
                    <a:pt x="537" y="432"/>
                    <a:pt x="534" y="434"/>
                    <a:pt x="532" y="436"/>
                  </a:cubicBezTo>
                  <a:cubicBezTo>
                    <a:pt x="531" y="436"/>
                    <a:pt x="531" y="436"/>
                    <a:pt x="531" y="436"/>
                  </a:cubicBezTo>
                  <a:cubicBezTo>
                    <a:pt x="529" y="437"/>
                    <a:pt x="527" y="438"/>
                    <a:pt x="525" y="440"/>
                  </a:cubicBezTo>
                  <a:cubicBezTo>
                    <a:pt x="524" y="440"/>
                    <a:pt x="523" y="440"/>
                    <a:pt x="523" y="441"/>
                  </a:cubicBezTo>
                  <a:cubicBezTo>
                    <a:pt x="521" y="442"/>
                    <a:pt x="520" y="443"/>
                    <a:pt x="518" y="443"/>
                  </a:cubicBezTo>
                  <a:cubicBezTo>
                    <a:pt x="518" y="444"/>
                    <a:pt x="519" y="444"/>
                    <a:pt x="519" y="444"/>
                  </a:cubicBezTo>
                  <a:cubicBezTo>
                    <a:pt x="519" y="444"/>
                    <a:pt x="520" y="443"/>
                    <a:pt x="521" y="443"/>
                  </a:cubicBezTo>
                  <a:cubicBezTo>
                    <a:pt x="522" y="442"/>
                    <a:pt x="523" y="442"/>
                    <a:pt x="523" y="442"/>
                  </a:cubicBezTo>
                  <a:cubicBezTo>
                    <a:pt x="526" y="440"/>
                    <a:pt x="528" y="439"/>
                    <a:pt x="531" y="437"/>
                  </a:cubicBezTo>
                  <a:cubicBezTo>
                    <a:pt x="531" y="437"/>
                    <a:pt x="532" y="437"/>
                    <a:pt x="532" y="437"/>
                  </a:cubicBezTo>
                  <a:cubicBezTo>
                    <a:pt x="535" y="435"/>
                    <a:pt x="537" y="433"/>
                    <a:pt x="540" y="431"/>
                  </a:cubicBezTo>
                  <a:cubicBezTo>
                    <a:pt x="540" y="431"/>
                    <a:pt x="541" y="431"/>
                    <a:pt x="541" y="431"/>
                  </a:cubicBezTo>
                  <a:cubicBezTo>
                    <a:pt x="543" y="429"/>
                    <a:pt x="545" y="428"/>
                    <a:pt x="547" y="427"/>
                  </a:cubicBezTo>
                  <a:cubicBezTo>
                    <a:pt x="547" y="427"/>
                    <a:pt x="547" y="426"/>
                    <a:pt x="547" y="426"/>
                  </a:cubicBezTo>
                  <a:cubicBezTo>
                    <a:pt x="548" y="426"/>
                    <a:pt x="548" y="426"/>
                    <a:pt x="549" y="425"/>
                  </a:cubicBezTo>
                  <a:cubicBezTo>
                    <a:pt x="549" y="425"/>
                    <a:pt x="550" y="425"/>
                    <a:pt x="550" y="424"/>
                  </a:cubicBezTo>
                  <a:cubicBezTo>
                    <a:pt x="551" y="424"/>
                    <a:pt x="551" y="424"/>
                    <a:pt x="551" y="423"/>
                  </a:cubicBezTo>
                  <a:cubicBezTo>
                    <a:pt x="564" y="414"/>
                    <a:pt x="575" y="404"/>
                    <a:pt x="586" y="394"/>
                  </a:cubicBezTo>
                  <a:cubicBezTo>
                    <a:pt x="586" y="393"/>
                    <a:pt x="586" y="393"/>
                    <a:pt x="586" y="392"/>
                  </a:cubicBezTo>
                  <a:moveTo>
                    <a:pt x="1089" y="394"/>
                  </a:moveTo>
                  <a:cubicBezTo>
                    <a:pt x="1089" y="394"/>
                    <a:pt x="1089" y="394"/>
                    <a:pt x="1089" y="395"/>
                  </a:cubicBezTo>
                  <a:cubicBezTo>
                    <a:pt x="1089" y="394"/>
                    <a:pt x="1090" y="394"/>
                    <a:pt x="1090" y="394"/>
                  </a:cubicBezTo>
                  <a:cubicBezTo>
                    <a:pt x="1090" y="394"/>
                    <a:pt x="1089" y="394"/>
                    <a:pt x="1089" y="394"/>
                  </a:cubicBezTo>
                  <a:moveTo>
                    <a:pt x="1088" y="394"/>
                  </a:moveTo>
                  <a:cubicBezTo>
                    <a:pt x="1083" y="398"/>
                    <a:pt x="1079" y="402"/>
                    <a:pt x="1074" y="406"/>
                  </a:cubicBezTo>
                  <a:cubicBezTo>
                    <a:pt x="1074" y="406"/>
                    <a:pt x="1075" y="406"/>
                    <a:pt x="1075" y="407"/>
                  </a:cubicBezTo>
                  <a:cubicBezTo>
                    <a:pt x="1079" y="403"/>
                    <a:pt x="1084" y="399"/>
                    <a:pt x="1088" y="396"/>
                  </a:cubicBezTo>
                  <a:cubicBezTo>
                    <a:pt x="1088" y="395"/>
                    <a:pt x="1088" y="395"/>
                    <a:pt x="1088" y="394"/>
                  </a:cubicBezTo>
                  <a:moveTo>
                    <a:pt x="1073" y="407"/>
                  </a:moveTo>
                  <a:cubicBezTo>
                    <a:pt x="1069" y="410"/>
                    <a:pt x="1064" y="414"/>
                    <a:pt x="1059" y="418"/>
                  </a:cubicBezTo>
                  <a:cubicBezTo>
                    <a:pt x="1060" y="418"/>
                    <a:pt x="1060" y="418"/>
                    <a:pt x="1060" y="418"/>
                  </a:cubicBezTo>
                  <a:cubicBezTo>
                    <a:pt x="1065" y="415"/>
                    <a:pt x="1069" y="411"/>
                    <a:pt x="1074" y="407"/>
                  </a:cubicBezTo>
                  <a:cubicBezTo>
                    <a:pt x="1074" y="407"/>
                    <a:pt x="1074" y="407"/>
                    <a:pt x="1073" y="407"/>
                  </a:cubicBezTo>
                  <a:moveTo>
                    <a:pt x="1059" y="418"/>
                  </a:moveTo>
                  <a:cubicBezTo>
                    <a:pt x="1054" y="422"/>
                    <a:pt x="1050" y="425"/>
                    <a:pt x="1045" y="428"/>
                  </a:cubicBezTo>
                  <a:cubicBezTo>
                    <a:pt x="1045" y="428"/>
                    <a:pt x="1045" y="429"/>
                    <a:pt x="1046" y="429"/>
                  </a:cubicBezTo>
                  <a:cubicBezTo>
                    <a:pt x="1050" y="426"/>
                    <a:pt x="1055" y="422"/>
                    <a:pt x="1059" y="419"/>
                  </a:cubicBezTo>
                  <a:cubicBezTo>
                    <a:pt x="1059" y="419"/>
                    <a:pt x="1059" y="418"/>
                    <a:pt x="1059" y="418"/>
                  </a:cubicBezTo>
                  <a:moveTo>
                    <a:pt x="1044" y="429"/>
                  </a:moveTo>
                  <a:cubicBezTo>
                    <a:pt x="1039" y="432"/>
                    <a:pt x="1035" y="436"/>
                    <a:pt x="1030" y="439"/>
                  </a:cubicBezTo>
                  <a:cubicBezTo>
                    <a:pt x="1030" y="439"/>
                    <a:pt x="1030" y="440"/>
                    <a:pt x="1030" y="440"/>
                  </a:cubicBezTo>
                  <a:cubicBezTo>
                    <a:pt x="1035" y="437"/>
                    <a:pt x="1040" y="433"/>
                    <a:pt x="1045" y="430"/>
                  </a:cubicBezTo>
                  <a:cubicBezTo>
                    <a:pt x="1045" y="429"/>
                    <a:pt x="1044" y="429"/>
                    <a:pt x="1044" y="429"/>
                  </a:cubicBezTo>
                  <a:moveTo>
                    <a:pt x="1029" y="440"/>
                  </a:moveTo>
                  <a:cubicBezTo>
                    <a:pt x="1023" y="443"/>
                    <a:pt x="1018" y="447"/>
                    <a:pt x="1012" y="451"/>
                  </a:cubicBezTo>
                  <a:cubicBezTo>
                    <a:pt x="1012" y="451"/>
                    <a:pt x="1012" y="451"/>
                    <a:pt x="1012" y="451"/>
                  </a:cubicBezTo>
                  <a:cubicBezTo>
                    <a:pt x="1018" y="448"/>
                    <a:pt x="1023" y="445"/>
                    <a:pt x="1028" y="441"/>
                  </a:cubicBezTo>
                  <a:cubicBezTo>
                    <a:pt x="1029" y="441"/>
                    <a:pt x="1029" y="440"/>
                    <a:pt x="1029" y="440"/>
                  </a:cubicBezTo>
                  <a:moveTo>
                    <a:pt x="517" y="444"/>
                  </a:moveTo>
                  <a:cubicBezTo>
                    <a:pt x="516" y="445"/>
                    <a:pt x="515" y="446"/>
                    <a:pt x="513" y="446"/>
                  </a:cubicBezTo>
                  <a:cubicBezTo>
                    <a:pt x="513" y="446"/>
                    <a:pt x="512" y="447"/>
                    <a:pt x="512" y="447"/>
                  </a:cubicBezTo>
                  <a:cubicBezTo>
                    <a:pt x="507" y="450"/>
                    <a:pt x="501" y="452"/>
                    <a:pt x="496" y="455"/>
                  </a:cubicBezTo>
                  <a:cubicBezTo>
                    <a:pt x="496" y="455"/>
                    <a:pt x="495" y="455"/>
                    <a:pt x="495" y="455"/>
                  </a:cubicBezTo>
                  <a:cubicBezTo>
                    <a:pt x="492" y="457"/>
                    <a:pt x="489" y="458"/>
                    <a:pt x="486" y="459"/>
                  </a:cubicBezTo>
                  <a:cubicBezTo>
                    <a:pt x="486" y="459"/>
                    <a:pt x="487" y="459"/>
                    <a:pt x="488" y="459"/>
                  </a:cubicBezTo>
                  <a:cubicBezTo>
                    <a:pt x="491" y="458"/>
                    <a:pt x="493" y="457"/>
                    <a:pt x="495" y="456"/>
                  </a:cubicBezTo>
                  <a:cubicBezTo>
                    <a:pt x="496" y="456"/>
                    <a:pt x="496" y="456"/>
                    <a:pt x="496" y="456"/>
                  </a:cubicBezTo>
                  <a:cubicBezTo>
                    <a:pt x="502" y="453"/>
                    <a:pt x="507" y="451"/>
                    <a:pt x="512" y="448"/>
                  </a:cubicBezTo>
                  <a:cubicBezTo>
                    <a:pt x="513" y="448"/>
                    <a:pt x="513" y="448"/>
                    <a:pt x="513" y="447"/>
                  </a:cubicBezTo>
                  <a:cubicBezTo>
                    <a:pt x="515" y="447"/>
                    <a:pt x="516" y="446"/>
                    <a:pt x="518" y="445"/>
                  </a:cubicBezTo>
                  <a:cubicBezTo>
                    <a:pt x="518" y="445"/>
                    <a:pt x="518" y="444"/>
                    <a:pt x="517" y="444"/>
                  </a:cubicBezTo>
                  <a:moveTo>
                    <a:pt x="1011" y="451"/>
                  </a:moveTo>
                  <a:cubicBezTo>
                    <a:pt x="998" y="459"/>
                    <a:pt x="985" y="467"/>
                    <a:pt x="972" y="474"/>
                  </a:cubicBezTo>
                  <a:cubicBezTo>
                    <a:pt x="972" y="474"/>
                    <a:pt x="972" y="474"/>
                    <a:pt x="972" y="474"/>
                  </a:cubicBezTo>
                  <a:cubicBezTo>
                    <a:pt x="972" y="475"/>
                    <a:pt x="972" y="475"/>
                    <a:pt x="971" y="475"/>
                  </a:cubicBezTo>
                  <a:cubicBezTo>
                    <a:pt x="985" y="468"/>
                    <a:pt x="999" y="460"/>
                    <a:pt x="1012" y="452"/>
                  </a:cubicBezTo>
                  <a:cubicBezTo>
                    <a:pt x="1011" y="452"/>
                    <a:pt x="1011" y="451"/>
                    <a:pt x="1011" y="451"/>
                  </a:cubicBezTo>
                  <a:moveTo>
                    <a:pt x="483" y="460"/>
                  </a:moveTo>
                  <a:cubicBezTo>
                    <a:pt x="482" y="461"/>
                    <a:pt x="481" y="461"/>
                    <a:pt x="481" y="461"/>
                  </a:cubicBezTo>
                  <a:cubicBezTo>
                    <a:pt x="480" y="462"/>
                    <a:pt x="480" y="462"/>
                    <a:pt x="480" y="462"/>
                  </a:cubicBezTo>
                  <a:cubicBezTo>
                    <a:pt x="476" y="463"/>
                    <a:pt x="472" y="465"/>
                    <a:pt x="469" y="466"/>
                  </a:cubicBezTo>
                  <a:cubicBezTo>
                    <a:pt x="470" y="466"/>
                    <a:pt x="471" y="466"/>
                    <a:pt x="472" y="466"/>
                  </a:cubicBezTo>
                  <a:cubicBezTo>
                    <a:pt x="474" y="465"/>
                    <a:pt x="477" y="464"/>
                    <a:pt x="480" y="463"/>
                  </a:cubicBezTo>
                  <a:cubicBezTo>
                    <a:pt x="480" y="463"/>
                    <a:pt x="480" y="463"/>
                    <a:pt x="481" y="462"/>
                  </a:cubicBezTo>
                  <a:cubicBezTo>
                    <a:pt x="482" y="462"/>
                    <a:pt x="484" y="461"/>
                    <a:pt x="486" y="460"/>
                  </a:cubicBezTo>
                  <a:cubicBezTo>
                    <a:pt x="485" y="460"/>
                    <a:pt x="484" y="460"/>
                    <a:pt x="483" y="460"/>
                  </a:cubicBezTo>
                  <a:moveTo>
                    <a:pt x="466" y="467"/>
                  </a:moveTo>
                  <a:cubicBezTo>
                    <a:pt x="466" y="467"/>
                    <a:pt x="466" y="467"/>
                    <a:pt x="465" y="467"/>
                  </a:cubicBezTo>
                  <a:cubicBezTo>
                    <a:pt x="465" y="467"/>
                    <a:pt x="465" y="467"/>
                    <a:pt x="464" y="467"/>
                  </a:cubicBezTo>
                  <a:cubicBezTo>
                    <a:pt x="460" y="469"/>
                    <a:pt x="455" y="470"/>
                    <a:pt x="451" y="472"/>
                  </a:cubicBezTo>
                  <a:cubicBezTo>
                    <a:pt x="452" y="472"/>
                    <a:pt x="453" y="472"/>
                    <a:pt x="455" y="472"/>
                  </a:cubicBezTo>
                  <a:cubicBezTo>
                    <a:pt x="458" y="471"/>
                    <a:pt x="461" y="469"/>
                    <a:pt x="465" y="468"/>
                  </a:cubicBezTo>
                  <a:cubicBezTo>
                    <a:pt x="465" y="468"/>
                    <a:pt x="465" y="468"/>
                    <a:pt x="466" y="468"/>
                  </a:cubicBezTo>
                  <a:cubicBezTo>
                    <a:pt x="467" y="468"/>
                    <a:pt x="468" y="467"/>
                    <a:pt x="469" y="467"/>
                  </a:cubicBezTo>
                  <a:cubicBezTo>
                    <a:pt x="468" y="467"/>
                    <a:pt x="467" y="467"/>
                    <a:pt x="466" y="467"/>
                  </a:cubicBezTo>
                  <a:moveTo>
                    <a:pt x="451" y="473"/>
                  </a:moveTo>
                  <a:cubicBezTo>
                    <a:pt x="450" y="473"/>
                    <a:pt x="448" y="473"/>
                    <a:pt x="447" y="473"/>
                  </a:cubicBezTo>
                  <a:cubicBezTo>
                    <a:pt x="447" y="473"/>
                    <a:pt x="447" y="473"/>
                    <a:pt x="447" y="473"/>
                  </a:cubicBezTo>
                  <a:cubicBezTo>
                    <a:pt x="445" y="473"/>
                    <a:pt x="443" y="474"/>
                    <a:pt x="441" y="474"/>
                  </a:cubicBezTo>
                  <a:cubicBezTo>
                    <a:pt x="439" y="475"/>
                    <a:pt x="438" y="475"/>
                    <a:pt x="437" y="475"/>
                  </a:cubicBezTo>
                  <a:cubicBezTo>
                    <a:pt x="435" y="476"/>
                    <a:pt x="433" y="476"/>
                    <a:pt x="431" y="477"/>
                  </a:cubicBezTo>
                  <a:cubicBezTo>
                    <a:pt x="433" y="477"/>
                    <a:pt x="434" y="477"/>
                    <a:pt x="436" y="477"/>
                  </a:cubicBezTo>
                  <a:cubicBezTo>
                    <a:pt x="437" y="476"/>
                    <a:pt x="437" y="476"/>
                    <a:pt x="437" y="476"/>
                  </a:cubicBezTo>
                  <a:cubicBezTo>
                    <a:pt x="440" y="476"/>
                    <a:pt x="444" y="475"/>
                    <a:pt x="447" y="474"/>
                  </a:cubicBezTo>
                  <a:cubicBezTo>
                    <a:pt x="447" y="474"/>
                    <a:pt x="448" y="474"/>
                    <a:pt x="448" y="473"/>
                  </a:cubicBezTo>
                  <a:cubicBezTo>
                    <a:pt x="449" y="473"/>
                    <a:pt x="450" y="473"/>
                    <a:pt x="451" y="473"/>
                  </a:cubicBezTo>
                  <a:moveTo>
                    <a:pt x="971" y="475"/>
                  </a:moveTo>
                  <a:cubicBezTo>
                    <a:pt x="970" y="475"/>
                    <a:pt x="970" y="475"/>
                    <a:pt x="970" y="475"/>
                  </a:cubicBezTo>
                  <a:cubicBezTo>
                    <a:pt x="970" y="475"/>
                    <a:pt x="969" y="475"/>
                    <a:pt x="969" y="475"/>
                  </a:cubicBezTo>
                  <a:cubicBezTo>
                    <a:pt x="970" y="476"/>
                    <a:pt x="970" y="476"/>
                    <a:pt x="970" y="476"/>
                  </a:cubicBezTo>
                  <a:cubicBezTo>
                    <a:pt x="970" y="476"/>
                    <a:pt x="970" y="475"/>
                    <a:pt x="971" y="475"/>
                  </a:cubicBezTo>
                  <a:moveTo>
                    <a:pt x="968" y="476"/>
                  </a:moveTo>
                  <a:cubicBezTo>
                    <a:pt x="955" y="483"/>
                    <a:pt x="941" y="490"/>
                    <a:pt x="926" y="497"/>
                  </a:cubicBezTo>
                  <a:cubicBezTo>
                    <a:pt x="927" y="497"/>
                    <a:pt x="927" y="497"/>
                    <a:pt x="927" y="497"/>
                  </a:cubicBezTo>
                  <a:cubicBezTo>
                    <a:pt x="941" y="491"/>
                    <a:pt x="955" y="484"/>
                    <a:pt x="968" y="477"/>
                  </a:cubicBezTo>
                  <a:cubicBezTo>
                    <a:pt x="968" y="477"/>
                    <a:pt x="969" y="477"/>
                    <a:pt x="969" y="477"/>
                  </a:cubicBezTo>
                  <a:cubicBezTo>
                    <a:pt x="969" y="476"/>
                    <a:pt x="969" y="476"/>
                    <a:pt x="968" y="476"/>
                  </a:cubicBezTo>
                  <a:moveTo>
                    <a:pt x="431" y="478"/>
                  </a:moveTo>
                  <a:cubicBezTo>
                    <a:pt x="429" y="478"/>
                    <a:pt x="427" y="478"/>
                    <a:pt x="425" y="478"/>
                  </a:cubicBezTo>
                  <a:cubicBezTo>
                    <a:pt x="420" y="479"/>
                    <a:pt x="415" y="480"/>
                    <a:pt x="410" y="481"/>
                  </a:cubicBezTo>
                  <a:cubicBezTo>
                    <a:pt x="412" y="480"/>
                    <a:pt x="415" y="480"/>
                    <a:pt x="417" y="480"/>
                  </a:cubicBezTo>
                  <a:cubicBezTo>
                    <a:pt x="421" y="480"/>
                    <a:pt x="425" y="479"/>
                    <a:pt x="428" y="478"/>
                  </a:cubicBezTo>
                  <a:cubicBezTo>
                    <a:pt x="429" y="478"/>
                    <a:pt x="429" y="478"/>
                    <a:pt x="429" y="478"/>
                  </a:cubicBezTo>
                  <a:cubicBezTo>
                    <a:pt x="430" y="478"/>
                    <a:pt x="430" y="478"/>
                    <a:pt x="431" y="478"/>
                  </a:cubicBezTo>
                  <a:moveTo>
                    <a:pt x="405" y="482"/>
                  </a:moveTo>
                  <a:cubicBezTo>
                    <a:pt x="400" y="483"/>
                    <a:pt x="394" y="483"/>
                    <a:pt x="388" y="483"/>
                  </a:cubicBezTo>
                  <a:cubicBezTo>
                    <a:pt x="379" y="484"/>
                    <a:pt x="369" y="485"/>
                    <a:pt x="357" y="487"/>
                  </a:cubicBezTo>
                  <a:cubicBezTo>
                    <a:pt x="369" y="486"/>
                    <a:pt x="381" y="485"/>
                    <a:pt x="391" y="484"/>
                  </a:cubicBezTo>
                  <a:cubicBezTo>
                    <a:pt x="395" y="483"/>
                    <a:pt x="399" y="483"/>
                    <a:pt x="403" y="483"/>
                  </a:cubicBezTo>
                  <a:cubicBezTo>
                    <a:pt x="404" y="482"/>
                    <a:pt x="404" y="482"/>
                    <a:pt x="405" y="482"/>
                  </a:cubicBezTo>
                  <a:moveTo>
                    <a:pt x="358" y="488"/>
                  </a:moveTo>
                  <a:cubicBezTo>
                    <a:pt x="345" y="489"/>
                    <a:pt x="331" y="490"/>
                    <a:pt x="318" y="491"/>
                  </a:cubicBezTo>
                  <a:cubicBezTo>
                    <a:pt x="315" y="491"/>
                    <a:pt x="312" y="492"/>
                    <a:pt x="309" y="492"/>
                  </a:cubicBezTo>
                  <a:cubicBezTo>
                    <a:pt x="297" y="493"/>
                    <a:pt x="284" y="495"/>
                    <a:pt x="272" y="496"/>
                  </a:cubicBezTo>
                  <a:cubicBezTo>
                    <a:pt x="211" y="504"/>
                    <a:pt x="145" y="513"/>
                    <a:pt x="94" y="525"/>
                  </a:cubicBezTo>
                  <a:cubicBezTo>
                    <a:pt x="93" y="526"/>
                    <a:pt x="93" y="526"/>
                    <a:pt x="92" y="526"/>
                  </a:cubicBezTo>
                  <a:cubicBezTo>
                    <a:pt x="92" y="526"/>
                    <a:pt x="91" y="526"/>
                    <a:pt x="90" y="526"/>
                  </a:cubicBezTo>
                  <a:cubicBezTo>
                    <a:pt x="89" y="527"/>
                    <a:pt x="89" y="527"/>
                    <a:pt x="89" y="527"/>
                  </a:cubicBezTo>
                  <a:cubicBezTo>
                    <a:pt x="88" y="527"/>
                    <a:pt x="87" y="527"/>
                    <a:pt x="87" y="527"/>
                  </a:cubicBezTo>
                  <a:cubicBezTo>
                    <a:pt x="86" y="528"/>
                    <a:pt x="84" y="529"/>
                    <a:pt x="83" y="529"/>
                  </a:cubicBezTo>
                  <a:cubicBezTo>
                    <a:pt x="83" y="529"/>
                    <a:pt x="83" y="529"/>
                    <a:pt x="83" y="529"/>
                  </a:cubicBezTo>
                  <a:cubicBezTo>
                    <a:pt x="84" y="529"/>
                    <a:pt x="84" y="529"/>
                    <a:pt x="84" y="529"/>
                  </a:cubicBezTo>
                  <a:cubicBezTo>
                    <a:pt x="84" y="529"/>
                    <a:pt x="84" y="529"/>
                    <a:pt x="85" y="529"/>
                  </a:cubicBezTo>
                  <a:cubicBezTo>
                    <a:pt x="85" y="529"/>
                    <a:pt x="86" y="529"/>
                    <a:pt x="86" y="528"/>
                  </a:cubicBezTo>
                  <a:cubicBezTo>
                    <a:pt x="87" y="528"/>
                    <a:pt x="87" y="528"/>
                    <a:pt x="88" y="528"/>
                  </a:cubicBezTo>
                  <a:cubicBezTo>
                    <a:pt x="88" y="528"/>
                    <a:pt x="89" y="528"/>
                    <a:pt x="90" y="528"/>
                  </a:cubicBezTo>
                  <a:cubicBezTo>
                    <a:pt x="90" y="527"/>
                    <a:pt x="90" y="527"/>
                    <a:pt x="91" y="527"/>
                  </a:cubicBezTo>
                  <a:cubicBezTo>
                    <a:pt x="92" y="527"/>
                    <a:pt x="93" y="527"/>
                    <a:pt x="94" y="527"/>
                  </a:cubicBezTo>
                  <a:cubicBezTo>
                    <a:pt x="94" y="527"/>
                    <a:pt x="94" y="526"/>
                    <a:pt x="95" y="526"/>
                  </a:cubicBezTo>
                  <a:cubicBezTo>
                    <a:pt x="133" y="517"/>
                    <a:pt x="178" y="510"/>
                    <a:pt x="224" y="504"/>
                  </a:cubicBezTo>
                  <a:cubicBezTo>
                    <a:pt x="239" y="501"/>
                    <a:pt x="254" y="499"/>
                    <a:pt x="269" y="498"/>
                  </a:cubicBezTo>
                  <a:cubicBezTo>
                    <a:pt x="301" y="494"/>
                    <a:pt x="331" y="490"/>
                    <a:pt x="358" y="488"/>
                  </a:cubicBezTo>
                  <a:moveTo>
                    <a:pt x="925" y="497"/>
                  </a:moveTo>
                  <a:cubicBezTo>
                    <a:pt x="922" y="499"/>
                    <a:pt x="918" y="500"/>
                    <a:pt x="915" y="501"/>
                  </a:cubicBezTo>
                  <a:cubicBezTo>
                    <a:pt x="915" y="502"/>
                    <a:pt x="915" y="502"/>
                    <a:pt x="914" y="503"/>
                  </a:cubicBezTo>
                  <a:cubicBezTo>
                    <a:pt x="918" y="501"/>
                    <a:pt x="922" y="499"/>
                    <a:pt x="926" y="498"/>
                  </a:cubicBezTo>
                  <a:cubicBezTo>
                    <a:pt x="926" y="497"/>
                    <a:pt x="925" y="497"/>
                    <a:pt x="925" y="497"/>
                  </a:cubicBezTo>
                  <a:moveTo>
                    <a:pt x="914" y="502"/>
                  </a:moveTo>
                  <a:cubicBezTo>
                    <a:pt x="907" y="505"/>
                    <a:pt x="900" y="508"/>
                    <a:pt x="893" y="510"/>
                  </a:cubicBezTo>
                  <a:cubicBezTo>
                    <a:pt x="893" y="511"/>
                    <a:pt x="892" y="511"/>
                    <a:pt x="891" y="511"/>
                  </a:cubicBezTo>
                  <a:cubicBezTo>
                    <a:pt x="888" y="513"/>
                    <a:pt x="884" y="514"/>
                    <a:pt x="881" y="515"/>
                  </a:cubicBezTo>
                  <a:cubicBezTo>
                    <a:pt x="881" y="515"/>
                    <a:pt x="882" y="516"/>
                    <a:pt x="882" y="516"/>
                  </a:cubicBezTo>
                  <a:cubicBezTo>
                    <a:pt x="885" y="515"/>
                    <a:pt x="887" y="514"/>
                    <a:pt x="889" y="513"/>
                  </a:cubicBezTo>
                  <a:cubicBezTo>
                    <a:pt x="890" y="513"/>
                    <a:pt x="891" y="512"/>
                    <a:pt x="892" y="512"/>
                  </a:cubicBezTo>
                  <a:cubicBezTo>
                    <a:pt x="899" y="509"/>
                    <a:pt x="906" y="506"/>
                    <a:pt x="913" y="503"/>
                  </a:cubicBezTo>
                  <a:cubicBezTo>
                    <a:pt x="913" y="503"/>
                    <a:pt x="913" y="503"/>
                    <a:pt x="914" y="502"/>
                  </a:cubicBezTo>
                  <a:moveTo>
                    <a:pt x="879" y="516"/>
                  </a:moveTo>
                  <a:cubicBezTo>
                    <a:pt x="877" y="517"/>
                    <a:pt x="874" y="518"/>
                    <a:pt x="872" y="518"/>
                  </a:cubicBezTo>
                  <a:cubicBezTo>
                    <a:pt x="871" y="519"/>
                    <a:pt x="870" y="519"/>
                    <a:pt x="870" y="519"/>
                  </a:cubicBezTo>
                  <a:cubicBezTo>
                    <a:pt x="869" y="519"/>
                    <a:pt x="868" y="520"/>
                    <a:pt x="867" y="520"/>
                  </a:cubicBezTo>
                  <a:cubicBezTo>
                    <a:pt x="866" y="520"/>
                    <a:pt x="866" y="521"/>
                    <a:pt x="865" y="521"/>
                  </a:cubicBezTo>
                  <a:cubicBezTo>
                    <a:pt x="864" y="521"/>
                    <a:pt x="863" y="521"/>
                    <a:pt x="862" y="522"/>
                  </a:cubicBezTo>
                  <a:cubicBezTo>
                    <a:pt x="862" y="522"/>
                    <a:pt x="862" y="523"/>
                    <a:pt x="862" y="523"/>
                  </a:cubicBezTo>
                  <a:cubicBezTo>
                    <a:pt x="862" y="523"/>
                    <a:pt x="863" y="523"/>
                    <a:pt x="863" y="522"/>
                  </a:cubicBezTo>
                  <a:cubicBezTo>
                    <a:pt x="864" y="522"/>
                    <a:pt x="865" y="522"/>
                    <a:pt x="866" y="522"/>
                  </a:cubicBezTo>
                  <a:cubicBezTo>
                    <a:pt x="867" y="521"/>
                    <a:pt x="868" y="521"/>
                    <a:pt x="869" y="521"/>
                  </a:cubicBezTo>
                  <a:cubicBezTo>
                    <a:pt x="869" y="520"/>
                    <a:pt x="870" y="520"/>
                    <a:pt x="870" y="520"/>
                  </a:cubicBezTo>
                  <a:cubicBezTo>
                    <a:pt x="874" y="519"/>
                    <a:pt x="877" y="517"/>
                    <a:pt x="881" y="516"/>
                  </a:cubicBezTo>
                  <a:cubicBezTo>
                    <a:pt x="880" y="516"/>
                    <a:pt x="880" y="516"/>
                    <a:pt x="879" y="516"/>
                  </a:cubicBezTo>
                  <a:moveTo>
                    <a:pt x="861" y="522"/>
                  </a:moveTo>
                  <a:cubicBezTo>
                    <a:pt x="853" y="525"/>
                    <a:pt x="846" y="527"/>
                    <a:pt x="838" y="530"/>
                  </a:cubicBezTo>
                  <a:cubicBezTo>
                    <a:pt x="836" y="530"/>
                    <a:pt x="835" y="530"/>
                    <a:pt x="834" y="531"/>
                  </a:cubicBezTo>
                  <a:cubicBezTo>
                    <a:pt x="833" y="531"/>
                    <a:pt x="833" y="531"/>
                    <a:pt x="832" y="531"/>
                  </a:cubicBezTo>
                  <a:cubicBezTo>
                    <a:pt x="832" y="531"/>
                    <a:pt x="832" y="531"/>
                    <a:pt x="832" y="531"/>
                  </a:cubicBezTo>
                  <a:cubicBezTo>
                    <a:pt x="833" y="531"/>
                    <a:pt x="833" y="532"/>
                    <a:pt x="834" y="532"/>
                  </a:cubicBezTo>
                  <a:cubicBezTo>
                    <a:pt x="834" y="532"/>
                    <a:pt x="834" y="532"/>
                    <a:pt x="834" y="532"/>
                  </a:cubicBezTo>
                  <a:cubicBezTo>
                    <a:pt x="843" y="529"/>
                    <a:pt x="852" y="526"/>
                    <a:pt x="860" y="523"/>
                  </a:cubicBezTo>
                  <a:cubicBezTo>
                    <a:pt x="860" y="523"/>
                    <a:pt x="861" y="523"/>
                    <a:pt x="861" y="522"/>
                  </a:cubicBezTo>
                  <a:moveTo>
                    <a:pt x="83" y="528"/>
                  </a:moveTo>
                  <a:cubicBezTo>
                    <a:pt x="83" y="528"/>
                    <a:pt x="83" y="528"/>
                    <a:pt x="82" y="528"/>
                  </a:cubicBezTo>
                  <a:cubicBezTo>
                    <a:pt x="82" y="528"/>
                    <a:pt x="81" y="529"/>
                    <a:pt x="81" y="529"/>
                  </a:cubicBezTo>
                  <a:cubicBezTo>
                    <a:pt x="81" y="529"/>
                    <a:pt x="80" y="529"/>
                    <a:pt x="80" y="529"/>
                  </a:cubicBezTo>
                  <a:cubicBezTo>
                    <a:pt x="79" y="529"/>
                    <a:pt x="79" y="529"/>
                    <a:pt x="78" y="529"/>
                  </a:cubicBezTo>
                  <a:cubicBezTo>
                    <a:pt x="78" y="530"/>
                    <a:pt x="78" y="530"/>
                    <a:pt x="77" y="530"/>
                  </a:cubicBezTo>
                  <a:cubicBezTo>
                    <a:pt x="73" y="531"/>
                    <a:pt x="68" y="532"/>
                    <a:pt x="64" y="533"/>
                  </a:cubicBezTo>
                  <a:cubicBezTo>
                    <a:pt x="64" y="534"/>
                    <a:pt x="64" y="534"/>
                    <a:pt x="63" y="534"/>
                  </a:cubicBezTo>
                  <a:cubicBezTo>
                    <a:pt x="60" y="535"/>
                    <a:pt x="57" y="536"/>
                    <a:pt x="54" y="537"/>
                  </a:cubicBezTo>
                  <a:cubicBezTo>
                    <a:pt x="54" y="537"/>
                    <a:pt x="54" y="538"/>
                    <a:pt x="54" y="538"/>
                  </a:cubicBezTo>
                  <a:cubicBezTo>
                    <a:pt x="57" y="537"/>
                    <a:pt x="61" y="536"/>
                    <a:pt x="64" y="535"/>
                  </a:cubicBezTo>
                  <a:cubicBezTo>
                    <a:pt x="65" y="534"/>
                    <a:pt x="65" y="534"/>
                    <a:pt x="66" y="534"/>
                  </a:cubicBezTo>
                  <a:cubicBezTo>
                    <a:pt x="70" y="533"/>
                    <a:pt x="74" y="532"/>
                    <a:pt x="78" y="530"/>
                  </a:cubicBezTo>
                  <a:cubicBezTo>
                    <a:pt x="79" y="530"/>
                    <a:pt x="79" y="530"/>
                    <a:pt x="80" y="530"/>
                  </a:cubicBezTo>
                  <a:cubicBezTo>
                    <a:pt x="80" y="530"/>
                    <a:pt x="80" y="530"/>
                    <a:pt x="80" y="530"/>
                  </a:cubicBezTo>
                  <a:cubicBezTo>
                    <a:pt x="81" y="529"/>
                    <a:pt x="82" y="529"/>
                    <a:pt x="83" y="528"/>
                  </a:cubicBezTo>
                  <a:moveTo>
                    <a:pt x="830" y="532"/>
                  </a:moveTo>
                  <a:cubicBezTo>
                    <a:pt x="826" y="533"/>
                    <a:pt x="819" y="535"/>
                    <a:pt x="812" y="538"/>
                  </a:cubicBezTo>
                  <a:cubicBezTo>
                    <a:pt x="812" y="538"/>
                    <a:pt x="811" y="539"/>
                    <a:pt x="811" y="539"/>
                  </a:cubicBezTo>
                  <a:cubicBezTo>
                    <a:pt x="819" y="537"/>
                    <a:pt x="825" y="534"/>
                    <a:pt x="830" y="533"/>
                  </a:cubicBezTo>
                  <a:cubicBezTo>
                    <a:pt x="831" y="533"/>
                    <a:pt x="831" y="532"/>
                    <a:pt x="832" y="532"/>
                  </a:cubicBezTo>
                  <a:cubicBezTo>
                    <a:pt x="832" y="532"/>
                    <a:pt x="831" y="532"/>
                    <a:pt x="830" y="532"/>
                  </a:cubicBezTo>
                  <a:moveTo>
                    <a:pt x="53" y="537"/>
                  </a:moveTo>
                  <a:cubicBezTo>
                    <a:pt x="50" y="538"/>
                    <a:pt x="48" y="539"/>
                    <a:pt x="46" y="540"/>
                  </a:cubicBezTo>
                  <a:cubicBezTo>
                    <a:pt x="46" y="540"/>
                    <a:pt x="46" y="541"/>
                    <a:pt x="46" y="541"/>
                  </a:cubicBezTo>
                  <a:cubicBezTo>
                    <a:pt x="48" y="540"/>
                    <a:pt x="51" y="539"/>
                    <a:pt x="53" y="538"/>
                  </a:cubicBezTo>
                  <a:cubicBezTo>
                    <a:pt x="53" y="538"/>
                    <a:pt x="53" y="538"/>
                    <a:pt x="53" y="537"/>
                  </a:cubicBezTo>
                  <a:moveTo>
                    <a:pt x="811" y="538"/>
                  </a:moveTo>
                  <a:cubicBezTo>
                    <a:pt x="802" y="541"/>
                    <a:pt x="793" y="544"/>
                    <a:pt x="782" y="548"/>
                  </a:cubicBezTo>
                  <a:cubicBezTo>
                    <a:pt x="782" y="548"/>
                    <a:pt x="781" y="548"/>
                    <a:pt x="781" y="549"/>
                  </a:cubicBezTo>
                  <a:cubicBezTo>
                    <a:pt x="781" y="549"/>
                    <a:pt x="781" y="549"/>
                    <a:pt x="780" y="549"/>
                  </a:cubicBezTo>
                  <a:cubicBezTo>
                    <a:pt x="781" y="549"/>
                    <a:pt x="782" y="549"/>
                    <a:pt x="782" y="549"/>
                  </a:cubicBezTo>
                  <a:cubicBezTo>
                    <a:pt x="782" y="549"/>
                    <a:pt x="783" y="549"/>
                    <a:pt x="783" y="549"/>
                  </a:cubicBezTo>
                  <a:cubicBezTo>
                    <a:pt x="793" y="545"/>
                    <a:pt x="802" y="542"/>
                    <a:pt x="810" y="540"/>
                  </a:cubicBezTo>
                  <a:cubicBezTo>
                    <a:pt x="810" y="539"/>
                    <a:pt x="810" y="539"/>
                    <a:pt x="811" y="538"/>
                  </a:cubicBezTo>
                  <a:moveTo>
                    <a:pt x="45" y="540"/>
                  </a:moveTo>
                  <a:cubicBezTo>
                    <a:pt x="45" y="540"/>
                    <a:pt x="44" y="540"/>
                    <a:pt x="44" y="540"/>
                  </a:cubicBezTo>
                  <a:cubicBezTo>
                    <a:pt x="44" y="541"/>
                    <a:pt x="43" y="541"/>
                    <a:pt x="43" y="541"/>
                  </a:cubicBezTo>
                  <a:cubicBezTo>
                    <a:pt x="42" y="541"/>
                    <a:pt x="40" y="542"/>
                    <a:pt x="39" y="543"/>
                  </a:cubicBezTo>
                  <a:cubicBezTo>
                    <a:pt x="39" y="543"/>
                    <a:pt x="39" y="543"/>
                    <a:pt x="39" y="544"/>
                  </a:cubicBezTo>
                  <a:cubicBezTo>
                    <a:pt x="39" y="544"/>
                    <a:pt x="39" y="544"/>
                    <a:pt x="39" y="543"/>
                  </a:cubicBezTo>
                  <a:cubicBezTo>
                    <a:pt x="41" y="543"/>
                    <a:pt x="42" y="542"/>
                    <a:pt x="44" y="541"/>
                  </a:cubicBezTo>
                  <a:cubicBezTo>
                    <a:pt x="44" y="541"/>
                    <a:pt x="45" y="541"/>
                    <a:pt x="45" y="541"/>
                  </a:cubicBezTo>
                  <a:cubicBezTo>
                    <a:pt x="45" y="541"/>
                    <a:pt x="45" y="541"/>
                    <a:pt x="45" y="540"/>
                  </a:cubicBezTo>
                  <a:moveTo>
                    <a:pt x="38" y="543"/>
                  </a:moveTo>
                  <a:cubicBezTo>
                    <a:pt x="37" y="543"/>
                    <a:pt x="37" y="543"/>
                    <a:pt x="37" y="543"/>
                  </a:cubicBezTo>
                  <a:cubicBezTo>
                    <a:pt x="36" y="544"/>
                    <a:pt x="35" y="544"/>
                    <a:pt x="35" y="544"/>
                  </a:cubicBezTo>
                  <a:cubicBezTo>
                    <a:pt x="34" y="545"/>
                    <a:pt x="34" y="545"/>
                    <a:pt x="34" y="545"/>
                  </a:cubicBezTo>
                  <a:cubicBezTo>
                    <a:pt x="34" y="545"/>
                    <a:pt x="33" y="546"/>
                    <a:pt x="33" y="546"/>
                  </a:cubicBezTo>
                  <a:cubicBezTo>
                    <a:pt x="35" y="545"/>
                    <a:pt x="36" y="545"/>
                    <a:pt x="38" y="544"/>
                  </a:cubicBezTo>
                  <a:cubicBezTo>
                    <a:pt x="38" y="544"/>
                    <a:pt x="38" y="543"/>
                    <a:pt x="38" y="543"/>
                  </a:cubicBezTo>
                  <a:moveTo>
                    <a:pt x="32" y="546"/>
                  </a:moveTo>
                  <a:cubicBezTo>
                    <a:pt x="32" y="546"/>
                    <a:pt x="31" y="547"/>
                    <a:pt x="30" y="547"/>
                  </a:cubicBezTo>
                  <a:cubicBezTo>
                    <a:pt x="30" y="547"/>
                    <a:pt x="30" y="548"/>
                    <a:pt x="30" y="548"/>
                  </a:cubicBezTo>
                  <a:cubicBezTo>
                    <a:pt x="30" y="547"/>
                    <a:pt x="31" y="547"/>
                    <a:pt x="32" y="547"/>
                  </a:cubicBezTo>
                  <a:cubicBezTo>
                    <a:pt x="32" y="546"/>
                    <a:pt x="32" y="546"/>
                    <a:pt x="32" y="546"/>
                  </a:cubicBezTo>
                  <a:moveTo>
                    <a:pt x="29" y="547"/>
                  </a:moveTo>
                  <a:cubicBezTo>
                    <a:pt x="28" y="548"/>
                    <a:pt x="27" y="548"/>
                    <a:pt x="27" y="548"/>
                  </a:cubicBezTo>
                  <a:cubicBezTo>
                    <a:pt x="24" y="549"/>
                    <a:pt x="22" y="551"/>
                    <a:pt x="20" y="552"/>
                  </a:cubicBezTo>
                  <a:cubicBezTo>
                    <a:pt x="20" y="552"/>
                    <a:pt x="19" y="552"/>
                    <a:pt x="19" y="552"/>
                  </a:cubicBezTo>
                  <a:cubicBezTo>
                    <a:pt x="18" y="553"/>
                    <a:pt x="17" y="554"/>
                    <a:pt x="16" y="554"/>
                  </a:cubicBezTo>
                  <a:cubicBezTo>
                    <a:pt x="16" y="555"/>
                    <a:pt x="16" y="555"/>
                    <a:pt x="16" y="555"/>
                  </a:cubicBezTo>
                  <a:cubicBezTo>
                    <a:pt x="13" y="557"/>
                    <a:pt x="10" y="559"/>
                    <a:pt x="8" y="562"/>
                  </a:cubicBezTo>
                  <a:cubicBezTo>
                    <a:pt x="8" y="562"/>
                    <a:pt x="7" y="562"/>
                    <a:pt x="7" y="562"/>
                  </a:cubicBezTo>
                  <a:cubicBezTo>
                    <a:pt x="6" y="563"/>
                    <a:pt x="6" y="564"/>
                    <a:pt x="5" y="565"/>
                  </a:cubicBezTo>
                  <a:cubicBezTo>
                    <a:pt x="5" y="565"/>
                    <a:pt x="4" y="566"/>
                    <a:pt x="4" y="566"/>
                  </a:cubicBezTo>
                  <a:cubicBezTo>
                    <a:pt x="4" y="567"/>
                    <a:pt x="3" y="568"/>
                    <a:pt x="3" y="569"/>
                  </a:cubicBezTo>
                  <a:cubicBezTo>
                    <a:pt x="2" y="569"/>
                    <a:pt x="2" y="569"/>
                    <a:pt x="2" y="570"/>
                  </a:cubicBezTo>
                  <a:cubicBezTo>
                    <a:pt x="2" y="570"/>
                    <a:pt x="2" y="570"/>
                    <a:pt x="2" y="570"/>
                  </a:cubicBezTo>
                  <a:cubicBezTo>
                    <a:pt x="1" y="573"/>
                    <a:pt x="0" y="575"/>
                    <a:pt x="0" y="577"/>
                  </a:cubicBezTo>
                  <a:cubicBezTo>
                    <a:pt x="0" y="580"/>
                    <a:pt x="1" y="582"/>
                    <a:pt x="2" y="585"/>
                  </a:cubicBezTo>
                  <a:cubicBezTo>
                    <a:pt x="2" y="585"/>
                    <a:pt x="2" y="586"/>
                    <a:pt x="2" y="586"/>
                  </a:cubicBezTo>
                  <a:cubicBezTo>
                    <a:pt x="3" y="588"/>
                    <a:pt x="4" y="589"/>
                    <a:pt x="5" y="590"/>
                  </a:cubicBezTo>
                  <a:cubicBezTo>
                    <a:pt x="5" y="591"/>
                    <a:pt x="5" y="591"/>
                    <a:pt x="5" y="591"/>
                  </a:cubicBezTo>
                  <a:cubicBezTo>
                    <a:pt x="12" y="601"/>
                    <a:pt x="26" y="612"/>
                    <a:pt x="49" y="623"/>
                  </a:cubicBezTo>
                  <a:cubicBezTo>
                    <a:pt x="49" y="623"/>
                    <a:pt x="50" y="623"/>
                    <a:pt x="50" y="624"/>
                  </a:cubicBezTo>
                  <a:cubicBezTo>
                    <a:pt x="58" y="627"/>
                    <a:pt x="66" y="631"/>
                    <a:pt x="76" y="635"/>
                  </a:cubicBezTo>
                  <a:cubicBezTo>
                    <a:pt x="76" y="635"/>
                    <a:pt x="76" y="634"/>
                    <a:pt x="76" y="634"/>
                  </a:cubicBezTo>
                  <a:cubicBezTo>
                    <a:pt x="67" y="630"/>
                    <a:pt x="58" y="627"/>
                    <a:pt x="51" y="623"/>
                  </a:cubicBezTo>
                  <a:cubicBezTo>
                    <a:pt x="51" y="623"/>
                    <a:pt x="50" y="623"/>
                    <a:pt x="50" y="622"/>
                  </a:cubicBezTo>
                  <a:cubicBezTo>
                    <a:pt x="27" y="611"/>
                    <a:pt x="13" y="600"/>
                    <a:pt x="6" y="591"/>
                  </a:cubicBezTo>
                  <a:cubicBezTo>
                    <a:pt x="6" y="590"/>
                    <a:pt x="6" y="590"/>
                    <a:pt x="6" y="590"/>
                  </a:cubicBezTo>
                  <a:cubicBezTo>
                    <a:pt x="5" y="589"/>
                    <a:pt x="4" y="588"/>
                    <a:pt x="4" y="587"/>
                  </a:cubicBezTo>
                  <a:cubicBezTo>
                    <a:pt x="4" y="586"/>
                    <a:pt x="3" y="586"/>
                    <a:pt x="3" y="585"/>
                  </a:cubicBezTo>
                  <a:cubicBezTo>
                    <a:pt x="2" y="583"/>
                    <a:pt x="1" y="580"/>
                    <a:pt x="1" y="577"/>
                  </a:cubicBezTo>
                  <a:cubicBezTo>
                    <a:pt x="1" y="575"/>
                    <a:pt x="2" y="573"/>
                    <a:pt x="3" y="571"/>
                  </a:cubicBezTo>
                  <a:cubicBezTo>
                    <a:pt x="3" y="570"/>
                    <a:pt x="3" y="570"/>
                    <a:pt x="3" y="570"/>
                  </a:cubicBezTo>
                  <a:cubicBezTo>
                    <a:pt x="3" y="570"/>
                    <a:pt x="3" y="570"/>
                    <a:pt x="3" y="569"/>
                  </a:cubicBezTo>
                  <a:cubicBezTo>
                    <a:pt x="4" y="568"/>
                    <a:pt x="4" y="567"/>
                    <a:pt x="5" y="566"/>
                  </a:cubicBezTo>
                  <a:cubicBezTo>
                    <a:pt x="5" y="566"/>
                    <a:pt x="5" y="566"/>
                    <a:pt x="6" y="565"/>
                  </a:cubicBezTo>
                  <a:cubicBezTo>
                    <a:pt x="6" y="564"/>
                    <a:pt x="7" y="564"/>
                    <a:pt x="8" y="563"/>
                  </a:cubicBezTo>
                  <a:cubicBezTo>
                    <a:pt x="8" y="562"/>
                    <a:pt x="8" y="562"/>
                    <a:pt x="9" y="562"/>
                  </a:cubicBezTo>
                  <a:cubicBezTo>
                    <a:pt x="11" y="560"/>
                    <a:pt x="13" y="557"/>
                    <a:pt x="16" y="555"/>
                  </a:cubicBezTo>
                  <a:cubicBezTo>
                    <a:pt x="17" y="555"/>
                    <a:pt x="17" y="555"/>
                    <a:pt x="17" y="555"/>
                  </a:cubicBezTo>
                  <a:cubicBezTo>
                    <a:pt x="18" y="554"/>
                    <a:pt x="19" y="553"/>
                    <a:pt x="20" y="553"/>
                  </a:cubicBezTo>
                  <a:cubicBezTo>
                    <a:pt x="21" y="553"/>
                    <a:pt x="21" y="552"/>
                    <a:pt x="21" y="552"/>
                  </a:cubicBezTo>
                  <a:cubicBezTo>
                    <a:pt x="22" y="552"/>
                    <a:pt x="23" y="551"/>
                    <a:pt x="24" y="550"/>
                  </a:cubicBezTo>
                  <a:cubicBezTo>
                    <a:pt x="26" y="549"/>
                    <a:pt x="27" y="548"/>
                    <a:pt x="29" y="547"/>
                  </a:cubicBezTo>
                  <a:moveTo>
                    <a:pt x="198" y="548"/>
                  </a:moveTo>
                  <a:cubicBezTo>
                    <a:pt x="198" y="548"/>
                    <a:pt x="197" y="548"/>
                    <a:pt x="197" y="549"/>
                  </a:cubicBezTo>
                  <a:cubicBezTo>
                    <a:pt x="197" y="550"/>
                    <a:pt x="201" y="552"/>
                    <a:pt x="206" y="556"/>
                  </a:cubicBezTo>
                  <a:cubicBezTo>
                    <a:pt x="210" y="558"/>
                    <a:pt x="214" y="561"/>
                    <a:pt x="220" y="564"/>
                  </a:cubicBezTo>
                  <a:cubicBezTo>
                    <a:pt x="220" y="564"/>
                    <a:pt x="221" y="564"/>
                    <a:pt x="221" y="563"/>
                  </a:cubicBezTo>
                  <a:cubicBezTo>
                    <a:pt x="215" y="560"/>
                    <a:pt x="211" y="557"/>
                    <a:pt x="207" y="555"/>
                  </a:cubicBezTo>
                  <a:cubicBezTo>
                    <a:pt x="204" y="553"/>
                    <a:pt x="202" y="551"/>
                    <a:pt x="200" y="550"/>
                  </a:cubicBezTo>
                  <a:cubicBezTo>
                    <a:pt x="200" y="550"/>
                    <a:pt x="199" y="549"/>
                    <a:pt x="199" y="549"/>
                  </a:cubicBezTo>
                  <a:cubicBezTo>
                    <a:pt x="201" y="550"/>
                    <a:pt x="211" y="554"/>
                    <a:pt x="229" y="562"/>
                  </a:cubicBezTo>
                  <a:cubicBezTo>
                    <a:pt x="229" y="562"/>
                    <a:pt x="230" y="562"/>
                    <a:pt x="231" y="562"/>
                  </a:cubicBezTo>
                  <a:cubicBezTo>
                    <a:pt x="210" y="552"/>
                    <a:pt x="200" y="548"/>
                    <a:pt x="198" y="548"/>
                  </a:cubicBezTo>
                  <a:moveTo>
                    <a:pt x="779" y="549"/>
                  </a:moveTo>
                  <a:cubicBezTo>
                    <a:pt x="773" y="551"/>
                    <a:pt x="767" y="553"/>
                    <a:pt x="760" y="555"/>
                  </a:cubicBezTo>
                  <a:cubicBezTo>
                    <a:pt x="760" y="556"/>
                    <a:pt x="760" y="556"/>
                    <a:pt x="760" y="557"/>
                  </a:cubicBezTo>
                  <a:cubicBezTo>
                    <a:pt x="767" y="554"/>
                    <a:pt x="774" y="552"/>
                    <a:pt x="780" y="550"/>
                  </a:cubicBezTo>
                  <a:cubicBezTo>
                    <a:pt x="780" y="550"/>
                    <a:pt x="779" y="549"/>
                    <a:pt x="779" y="549"/>
                  </a:cubicBezTo>
                  <a:moveTo>
                    <a:pt x="759" y="556"/>
                  </a:moveTo>
                  <a:cubicBezTo>
                    <a:pt x="755" y="557"/>
                    <a:pt x="750" y="559"/>
                    <a:pt x="744" y="561"/>
                  </a:cubicBezTo>
                  <a:cubicBezTo>
                    <a:pt x="744" y="561"/>
                    <a:pt x="744" y="561"/>
                    <a:pt x="743" y="561"/>
                  </a:cubicBezTo>
                  <a:cubicBezTo>
                    <a:pt x="741" y="562"/>
                    <a:pt x="739" y="562"/>
                    <a:pt x="737" y="563"/>
                  </a:cubicBezTo>
                  <a:cubicBezTo>
                    <a:pt x="736" y="563"/>
                    <a:pt x="736" y="563"/>
                    <a:pt x="736" y="563"/>
                  </a:cubicBezTo>
                  <a:cubicBezTo>
                    <a:pt x="733" y="564"/>
                    <a:pt x="730" y="565"/>
                    <a:pt x="728" y="566"/>
                  </a:cubicBezTo>
                  <a:cubicBezTo>
                    <a:pt x="728" y="566"/>
                    <a:pt x="729" y="566"/>
                    <a:pt x="729" y="566"/>
                  </a:cubicBezTo>
                  <a:cubicBezTo>
                    <a:pt x="731" y="566"/>
                    <a:pt x="733" y="565"/>
                    <a:pt x="735" y="565"/>
                  </a:cubicBezTo>
                  <a:cubicBezTo>
                    <a:pt x="736" y="564"/>
                    <a:pt x="736" y="564"/>
                    <a:pt x="736" y="564"/>
                  </a:cubicBezTo>
                  <a:cubicBezTo>
                    <a:pt x="739" y="563"/>
                    <a:pt x="741" y="563"/>
                    <a:pt x="744" y="562"/>
                  </a:cubicBezTo>
                  <a:cubicBezTo>
                    <a:pt x="744" y="562"/>
                    <a:pt x="744" y="562"/>
                    <a:pt x="745" y="562"/>
                  </a:cubicBezTo>
                  <a:cubicBezTo>
                    <a:pt x="750" y="560"/>
                    <a:pt x="754" y="558"/>
                    <a:pt x="759" y="557"/>
                  </a:cubicBezTo>
                  <a:cubicBezTo>
                    <a:pt x="759" y="557"/>
                    <a:pt x="759" y="556"/>
                    <a:pt x="759" y="556"/>
                  </a:cubicBezTo>
                  <a:moveTo>
                    <a:pt x="232" y="562"/>
                  </a:moveTo>
                  <a:cubicBezTo>
                    <a:pt x="232" y="562"/>
                    <a:pt x="231" y="563"/>
                    <a:pt x="231" y="563"/>
                  </a:cubicBezTo>
                  <a:cubicBezTo>
                    <a:pt x="231" y="563"/>
                    <a:pt x="231" y="563"/>
                    <a:pt x="232" y="563"/>
                  </a:cubicBezTo>
                  <a:cubicBezTo>
                    <a:pt x="232" y="563"/>
                    <a:pt x="233" y="564"/>
                    <a:pt x="233" y="564"/>
                  </a:cubicBezTo>
                  <a:cubicBezTo>
                    <a:pt x="237" y="566"/>
                    <a:pt x="241" y="567"/>
                    <a:pt x="245" y="569"/>
                  </a:cubicBezTo>
                  <a:cubicBezTo>
                    <a:pt x="245" y="569"/>
                    <a:pt x="245" y="569"/>
                    <a:pt x="245" y="569"/>
                  </a:cubicBezTo>
                  <a:cubicBezTo>
                    <a:pt x="245" y="568"/>
                    <a:pt x="245" y="568"/>
                    <a:pt x="245" y="568"/>
                  </a:cubicBezTo>
                  <a:cubicBezTo>
                    <a:pt x="241" y="567"/>
                    <a:pt x="238" y="565"/>
                    <a:pt x="235" y="564"/>
                  </a:cubicBezTo>
                  <a:cubicBezTo>
                    <a:pt x="234" y="563"/>
                    <a:pt x="234" y="563"/>
                    <a:pt x="233" y="563"/>
                  </a:cubicBezTo>
                  <a:cubicBezTo>
                    <a:pt x="233" y="563"/>
                    <a:pt x="233" y="563"/>
                    <a:pt x="232" y="562"/>
                  </a:cubicBezTo>
                  <a:moveTo>
                    <a:pt x="222" y="564"/>
                  </a:moveTo>
                  <a:cubicBezTo>
                    <a:pt x="222" y="564"/>
                    <a:pt x="221" y="564"/>
                    <a:pt x="221" y="565"/>
                  </a:cubicBezTo>
                  <a:cubicBezTo>
                    <a:pt x="221" y="565"/>
                    <a:pt x="222" y="565"/>
                    <a:pt x="223" y="565"/>
                  </a:cubicBezTo>
                  <a:cubicBezTo>
                    <a:pt x="223" y="566"/>
                    <a:pt x="223" y="566"/>
                    <a:pt x="224" y="566"/>
                  </a:cubicBezTo>
                  <a:cubicBezTo>
                    <a:pt x="232" y="571"/>
                    <a:pt x="241" y="577"/>
                    <a:pt x="251" y="583"/>
                  </a:cubicBezTo>
                  <a:cubicBezTo>
                    <a:pt x="252" y="583"/>
                    <a:pt x="252" y="583"/>
                    <a:pt x="253" y="583"/>
                  </a:cubicBezTo>
                  <a:cubicBezTo>
                    <a:pt x="245" y="578"/>
                    <a:pt x="238" y="573"/>
                    <a:pt x="231" y="569"/>
                  </a:cubicBezTo>
                  <a:cubicBezTo>
                    <a:pt x="229" y="568"/>
                    <a:pt x="227" y="567"/>
                    <a:pt x="225" y="566"/>
                  </a:cubicBezTo>
                  <a:cubicBezTo>
                    <a:pt x="225" y="566"/>
                    <a:pt x="224" y="565"/>
                    <a:pt x="224" y="565"/>
                  </a:cubicBezTo>
                  <a:cubicBezTo>
                    <a:pt x="223" y="565"/>
                    <a:pt x="223" y="565"/>
                    <a:pt x="222" y="564"/>
                  </a:cubicBezTo>
                  <a:moveTo>
                    <a:pt x="726" y="566"/>
                  </a:moveTo>
                  <a:cubicBezTo>
                    <a:pt x="726" y="566"/>
                    <a:pt x="725" y="566"/>
                    <a:pt x="725" y="566"/>
                  </a:cubicBezTo>
                  <a:cubicBezTo>
                    <a:pt x="720" y="568"/>
                    <a:pt x="715" y="570"/>
                    <a:pt x="709" y="571"/>
                  </a:cubicBezTo>
                  <a:cubicBezTo>
                    <a:pt x="709" y="572"/>
                    <a:pt x="709" y="572"/>
                    <a:pt x="709" y="572"/>
                  </a:cubicBezTo>
                  <a:cubicBezTo>
                    <a:pt x="714" y="571"/>
                    <a:pt x="720" y="569"/>
                    <a:pt x="725" y="568"/>
                  </a:cubicBezTo>
                  <a:cubicBezTo>
                    <a:pt x="725" y="568"/>
                    <a:pt x="725" y="567"/>
                    <a:pt x="726" y="567"/>
                  </a:cubicBezTo>
                  <a:cubicBezTo>
                    <a:pt x="726" y="567"/>
                    <a:pt x="727" y="567"/>
                    <a:pt x="728" y="567"/>
                  </a:cubicBezTo>
                  <a:cubicBezTo>
                    <a:pt x="727" y="567"/>
                    <a:pt x="726" y="566"/>
                    <a:pt x="726" y="566"/>
                  </a:cubicBezTo>
                  <a:moveTo>
                    <a:pt x="245" y="568"/>
                  </a:moveTo>
                  <a:cubicBezTo>
                    <a:pt x="245" y="569"/>
                    <a:pt x="245" y="569"/>
                    <a:pt x="245" y="569"/>
                  </a:cubicBezTo>
                  <a:cubicBezTo>
                    <a:pt x="245" y="569"/>
                    <a:pt x="245" y="569"/>
                    <a:pt x="245" y="569"/>
                  </a:cubicBezTo>
                  <a:cubicBezTo>
                    <a:pt x="253" y="573"/>
                    <a:pt x="261" y="576"/>
                    <a:pt x="269" y="579"/>
                  </a:cubicBezTo>
                  <a:cubicBezTo>
                    <a:pt x="269" y="579"/>
                    <a:pt x="270" y="579"/>
                    <a:pt x="271" y="579"/>
                  </a:cubicBezTo>
                  <a:cubicBezTo>
                    <a:pt x="262" y="576"/>
                    <a:pt x="253" y="572"/>
                    <a:pt x="245" y="568"/>
                  </a:cubicBezTo>
                  <a:moveTo>
                    <a:pt x="708" y="571"/>
                  </a:moveTo>
                  <a:cubicBezTo>
                    <a:pt x="706" y="572"/>
                    <a:pt x="704" y="573"/>
                    <a:pt x="702" y="573"/>
                  </a:cubicBezTo>
                  <a:cubicBezTo>
                    <a:pt x="702" y="573"/>
                    <a:pt x="701" y="574"/>
                    <a:pt x="701" y="574"/>
                  </a:cubicBezTo>
                  <a:cubicBezTo>
                    <a:pt x="693" y="576"/>
                    <a:pt x="685" y="578"/>
                    <a:pt x="677" y="580"/>
                  </a:cubicBezTo>
                  <a:cubicBezTo>
                    <a:pt x="676" y="580"/>
                    <a:pt x="676" y="580"/>
                    <a:pt x="675" y="580"/>
                  </a:cubicBezTo>
                  <a:cubicBezTo>
                    <a:pt x="675" y="581"/>
                    <a:pt x="674" y="581"/>
                    <a:pt x="673" y="581"/>
                  </a:cubicBezTo>
                  <a:cubicBezTo>
                    <a:pt x="674" y="581"/>
                    <a:pt x="674" y="581"/>
                    <a:pt x="675" y="582"/>
                  </a:cubicBezTo>
                  <a:cubicBezTo>
                    <a:pt x="675" y="582"/>
                    <a:pt x="676" y="581"/>
                    <a:pt x="676" y="581"/>
                  </a:cubicBezTo>
                  <a:cubicBezTo>
                    <a:pt x="684" y="579"/>
                    <a:pt x="692" y="577"/>
                    <a:pt x="700" y="575"/>
                  </a:cubicBezTo>
                  <a:cubicBezTo>
                    <a:pt x="700" y="575"/>
                    <a:pt x="701" y="575"/>
                    <a:pt x="701" y="575"/>
                  </a:cubicBezTo>
                  <a:cubicBezTo>
                    <a:pt x="704" y="574"/>
                    <a:pt x="706" y="573"/>
                    <a:pt x="708" y="573"/>
                  </a:cubicBezTo>
                  <a:cubicBezTo>
                    <a:pt x="708" y="572"/>
                    <a:pt x="708" y="572"/>
                    <a:pt x="708" y="571"/>
                  </a:cubicBezTo>
                  <a:moveTo>
                    <a:pt x="272" y="580"/>
                  </a:moveTo>
                  <a:cubicBezTo>
                    <a:pt x="272" y="580"/>
                    <a:pt x="271" y="580"/>
                    <a:pt x="271" y="580"/>
                  </a:cubicBezTo>
                  <a:cubicBezTo>
                    <a:pt x="276" y="582"/>
                    <a:pt x="282" y="584"/>
                    <a:pt x="287" y="586"/>
                  </a:cubicBezTo>
                  <a:cubicBezTo>
                    <a:pt x="288" y="586"/>
                    <a:pt x="288" y="587"/>
                    <a:pt x="289" y="587"/>
                  </a:cubicBezTo>
                  <a:cubicBezTo>
                    <a:pt x="295" y="589"/>
                    <a:pt x="302" y="591"/>
                    <a:pt x="308" y="593"/>
                  </a:cubicBezTo>
                  <a:cubicBezTo>
                    <a:pt x="309" y="593"/>
                    <a:pt x="309" y="592"/>
                    <a:pt x="310" y="592"/>
                  </a:cubicBezTo>
                  <a:cubicBezTo>
                    <a:pt x="304" y="590"/>
                    <a:pt x="297" y="588"/>
                    <a:pt x="290" y="586"/>
                  </a:cubicBezTo>
                  <a:cubicBezTo>
                    <a:pt x="290" y="586"/>
                    <a:pt x="289" y="586"/>
                    <a:pt x="289" y="586"/>
                  </a:cubicBezTo>
                  <a:cubicBezTo>
                    <a:pt x="283" y="584"/>
                    <a:pt x="278" y="582"/>
                    <a:pt x="272" y="580"/>
                  </a:cubicBezTo>
                  <a:moveTo>
                    <a:pt x="671" y="582"/>
                  </a:moveTo>
                  <a:cubicBezTo>
                    <a:pt x="667" y="583"/>
                    <a:pt x="662" y="584"/>
                    <a:pt x="658" y="585"/>
                  </a:cubicBezTo>
                  <a:cubicBezTo>
                    <a:pt x="658" y="585"/>
                    <a:pt x="658" y="586"/>
                    <a:pt x="658" y="586"/>
                  </a:cubicBezTo>
                  <a:cubicBezTo>
                    <a:pt x="663" y="585"/>
                    <a:pt x="668" y="583"/>
                    <a:pt x="673" y="582"/>
                  </a:cubicBezTo>
                  <a:cubicBezTo>
                    <a:pt x="672" y="582"/>
                    <a:pt x="672" y="582"/>
                    <a:pt x="671" y="582"/>
                  </a:cubicBezTo>
                  <a:moveTo>
                    <a:pt x="254" y="583"/>
                  </a:moveTo>
                  <a:cubicBezTo>
                    <a:pt x="254" y="584"/>
                    <a:pt x="253" y="584"/>
                    <a:pt x="253" y="584"/>
                  </a:cubicBezTo>
                  <a:cubicBezTo>
                    <a:pt x="257" y="586"/>
                    <a:pt x="261" y="589"/>
                    <a:pt x="266" y="592"/>
                  </a:cubicBezTo>
                  <a:cubicBezTo>
                    <a:pt x="266" y="592"/>
                    <a:pt x="267" y="592"/>
                    <a:pt x="267" y="593"/>
                  </a:cubicBezTo>
                  <a:cubicBezTo>
                    <a:pt x="271" y="595"/>
                    <a:pt x="274" y="597"/>
                    <a:pt x="277" y="599"/>
                  </a:cubicBezTo>
                  <a:cubicBezTo>
                    <a:pt x="278" y="599"/>
                    <a:pt x="278" y="599"/>
                    <a:pt x="279" y="599"/>
                  </a:cubicBezTo>
                  <a:cubicBezTo>
                    <a:pt x="275" y="596"/>
                    <a:pt x="272" y="594"/>
                    <a:pt x="268" y="592"/>
                  </a:cubicBezTo>
                  <a:cubicBezTo>
                    <a:pt x="268" y="592"/>
                    <a:pt x="268" y="592"/>
                    <a:pt x="267" y="592"/>
                  </a:cubicBezTo>
                  <a:cubicBezTo>
                    <a:pt x="263" y="589"/>
                    <a:pt x="258" y="586"/>
                    <a:pt x="254" y="583"/>
                  </a:cubicBezTo>
                  <a:moveTo>
                    <a:pt x="657" y="585"/>
                  </a:moveTo>
                  <a:cubicBezTo>
                    <a:pt x="656" y="585"/>
                    <a:pt x="655" y="586"/>
                    <a:pt x="654" y="586"/>
                  </a:cubicBezTo>
                  <a:cubicBezTo>
                    <a:pt x="653" y="586"/>
                    <a:pt x="652" y="586"/>
                    <a:pt x="651" y="586"/>
                  </a:cubicBezTo>
                  <a:cubicBezTo>
                    <a:pt x="651" y="587"/>
                    <a:pt x="650" y="587"/>
                    <a:pt x="650" y="587"/>
                  </a:cubicBezTo>
                  <a:cubicBezTo>
                    <a:pt x="645" y="588"/>
                    <a:pt x="641" y="589"/>
                    <a:pt x="636" y="590"/>
                  </a:cubicBezTo>
                  <a:cubicBezTo>
                    <a:pt x="635" y="590"/>
                    <a:pt x="634" y="590"/>
                    <a:pt x="634" y="590"/>
                  </a:cubicBezTo>
                  <a:cubicBezTo>
                    <a:pt x="633" y="591"/>
                    <a:pt x="632" y="591"/>
                    <a:pt x="631" y="591"/>
                  </a:cubicBezTo>
                  <a:cubicBezTo>
                    <a:pt x="631" y="591"/>
                    <a:pt x="631" y="591"/>
                    <a:pt x="630" y="591"/>
                  </a:cubicBezTo>
                  <a:cubicBezTo>
                    <a:pt x="630" y="591"/>
                    <a:pt x="629" y="591"/>
                    <a:pt x="629" y="591"/>
                  </a:cubicBezTo>
                  <a:cubicBezTo>
                    <a:pt x="628" y="592"/>
                    <a:pt x="627" y="592"/>
                    <a:pt x="627" y="592"/>
                  </a:cubicBezTo>
                  <a:cubicBezTo>
                    <a:pt x="626" y="592"/>
                    <a:pt x="625" y="592"/>
                    <a:pt x="625" y="592"/>
                  </a:cubicBezTo>
                  <a:cubicBezTo>
                    <a:pt x="622" y="593"/>
                    <a:pt x="620" y="594"/>
                    <a:pt x="618" y="595"/>
                  </a:cubicBezTo>
                  <a:cubicBezTo>
                    <a:pt x="621" y="594"/>
                    <a:pt x="623" y="594"/>
                    <a:pt x="626" y="593"/>
                  </a:cubicBezTo>
                  <a:cubicBezTo>
                    <a:pt x="626" y="593"/>
                    <a:pt x="627" y="593"/>
                    <a:pt x="627" y="593"/>
                  </a:cubicBezTo>
                  <a:cubicBezTo>
                    <a:pt x="628" y="593"/>
                    <a:pt x="629" y="593"/>
                    <a:pt x="629" y="592"/>
                  </a:cubicBezTo>
                  <a:cubicBezTo>
                    <a:pt x="630" y="592"/>
                    <a:pt x="630" y="592"/>
                    <a:pt x="631" y="592"/>
                  </a:cubicBezTo>
                  <a:cubicBezTo>
                    <a:pt x="631" y="592"/>
                    <a:pt x="631" y="592"/>
                    <a:pt x="632" y="592"/>
                  </a:cubicBezTo>
                  <a:cubicBezTo>
                    <a:pt x="633" y="592"/>
                    <a:pt x="633" y="592"/>
                    <a:pt x="634" y="591"/>
                  </a:cubicBezTo>
                  <a:cubicBezTo>
                    <a:pt x="639" y="590"/>
                    <a:pt x="644" y="589"/>
                    <a:pt x="649" y="588"/>
                  </a:cubicBezTo>
                  <a:cubicBezTo>
                    <a:pt x="650" y="588"/>
                    <a:pt x="650" y="588"/>
                    <a:pt x="651" y="588"/>
                  </a:cubicBezTo>
                  <a:cubicBezTo>
                    <a:pt x="651" y="588"/>
                    <a:pt x="651" y="588"/>
                    <a:pt x="651" y="588"/>
                  </a:cubicBezTo>
                  <a:cubicBezTo>
                    <a:pt x="652" y="587"/>
                    <a:pt x="653" y="587"/>
                    <a:pt x="654" y="587"/>
                  </a:cubicBezTo>
                  <a:cubicBezTo>
                    <a:pt x="655" y="587"/>
                    <a:pt x="656" y="586"/>
                    <a:pt x="657" y="586"/>
                  </a:cubicBezTo>
                  <a:cubicBezTo>
                    <a:pt x="657" y="586"/>
                    <a:pt x="657" y="585"/>
                    <a:pt x="657" y="585"/>
                  </a:cubicBezTo>
                  <a:moveTo>
                    <a:pt x="312" y="593"/>
                  </a:moveTo>
                  <a:cubicBezTo>
                    <a:pt x="312" y="593"/>
                    <a:pt x="311" y="593"/>
                    <a:pt x="310" y="593"/>
                  </a:cubicBezTo>
                  <a:cubicBezTo>
                    <a:pt x="318" y="596"/>
                    <a:pt x="326" y="598"/>
                    <a:pt x="335" y="599"/>
                  </a:cubicBezTo>
                  <a:cubicBezTo>
                    <a:pt x="335" y="600"/>
                    <a:pt x="336" y="600"/>
                    <a:pt x="337" y="600"/>
                  </a:cubicBezTo>
                  <a:cubicBezTo>
                    <a:pt x="340" y="601"/>
                    <a:pt x="344" y="601"/>
                    <a:pt x="348" y="602"/>
                  </a:cubicBezTo>
                  <a:cubicBezTo>
                    <a:pt x="349" y="602"/>
                    <a:pt x="350" y="602"/>
                    <a:pt x="350" y="602"/>
                  </a:cubicBezTo>
                  <a:cubicBezTo>
                    <a:pt x="346" y="601"/>
                    <a:pt x="343" y="600"/>
                    <a:pt x="339" y="599"/>
                  </a:cubicBezTo>
                  <a:cubicBezTo>
                    <a:pt x="338" y="599"/>
                    <a:pt x="337" y="599"/>
                    <a:pt x="337" y="599"/>
                  </a:cubicBezTo>
                  <a:cubicBezTo>
                    <a:pt x="328" y="597"/>
                    <a:pt x="320" y="595"/>
                    <a:pt x="312" y="593"/>
                  </a:cubicBezTo>
                  <a:moveTo>
                    <a:pt x="618" y="594"/>
                  </a:moveTo>
                  <a:cubicBezTo>
                    <a:pt x="615" y="594"/>
                    <a:pt x="612" y="595"/>
                    <a:pt x="609" y="596"/>
                  </a:cubicBezTo>
                  <a:cubicBezTo>
                    <a:pt x="610" y="596"/>
                    <a:pt x="610" y="596"/>
                    <a:pt x="611" y="596"/>
                  </a:cubicBezTo>
                  <a:cubicBezTo>
                    <a:pt x="611" y="596"/>
                    <a:pt x="611" y="596"/>
                    <a:pt x="611" y="596"/>
                  </a:cubicBezTo>
                  <a:cubicBezTo>
                    <a:pt x="614" y="595"/>
                    <a:pt x="616" y="594"/>
                    <a:pt x="618" y="594"/>
                  </a:cubicBezTo>
                  <a:moveTo>
                    <a:pt x="607" y="596"/>
                  </a:moveTo>
                  <a:cubicBezTo>
                    <a:pt x="606" y="596"/>
                    <a:pt x="605" y="596"/>
                    <a:pt x="604" y="596"/>
                  </a:cubicBezTo>
                  <a:cubicBezTo>
                    <a:pt x="604" y="597"/>
                    <a:pt x="604" y="597"/>
                    <a:pt x="604" y="597"/>
                  </a:cubicBezTo>
                  <a:cubicBezTo>
                    <a:pt x="606" y="597"/>
                    <a:pt x="607" y="597"/>
                    <a:pt x="609" y="597"/>
                  </a:cubicBezTo>
                  <a:cubicBezTo>
                    <a:pt x="608" y="596"/>
                    <a:pt x="607" y="596"/>
                    <a:pt x="607" y="596"/>
                  </a:cubicBezTo>
                  <a:moveTo>
                    <a:pt x="603" y="597"/>
                  </a:moveTo>
                  <a:cubicBezTo>
                    <a:pt x="602" y="597"/>
                    <a:pt x="600" y="597"/>
                    <a:pt x="599" y="597"/>
                  </a:cubicBezTo>
                  <a:cubicBezTo>
                    <a:pt x="598" y="598"/>
                    <a:pt x="596" y="599"/>
                    <a:pt x="594" y="599"/>
                  </a:cubicBezTo>
                  <a:cubicBezTo>
                    <a:pt x="597" y="599"/>
                    <a:pt x="600" y="598"/>
                    <a:pt x="603" y="598"/>
                  </a:cubicBezTo>
                  <a:cubicBezTo>
                    <a:pt x="603" y="597"/>
                    <a:pt x="603" y="597"/>
                    <a:pt x="603" y="597"/>
                  </a:cubicBezTo>
                  <a:moveTo>
                    <a:pt x="594" y="598"/>
                  </a:moveTo>
                  <a:cubicBezTo>
                    <a:pt x="588" y="599"/>
                    <a:pt x="582" y="600"/>
                    <a:pt x="576" y="601"/>
                  </a:cubicBezTo>
                  <a:cubicBezTo>
                    <a:pt x="572" y="602"/>
                    <a:pt x="568" y="603"/>
                    <a:pt x="565" y="604"/>
                  </a:cubicBezTo>
                  <a:cubicBezTo>
                    <a:pt x="573" y="603"/>
                    <a:pt x="581" y="601"/>
                    <a:pt x="589" y="600"/>
                  </a:cubicBezTo>
                  <a:cubicBezTo>
                    <a:pt x="591" y="599"/>
                    <a:pt x="592" y="599"/>
                    <a:pt x="594" y="598"/>
                  </a:cubicBezTo>
                  <a:moveTo>
                    <a:pt x="280" y="599"/>
                  </a:moveTo>
                  <a:cubicBezTo>
                    <a:pt x="280" y="599"/>
                    <a:pt x="279" y="600"/>
                    <a:pt x="279" y="600"/>
                  </a:cubicBezTo>
                  <a:cubicBezTo>
                    <a:pt x="280" y="600"/>
                    <a:pt x="281" y="601"/>
                    <a:pt x="281" y="601"/>
                  </a:cubicBezTo>
                  <a:cubicBezTo>
                    <a:pt x="282" y="602"/>
                    <a:pt x="283" y="602"/>
                    <a:pt x="284" y="603"/>
                  </a:cubicBezTo>
                  <a:cubicBezTo>
                    <a:pt x="288" y="605"/>
                    <a:pt x="293" y="608"/>
                    <a:pt x="297" y="611"/>
                  </a:cubicBezTo>
                  <a:cubicBezTo>
                    <a:pt x="297" y="611"/>
                    <a:pt x="298" y="612"/>
                    <a:pt x="298" y="612"/>
                  </a:cubicBezTo>
                  <a:cubicBezTo>
                    <a:pt x="299" y="612"/>
                    <a:pt x="299" y="612"/>
                    <a:pt x="299" y="612"/>
                  </a:cubicBezTo>
                  <a:cubicBezTo>
                    <a:pt x="300" y="612"/>
                    <a:pt x="300" y="612"/>
                    <a:pt x="301" y="612"/>
                  </a:cubicBezTo>
                  <a:cubicBezTo>
                    <a:pt x="299" y="611"/>
                    <a:pt x="299" y="611"/>
                    <a:pt x="299" y="611"/>
                  </a:cubicBezTo>
                  <a:cubicBezTo>
                    <a:pt x="299" y="611"/>
                    <a:pt x="299" y="611"/>
                    <a:pt x="298" y="611"/>
                  </a:cubicBezTo>
                  <a:cubicBezTo>
                    <a:pt x="294" y="608"/>
                    <a:pt x="290" y="606"/>
                    <a:pt x="286" y="603"/>
                  </a:cubicBezTo>
                  <a:cubicBezTo>
                    <a:pt x="285" y="603"/>
                    <a:pt x="285" y="602"/>
                    <a:pt x="284" y="602"/>
                  </a:cubicBezTo>
                  <a:cubicBezTo>
                    <a:pt x="283" y="601"/>
                    <a:pt x="281" y="600"/>
                    <a:pt x="280" y="599"/>
                  </a:cubicBezTo>
                  <a:moveTo>
                    <a:pt x="353" y="602"/>
                  </a:moveTo>
                  <a:cubicBezTo>
                    <a:pt x="352" y="602"/>
                    <a:pt x="351" y="602"/>
                    <a:pt x="351" y="603"/>
                  </a:cubicBezTo>
                  <a:cubicBezTo>
                    <a:pt x="353" y="603"/>
                    <a:pt x="355" y="603"/>
                    <a:pt x="357" y="604"/>
                  </a:cubicBezTo>
                  <a:cubicBezTo>
                    <a:pt x="357" y="604"/>
                    <a:pt x="358" y="604"/>
                    <a:pt x="358" y="604"/>
                  </a:cubicBezTo>
                  <a:cubicBezTo>
                    <a:pt x="359" y="604"/>
                    <a:pt x="359" y="604"/>
                    <a:pt x="360" y="604"/>
                  </a:cubicBezTo>
                  <a:cubicBezTo>
                    <a:pt x="360" y="604"/>
                    <a:pt x="361" y="604"/>
                    <a:pt x="361" y="605"/>
                  </a:cubicBezTo>
                  <a:cubicBezTo>
                    <a:pt x="362" y="605"/>
                    <a:pt x="363" y="605"/>
                    <a:pt x="363" y="605"/>
                  </a:cubicBezTo>
                  <a:cubicBezTo>
                    <a:pt x="364" y="605"/>
                    <a:pt x="364" y="605"/>
                    <a:pt x="364" y="605"/>
                  </a:cubicBezTo>
                  <a:cubicBezTo>
                    <a:pt x="365" y="605"/>
                    <a:pt x="365" y="605"/>
                    <a:pt x="365" y="605"/>
                  </a:cubicBezTo>
                  <a:cubicBezTo>
                    <a:pt x="365" y="605"/>
                    <a:pt x="365" y="605"/>
                    <a:pt x="366" y="605"/>
                  </a:cubicBezTo>
                  <a:cubicBezTo>
                    <a:pt x="365" y="605"/>
                    <a:pt x="365" y="604"/>
                    <a:pt x="364" y="604"/>
                  </a:cubicBezTo>
                  <a:cubicBezTo>
                    <a:pt x="364" y="604"/>
                    <a:pt x="364" y="604"/>
                    <a:pt x="364" y="604"/>
                  </a:cubicBezTo>
                  <a:cubicBezTo>
                    <a:pt x="363" y="604"/>
                    <a:pt x="363" y="604"/>
                    <a:pt x="362" y="604"/>
                  </a:cubicBezTo>
                  <a:cubicBezTo>
                    <a:pt x="362" y="604"/>
                    <a:pt x="361" y="604"/>
                    <a:pt x="361" y="603"/>
                  </a:cubicBezTo>
                  <a:cubicBezTo>
                    <a:pt x="360" y="603"/>
                    <a:pt x="359" y="603"/>
                    <a:pt x="359" y="603"/>
                  </a:cubicBezTo>
                  <a:cubicBezTo>
                    <a:pt x="358" y="603"/>
                    <a:pt x="358" y="603"/>
                    <a:pt x="358" y="603"/>
                  </a:cubicBezTo>
                  <a:cubicBezTo>
                    <a:pt x="356" y="603"/>
                    <a:pt x="355" y="602"/>
                    <a:pt x="353" y="602"/>
                  </a:cubicBezTo>
                  <a:moveTo>
                    <a:pt x="565" y="603"/>
                  </a:moveTo>
                  <a:cubicBezTo>
                    <a:pt x="561" y="603"/>
                    <a:pt x="558" y="604"/>
                    <a:pt x="554" y="604"/>
                  </a:cubicBezTo>
                  <a:cubicBezTo>
                    <a:pt x="553" y="605"/>
                    <a:pt x="552" y="605"/>
                    <a:pt x="551" y="606"/>
                  </a:cubicBezTo>
                  <a:cubicBezTo>
                    <a:pt x="551" y="606"/>
                    <a:pt x="551" y="606"/>
                    <a:pt x="552" y="606"/>
                  </a:cubicBezTo>
                  <a:cubicBezTo>
                    <a:pt x="554" y="605"/>
                    <a:pt x="557" y="605"/>
                    <a:pt x="559" y="604"/>
                  </a:cubicBezTo>
                  <a:cubicBezTo>
                    <a:pt x="561" y="604"/>
                    <a:pt x="563" y="603"/>
                    <a:pt x="565" y="603"/>
                  </a:cubicBezTo>
                  <a:moveTo>
                    <a:pt x="366" y="604"/>
                  </a:moveTo>
                  <a:cubicBezTo>
                    <a:pt x="367" y="604"/>
                    <a:pt x="367" y="604"/>
                    <a:pt x="367" y="605"/>
                  </a:cubicBezTo>
                  <a:cubicBezTo>
                    <a:pt x="367" y="604"/>
                    <a:pt x="367" y="604"/>
                    <a:pt x="367" y="604"/>
                  </a:cubicBezTo>
                  <a:cubicBezTo>
                    <a:pt x="367" y="604"/>
                    <a:pt x="367" y="604"/>
                    <a:pt x="366" y="604"/>
                  </a:cubicBezTo>
                  <a:moveTo>
                    <a:pt x="369" y="605"/>
                  </a:moveTo>
                  <a:cubicBezTo>
                    <a:pt x="369" y="605"/>
                    <a:pt x="368" y="605"/>
                    <a:pt x="368" y="605"/>
                  </a:cubicBezTo>
                  <a:cubicBezTo>
                    <a:pt x="368" y="605"/>
                    <a:pt x="368" y="606"/>
                    <a:pt x="368" y="606"/>
                  </a:cubicBezTo>
                  <a:cubicBezTo>
                    <a:pt x="368" y="606"/>
                    <a:pt x="369" y="606"/>
                    <a:pt x="369" y="606"/>
                  </a:cubicBezTo>
                  <a:cubicBezTo>
                    <a:pt x="370" y="606"/>
                    <a:pt x="370" y="606"/>
                    <a:pt x="371" y="606"/>
                  </a:cubicBezTo>
                  <a:cubicBezTo>
                    <a:pt x="371" y="606"/>
                    <a:pt x="372" y="606"/>
                    <a:pt x="372" y="606"/>
                  </a:cubicBezTo>
                  <a:cubicBezTo>
                    <a:pt x="373" y="606"/>
                    <a:pt x="374" y="606"/>
                    <a:pt x="375" y="606"/>
                  </a:cubicBezTo>
                  <a:cubicBezTo>
                    <a:pt x="375" y="606"/>
                    <a:pt x="374" y="606"/>
                    <a:pt x="374" y="605"/>
                  </a:cubicBezTo>
                  <a:cubicBezTo>
                    <a:pt x="374" y="605"/>
                    <a:pt x="374" y="605"/>
                    <a:pt x="374" y="605"/>
                  </a:cubicBezTo>
                  <a:cubicBezTo>
                    <a:pt x="373" y="605"/>
                    <a:pt x="373" y="605"/>
                    <a:pt x="372" y="605"/>
                  </a:cubicBezTo>
                  <a:cubicBezTo>
                    <a:pt x="372" y="605"/>
                    <a:pt x="371" y="605"/>
                    <a:pt x="370" y="605"/>
                  </a:cubicBezTo>
                  <a:cubicBezTo>
                    <a:pt x="370" y="605"/>
                    <a:pt x="369" y="605"/>
                    <a:pt x="369" y="605"/>
                  </a:cubicBezTo>
                  <a:moveTo>
                    <a:pt x="550" y="605"/>
                  </a:moveTo>
                  <a:cubicBezTo>
                    <a:pt x="543" y="606"/>
                    <a:pt x="537" y="607"/>
                    <a:pt x="530" y="607"/>
                  </a:cubicBezTo>
                  <a:cubicBezTo>
                    <a:pt x="530" y="607"/>
                    <a:pt x="531" y="608"/>
                    <a:pt x="532" y="608"/>
                  </a:cubicBezTo>
                  <a:cubicBezTo>
                    <a:pt x="537" y="607"/>
                    <a:pt x="542" y="607"/>
                    <a:pt x="547" y="606"/>
                  </a:cubicBezTo>
                  <a:cubicBezTo>
                    <a:pt x="548" y="606"/>
                    <a:pt x="549" y="605"/>
                    <a:pt x="550" y="605"/>
                  </a:cubicBezTo>
                  <a:moveTo>
                    <a:pt x="378" y="606"/>
                  </a:moveTo>
                  <a:cubicBezTo>
                    <a:pt x="377" y="606"/>
                    <a:pt x="376" y="606"/>
                    <a:pt x="375" y="607"/>
                  </a:cubicBezTo>
                  <a:cubicBezTo>
                    <a:pt x="376" y="607"/>
                    <a:pt x="376" y="607"/>
                    <a:pt x="377" y="607"/>
                  </a:cubicBezTo>
                  <a:cubicBezTo>
                    <a:pt x="378" y="607"/>
                    <a:pt x="378" y="606"/>
                    <a:pt x="379" y="606"/>
                  </a:cubicBezTo>
                  <a:cubicBezTo>
                    <a:pt x="379" y="606"/>
                    <a:pt x="378" y="606"/>
                    <a:pt x="378" y="606"/>
                  </a:cubicBezTo>
                  <a:moveTo>
                    <a:pt x="381" y="606"/>
                  </a:moveTo>
                  <a:cubicBezTo>
                    <a:pt x="380" y="607"/>
                    <a:pt x="380" y="607"/>
                    <a:pt x="379" y="607"/>
                  </a:cubicBezTo>
                  <a:cubicBezTo>
                    <a:pt x="380" y="607"/>
                    <a:pt x="380" y="607"/>
                    <a:pt x="381" y="607"/>
                  </a:cubicBezTo>
                  <a:cubicBezTo>
                    <a:pt x="382" y="608"/>
                    <a:pt x="383" y="608"/>
                    <a:pt x="384" y="608"/>
                  </a:cubicBezTo>
                  <a:cubicBezTo>
                    <a:pt x="384" y="608"/>
                    <a:pt x="385" y="608"/>
                    <a:pt x="385" y="608"/>
                  </a:cubicBezTo>
                  <a:cubicBezTo>
                    <a:pt x="386" y="608"/>
                    <a:pt x="386" y="608"/>
                    <a:pt x="387" y="608"/>
                  </a:cubicBezTo>
                  <a:cubicBezTo>
                    <a:pt x="388" y="608"/>
                    <a:pt x="389" y="608"/>
                    <a:pt x="389" y="608"/>
                  </a:cubicBezTo>
                  <a:cubicBezTo>
                    <a:pt x="390" y="608"/>
                    <a:pt x="391" y="608"/>
                    <a:pt x="393" y="608"/>
                  </a:cubicBezTo>
                  <a:cubicBezTo>
                    <a:pt x="391" y="608"/>
                    <a:pt x="390" y="607"/>
                    <a:pt x="389" y="607"/>
                  </a:cubicBezTo>
                  <a:cubicBezTo>
                    <a:pt x="388" y="607"/>
                    <a:pt x="387" y="607"/>
                    <a:pt x="387" y="607"/>
                  </a:cubicBezTo>
                  <a:cubicBezTo>
                    <a:pt x="387" y="607"/>
                    <a:pt x="386" y="607"/>
                    <a:pt x="386" y="607"/>
                  </a:cubicBezTo>
                  <a:cubicBezTo>
                    <a:pt x="385" y="607"/>
                    <a:pt x="384" y="607"/>
                    <a:pt x="384" y="607"/>
                  </a:cubicBezTo>
                  <a:cubicBezTo>
                    <a:pt x="383" y="607"/>
                    <a:pt x="382" y="607"/>
                    <a:pt x="381" y="606"/>
                  </a:cubicBezTo>
                  <a:moveTo>
                    <a:pt x="527" y="607"/>
                  </a:moveTo>
                  <a:cubicBezTo>
                    <a:pt x="523" y="608"/>
                    <a:pt x="520" y="608"/>
                    <a:pt x="517" y="608"/>
                  </a:cubicBezTo>
                  <a:cubicBezTo>
                    <a:pt x="516" y="609"/>
                    <a:pt x="515" y="609"/>
                    <a:pt x="514" y="610"/>
                  </a:cubicBezTo>
                  <a:cubicBezTo>
                    <a:pt x="519" y="609"/>
                    <a:pt x="524" y="609"/>
                    <a:pt x="530" y="608"/>
                  </a:cubicBezTo>
                  <a:cubicBezTo>
                    <a:pt x="529" y="608"/>
                    <a:pt x="529" y="608"/>
                    <a:pt x="529" y="608"/>
                  </a:cubicBezTo>
                  <a:cubicBezTo>
                    <a:pt x="529" y="608"/>
                    <a:pt x="528" y="608"/>
                    <a:pt x="527" y="607"/>
                  </a:cubicBezTo>
                  <a:moveTo>
                    <a:pt x="396" y="608"/>
                  </a:moveTo>
                  <a:cubicBezTo>
                    <a:pt x="395" y="608"/>
                    <a:pt x="394" y="609"/>
                    <a:pt x="393" y="609"/>
                  </a:cubicBezTo>
                  <a:cubicBezTo>
                    <a:pt x="395" y="609"/>
                    <a:pt x="397" y="609"/>
                    <a:pt x="399" y="609"/>
                  </a:cubicBezTo>
                  <a:cubicBezTo>
                    <a:pt x="399" y="609"/>
                    <a:pt x="400" y="609"/>
                    <a:pt x="401" y="609"/>
                  </a:cubicBezTo>
                  <a:cubicBezTo>
                    <a:pt x="399" y="608"/>
                    <a:pt x="397" y="608"/>
                    <a:pt x="396" y="608"/>
                  </a:cubicBezTo>
                  <a:moveTo>
                    <a:pt x="513" y="609"/>
                  </a:moveTo>
                  <a:cubicBezTo>
                    <a:pt x="508" y="609"/>
                    <a:pt x="503" y="609"/>
                    <a:pt x="497" y="610"/>
                  </a:cubicBezTo>
                  <a:cubicBezTo>
                    <a:pt x="498" y="610"/>
                    <a:pt x="499" y="610"/>
                    <a:pt x="500" y="611"/>
                  </a:cubicBezTo>
                  <a:cubicBezTo>
                    <a:pt x="504" y="610"/>
                    <a:pt x="507" y="610"/>
                    <a:pt x="510" y="610"/>
                  </a:cubicBezTo>
                  <a:cubicBezTo>
                    <a:pt x="511" y="610"/>
                    <a:pt x="512" y="609"/>
                    <a:pt x="513" y="609"/>
                  </a:cubicBezTo>
                  <a:moveTo>
                    <a:pt x="403" y="609"/>
                  </a:moveTo>
                  <a:cubicBezTo>
                    <a:pt x="402" y="609"/>
                    <a:pt x="401" y="609"/>
                    <a:pt x="401" y="610"/>
                  </a:cubicBezTo>
                  <a:cubicBezTo>
                    <a:pt x="402" y="610"/>
                    <a:pt x="402" y="610"/>
                    <a:pt x="403" y="610"/>
                  </a:cubicBezTo>
                  <a:cubicBezTo>
                    <a:pt x="404" y="610"/>
                    <a:pt x="405" y="610"/>
                    <a:pt x="406" y="610"/>
                  </a:cubicBezTo>
                  <a:cubicBezTo>
                    <a:pt x="407" y="610"/>
                    <a:pt x="408" y="610"/>
                    <a:pt x="409" y="610"/>
                  </a:cubicBezTo>
                  <a:cubicBezTo>
                    <a:pt x="413" y="611"/>
                    <a:pt x="417" y="611"/>
                    <a:pt x="422" y="611"/>
                  </a:cubicBezTo>
                  <a:cubicBezTo>
                    <a:pt x="422" y="611"/>
                    <a:pt x="423" y="611"/>
                    <a:pt x="424" y="610"/>
                  </a:cubicBezTo>
                  <a:cubicBezTo>
                    <a:pt x="420" y="610"/>
                    <a:pt x="415" y="610"/>
                    <a:pt x="411" y="609"/>
                  </a:cubicBezTo>
                  <a:cubicBezTo>
                    <a:pt x="410" y="609"/>
                    <a:pt x="409" y="609"/>
                    <a:pt x="409" y="609"/>
                  </a:cubicBezTo>
                  <a:cubicBezTo>
                    <a:pt x="407" y="609"/>
                    <a:pt x="406" y="609"/>
                    <a:pt x="405" y="609"/>
                  </a:cubicBezTo>
                  <a:cubicBezTo>
                    <a:pt x="404" y="609"/>
                    <a:pt x="403" y="609"/>
                    <a:pt x="403" y="609"/>
                  </a:cubicBezTo>
                  <a:moveTo>
                    <a:pt x="495" y="610"/>
                  </a:moveTo>
                  <a:cubicBezTo>
                    <a:pt x="493" y="610"/>
                    <a:pt x="492" y="611"/>
                    <a:pt x="490" y="611"/>
                  </a:cubicBezTo>
                  <a:cubicBezTo>
                    <a:pt x="493" y="611"/>
                    <a:pt x="495" y="611"/>
                    <a:pt x="497" y="611"/>
                  </a:cubicBezTo>
                  <a:cubicBezTo>
                    <a:pt x="497" y="611"/>
                    <a:pt x="496" y="610"/>
                    <a:pt x="495" y="610"/>
                  </a:cubicBezTo>
                  <a:moveTo>
                    <a:pt x="490" y="610"/>
                  </a:moveTo>
                  <a:cubicBezTo>
                    <a:pt x="488" y="610"/>
                    <a:pt x="485" y="610"/>
                    <a:pt x="483" y="611"/>
                  </a:cubicBezTo>
                  <a:cubicBezTo>
                    <a:pt x="482" y="611"/>
                    <a:pt x="481" y="611"/>
                    <a:pt x="480" y="612"/>
                  </a:cubicBezTo>
                  <a:cubicBezTo>
                    <a:pt x="482" y="612"/>
                    <a:pt x="483" y="612"/>
                    <a:pt x="485" y="611"/>
                  </a:cubicBezTo>
                  <a:cubicBezTo>
                    <a:pt x="487" y="611"/>
                    <a:pt x="488" y="611"/>
                    <a:pt x="490" y="610"/>
                  </a:cubicBezTo>
                  <a:moveTo>
                    <a:pt x="426" y="610"/>
                  </a:moveTo>
                  <a:cubicBezTo>
                    <a:pt x="425" y="611"/>
                    <a:pt x="425" y="611"/>
                    <a:pt x="424" y="611"/>
                  </a:cubicBezTo>
                  <a:cubicBezTo>
                    <a:pt x="426" y="611"/>
                    <a:pt x="428" y="611"/>
                    <a:pt x="431" y="612"/>
                  </a:cubicBezTo>
                  <a:cubicBezTo>
                    <a:pt x="432" y="612"/>
                    <a:pt x="433" y="612"/>
                    <a:pt x="434" y="612"/>
                  </a:cubicBezTo>
                  <a:cubicBezTo>
                    <a:pt x="435" y="611"/>
                    <a:pt x="437" y="611"/>
                    <a:pt x="438" y="611"/>
                  </a:cubicBezTo>
                  <a:cubicBezTo>
                    <a:pt x="434" y="611"/>
                    <a:pt x="430" y="611"/>
                    <a:pt x="426" y="610"/>
                  </a:cubicBezTo>
                  <a:moveTo>
                    <a:pt x="480" y="611"/>
                  </a:moveTo>
                  <a:cubicBezTo>
                    <a:pt x="478" y="611"/>
                    <a:pt x="475" y="611"/>
                    <a:pt x="472" y="611"/>
                  </a:cubicBezTo>
                  <a:cubicBezTo>
                    <a:pt x="472" y="611"/>
                    <a:pt x="473" y="611"/>
                    <a:pt x="473" y="612"/>
                  </a:cubicBezTo>
                  <a:cubicBezTo>
                    <a:pt x="473" y="612"/>
                    <a:pt x="473" y="612"/>
                    <a:pt x="474" y="612"/>
                  </a:cubicBezTo>
                  <a:cubicBezTo>
                    <a:pt x="475" y="612"/>
                    <a:pt x="476" y="612"/>
                    <a:pt x="478" y="612"/>
                  </a:cubicBezTo>
                  <a:cubicBezTo>
                    <a:pt x="479" y="611"/>
                    <a:pt x="479" y="611"/>
                    <a:pt x="480" y="611"/>
                  </a:cubicBezTo>
                  <a:moveTo>
                    <a:pt x="471" y="611"/>
                  </a:moveTo>
                  <a:cubicBezTo>
                    <a:pt x="469" y="611"/>
                    <a:pt x="466" y="611"/>
                    <a:pt x="464" y="611"/>
                  </a:cubicBezTo>
                  <a:cubicBezTo>
                    <a:pt x="466" y="611"/>
                    <a:pt x="469" y="611"/>
                    <a:pt x="472" y="612"/>
                  </a:cubicBezTo>
                  <a:cubicBezTo>
                    <a:pt x="471" y="611"/>
                    <a:pt x="471" y="611"/>
                    <a:pt x="471" y="611"/>
                  </a:cubicBezTo>
                  <a:moveTo>
                    <a:pt x="442" y="611"/>
                  </a:moveTo>
                  <a:cubicBezTo>
                    <a:pt x="441" y="611"/>
                    <a:pt x="439" y="611"/>
                    <a:pt x="438" y="612"/>
                  </a:cubicBezTo>
                  <a:cubicBezTo>
                    <a:pt x="440" y="612"/>
                    <a:pt x="443" y="612"/>
                    <a:pt x="445" y="612"/>
                  </a:cubicBezTo>
                  <a:cubicBezTo>
                    <a:pt x="446" y="612"/>
                    <a:pt x="446" y="612"/>
                    <a:pt x="447" y="612"/>
                  </a:cubicBezTo>
                  <a:cubicBezTo>
                    <a:pt x="448" y="612"/>
                    <a:pt x="448" y="611"/>
                    <a:pt x="449" y="611"/>
                  </a:cubicBezTo>
                  <a:cubicBezTo>
                    <a:pt x="448" y="611"/>
                    <a:pt x="447" y="611"/>
                    <a:pt x="446" y="611"/>
                  </a:cubicBezTo>
                  <a:cubicBezTo>
                    <a:pt x="445" y="611"/>
                    <a:pt x="443" y="611"/>
                    <a:pt x="442" y="611"/>
                  </a:cubicBezTo>
                  <a:moveTo>
                    <a:pt x="452" y="611"/>
                  </a:moveTo>
                  <a:cubicBezTo>
                    <a:pt x="451" y="611"/>
                    <a:pt x="450" y="612"/>
                    <a:pt x="449" y="612"/>
                  </a:cubicBezTo>
                  <a:cubicBezTo>
                    <a:pt x="452" y="612"/>
                    <a:pt x="454" y="612"/>
                    <a:pt x="456" y="612"/>
                  </a:cubicBezTo>
                  <a:cubicBezTo>
                    <a:pt x="459" y="612"/>
                    <a:pt x="461" y="612"/>
                    <a:pt x="464" y="612"/>
                  </a:cubicBezTo>
                  <a:cubicBezTo>
                    <a:pt x="460" y="612"/>
                    <a:pt x="457" y="611"/>
                    <a:pt x="454" y="611"/>
                  </a:cubicBezTo>
                  <a:cubicBezTo>
                    <a:pt x="453" y="611"/>
                    <a:pt x="452" y="611"/>
                    <a:pt x="452" y="611"/>
                  </a:cubicBezTo>
                  <a:moveTo>
                    <a:pt x="302" y="613"/>
                  </a:moveTo>
                  <a:cubicBezTo>
                    <a:pt x="301" y="613"/>
                    <a:pt x="301" y="613"/>
                    <a:pt x="300" y="613"/>
                  </a:cubicBezTo>
                  <a:cubicBezTo>
                    <a:pt x="304" y="616"/>
                    <a:pt x="308" y="618"/>
                    <a:pt x="312" y="621"/>
                  </a:cubicBezTo>
                  <a:cubicBezTo>
                    <a:pt x="312" y="620"/>
                    <a:pt x="313" y="620"/>
                    <a:pt x="313" y="620"/>
                  </a:cubicBezTo>
                  <a:cubicBezTo>
                    <a:pt x="310" y="618"/>
                    <a:pt x="307" y="616"/>
                    <a:pt x="304" y="614"/>
                  </a:cubicBezTo>
                  <a:cubicBezTo>
                    <a:pt x="303" y="614"/>
                    <a:pt x="303" y="613"/>
                    <a:pt x="302" y="613"/>
                  </a:cubicBezTo>
                  <a:moveTo>
                    <a:pt x="314" y="621"/>
                  </a:moveTo>
                  <a:cubicBezTo>
                    <a:pt x="314" y="621"/>
                    <a:pt x="313" y="621"/>
                    <a:pt x="313" y="621"/>
                  </a:cubicBezTo>
                  <a:cubicBezTo>
                    <a:pt x="314" y="622"/>
                    <a:pt x="315" y="623"/>
                    <a:pt x="316" y="623"/>
                  </a:cubicBezTo>
                  <a:cubicBezTo>
                    <a:pt x="316" y="623"/>
                    <a:pt x="317" y="623"/>
                    <a:pt x="317" y="623"/>
                  </a:cubicBezTo>
                  <a:cubicBezTo>
                    <a:pt x="316" y="622"/>
                    <a:pt x="315" y="622"/>
                    <a:pt x="314" y="621"/>
                  </a:cubicBezTo>
                  <a:moveTo>
                    <a:pt x="318" y="623"/>
                  </a:moveTo>
                  <a:cubicBezTo>
                    <a:pt x="318" y="624"/>
                    <a:pt x="317" y="624"/>
                    <a:pt x="317" y="624"/>
                  </a:cubicBezTo>
                  <a:cubicBezTo>
                    <a:pt x="317" y="624"/>
                    <a:pt x="317" y="624"/>
                    <a:pt x="318" y="624"/>
                  </a:cubicBezTo>
                  <a:cubicBezTo>
                    <a:pt x="318" y="624"/>
                    <a:pt x="319" y="624"/>
                    <a:pt x="319" y="624"/>
                  </a:cubicBezTo>
                  <a:cubicBezTo>
                    <a:pt x="319" y="624"/>
                    <a:pt x="318" y="624"/>
                    <a:pt x="318" y="623"/>
                  </a:cubicBezTo>
                  <a:moveTo>
                    <a:pt x="320" y="625"/>
                  </a:moveTo>
                  <a:cubicBezTo>
                    <a:pt x="320" y="625"/>
                    <a:pt x="319" y="625"/>
                    <a:pt x="319" y="625"/>
                  </a:cubicBezTo>
                  <a:cubicBezTo>
                    <a:pt x="320" y="626"/>
                    <a:pt x="322" y="627"/>
                    <a:pt x="323" y="628"/>
                  </a:cubicBezTo>
                  <a:cubicBezTo>
                    <a:pt x="324" y="628"/>
                    <a:pt x="324" y="628"/>
                    <a:pt x="324" y="629"/>
                  </a:cubicBezTo>
                  <a:cubicBezTo>
                    <a:pt x="324" y="629"/>
                    <a:pt x="325" y="629"/>
                    <a:pt x="325" y="629"/>
                  </a:cubicBezTo>
                  <a:cubicBezTo>
                    <a:pt x="325" y="629"/>
                    <a:pt x="325" y="629"/>
                    <a:pt x="326" y="629"/>
                  </a:cubicBezTo>
                  <a:cubicBezTo>
                    <a:pt x="326" y="628"/>
                    <a:pt x="326" y="628"/>
                    <a:pt x="325" y="628"/>
                  </a:cubicBezTo>
                  <a:cubicBezTo>
                    <a:pt x="325" y="628"/>
                    <a:pt x="325" y="628"/>
                    <a:pt x="324" y="628"/>
                  </a:cubicBezTo>
                  <a:cubicBezTo>
                    <a:pt x="323" y="627"/>
                    <a:pt x="322" y="626"/>
                    <a:pt x="320" y="625"/>
                  </a:cubicBezTo>
                  <a:moveTo>
                    <a:pt x="327" y="629"/>
                  </a:moveTo>
                  <a:cubicBezTo>
                    <a:pt x="326" y="629"/>
                    <a:pt x="326" y="629"/>
                    <a:pt x="326" y="630"/>
                  </a:cubicBezTo>
                  <a:cubicBezTo>
                    <a:pt x="327" y="631"/>
                    <a:pt x="329" y="632"/>
                    <a:pt x="330" y="633"/>
                  </a:cubicBezTo>
                  <a:cubicBezTo>
                    <a:pt x="331" y="633"/>
                    <a:pt x="331" y="633"/>
                    <a:pt x="332" y="634"/>
                  </a:cubicBezTo>
                  <a:cubicBezTo>
                    <a:pt x="332" y="634"/>
                    <a:pt x="332" y="634"/>
                    <a:pt x="332" y="634"/>
                  </a:cubicBezTo>
                  <a:cubicBezTo>
                    <a:pt x="332" y="634"/>
                    <a:pt x="333" y="634"/>
                    <a:pt x="333" y="634"/>
                  </a:cubicBezTo>
                  <a:cubicBezTo>
                    <a:pt x="333" y="635"/>
                    <a:pt x="334" y="635"/>
                    <a:pt x="334" y="635"/>
                  </a:cubicBezTo>
                  <a:cubicBezTo>
                    <a:pt x="334" y="635"/>
                    <a:pt x="335" y="635"/>
                    <a:pt x="335" y="635"/>
                  </a:cubicBezTo>
                  <a:cubicBezTo>
                    <a:pt x="335" y="635"/>
                    <a:pt x="335" y="635"/>
                    <a:pt x="335" y="635"/>
                  </a:cubicBezTo>
                  <a:cubicBezTo>
                    <a:pt x="335" y="635"/>
                    <a:pt x="335" y="635"/>
                    <a:pt x="335" y="634"/>
                  </a:cubicBezTo>
                  <a:cubicBezTo>
                    <a:pt x="334" y="634"/>
                    <a:pt x="334" y="634"/>
                    <a:pt x="334" y="634"/>
                  </a:cubicBezTo>
                  <a:cubicBezTo>
                    <a:pt x="333" y="633"/>
                    <a:pt x="333" y="633"/>
                    <a:pt x="332" y="633"/>
                  </a:cubicBezTo>
                  <a:cubicBezTo>
                    <a:pt x="330" y="631"/>
                    <a:pt x="329" y="630"/>
                    <a:pt x="327" y="629"/>
                  </a:cubicBezTo>
                  <a:moveTo>
                    <a:pt x="77" y="635"/>
                  </a:moveTo>
                  <a:cubicBezTo>
                    <a:pt x="77" y="635"/>
                    <a:pt x="76" y="635"/>
                    <a:pt x="76" y="636"/>
                  </a:cubicBezTo>
                  <a:cubicBezTo>
                    <a:pt x="82" y="638"/>
                    <a:pt x="88" y="640"/>
                    <a:pt x="94" y="643"/>
                  </a:cubicBezTo>
                  <a:cubicBezTo>
                    <a:pt x="94" y="642"/>
                    <a:pt x="95" y="642"/>
                    <a:pt x="95" y="642"/>
                  </a:cubicBezTo>
                  <a:cubicBezTo>
                    <a:pt x="88" y="639"/>
                    <a:pt x="82" y="637"/>
                    <a:pt x="77" y="635"/>
                  </a:cubicBezTo>
                  <a:moveTo>
                    <a:pt x="336" y="636"/>
                  </a:moveTo>
                  <a:cubicBezTo>
                    <a:pt x="336" y="636"/>
                    <a:pt x="335" y="636"/>
                    <a:pt x="335" y="636"/>
                  </a:cubicBezTo>
                  <a:cubicBezTo>
                    <a:pt x="335" y="636"/>
                    <a:pt x="335" y="636"/>
                    <a:pt x="335" y="636"/>
                  </a:cubicBezTo>
                  <a:cubicBezTo>
                    <a:pt x="336" y="636"/>
                    <a:pt x="336" y="637"/>
                    <a:pt x="336" y="637"/>
                  </a:cubicBezTo>
                  <a:cubicBezTo>
                    <a:pt x="337" y="637"/>
                    <a:pt x="337" y="637"/>
                    <a:pt x="337" y="636"/>
                  </a:cubicBezTo>
                  <a:cubicBezTo>
                    <a:pt x="337" y="636"/>
                    <a:pt x="337" y="636"/>
                    <a:pt x="336" y="636"/>
                  </a:cubicBezTo>
                  <a:moveTo>
                    <a:pt x="338" y="637"/>
                  </a:moveTo>
                  <a:cubicBezTo>
                    <a:pt x="338" y="637"/>
                    <a:pt x="338" y="637"/>
                    <a:pt x="337" y="637"/>
                  </a:cubicBezTo>
                  <a:cubicBezTo>
                    <a:pt x="337" y="638"/>
                    <a:pt x="338" y="638"/>
                    <a:pt x="338" y="638"/>
                  </a:cubicBezTo>
                  <a:cubicBezTo>
                    <a:pt x="338" y="638"/>
                    <a:pt x="338" y="638"/>
                    <a:pt x="338" y="638"/>
                  </a:cubicBezTo>
                  <a:cubicBezTo>
                    <a:pt x="338" y="638"/>
                    <a:pt x="338" y="638"/>
                    <a:pt x="339" y="638"/>
                  </a:cubicBezTo>
                  <a:cubicBezTo>
                    <a:pt x="339" y="639"/>
                    <a:pt x="340" y="639"/>
                    <a:pt x="341" y="640"/>
                  </a:cubicBezTo>
                  <a:cubicBezTo>
                    <a:pt x="341" y="640"/>
                    <a:pt x="341" y="640"/>
                    <a:pt x="342" y="640"/>
                  </a:cubicBezTo>
                  <a:cubicBezTo>
                    <a:pt x="342" y="640"/>
                    <a:pt x="342" y="641"/>
                    <a:pt x="342" y="641"/>
                  </a:cubicBezTo>
                  <a:cubicBezTo>
                    <a:pt x="343" y="642"/>
                    <a:pt x="345" y="643"/>
                    <a:pt x="346" y="644"/>
                  </a:cubicBezTo>
                  <a:cubicBezTo>
                    <a:pt x="346" y="644"/>
                    <a:pt x="346" y="644"/>
                    <a:pt x="346" y="644"/>
                  </a:cubicBezTo>
                  <a:cubicBezTo>
                    <a:pt x="347" y="643"/>
                    <a:pt x="347" y="643"/>
                    <a:pt x="347" y="643"/>
                  </a:cubicBezTo>
                  <a:cubicBezTo>
                    <a:pt x="347" y="643"/>
                    <a:pt x="347" y="643"/>
                    <a:pt x="347" y="643"/>
                  </a:cubicBezTo>
                  <a:cubicBezTo>
                    <a:pt x="345" y="642"/>
                    <a:pt x="344" y="641"/>
                    <a:pt x="343" y="640"/>
                  </a:cubicBezTo>
                  <a:cubicBezTo>
                    <a:pt x="342" y="640"/>
                    <a:pt x="342" y="639"/>
                    <a:pt x="342" y="639"/>
                  </a:cubicBezTo>
                  <a:cubicBezTo>
                    <a:pt x="342" y="639"/>
                    <a:pt x="342" y="639"/>
                    <a:pt x="342" y="639"/>
                  </a:cubicBezTo>
                  <a:cubicBezTo>
                    <a:pt x="341" y="639"/>
                    <a:pt x="340" y="638"/>
                    <a:pt x="340" y="638"/>
                  </a:cubicBezTo>
                  <a:cubicBezTo>
                    <a:pt x="339" y="638"/>
                    <a:pt x="339" y="637"/>
                    <a:pt x="339" y="637"/>
                  </a:cubicBezTo>
                  <a:cubicBezTo>
                    <a:pt x="339" y="637"/>
                    <a:pt x="339" y="637"/>
                    <a:pt x="339" y="637"/>
                  </a:cubicBezTo>
                  <a:cubicBezTo>
                    <a:pt x="339" y="637"/>
                    <a:pt x="338" y="637"/>
                    <a:pt x="338" y="637"/>
                  </a:cubicBezTo>
                  <a:moveTo>
                    <a:pt x="96" y="642"/>
                  </a:moveTo>
                  <a:cubicBezTo>
                    <a:pt x="95" y="642"/>
                    <a:pt x="95" y="643"/>
                    <a:pt x="95" y="643"/>
                  </a:cubicBezTo>
                  <a:cubicBezTo>
                    <a:pt x="98" y="644"/>
                    <a:pt x="102" y="646"/>
                    <a:pt x="105" y="647"/>
                  </a:cubicBezTo>
                  <a:cubicBezTo>
                    <a:pt x="106" y="647"/>
                    <a:pt x="106" y="647"/>
                    <a:pt x="107" y="647"/>
                  </a:cubicBezTo>
                  <a:cubicBezTo>
                    <a:pt x="109" y="648"/>
                    <a:pt x="112" y="649"/>
                    <a:pt x="114" y="650"/>
                  </a:cubicBezTo>
                  <a:cubicBezTo>
                    <a:pt x="113" y="649"/>
                    <a:pt x="112" y="649"/>
                    <a:pt x="111" y="648"/>
                  </a:cubicBezTo>
                  <a:cubicBezTo>
                    <a:pt x="110" y="648"/>
                    <a:pt x="109" y="647"/>
                    <a:pt x="108" y="647"/>
                  </a:cubicBezTo>
                  <a:cubicBezTo>
                    <a:pt x="108" y="647"/>
                    <a:pt x="107" y="646"/>
                    <a:pt x="107" y="646"/>
                  </a:cubicBezTo>
                  <a:cubicBezTo>
                    <a:pt x="103" y="645"/>
                    <a:pt x="99" y="644"/>
                    <a:pt x="96" y="642"/>
                  </a:cubicBezTo>
                  <a:moveTo>
                    <a:pt x="348" y="644"/>
                  </a:moveTo>
                  <a:cubicBezTo>
                    <a:pt x="348" y="644"/>
                    <a:pt x="348" y="644"/>
                    <a:pt x="347" y="644"/>
                  </a:cubicBezTo>
                  <a:cubicBezTo>
                    <a:pt x="348" y="645"/>
                    <a:pt x="348" y="645"/>
                    <a:pt x="348" y="645"/>
                  </a:cubicBezTo>
                  <a:cubicBezTo>
                    <a:pt x="349" y="645"/>
                    <a:pt x="349" y="645"/>
                    <a:pt x="349" y="645"/>
                  </a:cubicBezTo>
                  <a:cubicBezTo>
                    <a:pt x="349" y="644"/>
                    <a:pt x="349" y="644"/>
                    <a:pt x="348" y="644"/>
                  </a:cubicBezTo>
                  <a:moveTo>
                    <a:pt x="351" y="645"/>
                  </a:moveTo>
                  <a:cubicBezTo>
                    <a:pt x="350" y="646"/>
                    <a:pt x="350" y="646"/>
                    <a:pt x="349" y="646"/>
                  </a:cubicBezTo>
                  <a:cubicBezTo>
                    <a:pt x="349" y="646"/>
                    <a:pt x="350" y="646"/>
                    <a:pt x="350" y="646"/>
                  </a:cubicBezTo>
                  <a:cubicBezTo>
                    <a:pt x="350" y="646"/>
                    <a:pt x="350" y="646"/>
                    <a:pt x="351" y="647"/>
                  </a:cubicBezTo>
                  <a:cubicBezTo>
                    <a:pt x="352" y="648"/>
                    <a:pt x="353" y="648"/>
                    <a:pt x="354" y="649"/>
                  </a:cubicBezTo>
                  <a:cubicBezTo>
                    <a:pt x="355" y="649"/>
                    <a:pt x="355" y="649"/>
                    <a:pt x="356" y="649"/>
                  </a:cubicBezTo>
                  <a:cubicBezTo>
                    <a:pt x="354" y="648"/>
                    <a:pt x="352" y="647"/>
                    <a:pt x="351" y="646"/>
                  </a:cubicBezTo>
                  <a:cubicBezTo>
                    <a:pt x="351" y="646"/>
                    <a:pt x="351" y="645"/>
                    <a:pt x="351" y="645"/>
                  </a:cubicBezTo>
                  <a:moveTo>
                    <a:pt x="115" y="649"/>
                  </a:moveTo>
                  <a:cubicBezTo>
                    <a:pt x="116" y="650"/>
                    <a:pt x="117" y="651"/>
                    <a:pt x="118" y="651"/>
                  </a:cubicBezTo>
                  <a:cubicBezTo>
                    <a:pt x="119" y="652"/>
                    <a:pt x="119" y="652"/>
                    <a:pt x="120" y="652"/>
                  </a:cubicBezTo>
                  <a:cubicBezTo>
                    <a:pt x="120" y="652"/>
                    <a:pt x="121" y="652"/>
                    <a:pt x="121" y="651"/>
                  </a:cubicBezTo>
                  <a:cubicBezTo>
                    <a:pt x="119" y="651"/>
                    <a:pt x="117" y="650"/>
                    <a:pt x="115" y="649"/>
                  </a:cubicBezTo>
                  <a:moveTo>
                    <a:pt x="357" y="650"/>
                  </a:moveTo>
                  <a:cubicBezTo>
                    <a:pt x="356" y="650"/>
                    <a:pt x="356" y="650"/>
                    <a:pt x="355" y="650"/>
                  </a:cubicBezTo>
                  <a:cubicBezTo>
                    <a:pt x="357" y="651"/>
                    <a:pt x="359" y="653"/>
                    <a:pt x="361" y="654"/>
                  </a:cubicBezTo>
                  <a:cubicBezTo>
                    <a:pt x="361" y="654"/>
                    <a:pt x="362" y="654"/>
                    <a:pt x="362" y="654"/>
                  </a:cubicBezTo>
                  <a:cubicBezTo>
                    <a:pt x="360" y="652"/>
                    <a:pt x="359" y="651"/>
                    <a:pt x="357" y="650"/>
                  </a:cubicBezTo>
                  <a:moveTo>
                    <a:pt x="122" y="652"/>
                  </a:moveTo>
                  <a:cubicBezTo>
                    <a:pt x="122" y="652"/>
                    <a:pt x="122" y="652"/>
                    <a:pt x="121" y="652"/>
                  </a:cubicBezTo>
                  <a:cubicBezTo>
                    <a:pt x="130" y="655"/>
                    <a:pt x="138" y="658"/>
                    <a:pt x="148" y="661"/>
                  </a:cubicBezTo>
                  <a:cubicBezTo>
                    <a:pt x="148" y="661"/>
                    <a:pt x="149" y="661"/>
                    <a:pt x="149" y="661"/>
                  </a:cubicBezTo>
                  <a:cubicBezTo>
                    <a:pt x="140" y="658"/>
                    <a:pt x="131" y="655"/>
                    <a:pt x="122" y="652"/>
                  </a:cubicBezTo>
                  <a:moveTo>
                    <a:pt x="364" y="655"/>
                  </a:moveTo>
                  <a:cubicBezTo>
                    <a:pt x="364" y="655"/>
                    <a:pt x="363" y="655"/>
                    <a:pt x="363" y="655"/>
                  </a:cubicBezTo>
                  <a:cubicBezTo>
                    <a:pt x="364" y="657"/>
                    <a:pt x="366" y="658"/>
                    <a:pt x="367" y="659"/>
                  </a:cubicBezTo>
                  <a:cubicBezTo>
                    <a:pt x="368" y="659"/>
                    <a:pt x="368" y="659"/>
                    <a:pt x="369" y="658"/>
                  </a:cubicBezTo>
                  <a:cubicBezTo>
                    <a:pt x="367" y="657"/>
                    <a:pt x="365" y="656"/>
                    <a:pt x="364" y="655"/>
                  </a:cubicBezTo>
                  <a:moveTo>
                    <a:pt x="369" y="659"/>
                  </a:moveTo>
                  <a:cubicBezTo>
                    <a:pt x="369" y="659"/>
                    <a:pt x="369" y="659"/>
                    <a:pt x="368" y="660"/>
                  </a:cubicBezTo>
                  <a:cubicBezTo>
                    <a:pt x="369" y="660"/>
                    <a:pt x="371" y="661"/>
                    <a:pt x="372" y="662"/>
                  </a:cubicBezTo>
                  <a:cubicBezTo>
                    <a:pt x="372" y="662"/>
                    <a:pt x="373" y="662"/>
                    <a:pt x="373" y="662"/>
                  </a:cubicBezTo>
                  <a:cubicBezTo>
                    <a:pt x="372" y="661"/>
                    <a:pt x="371" y="660"/>
                    <a:pt x="369" y="659"/>
                  </a:cubicBezTo>
                  <a:moveTo>
                    <a:pt x="150" y="661"/>
                  </a:moveTo>
                  <a:cubicBezTo>
                    <a:pt x="150" y="661"/>
                    <a:pt x="150" y="661"/>
                    <a:pt x="149" y="662"/>
                  </a:cubicBezTo>
                  <a:cubicBezTo>
                    <a:pt x="150" y="662"/>
                    <a:pt x="150" y="662"/>
                    <a:pt x="151" y="662"/>
                  </a:cubicBezTo>
                  <a:cubicBezTo>
                    <a:pt x="156" y="664"/>
                    <a:pt x="161" y="665"/>
                    <a:pt x="167" y="667"/>
                  </a:cubicBezTo>
                  <a:cubicBezTo>
                    <a:pt x="170" y="668"/>
                    <a:pt x="173" y="669"/>
                    <a:pt x="176" y="670"/>
                  </a:cubicBezTo>
                  <a:cubicBezTo>
                    <a:pt x="176" y="670"/>
                    <a:pt x="177" y="669"/>
                    <a:pt x="177" y="669"/>
                  </a:cubicBezTo>
                  <a:cubicBezTo>
                    <a:pt x="173" y="668"/>
                    <a:pt x="170" y="667"/>
                    <a:pt x="166" y="666"/>
                  </a:cubicBezTo>
                  <a:cubicBezTo>
                    <a:pt x="164" y="665"/>
                    <a:pt x="162" y="665"/>
                    <a:pt x="160" y="664"/>
                  </a:cubicBezTo>
                  <a:cubicBezTo>
                    <a:pt x="160" y="664"/>
                    <a:pt x="159" y="664"/>
                    <a:pt x="159" y="664"/>
                  </a:cubicBezTo>
                  <a:cubicBezTo>
                    <a:pt x="156" y="663"/>
                    <a:pt x="153" y="662"/>
                    <a:pt x="150" y="661"/>
                  </a:cubicBezTo>
                  <a:moveTo>
                    <a:pt x="375" y="663"/>
                  </a:moveTo>
                  <a:cubicBezTo>
                    <a:pt x="374" y="663"/>
                    <a:pt x="374" y="663"/>
                    <a:pt x="373" y="663"/>
                  </a:cubicBezTo>
                  <a:cubicBezTo>
                    <a:pt x="374" y="664"/>
                    <a:pt x="374" y="664"/>
                    <a:pt x="375" y="665"/>
                  </a:cubicBezTo>
                  <a:cubicBezTo>
                    <a:pt x="375" y="664"/>
                    <a:pt x="376" y="664"/>
                    <a:pt x="376" y="664"/>
                  </a:cubicBezTo>
                  <a:cubicBezTo>
                    <a:pt x="375" y="664"/>
                    <a:pt x="375" y="663"/>
                    <a:pt x="375" y="663"/>
                  </a:cubicBezTo>
                  <a:moveTo>
                    <a:pt x="377" y="665"/>
                  </a:moveTo>
                  <a:cubicBezTo>
                    <a:pt x="376" y="665"/>
                    <a:pt x="376" y="665"/>
                    <a:pt x="376" y="665"/>
                  </a:cubicBezTo>
                  <a:cubicBezTo>
                    <a:pt x="376" y="665"/>
                    <a:pt x="376" y="665"/>
                    <a:pt x="376" y="665"/>
                  </a:cubicBezTo>
                  <a:cubicBezTo>
                    <a:pt x="376" y="666"/>
                    <a:pt x="377" y="666"/>
                    <a:pt x="377" y="666"/>
                  </a:cubicBezTo>
                  <a:cubicBezTo>
                    <a:pt x="392" y="678"/>
                    <a:pt x="403" y="689"/>
                    <a:pt x="407" y="697"/>
                  </a:cubicBezTo>
                  <a:cubicBezTo>
                    <a:pt x="407" y="697"/>
                    <a:pt x="408" y="698"/>
                    <a:pt x="408" y="698"/>
                  </a:cubicBezTo>
                  <a:cubicBezTo>
                    <a:pt x="409" y="700"/>
                    <a:pt x="409" y="702"/>
                    <a:pt x="409" y="704"/>
                  </a:cubicBezTo>
                  <a:cubicBezTo>
                    <a:pt x="409" y="711"/>
                    <a:pt x="403" y="715"/>
                    <a:pt x="385" y="715"/>
                  </a:cubicBezTo>
                  <a:cubicBezTo>
                    <a:pt x="375" y="715"/>
                    <a:pt x="362" y="713"/>
                    <a:pt x="346" y="711"/>
                  </a:cubicBezTo>
                  <a:cubicBezTo>
                    <a:pt x="345" y="711"/>
                    <a:pt x="345" y="710"/>
                    <a:pt x="345" y="710"/>
                  </a:cubicBezTo>
                  <a:cubicBezTo>
                    <a:pt x="341" y="710"/>
                    <a:pt x="338" y="709"/>
                    <a:pt x="334" y="709"/>
                  </a:cubicBezTo>
                  <a:cubicBezTo>
                    <a:pt x="334" y="709"/>
                    <a:pt x="334" y="709"/>
                    <a:pt x="333" y="708"/>
                  </a:cubicBezTo>
                  <a:cubicBezTo>
                    <a:pt x="332" y="708"/>
                    <a:pt x="330" y="708"/>
                    <a:pt x="328" y="708"/>
                  </a:cubicBezTo>
                  <a:cubicBezTo>
                    <a:pt x="330" y="708"/>
                    <a:pt x="331" y="709"/>
                    <a:pt x="333" y="709"/>
                  </a:cubicBezTo>
                  <a:cubicBezTo>
                    <a:pt x="333" y="709"/>
                    <a:pt x="333" y="709"/>
                    <a:pt x="333" y="709"/>
                  </a:cubicBezTo>
                  <a:cubicBezTo>
                    <a:pt x="334" y="710"/>
                    <a:pt x="334" y="710"/>
                    <a:pt x="334" y="710"/>
                  </a:cubicBezTo>
                  <a:cubicBezTo>
                    <a:pt x="338" y="710"/>
                    <a:pt x="341" y="711"/>
                    <a:pt x="345" y="711"/>
                  </a:cubicBezTo>
                  <a:cubicBezTo>
                    <a:pt x="345" y="712"/>
                    <a:pt x="345" y="712"/>
                    <a:pt x="346" y="712"/>
                  </a:cubicBezTo>
                  <a:cubicBezTo>
                    <a:pt x="362" y="714"/>
                    <a:pt x="375" y="716"/>
                    <a:pt x="385" y="716"/>
                  </a:cubicBezTo>
                  <a:cubicBezTo>
                    <a:pt x="402" y="716"/>
                    <a:pt x="410" y="712"/>
                    <a:pt x="410" y="704"/>
                  </a:cubicBezTo>
                  <a:cubicBezTo>
                    <a:pt x="410" y="702"/>
                    <a:pt x="410" y="700"/>
                    <a:pt x="409" y="698"/>
                  </a:cubicBezTo>
                  <a:cubicBezTo>
                    <a:pt x="409" y="698"/>
                    <a:pt x="408" y="697"/>
                    <a:pt x="408" y="697"/>
                  </a:cubicBezTo>
                  <a:cubicBezTo>
                    <a:pt x="404" y="689"/>
                    <a:pt x="393" y="678"/>
                    <a:pt x="379" y="666"/>
                  </a:cubicBezTo>
                  <a:cubicBezTo>
                    <a:pt x="378" y="666"/>
                    <a:pt x="378" y="666"/>
                    <a:pt x="378" y="665"/>
                  </a:cubicBezTo>
                  <a:cubicBezTo>
                    <a:pt x="377" y="665"/>
                    <a:pt x="377" y="665"/>
                    <a:pt x="377" y="665"/>
                  </a:cubicBezTo>
                  <a:moveTo>
                    <a:pt x="179" y="670"/>
                  </a:moveTo>
                  <a:cubicBezTo>
                    <a:pt x="178" y="670"/>
                    <a:pt x="178" y="670"/>
                    <a:pt x="177" y="670"/>
                  </a:cubicBezTo>
                  <a:cubicBezTo>
                    <a:pt x="177" y="670"/>
                    <a:pt x="177" y="670"/>
                    <a:pt x="177" y="670"/>
                  </a:cubicBezTo>
                  <a:cubicBezTo>
                    <a:pt x="178" y="670"/>
                    <a:pt x="178" y="670"/>
                    <a:pt x="179" y="670"/>
                  </a:cubicBezTo>
                  <a:cubicBezTo>
                    <a:pt x="179" y="670"/>
                    <a:pt x="179" y="670"/>
                    <a:pt x="179" y="670"/>
                  </a:cubicBezTo>
                  <a:moveTo>
                    <a:pt x="180" y="670"/>
                  </a:moveTo>
                  <a:cubicBezTo>
                    <a:pt x="180" y="670"/>
                    <a:pt x="179" y="671"/>
                    <a:pt x="179" y="671"/>
                  </a:cubicBezTo>
                  <a:cubicBezTo>
                    <a:pt x="182" y="672"/>
                    <a:pt x="186" y="673"/>
                    <a:pt x="189" y="674"/>
                  </a:cubicBezTo>
                  <a:cubicBezTo>
                    <a:pt x="190" y="674"/>
                    <a:pt x="190" y="674"/>
                    <a:pt x="190" y="674"/>
                  </a:cubicBezTo>
                  <a:cubicBezTo>
                    <a:pt x="191" y="674"/>
                    <a:pt x="192" y="675"/>
                    <a:pt x="193" y="675"/>
                  </a:cubicBezTo>
                  <a:cubicBezTo>
                    <a:pt x="193" y="675"/>
                    <a:pt x="194" y="675"/>
                    <a:pt x="194" y="675"/>
                  </a:cubicBezTo>
                  <a:cubicBezTo>
                    <a:pt x="191" y="674"/>
                    <a:pt x="188" y="673"/>
                    <a:pt x="185" y="672"/>
                  </a:cubicBezTo>
                  <a:cubicBezTo>
                    <a:pt x="184" y="671"/>
                    <a:pt x="183" y="671"/>
                    <a:pt x="182" y="671"/>
                  </a:cubicBezTo>
                  <a:cubicBezTo>
                    <a:pt x="182" y="671"/>
                    <a:pt x="181" y="670"/>
                    <a:pt x="180" y="670"/>
                  </a:cubicBezTo>
                  <a:moveTo>
                    <a:pt x="195" y="675"/>
                  </a:moveTo>
                  <a:cubicBezTo>
                    <a:pt x="195" y="675"/>
                    <a:pt x="195" y="675"/>
                    <a:pt x="195" y="675"/>
                  </a:cubicBezTo>
                  <a:cubicBezTo>
                    <a:pt x="195" y="675"/>
                    <a:pt x="195" y="675"/>
                    <a:pt x="195" y="676"/>
                  </a:cubicBezTo>
                  <a:cubicBezTo>
                    <a:pt x="196" y="676"/>
                    <a:pt x="196" y="676"/>
                    <a:pt x="197" y="676"/>
                  </a:cubicBezTo>
                  <a:cubicBezTo>
                    <a:pt x="198" y="676"/>
                    <a:pt x="198" y="676"/>
                    <a:pt x="199" y="677"/>
                  </a:cubicBezTo>
                  <a:cubicBezTo>
                    <a:pt x="200" y="677"/>
                    <a:pt x="200" y="677"/>
                    <a:pt x="200" y="677"/>
                  </a:cubicBezTo>
                  <a:cubicBezTo>
                    <a:pt x="201" y="677"/>
                    <a:pt x="201" y="677"/>
                    <a:pt x="202" y="677"/>
                  </a:cubicBezTo>
                  <a:cubicBezTo>
                    <a:pt x="202" y="677"/>
                    <a:pt x="202" y="677"/>
                    <a:pt x="203" y="678"/>
                  </a:cubicBezTo>
                  <a:cubicBezTo>
                    <a:pt x="203" y="678"/>
                    <a:pt x="203" y="678"/>
                    <a:pt x="203" y="678"/>
                  </a:cubicBezTo>
                  <a:cubicBezTo>
                    <a:pt x="203" y="678"/>
                    <a:pt x="203" y="678"/>
                    <a:pt x="203" y="678"/>
                  </a:cubicBezTo>
                  <a:cubicBezTo>
                    <a:pt x="200" y="677"/>
                    <a:pt x="198" y="676"/>
                    <a:pt x="195" y="675"/>
                  </a:cubicBezTo>
                  <a:moveTo>
                    <a:pt x="206" y="677"/>
                  </a:moveTo>
                  <a:cubicBezTo>
                    <a:pt x="206" y="677"/>
                    <a:pt x="206" y="677"/>
                    <a:pt x="206" y="677"/>
                  </a:cubicBezTo>
                  <a:cubicBezTo>
                    <a:pt x="207" y="678"/>
                    <a:pt x="208" y="678"/>
                    <a:pt x="210" y="679"/>
                  </a:cubicBezTo>
                  <a:cubicBezTo>
                    <a:pt x="210" y="679"/>
                    <a:pt x="210" y="679"/>
                    <a:pt x="210" y="679"/>
                  </a:cubicBezTo>
                  <a:cubicBezTo>
                    <a:pt x="210" y="679"/>
                    <a:pt x="209" y="678"/>
                    <a:pt x="209" y="678"/>
                  </a:cubicBezTo>
                  <a:cubicBezTo>
                    <a:pt x="208" y="678"/>
                    <a:pt x="208" y="678"/>
                    <a:pt x="208" y="678"/>
                  </a:cubicBezTo>
                  <a:cubicBezTo>
                    <a:pt x="207" y="678"/>
                    <a:pt x="206" y="678"/>
                    <a:pt x="206" y="677"/>
                  </a:cubicBezTo>
                  <a:moveTo>
                    <a:pt x="204" y="678"/>
                  </a:moveTo>
                  <a:cubicBezTo>
                    <a:pt x="204" y="678"/>
                    <a:pt x="204" y="678"/>
                    <a:pt x="204" y="678"/>
                  </a:cubicBezTo>
                  <a:cubicBezTo>
                    <a:pt x="204" y="678"/>
                    <a:pt x="204" y="678"/>
                    <a:pt x="204" y="678"/>
                  </a:cubicBezTo>
                  <a:cubicBezTo>
                    <a:pt x="204" y="678"/>
                    <a:pt x="204" y="678"/>
                    <a:pt x="204" y="678"/>
                  </a:cubicBezTo>
                  <a:moveTo>
                    <a:pt x="212" y="679"/>
                  </a:moveTo>
                  <a:cubicBezTo>
                    <a:pt x="211" y="679"/>
                    <a:pt x="211" y="679"/>
                    <a:pt x="211" y="679"/>
                  </a:cubicBezTo>
                  <a:cubicBezTo>
                    <a:pt x="212" y="680"/>
                    <a:pt x="213" y="680"/>
                    <a:pt x="213" y="680"/>
                  </a:cubicBezTo>
                  <a:cubicBezTo>
                    <a:pt x="213" y="680"/>
                    <a:pt x="212" y="679"/>
                    <a:pt x="212" y="679"/>
                  </a:cubicBezTo>
                  <a:moveTo>
                    <a:pt x="217" y="681"/>
                  </a:moveTo>
                  <a:cubicBezTo>
                    <a:pt x="218" y="681"/>
                    <a:pt x="220" y="682"/>
                    <a:pt x="221" y="683"/>
                  </a:cubicBezTo>
                  <a:cubicBezTo>
                    <a:pt x="222" y="683"/>
                    <a:pt x="224" y="683"/>
                    <a:pt x="225" y="684"/>
                  </a:cubicBezTo>
                  <a:cubicBezTo>
                    <a:pt x="225" y="684"/>
                    <a:pt x="225" y="684"/>
                    <a:pt x="225" y="684"/>
                  </a:cubicBezTo>
                  <a:cubicBezTo>
                    <a:pt x="225" y="684"/>
                    <a:pt x="225" y="684"/>
                    <a:pt x="225" y="684"/>
                  </a:cubicBezTo>
                  <a:cubicBezTo>
                    <a:pt x="223" y="683"/>
                    <a:pt x="220" y="682"/>
                    <a:pt x="217" y="681"/>
                  </a:cubicBezTo>
                  <a:cubicBezTo>
                    <a:pt x="217" y="681"/>
                    <a:pt x="217" y="681"/>
                    <a:pt x="217" y="681"/>
                  </a:cubicBezTo>
                  <a:moveTo>
                    <a:pt x="228" y="684"/>
                  </a:moveTo>
                  <a:cubicBezTo>
                    <a:pt x="229" y="684"/>
                    <a:pt x="229" y="684"/>
                    <a:pt x="230" y="684"/>
                  </a:cubicBezTo>
                  <a:cubicBezTo>
                    <a:pt x="230" y="684"/>
                    <a:pt x="230" y="684"/>
                    <a:pt x="230" y="684"/>
                  </a:cubicBezTo>
                  <a:cubicBezTo>
                    <a:pt x="230" y="684"/>
                    <a:pt x="229" y="684"/>
                    <a:pt x="229" y="684"/>
                  </a:cubicBezTo>
                  <a:cubicBezTo>
                    <a:pt x="229" y="684"/>
                    <a:pt x="228" y="684"/>
                    <a:pt x="228" y="684"/>
                  </a:cubicBezTo>
                  <a:moveTo>
                    <a:pt x="227" y="684"/>
                  </a:moveTo>
                  <a:cubicBezTo>
                    <a:pt x="227" y="684"/>
                    <a:pt x="227" y="684"/>
                    <a:pt x="227" y="684"/>
                  </a:cubicBezTo>
                  <a:cubicBezTo>
                    <a:pt x="227" y="684"/>
                    <a:pt x="228" y="685"/>
                    <a:pt x="228" y="685"/>
                  </a:cubicBezTo>
                  <a:cubicBezTo>
                    <a:pt x="228" y="684"/>
                    <a:pt x="227" y="684"/>
                    <a:pt x="227" y="684"/>
                  </a:cubicBezTo>
                  <a:moveTo>
                    <a:pt x="232" y="685"/>
                  </a:moveTo>
                  <a:cubicBezTo>
                    <a:pt x="231" y="685"/>
                    <a:pt x="231" y="685"/>
                    <a:pt x="231" y="685"/>
                  </a:cubicBezTo>
                  <a:cubicBezTo>
                    <a:pt x="233" y="686"/>
                    <a:pt x="236" y="686"/>
                    <a:pt x="238" y="687"/>
                  </a:cubicBezTo>
                  <a:cubicBezTo>
                    <a:pt x="238" y="687"/>
                    <a:pt x="239" y="687"/>
                    <a:pt x="239" y="687"/>
                  </a:cubicBezTo>
                  <a:cubicBezTo>
                    <a:pt x="239" y="687"/>
                    <a:pt x="238" y="686"/>
                    <a:pt x="238" y="686"/>
                  </a:cubicBezTo>
                  <a:cubicBezTo>
                    <a:pt x="237" y="686"/>
                    <a:pt x="236" y="686"/>
                    <a:pt x="235" y="685"/>
                  </a:cubicBezTo>
                  <a:cubicBezTo>
                    <a:pt x="234" y="685"/>
                    <a:pt x="233" y="685"/>
                    <a:pt x="232" y="685"/>
                  </a:cubicBezTo>
                  <a:moveTo>
                    <a:pt x="241" y="687"/>
                  </a:moveTo>
                  <a:cubicBezTo>
                    <a:pt x="240" y="687"/>
                    <a:pt x="240" y="687"/>
                    <a:pt x="239" y="688"/>
                  </a:cubicBezTo>
                  <a:cubicBezTo>
                    <a:pt x="239" y="688"/>
                    <a:pt x="240" y="688"/>
                    <a:pt x="240" y="688"/>
                  </a:cubicBezTo>
                  <a:cubicBezTo>
                    <a:pt x="240" y="688"/>
                    <a:pt x="240" y="688"/>
                    <a:pt x="240" y="688"/>
                  </a:cubicBezTo>
                  <a:cubicBezTo>
                    <a:pt x="240" y="688"/>
                    <a:pt x="241" y="688"/>
                    <a:pt x="241" y="688"/>
                  </a:cubicBezTo>
                  <a:cubicBezTo>
                    <a:pt x="241" y="688"/>
                    <a:pt x="242" y="688"/>
                    <a:pt x="242" y="688"/>
                  </a:cubicBezTo>
                  <a:cubicBezTo>
                    <a:pt x="242" y="688"/>
                    <a:pt x="243" y="689"/>
                    <a:pt x="243" y="689"/>
                  </a:cubicBezTo>
                  <a:cubicBezTo>
                    <a:pt x="243" y="689"/>
                    <a:pt x="244" y="689"/>
                    <a:pt x="245" y="689"/>
                  </a:cubicBezTo>
                  <a:cubicBezTo>
                    <a:pt x="246" y="689"/>
                    <a:pt x="247" y="690"/>
                    <a:pt x="248" y="690"/>
                  </a:cubicBezTo>
                  <a:cubicBezTo>
                    <a:pt x="248" y="690"/>
                    <a:pt x="249" y="690"/>
                    <a:pt x="249" y="690"/>
                  </a:cubicBezTo>
                  <a:cubicBezTo>
                    <a:pt x="249" y="690"/>
                    <a:pt x="249" y="690"/>
                    <a:pt x="250" y="690"/>
                  </a:cubicBezTo>
                  <a:cubicBezTo>
                    <a:pt x="248" y="689"/>
                    <a:pt x="247" y="689"/>
                    <a:pt x="245" y="688"/>
                  </a:cubicBezTo>
                  <a:cubicBezTo>
                    <a:pt x="245" y="688"/>
                    <a:pt x="244" y="688"/>
                    <a:pt x="243" y="688"/>
                  </a:cubicBezTo>
                  <a:cubicBezTo>
                    <a:pt x="243" y="688"/>
                    <a:pt x="243" y="687"/>
                    <a:pt x="242" y="687"/>
                  </a:cubicBezTo>
                  <a:cubicBezTo>
                    <a:pt x="242" y="687"/>
                    <a:pt x="242" y="687"/>
                    <a:pt x="241" y="687"/>
                  </a:cubicBezTo>
                  <a:cubicBezTo>
                    <a:pt x="241" y="687"/>
                    <a:pt x="241" y="687"/>
                    <a:pt x="241" y="687"/>
                  </a:cubicBezTo>
                  <a:moveTo>
                    <a:pt x="251" y="690"/>
                  </a:moveTo>
                  <a:cubicBezTo>
                    <a:pt x="251" y="690"/>
                    <a:pt x="250" y="690"/>
                    <a:pt x="250" y="691"/>
                  </a:cubicBezTo>
                  <a:cubicBezTo>
                    <a:pt x="251" y="691"/>
                    <a:pt x="252" y="691"/>
                    <a:pt x="253" y="691"/>
                  </a:cubicBezTo>
                  <a:cubicBezTo>
                    <a:pt x="253" y="691"/>
                    <a:pt x="253" y="691"/>
                    <a:pt x="253" y="691"/>
                  </a:cubicBezTo>
                  <a:cubicBezTo>
                    <a:pt x="252" y="691"/>
                    <a:pt x="252" y="691"/>
                    <a:pt x="251" y="690"/>
                  </a:cubicBezTo>
                  <a:moveTo>
                    <a:pt x="254" y="690"/>
                  </a:moveTo>
                  <a:cubicBezTo>
                    <a:pt x="254" y="690"/>
                    <a:pt x="254" y="691"/>
                    <a:pt x="254" y="691"/>
                  </a:cubicBezTo>
                  <a:cubicBezTo>
                    <a:pt x="254" y="691"/>
                    <a:pt x="254" y="691"/>
                    <a:pt x="255" y="691"/>
                  </a:cubicBezTo>
                  <a:cubicBezTo>
                    <a:pt x="254" y="691"/>
                    <a:pt x="254" y="691"/>
                    <a:pt x="254" y="690"/>
                  </a:cubicBezTo>
                  <a:cubicBezTo>
                    <a:pt x="254" y="690"/>
                    <a:pt x="254" y="690"/>
                    <a:pt x="254" y="690"/>
                  </a:cubicBezTo>
                  <a:moveTo>
                    <a:pt x="256" y="691"/>
                  </a:moveTo>
                  <a:cubicBezTo>
                    <a:pt x="256" y="691"/>
                    <a:pt x="256" y="691"/>
                    <a:pt x="256" y="691"/>
                  </a:cubicBezTo>
                  <a:cubicBezTo>
                    <a:pt x="257" y="692"/>
                    <a:pt x="259" y="692"/>
                    <a:pt x="261" y="693"/>
                  </a:cubicBezTo>
                  <a:cubicBezTo>
                    <a:pt x="261" y="693"/>
                    <a:pt x="261" y="693"/>
                    <a:pt x="262" y="692"/>
                  </a:cubicBezTo>
                  <a:cubicBezTo>
                    <a:pt x="261" y="692"/>
                    <a:pt x="261" y="692"/>
                    <a:pt x="260" y="692"/>
                  </a:cubicBezTo>
                  <a:cubicBezTo>
                    <a:pt x="260" y="692"/>
                    <a:pt x="259" y="692"/>
                    <a:pt x="259" y="692"/>
                  </a:cubicBezTo>
                  <a:cubicBezTo>
                    <a:pt x="258" y="692"/>
                    <a:pt x="257" y="691"/>
                    <a:pt x="256" y="691"/>
                  </a:cubicBezTo>
                  <a:moveTo>
                    <a:pt x="263" y="693"/>
                  </a:moveTo>
                  <a:cubicBezTo>
                    <a:pt x="263" y="693"/>
                    <a:pt x="262" y="693"/>
                    <a:pt x="262" y="694"/>
                  </a:cubicBezTo>
                  <a:cubicBezTo>
                    <a:pt x="263" y="694"/>
                    <a:pt x="264" y="694"/>
                    <a:pt x="266" y="694"/>
                  </a:cubicBezTo>
                  <a:cubicBezTo>
                    <a:pt x="266" y="695"/>
                    <a:pt x="266" y="695"/>
                    <a:pt x="267" y="695"/>
                  </a:cubicBezTo>
                  <a:cubicBezTo>
                    <a:pt x="268" y="695"/>
                    <a:pt x="268" y="695"/>
                    <a:pt x="269" y="695"/>
                  </a:cubicBezTo>
                  <a:cubicBezTo>
                    <a:pt x="270" y="695"/>
                    <a:pt x="270" y="695"/>
                    <a:pt x="271" y="695"/>
                  </a:cubicBezTo>
                  <a:cubicBezTo>
                    <a:pt x="270" y="694"/>
                    <a:pt x="269" y="694"/>
                    <a:pt x="268" y="694"/>
                  </a:cubicBezTo>
                  <a:cubicBezTo>
                    <a:pt x="267" y="694"/>
                    <a:pt x="267" y="694"/>
                    <a:pt x="267" y="694"/>
                  </a:cubicBezTo>
                  <a:cubicBezTo>
                    <a:pt x="266" y="693"/>
                    <a:pt x="264" y="693"/>
                    <a:pt x="263" y="693"/>
                  </a:cubicBezTo>
                  <a:moveTo>
                    <a:pt x="272" y="695"/>
                  </a:moveTo>
                  <a:cubicBezTo>
                    <a:pt x="272" y="695"/>
                    <a:pt x="271" y="696"/>
                    <a:pt x="271" y="696"/>
                  </a:cubicBezTo>
                  <a:cubicBezTo>
                    <a:pt x="272" y="696"/>
                    <a:pt x="272" y="696"/>
                    <a:pt x="273" y="696"/>
                  </a:cubicBezTo>
                  <a:cubicBezTo>
                    <a:pt x="273" y="696"/>
                    <a:pt x="274" y="696"/>
                    <a:pt x="274" y="697"/>
                  </a:cubicBezTo>
                  <a:cubicBezTo>
                    <a:pt x="275" y="697"/>
                    <a:pt x="276" y="697"/>
                    <a:pt x="276" y="697"/>
                  </a:cubicBezTo>
                  <a:cubicBezTo>
                    <a:pt x="277" y="697"/>
                    <a:pt x="277" y="697"/>
                    <a:pt x="277" y="697"/>
                  </a:cubicBezTo>
                  <a:cubicBezTo>
                    <a:pt x="275" y="696"/>
                    <a:pt x="274" y="696"/>
                    <a:pt x="273" y="695"/>
                  </a:cubicBezTo>
                  <a:cubicBezTo>
                    <a:pt x="273" y="695"/>
                    <a:pt x="273" y="695"/>
                    <a:pt x="272" y="695"/>
                  </a:cubicBezTo>
                  <a:moveTo>
                    <a:pt x="280" y="697"/>
                  </a:moveTo>
                  <a:cubicBezTo>
                    <a:pt x="280" y="697"/>
                    <a:pt x="280" y="697"/>
                    <a:pt x="280" y="697"/>
                  </a:cubicBezTo>
                  <a:cubicBezTo>
                    <a:pt x="281" y="697"/>
                    <a:pt x="281" y="698"/>
                    <a:pt x="282" y="698"/>
                  </a:cubicBezTo>
                  <a:cubicBezTo>
                    <a:pt x="283" y="698"/>
                    <a:pt x="283" y="698"/>
                    <a:pt x="283" y="698"/>
                  </a:cubicBezTo>
                  <a:cubicBezTo>
                    <a:pt x="283" y="698"/>
                    <a:pt x="283" y="698"/>
                    <a:pt x="283" y="698"/>
                  </a:cubicBezTo>
                  <a:cubicBezTo>
                    <a:pt x="283" y="698"/>
                    <a:pt x="282" y="698"/>
                    <a:pt x="282" y="697"/>
                  </a:cubicBezTo>
                  <a:cubicBezTo>
                    <a:pt x="281" y="697"/>
                    <a:pt x="280" y="697"/>
                    <a:pt x="280" y="697"/>
                  </a:cubicBezTo>
                  <a:moveTo>
                    <a:pt x="278" y="697"/>
                  </a:moveTo>
                  <a:cubicBezTo>
                    <a:pt x="278" y="697"/>
                    <a:pt x="278" y="698"/>
                    <a:pt x="278" y="698"/>
                  </a:cubicBezTo>
                  <a:cubicBezTo>
                    <a:pt x="278" y="698"/>
                    <a:pt x="279" y="698"/>
                    <a:pt x="279" y="698"/>
                  </a:cubicBezTo>
                  <a:cubicBezTo>
                    <a:pt x="279" y="698"/>
                    <a:pt x="279" y="698"/>
                    <a:pt x="278" y="697"/>
                  </a:cubicBezTo>
                  <a:moveTo>
                    <a:pt x="285" y="698"/>
                  </a:moveTo>
                  <a:cubicBezTo>
                    <a:pt x="284" y="698"/>
                    <a:pt x="284" y="698"/>
                    <a:pt x="284" y="699"/>
                  </a:cubicBezTo>
                  <a:cubicBezTo>
                    <a:pt x="284" y="699"/>
                    <a:pt x="285" y="699"/>
                    <a:pt x="286" y="699"/>
                  </a:cubicBezTo>
                  <a:cubicBezTo>
                    <a:pt x="289" y="700"/>
                    <a:pt x="292" y="701"/>
                    <a:pt x="295" y="702"/>
                  </a:cubicBezTo>
                  <a:cubicBezTo>
                    <a:pt x="296" y="702"/>
                    <a:pt x="296" y="702"/>
                    <a:pt x="296" y="702"/>
                  </a:cubicBezTo>
                  <a:cubicBezTo>
                    <a:pt x="299" y="702"/>
                    <a:pt x="302" y="703"/>
                    <a:pt x="304" y="704"/>
                  </a:cubicBezTo>
                  <a:cubicBezTo>
                    <a:pt x="302" y="703"/>
                    <a:pt x="301" y="702"/>
                    <a:pt x="299" y="701"/>
                  </a:cubicBezTo>
                  <a:cubicBezTo>
                    <a:pt x="298" y="701"/>
                    <a:pt x="298" y="701"/>
                    <a:pt x="297" y="701"/>
                  </a:cubicBezTo>
                  <a:cubicBezTo>
                    <a:pt x="297" y="701"/>
                    <a:pt x="296" y="701"/>
                    <a:pt x="296" y="701"/>
                  </a:cubicBezTo>
                  <a:cubicBezTo>
                    <a:pt x="292" y="700"/>
                    <a:pt x="289" y="699"/>
                    <a:pt x="285" y="698"/>
                  </a:cubicBezTo>
                  <a:moveTo>
                    <a:pt x="304" y="703"/>
                  </a:moveTo>
                  <a:cubicBezTo>
                    <a:pt x="306" y="703"/>
                    <a:pt x="308" y="704"/>
                    <a:pt x="309" y="705"/>
                  </a:cubicBezTo>
                  <a:cubicBezTo>
                    <a:pt x="312" y="705"/>
                    <a:pt x="315" y="706"/>
                    <a:pt x="317" y="706"/>
                  </a:cubicBezTo>
                  <a:cubicBezTo>
                    <a:pt x="317" y="706"/>
                    <a:pt x="318" y="706"/>
                    <a:pt x="318" y="707"/>
                  </a:cubicBezTo>
                  <a:cubicBezTo>
                    <a:pt x="322" y="707"/>
                    <a:pt x="325" y="708"/>
                    <a:pt x="328" y="709"/>
                  </a:cubicBezTo>
                  <a:cubicBezTo>
                    <a:pt x="327" y="708"/>
                    <a:pt x="325" y="707"/>
                    <a:pt x="324" y="707"/>
                  </a:cubicBezTo>
                  <a:cubicBezTo>
                    <a:pt x="322" y="706"/>
                    <a:pt x="320" y="706"/>
                    <a:pt x="319" y="706"/>
                  </a:cubicBezTo>
                  <a:cubicBezTo>
                    <a:pt x="318" y="706"/>
                    <a:pt x="318" y="705"/>
                    <a:pt x="318" y="705"/>
                  </a:cubicBezTo>
                  <a:cubicBezTo>
                    <a:pt x="313" y="705"/>
                    <a:pt x="309" y="704"/>
                    <a:pt x="304" y="703"/>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49" name="Freeform 78"/>
            <p:cNvSpPr>
              <a:spLocks noEditPoints="1"/>
            </p:cNvSpPr>
            <p:nvPr userDrawn="1"/>
          </p:nvSpPr>
          <p:spPr bwMode="auto">
            <a:xfrm>
              <a:off x="1836" y="3618"/>
              <a:ext cx="2771" cy="1648"/>
            </a:xfrm>
            <a:custGeom>
              <a:avLst/>
              <a:gdLst>
                <a:gd name="T0" fmla="*/ 2147483646 w 1367"/>
                <a:gd name="T1" fmla="*/ 2147483646 h 813"/>
                <a:gd name="T2" fmla="*/ 2147483646 w 1367"/>
                <a:gd name="T3" fmla="*/ 2147483646 h 813"/>
                <a:gd name="T4" fmla="*/ 2147483646 w 1367"/>
                <a:gd name="T5" fmla="*/ 2147483646 h 813"/>
                <a:gd name="T6" fmla="*/ 2147483646 w 1367"/>
                <a:gd name="T7" fmla="*/ 2147483646 h 813"/>
                <a:gd name="T8" fmla="*/ 2147483646 w 1367"/>
                <a:gd name="T9" fmla="*/ 2147483646 h 813"/>
                <a:gd name="T10" fmla="*/ 2147483646 w 1367"/>
                <a:gd name="T11" fmla="*/ 2147483646 h 813"/>
                <a:gd name="T12" fmla="*/ 2147483646 w 1367"/>
                <a:gd name="T13" fmla="*/ 2147483646 h 813"/>
                <a:gd name="T14" fmla="*/ 2147483646 w 1367"/>
                <a:gd name="T15" fmla="*/ 2147483646 h 813"/>
                <a:gd name="T16" fmla="*/ 2147483646 w 1367"/>
                <a:gd name="T17" fmla="*/ 2147483646 h 813"/>
                <a:gd name="T18" fmla="*/ 2147483646 w 1367"/>
                <a:gd name="T19" fmla="*/ 2147483646 h 813"/>
                <a:gd name="T20" fmla="*/ 2147483646 w 1367"/>
                <a:gd name="T21" fmla="*/ 2147483646 h 813"/>
                <a:gd name="T22" fmla="*/ 2147483646 w 1367"/>
                <a:gd name="T23" fmla="*/ 2147483646 h 813"/>
                <a:gd name="T24" fmla="*/ 2147483646 w 1367"/>
                <a:gd name="T25" fmla="*/ 2147483646 h 813"/>
                <a:gd name="T26" fmla="*/ 2147483646 w 1367"/>
                <a:gd name="T27" fmla="*/ 2147483646 h 813"/>
                <a:gd name="T28" fmla="*/ 2147483646 w 1367"/>
                <a:gd name="T29" fmla="*/ 2147483646 h 813"/>
                <a:gd name="T30" fmla="*/ 2147483646 w 1367"/>
                <a:gd name="T31" fmla="*/ 2147483646 h 813"/>
                <a:gd name="T32" fmla="*/ 2147483646 w 1367"/>
                <a:gd name="T33" fmla="*/ 2147483646 h 813"/>
                <a:gd name="T34" fmla="*/ 2147483646 w 1367"/>
                <a:gd name="T35" fmla="*/ 2147483646 h 813"/>
                <a:gd name="T36" fmla="*/ 2147483646 w 1367"/>
                <a:gd name="T37" fmla="*/ 2147483646 h 813"/>
                <a:gd name="T38" fmla="*/ 2147483646 w 1367"/>
                <a:gd name="T39" fmla="*/ 2147483646 h 813"/>
                <a:gd name="T40" fmla="*/ 2147483646 w 1367"/>
                <a:gd name="T41" fmla="*/ 2147483646 h 813"/>
                <a:gd name="T42" fmla="*/ 2147483646 w 1367"/>
                <a:gd name="T43" fmla="*/ 2147483646 h 813"/>
                <a:gd name="T44" fmla="*/ 2147483646 w 1367"/>
                <a:gd name="T45" fmla="*/ 2147483646 h 813"/>
                <a:gd name="T46" fmla="*/ 2147483646 w 1367"/>
                <a:gd name="T47" fmla="*/ 2147483646 h 813"/>
                <a:gd name="T48" fmla="*/ 2147483646 w 1367"/>
                <a:gd name="T49" fmla="*/ 2147483646 h 813"/>
                <a:gd name="T50" fmla="*/ 2147483646 w 1367"/>
                <a:gd name="T51" fmla="*/ 2147483646 h 813"/>
                <a:gd name="T52" fmla="*/ 2147483646 w 1367"/>
                <a:gd name="T53" fmla="*/ 2147483646 h 813"/>
                <a:gd name="T54" fmla="*/ 2147483646 w 1367"/>
                <a:gd name="T55" fmla="*/ 2147483646 h 813"/>
                <a:gd name="T56" fmla="*/ 2147483646 w 1367"/>
                <a:gd name="T57" fmla="*/ 2147483646 h 813"/>
                <a:gd name="T58" fmla="*/ 2147483646 w 1367"/>
                <a:gd name="T59" fmla="*/ 2147483646 h 813"/>
                <a:gd name="T60" fmla="*/ 2147483646 w 1367"/>
                <a:gd name="T61" fmla="*/ 2147483646 h 813"/>
                <a:gd name="T62" fmla="*/ 2147483646 w 1367"/>
                <a:gd name="T63" fmla="*/ 2147483646 h 813"/>
                <a:gd name="T64" fmla="*/ 2147483646 w 1367"/>
                <a:gd name="T65" fmla="*/ 2147483646 h 813"/>
                <a:gd name="T66" fmla="*/ 2147483646 w 1367"/>
                <a:gd name="T67" fmla="*/ 2147483646 h 813"/>
                <a:gd name="T68" fmla="*/ 0 w 1367"/>
                <a:gd name="T69" fmla="*/ 2147483646 h 813"/>
                <a:gd name="T70" fmla="*/ 2147483646 w 1367"/>
                <a:gd name="T71" fmla="*/ 2147483646 h 813"/>
                <a:gd name="T72" fmla="*/ 2147483646 w 1367"/>
                <a:gd name="T73" fmla="*/ 2147483646 h 813"/>
                <a:gd name="T74" fmla="*/ 2147483646 w 1367"/>
                <a:gd name="T75" fmla="*/ 2147483646 h 813"/>
                <a:gd name="T76" fmla="*/ 2147483646 w 1367"/>
                <a:gd name="T77" fmla="*/ 2147483646 h 813"/>
                <a:gd name="T78" fmla="*/ 2147483646 w 1367"/>
                <a:gd name="T79" fmla="*/ 2147483646 h 813"/>
                <a:gd name="T80" fmla="*/ 2147483646 w 1367"/>
                <a:gd name="T81" fmla="*/ 2147483646 h 813"/>
                <a:gd name="T82" fmla="*/ 2147483646 w 1367"/>
                <a:gd name="T83" fmla="*/ 2147483646 h 813"/>
                <a:gd name="T84" fmla="*/ 2147483646 w 1367"/>
                <a:gd name="T85" fmla="*/ 2147483646 h 813"/>
                <a:gd name="T86" fmla="*/ 2147483646 w 1367"/>
                <a:gd name="T87" fmla="*/ 2147483646 h 813"/>
                <a:gd name="T88" fmla="*/ 2147483646 w 1367"/>
                <a:gd name="T89" fmla="*/ 2147483646 h 813"/>
                <a:gd name="T90" fmla="*/ 2147483646 w 1367"/>
                <a:gd name="T91" fmla="*/ 2147483646 h 813"/>
                <a:gd name="T92" fmla="*/ 2147483646 w 1367"/>
                <a:gd name="T93" fmla="*/ 2147483646 h 813"/>
                <a:gd name="T94" fmla="*/ 2147483646 w 1367"/>
                <a:gd name="T95" fmla="*/ 2147483646 h 813"/>
                <a:gd name="T96" fmla="*/ 2147483646 w 1367"/>
                <a:gd name="T97" fmla="*/ 2147483646 h 813"/>
                <a:gd name="T98" fmla="*/ 2147483646 w 1367"/>
                <a:gd name="T99" fmla="*/ 2147483646 h 813"/>
                <a:gd name="T100" fmla="*/ 2147483646 w 1367"/>
                <a:gd name="T101" fmla="*/ 2147483646 h 813"/>
                <a:gd name="T102" fmla="*/ 2147483646 w 1367"/>
                <a:gd name="T103" fmla="*/ 2147483646 h 813"/>
                <a:gd name="T104" fmla="*/ 2147483646 w 1367"/>
                <a:gd name="T105" fmla="*/ 2147483646 h 813"/>
                <a:gd name="T106" fmla="*/ 2147483646 w 1367"/>
                <a:gd name="T107" fmla="*/ 2147483646 h 813"/>
                <a:gd name="T108" fmla="*/ 2147483646 w 1367"/>
                <a:gd name="T109" fmla="*/ 2147483646 h 813"/>
                <a:gd name="T110" fmla="*/ 2147483646 w 1367"/>
                <a:gd name="T111" fmla="*/ 2147483646 h 813"/>
                <a:gd name="T112" fmla="*/ 2147483646 w 1367"/>
                <a:gd name="T113" fmla="*/ 2147483646 h 813"/>
                <a:gd name="T114" fmla="*/ 2147483646 w 1367"/>
                <a:gd name="T115" fmla="*/ 2147483646 h 813"/>
                <a:gd name="T116" fmla="*/ 2147483646 w 1367"/>
                <a:gd name="T117" fmla="*/ 2147483646 h 813"/>
                <a:gd name="T118" fmla="*/ 2147483646 w 1367"/>
                <a:gd name="T119" fmla="*/ 2147483646 h 813"/>
                <a:gd name="T120" fmla="*/ 2147483646 w 1367"/>
                <a:gd name="T121" fmla="*/ 2147483646 h 813"/>
                <a:gd name="T122" fmla="*/ 2147483646 w 1367"/>
                <a:gd name="T123" fmla="*/ 2147483646 h 813"/>
                <a:gd name="T124" fmla="*/ 2147483646 w 1367"/>
                <a:gd name="T125" fmla="*/ 2147483646 h 81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367" h="813">
                  <a:moveTo>
                    <a:pt x="1334" y="0"/>
                  </a:moveTo>
                  <a:cubicBezTo>
                    <a:pt x="1329" y="0"/>
                    <a:pt x="1325" y="1"/>
                    <a:pt x="1320" y="3"/>
                  </a:cubicBezTo>
                  <a:cubicBezTo>
                    <a:pt x="1319" y="4"/>
                    <a:pt x="1319" y="4"/>
                    <a:pt x="1318" y="5"/>
                  </a:cubicBezTo>
                  <a:cubicBezTo>
                    <a:pt x="1323" y="2"/>
                    <a:pt x="1329" y="1"/>
                    <a:pt x="1333" y="1"/>
                  </a:cubicBezTo>
                  <a:cubicBezTo>
                    <a:pt x="1334" y="0"/>
                    <a:pt x="1334" y="0"/>
                    <a:pt x="1334" y="0"/>
                  </a:cubicBezTo>
                  <a:cubicBezTo>
                    <a:pt x="1334" y="0"/>
                    <a:pt x="1334" y="0"/>
                    <a:pt x="1334" y="0"/>
                  </a:cubicBezTo>
                  <a:moveTo>
                    <a:pt x="1335" y="0"/>
                  </a:moveTo>
                  <a:cubicBezTo>
                    <a:pt x="1335" y="0"/>
                    <a:pt x="1335" y="1"/>
                    <a:pt x="1335" y="1"/>
                  </a:cubicBezTo>
                  <a:cubicBezTo>
                    <a:pt x="1339" y="1"/>
                    <a:pt x="1342" y="2"/>
                    <a:pt x="1346" y="5"/>
                  </a:cubicBezTo>
                  <a:cubicBezTo>
                    <a:pt x="1346" y="4"/>
                    <a:pt x="1346" y="4"/>
                    <a:pt x="1346" y="4"/>
                  </a:cubicBezTo>
                  <a:cubicBezTo>
                    <a:pt x="1343" y="1"/>
                    <a:pt x="1339" y="0"/>
                    <a:pt x="1335" y="0"/>
                  </a:cubicBezTo>
                  <a:moveTo>
                    <a:pt x="1317" y="4"/>
                  </a:moveTo>
                  <a:cubicBezTo>
                    <a:pt x="1297" y="14"/>
                    <a:pt x="1272" y="38"/>
                    <a:pt x="1245" y="70"/>
                  </a:cubicBezTo>
                  <a:cubicBezTo>
                    <a:pt x="1245" y="70"/>
                    <a:pt x="1244" y="70"/>
                    <a:pt x="1244" y="71"/>
                  </a:cubicBezTo>
                  <a:cubicBezTo>
                    <a:pt x="1223" y="95"/>
                    <a:pt x="1201" y="124"/>
                    <a:pt x="1178" y="154"/>
                  </a:cubicBezTo>
                  <a:cubicBezTo>
                    <a:pt x="1178" y="153"/>
                    <a:pt x="1179" y="153"/>
                    <a:pt x="1180" y="153"/>
                  </a:cubicBezTo>
                  <a:cubicBezTo>
                    <a:pt x="1203" y="123"/>
                    <a:pt x="1225" y="95"/>
                    <a:pt x="1245" y="71"/>
                  </a:cubicBezTo>
                  <a:cubicBezTo>
                    <a:pt x="1246" y="71"/>
                    <a:pt x="1246" y="70"/>
                    <a:pt x="1246" y="70"/>
                  </a:cubicBezTo>
                  <a:cubicBezTo>
                    <a:pt x="1272" y="39"/>
                    <a:pt x="1296" y="16"/>
                    <a:pt x="1316" y="6"/>
                  </a:cubicBezTo>
                  <a:cubicBezTo>
                    <a:pt x="1316" y="5"/>
                    <a:pt x="1317" y="5"/>
                    <a:pt x="1317" y="4"/>
                  </a:cubicBezTo>
                  <a:moveTo>
                    <a:pt x="1347" y="4"/>
                  </a:moveTo>
                  <a:cubicBezTo>
                    <a:pt x="1347" y="5"/>
                    <a:pt x="1347" y="5"/>
                    <a:pt x="1346" y="5"/>
                  </a:cubicBezTo>
                  <a:cubicBezTo>
                    <a:pt x="1350" y="8"/>
                    <a:pt x="1353" y="11"/>
                    <a:pt x="1355" y="16"/>
                  </a:cubicBezTo>
                  <a:cubicBezTo>
                    <a:pt x="1355" y="16"/>
                    <a:pt x="1355" y="16"/>
                    <a:pt x="1356" y="15"/>
                  </a:cubicBezTo>
                  <a:cubicBezTo>
                    <a:pt x="1353" y="11"/>
                    <a:pt x="1350" y="7"/>
                    <a:pt x="1347" y="4"/>
                  </a:cubicBezTo>
                  <a:moveTo>
                    <a:pt x="1356" y="16"/>
                  </a:moveTo>
                  <a:cubicBezTo>
                    <a:pt x="1356" y="17"/>
                    <a:pt x="1356" y="17"/>
                    <a:pt x="1355" y="17"/>
                  </a:cubicBezTo>
                  <a:cubicBezTo>
                    <a:pt x="1358" y="22"/>
                    <a:pt x="1359" y="27"/>
                    <a:pt x="1361" y="34"/>
                  </a:cubicBezTo>
                  <a:cubicBezTo>
                    <a:pt x="1361" y="33"/>
                    <a:pt x="1361" y="33"/>
                    <a:pt x="1362" y="33"/>
                  </a:cubicBezTo>
                  <a:cubicBezTo>
                    <a:pt x="1360" y="26"/>
                    <a:pt x="1358" y="21"/>
                    <a:pt x="1356" y="16"/>
                  </a:cubicBezTo>
                  <a:moveTo>
                    <a:pt x="1362" y="34"/>
                  </a:moveTo>
                  <a:cubicBezTo>
                    <a:pt x="1362" y="35"/>
                    <a:pt x="1362" y="35"/>
                    <a:pt x="1361" y="35"/>
                  </a:cubicBezTo>
                  <a:cubicBezTo>
                    <a:pt x="1361" y="36"/>
                    <a:pt x="1362" y="37"/>
                    <a:pt x="1362" y="37"/>
                  </a:cubicBezTo>
                  <a:cubicBezTo>
                    <a:pt x="1362" y="37"/>
                    <a:pt x="1362" y="36"/>
                    <a:pt x="1362" y="36"/>
                  </a:cubicBezTo>
                  <a:cubicBezTo>
                    <a:pt x="1362" y="35"/>
                    <a:pt x="1362" y="35"/>
                    <a:pt x="1362" y="34"/>
                  </a:cubicBezTo>
                  <a:moveTo>
                    <a:pt x="1363" y="38"/>
                  </a:moveTo>
                  <a:cubicBezTo>
                    <a:pt x="1363" y="38"/>
                    <a:pt x="1363" y="38"/>
                    <a:pt x="1363" y="39"/>
                  </a:cubicBezTo>
                  <a:cubicBezTo>
                    <a:pt x="1363" y="39"/>
                    <a:pt x="1363" y="39"/>
                    <a:pt x="1363" y="38"/>
                  </a:cubicBezTo>
                  <a:cubicBezTo>
                    <a:pt x="1363" y="38"/>
                    <a:pt x="1363" y="38"/>
                    <a:pt x="1363" y="38"/>
                  </a:cubicBezTo>
                  <a:cubicBezTo>
                    <a:pt x="1363" y="38"/>
                    <a:pt x="1363" y="38"/>
                    <a:pt x="1363" y="38"/>
                  </a:cubicBezTo>
                  <a:moveTo>
                    <a:pt x="1363" y="40"/>
                  </a:moveTo>
                  <a:cubicBezTo>
                    <a:pt x="1363" y="40"/>
                    <a:pt x="1363" y="41"/>
                    <a:pt x="1362" y="41"/>
                  </a:cubicBezTo>
                  <a:cubicBezTo>
                    <a:pt x="1363" y="42"/>
                    <a:pt x="1363" y="43"/>
                    <a:pt x="1363" y="43"/>
                  </a:cubicBezTo>
                  <a:cubicBezTo>
                    <a:pt x="1363" y="43"/>
                    <a:pt x="1363" y="43"/>
                    <a:pt x="1364" y="42"/>
                  </a:cubicBezTo>
                  <a:cubicBezTo>
                    <a:pt x="1363" y="41"/>
                    <a:pt x="1363" y="41"/>
                    <a:pt x="1363" y="40"/>
                  </a:cubicBezTo>
                  <a:moveTo>
                    <a:pt x="1364" y="44"/>
                  </a:moveTo>
                  <a:cubicBezTo>
                    <a:pt x="1364" y="44"/>
                    <a:pt x="1363" y="45"/>
                    <a:pt x="1363" y="45"/>
                  </a:cubicBezTo>
                  <a:cubicBezTo>
                    <a:pt x="1363" y="46"/>
                    <a:pt x="1363" y="47"/>
                    <a:pt x="1364" y="49"/>
                  </a:cubicBezTo>
                  <a:cubicBezTo>
                    <a:pt x="1364" y="48"/>
                    <a:pt x="1364" y="48"/>
                    <a:pt x="1364" y="47"/>
                  </a:cubicBezTo>
                  <a:cubicBezTo>
                    <a:pt x="1364" y="46"/>
                    <a:pt x="1364" y="45"/>
                    <a:pt x="1364" y="44"/>
                  </a:cubicBezTo>
                  <a:moveTo>
                    <a:pt x="1365" y="49"/>
                  </a:moveTo>
                  <a:cubicBezTo>
                    <a:pt x="1364" y="49"/>
                    <a:pt x="1364" y="50"/>
                    <a:pt x="1364" y="50"/>
                  </a:cubicBezTo>
                  <a:cubicBezTo>
                    <a:pt x="1364" y="51"/>
                    <a:pt x="1364" y="51"/>
                    <a:pt x="1364" y="51"/>
                  </a:cubicBezTo>
                  <a:cubicBezTo>
                    <a:pt x="1364" y="51"/>
                    <a:pt x="1364" y="51"/>
                    <a:pt x="1365" y="50"/>
                  </a:cubicBezTo>
                  <a:cubicBezTo>
                    <a:pt x="1365" y="50"/>
                    <a:pt x="1365" y="50"/>
                    <a:pt x="1365" y="50"/>
                  </a:cubicBezTo>
                  <a:cubicBezTo>
                    <a:pt x="1365" y="49"/>
                    <a:pt x="1365" y="49"/>
                    <a:pt x="1365" y="49"/>
                  </a:cubicBezTo>
                  <a:moveTo>
                    <a:pt x="1365" y="52"/>
                  </a:moveTo>
                  <a:cubicBezTo>
                    <a:pt x="1365" y="53"/>
                    <a:pt x="1364" y="53"/>
                    <a:pt x="1364" y="53"/>
                  </a:cubicBezTo>
                  <a:cubicBezTo>
                    <a:pt x="1364" y="53"/>
                    <a:pt x="1364" y="53"/>
                    <a:pt x="1364" y="53"/>
                  </a:cubicBezTo>
                  <a:cubicBezTo>
                    <a:pt x="1365" y="59"/>
                    <a:pt x="1365" y="66"/>
                    <a:pt x="1366" y="73"/>
                  </a:cubicBezTo>
                  <a:cubicBezTo>
                    <a:pt x="1366" y="72"/>
                    <a:pt x="1366" y="72"/>
                    <a:pt x="1367" y="72"/>
                  </a:cubicBezTo>
                  <a:cubicBezTo>
                    <a:pt x="1366" y="66"/>
                    <a:pt x="1366" y="59"/>
                    <a:pt x="1365" y="52"/>
                  </a:cubicBezTo>
                  <a:moveTo>
                    <a:pt x="1367" y="73"/>
                  </a:moveTo>
                  <a:cubicBezTo>
                    <a:pt x="1366" y="73"/>
                    <a:pt x="1366" y="73"/>
                    <a:pt x="1366" y="74"/>
                  </a:cubicBezTo>
                  <a:cubicBezTo>
                    <a:pt x="1366" y="78"/>
                    <a:pt x="1366" y="82"/>
                    <a:pt x="1366" y="86"/>
                  </a:cubicBezTo>
                  <a:cubicBezTo>
                    <a:pt x="1366" y="90"/>
                    <a:pt x="1366" y="94"/>
                    <a:pt x="1366" y="99"/>
                  </a:cubicBezTo>
                  <a:cubicBezTo>
                    <a:pt x="1366" y="99"/>
                    <a:pt x="1366" y="99"/>
                    <a:pt x="1367" y="99"/>
                  </a:cubicBezTo>
                  <a:cubicBezTo>
                    <a:pt x="1367" y="94"/>
                    <a:pt x="1367" y="90"/>
                    <a:pt x="1367" y="86"/>
                  </a:cubicBezTo>
                  <a:cubicBezTo>
                    <a:pt x="1367" y="82"/>
                    <a:pt x="1367" y="77"/>
                    <a:pt x="1367" y="73"/>
                  </a:cubicBezTo>
                  <a:moveTo>
                    <a:pt x="1366" y="100"/>
                  </a:moveTo>
                  <a:cubicBezTo>
                    <a:pt x="1365" y="112"/>
                    <a:pt x="1364" y="125"/>
                    <a:pt x="1362" y="137"/>
                  </a:cubicBezTo>
                  <a:cubicBezTo>
                    <a:pt x="1362" y="137"/>
                    <a:pt x="1362" y="137"/>
                    <a:pt x="1363" y="137"/>
                  </a:cubicBezTo>
                  <a:cubicBezTo>
                    <a:pt x="1365" y="125"/>
                    <a:pt x="1366" y="112"/>
                    <a:pt x="1367" y="100"/>
                  </a:cubicBezTo>
                  <a:cubicBezTo>
                    <a:pt x="1366" y="100"/>
                    <a:pt x="1366" y="100"/>
                    <a:pt x="1366" y="100"/>
                  </a:cubicBezTo>
                  <a:moveTo>
                    <a:pt x="1361" y="138"/>
                  </a:moveTo>
                  <a:cubicBezTo>
                    <a:pt x="1359" y="151"/>
                    <a:pt x="1356" y="164"/>
                    <a:pt x="1353" y="177"/>
                  </a:cubicBezTo>
                  <a:cubicBezTo>
                    <a:pt x="1353" y="177"/>
                    <a:pt x="1353" y="177"/>
                    <a:pt x="1354" y="177"/>
                  </a:cubicBezTo>
                  <a:cubicBezTo>
                    <a:pt x="1357" y="164"/>
                    <a:pt x="1360" y="151"/>
                    <a:pt x="1362" y="138"/>
                  </a:cubicBezTo>
                  <a:cubicBezTo>
                    <a:pt x="1362" y="138"/>
                    <a:pt x="1362" y="138"/>
                    <a:pt x="1361" y="138"/>
                  </a:cubicBezTo>
                  <a:moveTo>
                    <a:pt x="842" y="143"/>
                  </a:moveTo>
                  <a:cubicBezTo>
                    <a:pt x="823" y="143"/>
                    <a:pt x="803" y="145"/>
                    <a:pt x="784" y="150"/>
                  </a:cubicBezTo>
                  <a:cubicBezTo>
                    <a:pt x="783" y="150"/>
                    <a:pt x="782" y="151"/>
                    <a:pt x="780" y="151"/>
                  </a:cubicBezTo>
                  <a:cubicBezTo>
                    <a:pt x="772" y="153"/>
                    <a:pt x="763" y="156"/>
                    <a:pt x="755" y="159"/>
                  </a:cubicBezTo>
                  <a:cubicBezTo>
                    <a:pt x="755" y="160"/>
                    <a:pt x="754" y="160"/>
                    <a:pt x="753" y="160"/>
                  </a:cubicBezTo>
                  <a:cubicBezTo>
                    <a:pt x="739" y="167"/>
                    <a:pt x="726" y="175"/>
                    <a:pt x="717" y="186"/>
                  </a:cubicBezTo>
                  <a:cubicBezTo>
                    <a:pt x="717" y="186"/>
                    <a:pt x="716" y="186"/>
                    <a:pt x="716" y="186"/>
                  </a:cubicBezTo>
                  <a:cubicBezTo>
                    <a:pt x="708" y="195"/>
                    <a:pt x="703" y="206"/>
                    <a:pt x="701" y="218"/>
                  </a:cubicBezTo>
                  <a:cubicBezTo>
                    <a:pt x="701" y="218"/>
                    <a:pt x="701" y="219"/>
                    <a:pt x="701" y="219"/>
                  </a:cubicBezTo>
                  <a:cubicBezTo>
                    <a:pt x="700" y="222"/>
                    <a:pt x="700" y="226"/>
                    <a:pt x="700" y="229"/>
                  </a:cubicBezTo>
                  <a:cubicBezTo>
                    <a:pt x="700" y="234"/>
                    <a:pt x="700" y="239"/>
                    <a:pt x="701" y="245"/>
                  </a:cubicBezTo>
                  <a:cubicBezTo>
                    <a:pt x="702" y="247"/>
                    <a:pt x="702" y="249"/>
                    <a:pt x="703" y="252"/>
                  </a:cubicBezTo>
                  <a:cubicBezTo>
                    <a:pt x="703" y="252"/>
                    <a:pt x="703" y="253"/>
                    <a:pt x="703" y="253"/>
                  </a:cubicBezTo>
                  <a:cubicBezTo>
                    <a:pt x="704" y="261"/>
                    <a:pt x="705" y="269"/>
                    <a:pt x="705" y="278"/>
                  </a:cubicBezTo>
                  <a:cubicBezTo>
                    <a:pt x="705" y="278"/>
                    <a:pt x="705" y="278"/>
                    <a:pt x="705" y="279"/>
                  </a:cubicBezTo>
                  <a:cubicBezTo>
                    <a:pt x="705" y="280"/>
                    <a:pt x="705" y="280"/>
                    <a:pt x="705" y="281"/>
                  </a:cubicBezTo>
                  <a:cubicBezTo>
                    <a:pt x="705" y="288"/>
                    <a:pt x="705" y="294"/>
                    <a:pt x="704" y="300"/>
                  </a:cubicBezTo>
                  <a:cubicBezTo>
                    <a:pt x="704" y="301"/>
                    <a:pt x="704" y="301"/>
                    <a:pt x="704" y="301"/>
                  </a:cubicBezTo>
                  <a:cubicBezTo>
                    <a:pt x="704" y="305"/>
                    <a:pt x="703" y="309"/>
                    <a:pt x="702" y="313"/>
                  </a:cubicBezTo>
                  <a:cubicBezTo>
                    <a:pt x="702" y="313"/>
                    <a:pt x="702" y="314"/>
                    <a:pt x="702" y="314"/>
                  </a:cubicBezTo>
                  <a:cubicBezTo>
                    <a:pt x="702" y="314"/>
                    <a:pt x="702" y="315"/>
                    <a:pt x="702" y="315"/>
                  </a:cubicBezTo>
                  <a:cubicBezTo>
                    <a:pt x="702" y="316"/>
                    <a:pt x="702" y="316"/>
                    <a:pt x="702" y="316"/>
                  </a:cubicBezTo>
                  <a:cubicBezTo>
                    <a:pt x="702" y="317"/>
                    <a:pt x="701" y="318"/>
                    <a:pt x="701" y="320"/>
                  </a:cubicBezTo>
                  <a:cubicBezTo>
                    <a:pt x="701" y="320"/>
                    <a:pt x="701" y="320"/>
                    <a:pt x="701" y="321"/>
                  </a:cubicBezTo>
                  <a:cubicBezTo>
                    <a:pt x="701" y="321"/>
                    <a:pt x="701" y="322"/>
                    <a:pt x="700" y="323"/>
                  </a:cubicBezTo>
                  <a:cubicBezTo>
                    <a:pt x="700" y="323"/>
                    <a:pt x="700" y="324"/>
                    <a:pt x="700" y="324"/>
                  </a:cubicBezTo>
                  <a:cubicBezTo>
                    <a:pt x="700" y="325"/>
                    <a:pt x="700" y="326"/>
                    <a:pt x="700" y="327"/>
                  </a:cubicBezTo>
                  <a:cubicBezTo>
                    <a:pt x="700" y="327"/>
                    <a:pt x="700" y="327"/>
                    <a:pt x="699" y="328"/>
                  </a:cubicBezTo>
                  <a:cubicBezTo>
                    <a:pt x="699" y="331"/>
                    <a:pt x="698" y="334"/>
                    <a:pt x="697" y="337"/>
                  </a:cubicBezTo>
                  <a:cubicBezTo>
                    <a:pt x="697" y="337"/>
                    <a:pt x="697" y="337"/>
                    <a:pt x="697" y="338"/>
                  </a:cubicBezTo>
                  <a:cubicBezTo>
                    <a:pt x="695" y="344"/>
                    <a:pt x="692" y="351"/>
                    <a:pt x="690" y="358"/>
                  </a:cubicBezTo>
                  <a:cubicBezTo>
                    <a:pt x="690" y="358"/>
                    <a:pt x="689" y="359"/>
                    <a:pt x="689" y="359"/>
                  </a:cubicBezTo>
                  <a:cubicBezTo>
                    <a:pt x="689" y="359"/>
                    <a:pt x="689" y="360"/>
                    <a:pt x="689" y="360"/>
                  </a:cubicBezTo>
                  <a:cubicBezTo>
                    <a:pt x="689" y="360"/>
                    <a:pt x="690" y="360"/>
                    <a:pt x="690" y="360"/>
                  </a:cubicBezTo>
                  <a:cubicBezTo>
                    <a:pt x="690" y="360"/>
                    <a:pt x="690" y="360"/>
                    <a:pt x="690" y="359"/>
                  </a:cubicBezTo>
                  <a:cubicBezTo>
                    <a:pt x="690" y="359"/>
                    <a:pt x="691" y="359"/>
                    <a:pt x="691" y="358"/>
                  </a:cubicBezTo>
                  <a:cubicBezTo>
                    <a:pt x="693" y="352"/>
                    <a:pt x="696" y="345"/>
                    <a:pt x="698" y="338"/>
                  </a:cubicBezTo>
                  <a:cubicBezTo>
                    <a:pt x="698" y="338"/>
                    <a:pt x="698" y="337"/>
                    <a:pt x="698" y="337"/>
                  </a:cubicBezTo>
                  <a:cubicBezTo>
                    <a:pt x="699" y="334"/>
                    <a:pt x="700" y="331"/>
                    <a:pt x="700" y="328"/>
                  </a:cubicBezTo>
                  <a:cubicBezTo>
                    <a:pt x="700" y="328"/>
                    <a:pt x="701" y="327"/>
                    <a:pt x="701" y="327"/>
                  </a:cubicBezTo>
                  <a:cubicBezTo>
                    <a:pt x="701" y="326"/>
                    <a:pt x="701" y="325"/>
                    <a:pt x="701" y="324"/>
                  </a:cubicBezTo>
                  <a:cubicBezTo>
                    <a:pt x="701" y="324"/>
                    <a:pt x="701" y="324"/>
                    <a:pt x="701" y="323"/>
                  </a:cubicBezTo>
                  <a:cubicBezTo>
                    <a:pt x="702" y="323"/>
                    <a:pt x="702" y="322"/>
                    <a:pt x="702" y="321"/>
                  </a:cubicBezTo>
                  <a:cubicBezTo>
                    <a:pt x="702" y="321"/>
                    <a:pt x="702" y="320"/>
                    <a:pt x="702" y="320"/>
                  </a:cubicBezTo>
                  <a:cubicBezTo>
                    <a:pt x="702" y="319"/>
                    <a:pt x="703" y="318"/>
                    <a:pt x="703" y="317"/>
                  </a:cubicBezTo>
                  <a:cubicBezTo>
                    <a:pt x="703" y="316"/>
                    <a:pt x="703" y="316"/>
                    <a:pt x="703" y="316"/>
                  </a:cubicBezTo>
                  <a:cubicBezTo>
                    <a:pt x="703" y="315"/>
                    <a:pt x="703" y="315"/>
                    <a:pt x="703" y="314"/>
                  </a:cubicBezTo>
                  <a:cubicBezTo>
                    <a:pt x="703" y="314"/>
                    <a:pt x="703" y="314"/>
                    <a:pt x="703" y="313"/>
                  </a:cubicBezTo>
                  <a:cubicBezTo>
                    <a:pt x="704" y="309"/>
                    <a:pt x="705" y="306"/>
                    <a:pt x="705" y="302"/>
                  </a:cubicBezTo>
                  <a:cubicBezTo>
                    <a:pt x="705" y="301"/>
                    <a:pt x="705" y="301"/>
                    <a:pt x="705" y="301"/>
                  </a:cubicBezTo>
                  <a:cubicBezTo>
                    <a:pt x="706" y="294"/>
                    <a:pt x="706" y="288"/>
                    <a:pt x="706" y="281"/>
                  </a:cubicBezTo>
                  <a:cubicBezTo>
                    <a:pt x="706" y="281"/>
                    <a:pt x="706" y="280"/>
                    <a:pt x="706" y="279"/>
                  </a:cubicBezTo>
                  <a:cubicBezTo>
                    <a:pt x="706" y="279"/>
                    <a:pt x="706" y="278"/>
                    <a:pt x="706" y="278"/>
                  </a:cubicBezTo>
                  <a:cubicBezTo>
                    <a:pt x="706" y="270"/>
                    <a:pt x="705" y="261"/>
                    <a:pt x="704" y="253"/>
                  </a:cubicBezTo>
                  <a:cubicBezTo>
                    <a:pt x="704" y="253"/>
                    <a:pt x="704" y="252"/>
                    <a:pt x="704" y="252"/>
                  </a:cubicBezTo>
                  <a:cubicBezTo>
                    <a:pt x="703" y="249"/>
                    <a:pt x="703" y="247"/>
                    <a:pt x="702" y="244"/>
                  </a:cubicBezTo>
                  <a:cubicBezTo>
                    <a:pt x="701" y="239"/>
                    <a:pt x="701" y="234"/>
                    <a:pt x="701" y="229"/>
                  </a:cubicBezTo>
                  <a:cubicBezTo>
                    <a:pt x="701" y="226"/>
                    <a:pt x="701" y="222"/>
                    <a:pt x="702" y="219"/>
                  </a:cubicBezTo>
                  <a:cubicBezTo>
                    <a:pt x="702" y="219"/>
                    <a:pt x="702" y="219"/>
                    <a:pt x="702" y="218"/>
                  </a:cubicBezTo>
                  <a:cubicBezTo>
                    <a:pt x="704" y="206"/>
                    <a:pt x="709" y="196"/>
                    <a:pt x="717" y="187"/>
                  </a:cubicBezTo>
                  <a:cubicBezTo>
                    <a:pt x="717" y="186"/>
                    <a:pt x="718" y="186"/>
                    <a:pt x="718" y="186"/>
                  </a:cubicBezTo>
                  <a:cubicBezTo>
                    <a:pt x="725" y="178"/>
                    <a:pt x="735" y="171"/>
                    <a:pt x="746" y="165"/>
                  </a:cubicBezTo>
                  <a:cubicBezTo>
                    <a:pt x="749" y="163"/>
                    <a:pt x="752" y="162"/>
                    <a:pt x="755" y="161"/>
                  </a:cubicBezTo>
                  <a:cubicBezTo>
                    <a:pt x="756" y="160"/>
                    <a:pt x="756" y="160"/>
                    <a:pt x="757" y="160"/>
                  </a:cubicBezTo>
                  <a:cubicBezTo>
                    <a:pt x="766" y="156"/>
                    <a:pt x="775" y="153"/>
                    <a:pt x="784" y="151"/>
                  </a:cubicBezTo>
                  <a:cubicBezTo>
                    <a:pt x="786" y="151"/>
                    <a:pt x="787" y="150"/>
                    <a:pt x="788" y="150"/>
                  </a:cubicBezTo>
                  <a:cubicBezTo>
                    <a:pt x="804" y="146"/>
                    <a:pt x="822" y="144"/>
                    <a:pt x="839" y="144"/>
                  </a:cubicBezTo>
                  <a:cubicBezTo>
                    <a:pt x="840" y="144"/>
                    <a:pt x="841" y="143"/>
                    <a:pt x="842" y="143"/>
                  </a:cubicBezTo>
                  <a:moveTo>
                    <a:pt x="846" y="143"/>
                  </a:moveTo>
                  <a:cubicBezTo>
                    <a:pt x="845" y="143"/>
                    <a:pt x="844" y="144"/>
                    <a:pt x="842" y="144"/>
                  </a:cubicBezTo>
                  <a:cubicBezTo>
                    <a:pt x="843" y="144"/>
                    <a:pt x="843" y="144"/>
                    <a:pt x="843" y="144"/>
                  </a:cubicBezTo>
                  <a:cubicBezTo>
                    <a:pt x="853" y="144"/>
                    <a:pt x="863" y="145"/>
                    <a:pt x="872" y="146"/>
                  </a:cubicBezTo>
                  <a:cubicBezTo>
                    <a:pt x="873" y="145"/>
                    <a:pt x="873" y="145"/>
                    <a:pt x="874" y="145"/>
                  </a:cubicBezTo>
                  <a:cubicBezTo>
                    <a:pt x="865" y="144"/>
                    <a:pt x="856" y="143"/>
                    <a:pt x="846" y="143"/>
                  </a:cubicBezTo>
                  <a:moveTo>
                    <a:pt x="876" y="145"/>
                  </a:moveTo>
                  <a:cubicBezTo>
                    <a:pt x="875" y="145"/>
                    <a:pt x="875" y="146"/>
                    <a:pt x="874" y="146"/>
                  </a:cubicBezTo>
                  <a:cubicBezTo>
                    <a:pt x="885" y="147"/>
                    <a:pt x="896" y="149"/>
                    <a:pt x="906" y="152"/>
                  </a:cubicBezTo>
                  <a:cubicBezTo>
                    <a:pt x="906" y="152"/>
                    <a:pt x="907" y="152"/>
                    <a:pt x="907" y="151"/>
                  </a:cubicBezTo>
                  <a:cubicBezTo>
                    <a:pt x="897" y="149"/>
                    <a:pt x="887" y="146"/>
                    <a:pt x="876" y="145"/>
                  </a:cubicBezTo>
                  <a:moveTo>
                    <a:pt x="908" y="152"/>
                  </a:moveTo>
                  <a:cubicBezTo>
                    <a:pt x="908" y="152"/>
                    <a:pt x="907" y="152"/>
                    <a:pt x="907" y="152"/>
                  </a:cubicBezTo>
                  <a:cubicBezTo>
                    <a:pt x="915" y="155"/>
                    <a:pt x="922" y="157"/>
                    <a:pt x="929" y="161"/>
                  </a:cubicBezTo>
                  <a:cubicBezTo>
                    <a:pt x="933" y="162"/>
                    <a:pt x="937" y="164"/>
                    <a:pt x="940" y="167"/>
                  </a:cubicBezTo>
                  <a:cubicBezTo>
                    <a:pt x="940" y="166"/>
                    <a:pt x="941" y="166"/>
                    <a:pt x="941" y="166"/>
                  </a:cubicBezTo>
                  <a:cubicBezTo>
                    <a:pt x="932" y="160"/>
                    <a:pt x="920" y="155"/>
                    <a:pt x="908" y="152"/>
                  </a:cubicBezTo>
                  <a:moveTo>
                    <a:pt x="1179" y="154"/>
                  </a:moveTo>
                  <a:cubicBezTo>
                    <a:pt x="1178" y="155"/>
                    <a:pt x="1177" y="155"/>
                    <a:pt x="1176" y="155"/>
                  </a:cubicBezTo>
                  <a:cubicBezTo>
                    <a:pt x="1174" y="159"/>
                    <a:pt x="1171" y="162"/>
                    <a:pt x="1169" y="165"/>
                  </a:cubicBezTo>
                  <a:cubicBezTo>
                    <a:pt x="1169" y="165"/>
                    <a:pt x="1170" y="165"/>
                    <a:pt x="1170" y="165"/>
                  </a:cubicBezTo>
                  <a:cubicBezTo>
                    <a:pt x="1173" y="161"/>
                    <a:pt x="1176" y="158"/>
                    <a:pt x="1179" y="154"/>
                  </a:cubicBezTo>
                  <a:moveTo>
                    <a:pt x="1170" y="166"/>
                  </a:moveTo>
                  <a:cubicBezTo>
                    <a:pt x="1169" y="166"/>
                    <a:pt x="1169" y="166"/>
                    <a:pt x="1168" y="166"/>
                  </a:cubicBezTo>
                  <a:cubicBezTo>
                    <a:pt x="1161" y="175"/>
                    <a:pt x="1155" y="184"/>
                    <a:pt x="1148" y="193"/>
                  </a:cubicBezTo>
                  <a:cubicBezTo>
                    <a:pt x="1148" y="193"/>
                    <a:pt x="1149" y="193"/>
                    <a:pt x="1149" y="193"/>
                  </a:cubicBezTo>
                  <a:cubicBezTo>
                    <a:pt x="1156" y="184"/>
                    <a:pt x="1163" y="175"/>
                    <a:pt x="1170" y="166"/>
                  </a:cubicBezTo>
                  <a:moveTo>
                    <a:pt x="942" y="166"/>
                  </a:moveTo>
                  <a:cubicBezTo>
                    <a:pt x="941" y="167"/>
                    <a:pt x="941" y="167"/>
                    <a:pt x="941" y="167"/>
                  </a:cubicBezTo>
                  <a:cubicBezTo>
                    <a:pt x="957" y="177"/>
                    <a:pt x="967" y="191"/>
                    <a:pt x="967" y="208"/>
                  </a:cubicBezTo>
                  <a:cubicBezTo>
                    <a:pt x="967" y="220"/>
                    <a:pt x="962" y="235"/>
                    <a:pt x="949" y="251"/>
                  </a:cubicBezTo>
                  <a:cubicBezTo>
                    <a:pt x="945" y="256"/>
                    <a:pt x="941" y="261"/>
                    <a:pt x="938" y="266"/>
                  </a:cubicBezTo>
                  <a:cubicBezTo>
                    <a:pt x="938" y="266"/>
                    <a:pt x="939" y="265"/>
                    <a:pt x="940" y="265"/>
                  </a:cubicBezTo>
                  <a:cubicBezTo>
                    <a:pt x="943" y="260"/>
                    <a:pt x="946" y="256"/>
                    <a:pt x="950" y="251"/>
                  </a:cubicBezTo>
                  <a:cubicBezTo>
                    <a:pt x="962" y="235"/>
                    <a:pt x="968" y="221"/>
                    <a:pt x="968" y="208"/>
                  </a:cubicBezTo>
                  <a:cubicBezTo>
                    <a:pt x="968" y="191"/>
                    <a:pt x="958" y="177"/>
                    <a:pt x="942" y="166"/>
                  </a:cubicBezTo>
                  <a:moveTo>
                    <a:pt x="1352" y="178"/>
                  </a:moveTo>
                  <a:cubicBezTo>
                    <a:pt x="1348" y="191"/>
                    <a:pt x="1344" y="204"/>
                    <a:pt x="1339" y="217"/>
                  </a:cubicBezTo>
                  <a:cubicBezTo>
                    <a:pt x="1339" y="218"/>
                    <a:pt x="1339" y="218"/>
                    <a:pt x="1340" y="218"/>
                  </a:cubicBezTo>
                  <a:cubicBezTo>
                    <a:pt x="1345" y="205"/>
                    <a:pt x="1349" y="192"/>
                    <a:pt x="1353" y="178"/>
                  </a:cubicBezTo>
                  <a:cubicBezTo>
                    <a:pt x="1353" y="178"/>
                    <a:pt x="1353" y="178"/>
                    <a:pt x="1352" y="178"/>
                  </a:cubicBezTo>
                  <a:moveTo>
                    <a:pt x="1148" y="194"/>
                  </a:moveTo>
                  <a:cubicBezTo>
                    <a:pt x="1148" y="194"/>
                    <a:pt x="1147" y="194"/>
                    <a:pt x="1147" y="194"/>
                  </a:cubicBezTo>
                  <a:cubicBezTo>
                    <a:pt x="1147" y="194"/>
                    <a:pt x="1146" y="195"/>
                    <a:pt x="1145" y="196"/>
                  </a:cubicBezTo>
                  <a:cubicBezTo>
                    <a:pt x="1145" y="196"/>
                    <a:pt x="1144" y="197"/>
                    <a:pt x="1144" y="198"/>
                  </a:cubicBezTo>
                  <a:cubicBezTo>
                    <a:pt x="1138" y="206"/>
                    <a:pt x="1131" y="214"/>
                    <a:pt x="1125" y="222"/>
                  </a:cubicBezTo>
                  <a:cubicBezTo>
                    <a:pt x="1125" y="222"/>
                    <a:pt x="1126" y="222"/>
                    <a:pt x="1126" y="222"/>
                  </a:cubicBezTo>
                  <a:cubicBezTo>
                    <a:pt x="1132" y="215"/>
                    <a:pt x="1138" y="208"/>
                    <a:pt x="1143" y="200"/>
                  </a:cubicBezTo>
                  <a:cubicBezTo>
                    <a:pt x="1144" y="200"/>
                    <a:pt x="1144" y="199"/>
                    <a:pt x="1145" y="198"/>
                  </a:cubicBezTo>
                  <a:cubicBezTo>
                    <a:pt x="1146" y="197"/>
                    <a:pt x="1147" y="195"/>
                    <a:pt x="1148" y="194"/>
                  </a:cubicBezTo>
                  <a:moveTo>
                    <a:pt x="1338" y="218"/>
                  </a:moveTo>
                  <a:cubicBezTo>
                    <a:pt x="1335" y="227"/>
                    <a:pt x="1331" y="235"/>
                    <a:pt x="1327" y="244"/>
                  </a:cubicBezTo>
                  <a:cubicBezTo>
                    <a:pt x="1327" y="244"/>
                    <a:pt x="1327" y="244"/>
                    <a:pt x="1328" y="244"/>
                  </a:cubicBezTo>
                  <a:cubicBezTo>
                    <a:pt x="1332" y="236"/>
                    <a:pt x="1336" y="227"/>
                    <a:pt x="1339" y="219"/>
                  </a:cubicBezTo>
                  <a:cubicBezTo>
                    <a:pt x="1339" y="219"/>
                    <a:pt x="1339" y="218"/>
                    <a:pt x="1338" y="218"/>
                  </a:cubicBezTo>
                  <a:moveTo>
                    <a:pt x="1125" y="223"/>
                  </a:moveTo>
                  <a:cubicBezTo>
                    <a:pt x="1125" y="223"/>
                    <a:pt x="1125" y="223"/>
                    <a:pt x="1124" y="223"/>
                  </a:cubicBezTo>
                  <a:cubicBezTo>
                    <a:pt x="1122" y="226"/>
                    <a:pt x="1119" y="229"/>
                    <a:pt x="1117" y="232"/>
                  </a:cubicBezTo>
                  <a:cubicBezTo>
                    <a:pt x="1117" y="233"/>
                    <a:pt x="1117" y="233"/>
                    <a:pt x="1117" y="234"/>
                  </a:cubicBezTo>
                  <a:cubicBezTo>
                    <a:pt x="1120" y="230"/>
                    <a:pt x="1123" y="227"/>
                    <a:pt x="1125" y="223"/>
                  </a:cubicBezTo>
                  <a:moveTo>
                    <a:pt x="1115" y="234"/>
                  </a:moveTo>
                  <a:cubicBezTo>
                    <a:pt x="1115" y="235"/>
                    <a:pt x="1114" y="236"/>
                    <a:pt x="1114" y="236"/>
                  </a:cubicBezTo>
                  <a:cubicBezTo>
                    <a:pt x="1114" y="237"/>
                    <a:pt x="1113" y="238"/>
                    <a:pt x="1113" y="238"/>
                  </a:cubicBezTo>
                  <a:cubicBezTo>
                    <a:pt x="1113" y="238"/>
                    <a:pt x="1113" y="239"/>
                    <a:pt x="1113" y="239"/>
                  </a:cubicBezTo>
                  <a:cubicBezTo>
                    <a:pt x="1114" y="238"/>
                    <a:pt x="1115" y="237"/>
                    <a:pt x="1116" y="236"/>
                  </a:cubicBezTo>
                  <a:cubicBezTo>
                    <a:pt x="1116" y="235"/>
                    <a:pt x="1115" y="235"/>
                    <a:pt x="1115" y="234"/>
                  </a:cubicBezTo>
                  <a:moveTo>
                    <a:pt x="1112" y="239"/>
                  </a:moveTo>
                  <a:cubicBezTo>
                    <a:pt x="1109" y="243"/>
                    <a:pt x="1106" y="247"/>
                    <a:pt x="1102" y="251"/>
                  </a:cubicBezTo>
                  <a:cubicBezTo>
                    <a:pt x="1102" y="251"/>
                    <a:pt x="1103" y="252"/>
                    <a:pt x="1103" y="252"/>
                  </a:cubicBezTo>
                  <a:cubicBezTo>
                    <a:pt x="1106" y="248"/>
                    <a:pt x="1108" y="245"/>
                    <a:pt x="1111" y="241"/>
                  </a:cubicBezTo>
                  <a:cubicBezTo>
                    <a:pt x="1111" y="240"/>
                    <a:pt x="1112" y="240"/>
                    <a:pt x="1112" y="239"/>
                  </a:cubicBezTo>
                  <a:moveTo>
                    <a:pt x="1326" y="245"/>
                  </a:moveTo>
                  <a:cubicBezTo>
                    <a:pt x="1319" y="260"/>
                    <a:pt x="1310" y="275"/>
                    <a:pt x="1301" y="290"/>
                  </a:cubicBezTo>
                  <a:cubicBezTo>
                    <a:pt x="1301" y="291"/>
                    <a:pt x="1301" y="291"/>
                    <a:pt x="1302" y="291"/>
                  </a:cubicBezTo>
                  <a:cubicBezTo>
                    <a:pt x="1311" y="276"/>
                    <a:pt x="1320" y="260"/>
                    <a:pt x="1327" y="245"/>
                  </a:cubicBezTo>
                  <a:cubicBezTo>
                    <a:pt x="1327" y="245"/>
                    <a:pt x="1327" y="245"/>
                    <a:pt x="1326" y="245"/>
                  </a:cubicBezTo>
                  <a:moveTo>
                    <a:pt x="1102" y="252"/>
                  </a:moveTo>
                  <a:cubicBezTo>
                    <a:pt x="1102" y="252"/>
                    <a:pt x="1101" y="252"/>
                    <a:pt x="1101" y="252"/>
                  </a:cubicBezTo>
                  <a:cubicBezTo>
                    <a:pt x="1101" y="252"/>
                    <a:pt x="1102" y="252"/>
                    <a:pt x="1102" y="252"/>
                  </a:cubicBezTo>
                  <a:cubicBezTo>
                    <a:pt x="1102" y="252"/>
                    <a:pt x="1102" y="252"/>
                    <a:pt x="1102" y="252"/>
                  </a:cubicBezTo>
                  <a:moveTo>
                    <a:pt x="1100" y="253"/>
                  </a:moveTo>
                  <a:cubicBezTo>
                    <a:pt x="1095" y="260"/>
                    <a:pt x="1090" y="266"/>
                    <a:pt x="1085" y="273"/>
                  </a:cubicBezTo>
                  <a:cubicBezTo>
                    <a:pt x="1085" y="273"/>
                    <a:pt x="1085" y="273"/>
                    <a:pt x="1085" y="273"/>
                  </a:cubicBezTo>
                  <a:cubicBezTo>
                    <a:pt x="1091" y="267"/>
                    <a:pt x="1096" y="260"/>
                    <a:pt x="1102" y="253"/>
                  </a:cubicBezTo>
                  <a:cubicBezTo>
                    <a:pt x="1101" y="253"/>
                    <a:pt x="1101" y="253"/>
                    <a:pt x="1100" y="253"/>
                  </a:cubicBezTo>
                  <a:moveTo>
                    <a:pt x="937" y="268"/>
                  </a:moveTo>
                  <a:cubicBezTo>
                    <a:pt x="937" y="268"/>
                    <a:pt x="936" y="268"/>
                    <a:pt x="936" y="268"/>
                  </a:cubicBezTo>
                  <a:cubicBezTo>
                    <a:pt x="931" y="275"/>
                    <a:pt x="927" y="281"/>
                    <a:pt x="923" y="288"/>
                  </a:cubicBezTo>
                  <a:cubicBezTo>
                    <a:pt x="923" y="288"/>
                    <a:pt x="924" y="287"/>
                    <a:pt x="924" y="287"/>
                  </a:cubicBezTo>
                  <a:cubicBezTo>
                    <a:pt x="928" y="281"/>
                    <a:pt x="932" y="275"/>
                    <a:pt x="937" y="268"/>
                  </a:cubicBezTo>
                  <a:moveTo>
                    <a:pt x="1084" y="273"/>
                  </a:moveTo>
                  <a:cubicBezTo>
                    <a:pt x="1083" y="275"/>
                    <a:pt x="1081" y="277"/>
                    <a:pt x="1080" y="278"/>
                  </a:cubicBezTo>
                  <a:cubicBezTo>
                    <a:pt x="1080" y="279"/>
                    <a:pt x="1080" y="279"/>
                    <a:pt x="1080" y="279"/>
                  </a:cubicBezTo>
                  <a:cubicBezTo>
                    <a:pt x="1082" y="278"/>
                    <a:pt x="1083" y="276"/>
                    <a:pt x="1085" y="274"/>
                  </a:cubicBezTo>
                  <a:cubicBezTo>
                    <a:pt x="1084" y="274"/>
                    <a:pt x="1084" y="274"/>
                    <a:pt x="1084" y="273"/>
                  </a:cubicBezTo>
                  <a:moveTo>
                    <a:pt x="1079" y="279"/>
                  </a:moveTo>
                  <a:cubicBezTo>
                    <a:pt x="1078" y="281"/>
                    <a:pt x="1077" y="282"/>
                    <a:pt x="1075" y="283"/>
                  </a:cubicBezTo>
                  <a:cubicBezTo>
                    <a:pt x="1076" y="283"/>
                    <a:pt x="1076" y="284"/>
                    <a:pt x="1077" y="284"/>
                  </a:cubicBezTo>
                  <a:cubicBezTo>
                    <a:pt x="1078" y="282"/>
                    <a:pt x="1079" y="281"/>
                    <a:pt x="1080" y="280"/>
                  </a:cubicBezTo>
                  <a:cubicBezTo>
                    <a:pt x="1080" y="280"/>
                    <a:pt x="1079" y="279"/>
                    <a:pt x="1079" y="279"/>
                  </a:cubicBezTo>
                  <a:moveTo>
                    <a:pt x="1075" y="284"/>
                  </a:moveTo>
                  <a:cubicBezTo>
                    <a:pt x="1071" y="288"/>
                    <a:pt x="1068" y="292"/>
                    <a:pt x="1065" y="296"/>
                  </a:cubicBezTo>
                  <a:cubicBezTo>
                    <a:pt x="1065" y="296"/>
                    <a:pt x="1066" y="296"/>
                    <a:pt x="1066" y="296"/>
                  </a:cubicBezTo>
                  <a:cubicBezTo>
                    <a:pt x="1069" y="292"/>
                    <a:pt x="1073" y="288"/>
                    <a:pt x="1076" y="284"/>
                  </a:cubicBezTo>
                  <a:cubicBezTo>
                    <a:pt x="1076" y="284"/>
                    <a:pt x="1075" y="284"/>
                    <a:pt x="1075" y="284"/>
                  </a:cubicBezTo>
                  <a:moveTo>
                    <a:pt x="923" y="289"/>
                  </a:moveTo>
                  <a:cubicBezTo>
                    <a:pt x="923" y="289"/>
                    <a:pt x="923" y="289"/>
                    <a:pt x="922" y="289"/>
                  </a:cubicBezTo>
                  <a:cubicBezTo>
                    <a:pt x="916" y="298"/>
                    <a:pt x="912" y="306"/>
                    <a:pt x="908" y="314"/>
                  </a:cubicBezTo>
                  <a:cubicBezTo>
                    <a:pt x="908" y="314"/>
                    <a:pt x="909" y="314"/>
                    <a:pt x="909" y="314"/>
                  </a:cubicBezTo>
                  <a:cubicBezTo>
                    <a:pt x="913" y="306"/>
                    <a:pt x="918" y="298"/>
                    <a:pt x="923" y="289"/>
                  </a:cubicBezTo>
                  <a:moveTo>
                    <a:pt x="1300" y="291"/>
                  </a:moveTo>
                  <a:cubicBezTo>
                    <a:pt x="1290" y="308"/>
                    <a:pt x="1278" y="324"/>
                    <a:pt x="1265" y="340"/>
                  </a:cubicBezTo>
                  <a:cubicBezTo>
                    <a:pt x="1266" y="341"/>
                    <a:pt x="1266" y="341"/>
                    <a:pt x="1266" y="341"/>
                  </a:cubicBezTo>
                  <a:cubicBezTo>
                    <a:pt x="1279" y="325"/>
                    <a:pt x="1291" y="309"/>
                    <a:pt x="1301" y="292"/>
                  </a:cubicBezTo>
                  <a:cubicBezTo>
                    <a:pt x="1301" y="292"/>
                    <a:pt x="1301" y="291"/>
                    <a:pt x="1300" y="291"/>
                  </a:cubicBezTo>
                  <a:moveTo>
                    <a:pt x="1064" y="296"/>
                  </a:moveTo>
                  <a:cubicBezTo>
                    <a:pt x="1061" y="300"/>
                    <a:pt x="1057" y="304"/>
                    <a:pt x="1054" y="308"/>
                  </a:cubicBezTo>
                  <a:cubicBezTo>
                    <a:pt x="1054" y="309"/>
                    <a:pt x="1053" y="310"/>
                    <a:pt x="1053" y="310"/>
                  </a:cubicBezTo>
                  <a:cubicBezTo>
                    <a:pt x="1057" y="306"/>
                    <a:pt x="1061" y="301"/>
                    <a:pt x="1065" y="297"/>
                  </a:cubicBezTo>
                  <a:cubicBezTo>
                    <a:pt x="1065" y="297"/>
                    <a:pt x="1065" y="296"/>
                    <a:pt x="1064" y="296"/>
                  </a:cubicBezTo>
                  <a:moveTo>
                    <a:pt x="1052" y="310"/>
                  </a:moveTo>
                  <a:cubicBezTo>
                    <a:pt x="1051" y="311"/>
                    <a:pt x="1050" y="312"/>
                    <a:pt x="1049" y="313"/>
                  </a:cubicBezTo>
                  <a:cubicBezTo>
                    <a:pt x="1050" y="313"/>
                    <a:pt x="1050" y="313"/>
                    <a:pt x="1050" y="313"/>
                  </a:cubicBezTo>
                  <a:cubicBezTo>
                    <a:pt x="1051" y="313"/>
                    <a:pt x="1051" y="313"/>
                    <a:pt x="1051" y="312"/>
                  </a:cubicBezTo>
                  <a:cubicBezTo>
                    <a:pt x="1052" y="311"/>
                    <a:pt x="1052" y="311"/>
                    <a:pt x="1052" y="310"/>
                  </a:cubicBezTo>
                  <a:moveTo>
                    <a:pt x="1049" y="314"/>
                  </a:moveTo>
                  <a:cubicBezTo>
                    <a:pt x="1047" y="315"/>
                    <a:pt x="1045" y="317"/>
                    <a:pt x="1043" y="319"/>
                  </a:cubicBezTo>
                  <a:cubicBezTo>
                    <a:pt x="1044" y="319"/>
                    <a:pt x="1044" y="319"/>
                    <a:pt x="1044" y="319"/>
                  </a:cubicBezTo>
                  <a:cubicBezTo>
                    <a:pt x="1046" y="318"/>
                    <a:pt x="1048" y="316"/>
                    <a:pt x="1050" y="314"/>
                  </a:cubicBezTo>
                  <a:cubicBezTo>
                    <a:pt x="1049" y="314"/>
                    <a:pt x="1049" y="314"/>
                    <a:pt x="1049" y="314"/>
                  </a:cubicBezTo>
                  <a:moveTo>
                    <a:pt x="909" y="315"/>
                  </a:moveTo>
                  <a:cubicBezTo>
                    <a:pt x="908" y="315"/>
                    <a:pt x="908" y="315"/>
                    <a:pt x="907" y="315"/>
                  </a:cubicBezTo>
                  <a:cubicBezTo>
                    <a:pt x="902" y="326"/>
                    <a:pt x="899" y="335"/>
                    <a:pt x="898" y="343"/>
                  </a:cubicBezTo>
                  <a:cubicBezTo>
                    <a:pt x="898" y="343"/>
                    <a:pt x="898" y="343"/>
                    <a:pt x="899" y="343"/>
                  </a:cubicBezTo>
                  <a:cubicBezTo>
                    <a:pt x="900" y="335"/>
                    <a:pt x="903" y="326"/>
                    <a:pt x="909" y="315"/>
                  </a:cubicBezTo>
                  <a:moveTo>
                    <a:pt x="1042" y="321"/>
                  </a:moveTo>
                  <a:cubicBezTo>
                    <a:pt x="1042" y="321"/>
                    <a:pt x="1041" y="322"/>
                    <a:pt x="1041" y="322"/>
                  </a:cubicBezTo>
                  <a:cubicBezTo>
                    <a:pt x="1035" y="328"/>
                    <a:pt x="1029" y="333"/>
                    <a:pt x="1024" y="339"/>
                  </a:cubicBezTo>
                  <a:cubicBezTo>
                    <a:pt x="1024" y="339"/>
                    <a:pt x="1025" y="339"/>
                    <a:pt x="1025" y="338"/>
                  </a:cubicBezTo>
                  <a:cubicBezTo>
                    <a:pt x="1030" y="334"/>
                    <a:pt x="1035" y="330"/>
                    <a:pt x="1039" y="325"/>
                  </a:cubicBezTo>
                  <a:cubicBezTo>
                    <a:pt x="1040" y="324"/>
                    <a:pt x="1041" y="323"/>
                    <a:pt x="1041" y="323"/>
                  </a:cubicBezTo>
                  <a:cubicBezTo>
                    <a:pt x="1042" y="322"/>
                    <a:pt x="1043" y="321"/>
                    <a:pt x="1043" y="321"/>
                  </a:cubicBezTo>
                  <a:cubicBezTo>
                    <a:pt x="1043" y="321"/>
                    <a:pt x="1042" y="321"/>
                    <a:pt x="1042" y="321"/>
                  </a:cubicBezTo>
                  <a:moveTo>
                    <a:pt x="1024" y="340"/>
                  </a:moveTo>
                  <a:cubicBezTo>
                    <a:pt x="1024" y="340"/>
                    <a:pt x="1023" y="340"/>
                    <a:pt x="1023" y="340"/>
                  </a:cubicBezTo>
                  <a:cubicBezTo>
                    <a:pt x="1021" y="341"/>
                    <a:pt x="1019" y="343"/>
                    <a:pt x="1018" y="344"/>
                  </a:cubicBezTo>
                  <a:cubicBezTo>
                    <a:pt x="1018" y="344"/>
                    <a:pt x="1018" y="344"/>
                    <a:pt x="1019" y="344"/>
                  </a:cubicBezTo>
                  <a:cubicBezTo>
                    <a:pt x="1019" y="344"/>
                    <a:pt x="1019" y="344"/>
                    <a:pt x="1019" y="344"/>
                  </a:cubicBezTo>
                  <a:cubicBezTo>
                    <a:pt x="1021" y="343"/>
                    <a:pt x="1022" y="341"/>
                    <a:pt x="1024" y="340"/>
                  </a:cubicBezTo>
                  <a:moveTo>
                    <a:pt x="1265" y="341"/>
                  </a:moveTo>
                  <a:cubicBezTo>
                    <a:pt x="1250" y="359"/>
                    <a:pt x="1235" y="376"/>
                    <a:pt x="1218" y="393"/>
                  </a:cubicBezTo>
                  <a:cubicBezTo>
                    <a:pt x="1218" y="393"/>
                    <a:pt x="1218" y="394"/>
                    <a:pt x="1219" y="394"/>
                  </a:cubicBezTo>
                  <a:cubicBezTo>
                    <a:pt x="1235" y="377"/>
                    <a:pt x="1251" y="360"/>
                    <a:pt x="1265" y="342"/>
                  </a:cubicBezTo>
                  <a:cubicBezTo>
                    <a:pt x="1265" y="342"/>
                    <a:pt x="1265" y="341"/>
                    <a:pt x="1265" y="341"/>
                  </a:cubicBezTo>
                  <a:moveTo>
                    <a:pt x="897" y="344"/>
                  </a:moveTo>
                  <a:cubicBezTo>
                    <a:pt x="897" y="348"/>
                    <a:pt x="897" y="351"/>
                    <a:pt x="897" y="354"/>
                  </a:cubicBezTo>
                  <a:cubicBezTo>
                    <a:pt x="897" y="361"/>
                    <a:pt x="898" y="366"/>
                    <a:pt x="900" y="370"/>
                  </a:cubicBezTo>
                  <a:cubicBezTo>
                    <a:pt x="900" y="370"/>
                    <a:pt x="901" y="370"/>
                    <a:pt x="901" y="369"/>
                  </a:cubicBezTo>
                  <a:cubicBezTo>
                    <a:pt x="899" y="365"/>
                    <a:pt x="898" y="360"/>
                    <a:pt x="898" y="354"/>
                  </a:cubicBezTo>
                  <a:cubicBezTo>
                    <a:pt x="898" y="351"/>
                    <a:pt x="898" y="348"/>
                    <a:pt x="898" y="344"/>
                  </a:cubicBezTo>
                  <a:cubicBezTo>
                    <a:pt x="898" y="344"/>
                    <a:pt x="898" y="344"/>
                    <a:pt x="897" y="344"/>
                  </a:cubicBezTo>
                  <a:moveTo>
                    <a:pt x="1018" y="345"/>
                  </a:moveTo>
                  <a:cubicBezTo>
                    <a:pt x="1018" y="345"/>
                    <a:pt x="1017" y="345"/>
                    <a:pt x="1017" y="345"/>
                  </a:cubicBezTo>
                  <a:cubicBezTo>
                    <a:pt x="1014" y="347"/>
                    <a:pt x="1012" y="349"/>
                    <a:pt x="1009" y="351"/>
                  </a:cubicBezTo>
                  <a:cubicBezTo>
                    <a:pt x="1010" y="351"/>
                    <a:pt x="1010" y="351"/>
                    <a:pt x="1011" y="351"/>
                  </a:cubicBezTo>
                  <a:cubicBezTo>
                    <a:pt x="1013" y="349"/>
                    <a:pt x="1016" y="347"/>
                    <a:pt x="1018" y="345"/>
                  </a:cubicBezTo>
                  <a:moveTo>
                    <a:pt x="1008" y="352"/>
                  </a:moveTo>
                  <a:cubicBezTo>
                    <a:pt x="1006" y="354"/>
                    <a:pt x="1004" y="355"/>
                    <a:pt x="1002" y="357"/>
                  </a:cubicBezTo>
                  <a:cubicBezTo>
                    <a:pt x="1003" y="356"/>
                    <a:pt x="1004" y="356"/>
                    <a:pt x="1005" y="356"/>
                  </a:cubicBezTo>
                  <a:cubicBezTo>
                    <a:pt x="1006" y="355"/>
                    <a:pt x="1008" y="353"/>
                    <a:pt x="1010" y="352"/>
                  </a:cubicBezTo>
                  <a:cubicBezTo>
                    <a:pt x="1009" y="352"/>
                    <a:pt x="1009" y="352"/>
                    <a:pt x="1008" y="352"/>
                  </a:cubicBezTo>
                  <a:moveTo>
                    <a:pt x="1002" y="358"/>
                  </a:moveTo>
                  <a:cubicBezTo>
                    <a:pt x="1001" y="358"/>
                    <a:pt x="1000" y="358"/>
                    <a:pt x="1000" y="359"/>
                  </a:cubicBezTo>
                  <a:cubicBezTo>
                    <a:pt x="995" y="362"/>
                    <a:pt x="990" y="365"/>
                    <a:pt x="986" y="367"/>
                  </a:cubicBezTo>
                  <a:cubicBezTo>
                    <a:pt x="983" y="369"/>
                    <a:pt x="980" y="371"/>
                    <a:pt x="976" y="372"/>
                  </a:cubicBezTo>
                  <a:cubicBezTo>
                    <a:pt x="976" y="372"/>
                    <a:pt x="976" y="373"/>
                    <a:pt x="976" y="373"/>
                  </a:cubicBezTo>
                  <a:cubicBezTo>
                    <a:pt x="980" y="372"/>
                    <a:pt x="983" y="370"/>
                    <a:pt x="986" y="368"/>
                  </a:cubicBezTo>
                  <a:cubicBezTo>
                    <a:pt x="992" y="365"/>
                    <a:pt x="997" y="362"/>
                    <a:pt x="1002" y="358"/>
                  </a:cubicBezTo>
                  <a:moveTo>
                    <a:pt x="689" y="362"/>
                  </a:moveTo>
                  <a:cubicBezTo>
                    <a:pt x="689" y="362"/>
                    <a:pt x="688" y="363"/>
                    <a:pt x="688" y="363"/>
                  </a:cubicBezTo>
                  <a:cubicBezTo>
                    <a:pt x="686" y="368"/>
                    <a:pt x="683" y="373"/>
                    <a:pt x="681" y="378"/>
                  </a:cubicBezTo>
                  <a:cubicBezTo>
                    <a:pt x="680" y="379"/>
                    <a:pt x="680" y="379"/>
                    <a:pt x="680" y="379"/>
                  </a:cubicBezTo>
                  <a:cubicBezTo>
                    <a:pt x="680" y="380"/>
                    <a:pt x="680" y="380"/>
                    <a:pt x="679" y="381"/>
                  </a:cubicBezTo>
                  <a:cubicBezTo>
                    <a:pt x="680" y="381"/>
                    <a:pt x="680" y="381"/>
                    <a:pt x="681" y="381"/>
                  </a:cubicBezTo>
                  <a:cubicBezTo>
                    <a:pt x="681" y="380"/>
                    <a:pt x="681" y="380"/>
                    <a:pt x="681" y="380"/>
                  </a:cubicBezTo>
                  <a:cubicBezTo>
                    <a:pt x="681" y="379"/>
                    <a:pt x="681" y="379"/>
                    <a:pt x="681" y="379"/>
                  </a:cubicBezTo>
                  <a:cubicBezTo>
                    <a:pt x="684" y="373"/>
                    <a:pt x="687" y="368"/>
                    <a:pt x="689" y="362"/>
                  </a:cubicBezTo>
                  <a:moveTo>
                    <a:pt x="901" y="370"/>
                  </a:moveTo>
                  <a:cubicBezTo>
                    <a:pt x="901" y="371"/>
                    <a:pt x="901" y="371"/>
                    <a:pt x="901" y="371"/>
                  </a:cubicBezTo>
                  <a:cubicBezTo>
                    <a:pt x="901" y="372"/>
                    <a:pt x="902" y="373"/>
                    <a:pt x="903" y="374"/>
                  </a:cubicBezTo>
                  <a:cubicBezTo>
                    <a:pt x="903" y="374"/>
                    <a:pt x="903" y="374"/>
                    <a:pt x="904" y="374"/>
                  </a:cubicBezTo>
                  <a:cubicBezTo>
                    <a:pt x="903" y="373"/>
                    <a:pt x="902" y="372"/>
                    <a:pt x="901" y="370"/>
                  </a:cubicBezTo>
                  <a:moveTo>
                    <a:pt x="975" y="373"/>
                  </a:moveTo>
                  <a:cubicBezTo>
                    <a:pt x="970" y="375"/>
                    <a:pt x="965" y="377"/>
                    <a:pt x="961" y="378"/>
                  </a:cubicBezTo>
                  <a:cubicBezTo>
                    <a:pt x="960" y="379"/>
                    <a:pt x="959" y="379"/>
                    <a:pt x="958" y="379"/>
                  </a:cubicBezTo>
                  <a:cubicBezTo>
                    <a:pt x="958" y="379"/>
                    <a:pt x="957" y="379"/>
                    <a:pt x="957" y="379"/>
                  </a:cubicBezTo>
                  <a:cubicBezTo>
                    <a:pt x="958" y="380"/>
                    <a:pt x="959" y="380"/>
                    <a:pt x="960" y="380"/>
                  </a:cubicBezTo>
                  <a:cubicBezTo>
                    <a:pt x="965" y="378"/>
                    <a:pt x="970" y="376"/>
                    <a:pt x="975" y="374"/>
                  </a:cubicBezTo>
                  <a:cubicBezTo>
                    <a:pt x="975" y="373"/>
                    <a:pt x="975" y="373"/>
                    <a:pt x="975" y="373"/>
                  </a:cubicBezTo>
                  <a:moveTo>
                    <a:pt x="903" y="375"/>
                  </a:moveTo>
                  <a:cubicBezTo>
                    <a:pt x="904" y="376"/>
                    <a:pt x="905" y="376"/>
                    <a:pt x="905" y="377"/>
                  </a:cubicBezTo>
                  <a:cubicBezTo>
                    <a:pt x="905" y="376"/>
                    <a:pt x="906" y="376"/>
                    <a:pt x="906" y="376"/>
                  </a:cubicBezTo>
                  <a:cubicBezTo>
                    <a:pt x="905" y="376"/>
                    <a:pt x="905" y="375"/>
                    <a:pt x="905" y="375"/>
                  </a:cubicBezTo>
                  <a:cubicBezTo>
                    <a:pt x="904" y="375"/>
                    <a:pt x="904" y="375"/>
                    <a:pt x="903" y="375"/>
                  </a:cubicBezTo>
                  <a:moveTo>
                    <a:pt x="907" y="377"/>
                  </a:moveTo>
                  <a:cubicBezTo>
                    <a:pt x="906" y="377"/>
                    <a:pt x="906" y="377"/>
                    <a:pt x="906" y="377"/>
                  </a:cubicBezTo>
                  <a:cubicBezTo>
                    <a:pt x="907" y="378"/>
                    <a:pt x="909" y="380"/>
                    <a:pt x="910" y="380"/>
                  </a:cubicBezTo>
                  <a:cubicBezTo>
                    <a:pt x="911" y="380"/>
                    <a:pt x="911" y="380"/>
                    <a:pt x="911" y="380"/>
                  </a:cubicBezTo>
                  <a:cubicBezTo>
                    <a:pt x="909" y="379"/>
                    <a:pt x="908" y="378"/>
                    <a:pt x="907" y="377"/>
                  </a:cubicBezTo>
                  <a:moveTo>
                    <a:pt x="912" y="380"/>
                  </a:moveTo>
                  <a:cubicBezTo>
                    <a:pt x="912" y="380"/>
                    <a:pt x="911" y="381"/>
                    <a:pt x="911" y="381"/>
                  </a:cubicBezTo>
                  <a:cubicBezTo>
                    <a:pt x="912" y="381"/>
                    <a:pt x="912" y="381"/>
                    <a:pt x="912" y="381"/>
                  </a:cubicBezTo>
                  <a:cubicBezTo>
                    <a:pt x="912" y="381"/>
                    <a:pt x="912" y="381"/>
                    <a:pt x="912" y="380"/>
                  </a:cubicBezTo>
                  <a:cubicBezTo>
                    <a:pt x="912" y="380"/>
                    <a:pt x="912" y="380"/>
                    <a:pt x="912" y="380"/>
                  </a:cubicBezTo>
                  <a:moveTo>
                    <a:pt x="955" y="380"/>
                  </a:moveTo>
                  <a:cubicBezTo>
                    <a:pt x="951" y="381"/>
                    <a:pt x="947" y="382"/>
                    <a:pt x="943" y="383"/>
                  </a:cubicBezTo>
                  <a:cubicBezTo>
                    <a:pt x="942" y="383"/>
                    <a:pt x="942" y="383"/>
                    <a:pt x="941" y="383"/>
                  </a:cubicBezTo>
                  <a:cubicBezTo>
                    <a:pt x="938" y="384"/>
                    <a:pt x="934" y="384"/>
                    <a:pt x="931" y="384"/>
                  </a:cubicBezTo>
                  <a:cubicBezTo>
                    <a:pt x="931" y="384"/>
                    <a:pt x="931" y="384"/>
                    <a:pt x="931" y="384"/>
                  </a:cubicBezTo>
                  <a:cubicBezTo>
                    <a:pt x="931" y="384"/>
                    <a:pt x="931" y="384"/>
                    <a:pt x="931" y="384"/>
                  </a:cubicBezTo>
                  <a:cubicBezTo>
                    <a:pt x="930" y="384"/>
                    <a:pt x="930" y="385"/>
                    <a:pt x="930" y="385"/>
                  </a:cubicBezTo>
                  <a:cubicBezTo>
                    <a:pt x="930" y="385"/>
                    <a:pt x="930" y="385"/>
                    <a:pt x="931" y="385"/>
                  </a:cubicBezTo>
                  <a:cubicBezTo>
                    <a:pt x="934" y="385"/>
                    <a:pt x="937" y="385"/>
                    <a:pt x="940" y="384"/>
                  </a:cubicBezTo>
                  <a:cubicBezTo>
                    <a:pt x="941" y="384"/>
                    <a:pt x="941" y="384"/>
                    <a:pt x="942" y="384"/>
                  </a:cubicBezTo>
                  <a:cubicBezTo>
                    <a:pt x="946" y="383"/>
                    <a:pt x="951" y="382"/>
                    <a:pt x="955" y="381"/>
                  </a:cubicBezTo>
                  <a:cubicBezTo>
                    <a:pt x="956" y="381"/>
                    <a:pt x="957" y="381"/>
                    <a:pt x="958" y="380"/>
                  </a:cubicBezTo>
                  <a:cubicBezTo>
                    <a:pt x="957" y="380"/>
                    <a:pt x="956" y="380"/>
                    <a:pt x="955" y="380"/>
                  </a:cubicBezTo>
                  <a:moveTo>
                    <a:pt x="913" y="381"/>
                  </a:moveTo>
                  <a:cubicBezTo>
                    <a:pt x="913" y="381"/>
                    <a:pt x="913" y="381"/>
                    <a:pt x="913" y="382"/>
                  </a:cubicBezTo>
                  <a:cubicBezTo>
                    <a:pt x="915" y="383"/>
                    <a:pt x="917" y="383"/>
                    <a:pt x="920" y="384"/>
                  </a:cubicBezTo>
                  <a:cubicBezTo>
                    <a:pt x="920" y="384"/>
                    <a:pt x="920" y="383"/>
                    <a:pt x="920" y="383"/>
                  </a:cubicBezTo>
                  <a:cubicBezTo>
                    <a:pt x="918" y="382"/>
                    <a:pt x="915" y="382"/>
                    <a:pt x="913" y="381"/>
                  </a:cubicBezTo>
                  <a:moveTo>
                    <a:pt x="680" y="382"/>
                  </a:moveTo>
                  <a:cubicBezTo>
                    <a:pt x="680" y="382"/>
                    <a:pt x="679" y="382"/>
                    <a:pt x="679" y="382"/>
                  </a:cubicBezTo>
                  <a:cubicBezTo>
                    <a:pt x="676" y="387"/>
                    <a:pt x="673" y="393"/>
                    <a:pt x="669" y="398"/>
                  </a:cubicBezTo>
                  <a:cubicBezTo>
                    <a:pt x="669" y="398"/>
                    <a:pt x="669" y="398"/>
                    <a:pt x="669" y="399"/>
                  </a:cubicBezTo>
                  <a:cubicBezTo>
                    <a:pt x="662" y="410"/>
                    <a:pt x="655" y="420"/>
                    <a:pt x="646" y="430"/>
                  </a:cubicBezTo>
                  <a:cubicBezTo>
                    <a:pt x="646" y="431"/>
                    <a:pt x="646" y="431"/>
                    <a:pt x="646" y="432"/>
                  </a:cubicBezTo>
                  <a:cubicBezTo>
                    <a:pt x="655" y="421"/>
                    <a:pt x="663" y="411"/>
                    <a:pt x="670" y="399"/>
                  </a:cubicBezTo>
                  <a:cubicBezTo>
                    <a:pt x="670" y="399"/>
                    <a:pt x="670" y="399"/>
                    <a:pt x="670" y="398"/>
                  </a:cubicBezTo>
                  <a:cubicBezTo>
                    <a:pt x="674" y="393"/>
                    <a:pt x="677" y="387"/>
                    <a:pt x="680" y="382"/>
                  </a:cubicBezTo>
                  <a:moveTo>
                    <a:pt x="922" y="383"/>
                  </a:moveTo>
                  <a:cubicBezTo>
                    <a:pt x="922" y="384"/>
                    <a:pt x="921" y="384"/>
                    <a:pt x="921" y="384"/>
                  </a:cubicBezTo>
                  <a:cubicBezTo>
                    <a:pt x="921" y="384"/>
                    <a:pt x="921" y="384"/>
                    <a:pt x="921" y="384"/>
                  </a:cubicBezTo>
                  <a:cubicBezTo>
                    <a:pt x="922" y="384"/>
                    <a:pt x="922" y="384"/>
                    <a:pt x="923" y="384"/>
                  </a:cubicBezTo>
                  <a:cubicBezTo>
                    <a:pt x="923" y="384"/>
                    <a:pt x="924" y="385"/>
                    <a:pt x="925" y="385"/>
                  </a:cubicBezTo>
                  <a:cubicBezTo>
                    <a:pt x="925" y="384"/>
                    <a:pt x="925" y="384"/>
                    <a:pt x="925" y="384"/>
                  </a:cubicBezTo>
                  <a:cubicBezTo>
                    <a:pt x="925" y="384"/>
                    <a:pt x="925" y="384"/>
                    <a:pt x="925" y="384"/>
                  </a:cubicBezTo>
                  <a:cubicBezTo>
                    <a:pt x="925" y="384"/>
                    <a:pt x="924" y="384"/>
                    <a:pt x="924" y="383"/>
                  </a:cubicBezTo>
                  <a:cubicBezTo>
                    <a:pt x="923" y="383"/>
                    <a:pt x="923" y="383"/>
                    <a:pt x="922" y="383"/>
                  </a:cubicBezTo>
                  <a:cubicBezTo>
                    <a:pt x="922" y="383"/>
                    <a:pt x="922" y="383"/>
                    <a:pt x="922" y="383"/>
                  </a:cubicBezTo>
                  <a:moveTo>
                    <a:pt x="926" y="384"/>
                  </a:moveTo>
                  <a:cubicBezTo>
                    <a:pt x="926" y="384"/>
                    <a:pt x="926" y="384"/>
                    <a:pt x="926" y="384"/>
                  </a:cubicBezTo>
                  <a:cubicBezTo>
                    <a:pt x="926" y="385"/>
                    <a:pt x="926" y="385"/>
                    <a:pt x="926" y="385"/>
                  </a:cubicBezTo>
                  <a:cubicBezTo>
                    <a:pt x="926" y="385"/>
                    <a:pt x="926" y="385"/>
                    <a:pt x="927" y="385"/>
                  </a:cubicBezTo>
                  <a:cubicBezTo>
                    <a:pt x="927" y="384"/>
                    <a:pt x="927" y="384"/>
                    <a:pt x="927" y="384"/>
                  </a:cubicBezTo>
                  <a:cubicBezTo>
                    <a:pt x="927" y="384"/>
                    <a:pt x="927" y="384"/>
                    <a:pt x="926" y="384"/>
                  </a:cubicBezTo>
                  <a:moveTo>
                    <a:pt x="928" y="384"/>
                  </a:moveTo>
                  <a:cubicBezTo>
                    <a:pt x="928" y="384"/>
                    <a:pt x="928" y="385"/>
                    <a:pt x="928" y="385"/>
                  </a:cubicBezTo>
                  <a:cubicBezTo>
                    <a:pt x="928" y="385"/>
                    <a:pt x="928" y="385"/>
                    <a:pt x="928" y="385"/>
                  </a:cubicBezTo>
                  <a:cubicBezTo>
                    <a:pt x="929" y="385"/>
                    <a:pt x="929" y="384"/>
                    <a:pt x="929" y="384"/>
                  </a:cubicBezTo>
                  <a:cubicBezTo>
                    <a:pt x="929" y="384"/>
                    <a:pt x="929" y="384"/>
                    <a:pt x="928" y="384"/>
                  </a:cubicBezTo>
                  <a:moveTo>
                    <a:pt x="1217" y="394"/>
                  </a:moveTo>
                  <a:cubicBezTo>
                    <a:pt x="1201" y="410"/>
                    <a:pt x="1184" y="426"/>
                    <a:pt x="1165" y="441"/>
                  </a:cubicBezTo>
                  <a:cubicBezTo>
                    <a:pt x="1165" y="441"/>
                    <a:pt x="1165" y="442"/>
                    <a:pt x="1165" y="442"/>
                  </a:cubicBezTo>
                  <a:cubicBezTo>
                    <a:pt x="1184" y="427"/>
                    <a:pt x="1201" y="411"/>
                    <a:pt x="1218" y="395"/>
                  </a:cubicBezTo>
                  <a:cubicBezTo>
                    <a:pt x="1218" y="394"/>
                    <a:pt x="1218" y="394"/>
                    <a:pt x="1217" y="394"/>
                  </a:cubicBezTo>
                  <a:moveTo>
                    <a:pt x="645" y="432"/>
                  </a:moveTo>
                  <a:cubicBezTo>
                    <a:pt x="625" y="455"/>
                    <a:pt x="602" y="475"/>
                    <a:pt x="576" y="493"/>
                  </a:cubicBezTo>
                  <a:cubicBezTo>
                    <a:pt x="576" y="493"/>
                    <a:pt x="576" y="494"/>
                    <a:pt x="576" y="494"/>
                  </a:cubicBezTo>
                  <a:cubicBezTo>
                    <a:pt x="602" y="477"/>
                    <a:pt x="625" y="456"/>
                    <a:pt x="645" y="433"/>
                  </a:cubicBezTo>
                  <a:cubicBezTo>
                    <a:pt x="645" y="433"/>
                    <a:pt x="645" y="432"/>
                    <a:pt x="645" y="432"/>
                  </a:cubicBezTo>
                  <a:moveTo>
                    <a:pt x="1164" y="442"/>
                  </a:moveTo>
                  <a:cubicBezTo>
                    <a:pt x="1147" y="455"/>
                    <a:pt x="1130" y="469"/>
                    <a:pt x="1111" y="481"/>
                  </a:cubicBezTo>
                  <a:cubicBezTo>
                    <a:pt x="1110" y="482"/>
                    <a:pt x="1109" y="483"/>
                    <a:pt x="1109" y="484"/>
                  </a:cubicBezTo>
                  <a:cubicBezTo>
                    <a:pt x="1128" y="471"/>
                    <a:pt x="1147" y="457"/>
                    <a:pt x="1164" y="443"/>
                  </a:cubicBezTo>
                  <a:cubicBezTo>
                    <a:pt x="1164" y="442"/>
                    <a:pt x="1164" y="442"/>
                    <a:pt x="1164" y="442"/>
                  </a:cubicBezTo>
                  <a:moveTo>
                    <a:pt x="1107" y="484"/>
                  </a:moveTo>
                  <a:cubicBezTo>
                    <a:pt x="1106" y="485"/>
                    <a:pt x="1105" y="485"/>
                    <a:pt x="1105" y="485"/>
                  </a:cubicBezTo>
                  <a:cubicBezTo>
                    <a:pt x="1105" y="486"/>
                    <a:pt x="1105" y="486"/>
                    <a:pt x="1105" y="487"/>
                  </a:cubicBezTo>
                  <a:cubicBezTo>
                    <a:pt x="1105" y="486"/>
                    <a:pt x="1106" y="486"/>
                    <a:pt x="1106" y="485"/>
                  </a:cubicBezTo>
                  <a:cubicBezTo>
                    <a:pt x="1106" y="485"/>
                    <a:pt x="1107" y="485"/>
                    <a:pt x="1107" y="484"/>
                  </a:cubicBezTo>
                  <a:moveTo>
                    <a:pt x="1104" y="486"/>
                  </a:moveTo>
                  <a:cubicBezTo>
                    <a:pt x="1097" y="491"/>
                    <a:pt x="1090" y="495"/>
                    <a:pt x="1083" y="499"/>
                  </a:cubicBezTo>
                  <a:cubicBezTo>
                    <a:pt x="1085" y="499"/>
                    <a:pt x="1086" y="498"/>
                    <a:pt x="1087" y="498"/>
                  </a:cubicBezTo>
                  <a:cubicBezTo>
                    <a:pt x="1093" y="495"/>
                    <a:pt x="1098" y="491"/>
                    <a:pt x="1104" y="488"/>
                  </a:cubicBezTo>
                  <a:cubicBezTo>
                    <a:pt x="1104" y="487"/>
                    <a:pt x="1104" y="487"/>
                    <a:pt x="1104" y="486"/>
                  </a:cubicBezTo>
                  <a:moveTo>
                    <a:pt x="575" y="494"/>
                  </a:moveTo>
                  <a:cubicBezTo>
                    <a:pt x="562" y="502"/>
                    <a:pt x="548" y="510"/>
                    <a:pt x="534" y="517"/>
                  </a:cubicBezTo>
                  <a:cubicBezTo>
                    <a:pt x="534" y="517"/>
                    <a:pt x="534" y="517"/>
                    <a:pt x="534" y="517"/>
                  </a:cubicBezTo>
                  <a:cubicBezTo>
                    <a:pt x="534" y="517"/>
                    <a:pt x="533" y="517"/>
                    <a:pt x="533" y="518"/>
                  </a:cubicBezTo>
                  <a:cubicBezTo>
                    <a:pt x="532" y="518"/>
                    <a:pt x="531" y="519"/>
                    <a:pt x="530" y="519"/>
                  </a:cubicBezTo>
                  <a:cubicBezTo>
                    <a:pt x="529" y="519"/>
                    <a:pt x="529" y="520"/>
                    <a:pt x="529" y="520"/>
                  </a:cubicBezTo>
                  <a:cubicBezTo>
                    <a:pt x="527" y="520"/>
                    <a:pt x="526" y="521"/>
                    <a:pt x="525" y="521"/>
                  </a:cubicBezTo>
                  <a:cubicBezTo>
                    <a:pt x="525" y="521"/>
                    <a:pt x="524" y="522"/>
                    <a:pt x="524" y="522"/>
                  </a:cubicBezTo>
                  <a:cubicBezTo>
                    <a:pt x="523" y="522"/>
                    <a:pt x="522" y="523"/>
                    <a:pt x="521" y="523"/>
                  </a:cubicBezTo>
                  <a:cubicBezTo>
                    <a:pt x="521" y="523"/>
                    <a:pt x="520" y="523"/>
                    <a:pt x="520" y="524"/>
                  </a:cubicBezTo>
                  <a:cubicBezTo>
                    <a:pt x="517" y="525"/>
                    <a:pt x="513" y="526"/>
                    <a:pt x="510" y="528"/>
                  </a:cubicBezTo>
                  <a:cubicBezTo>
                    <a:pt x="510" y="528"/>
                    <a:pt x="510" y="528"/>
                    <a:pt x="510" y="529"/>
                  </a:cubicBezTo>
                  <a:cubicBezTo>
                    <a:pt x="513" y="527"/>
                    <a:pt x="517" y="526"/>
                    <a:pt x="520" y="525"/>
                  </a:cubicBezTo>
                  <a:cubicBezTo>
                    <a:pt x="520" y="524"/>
                    <a:pt x="521" y="524"/>
                    <a:pt x="521" y="524"/>
                  </a:cubicBezTo>
                  <a:cubicBezTo>
                    <a:pt x="522" y="524"/>
                    <a:pt x="522" y="524"/>
                    <a:pt x="523" y="523"/>
                  </a:cubicBezTo>
                  <a:cubicBezTo>
                    <a:pt x="523" y="523"/>
                    <a:pt x="524" y="523"/>
                    <a:pt x="524" y="523"/>
                  </a:cubicBezTo>
                  <a:cubicBezTo>
                    <a:pt x="526" y="522"/>
                    <a:pt x="527" y="521"/>
                    <a:pt x="529" y="521"/>
                  </a:cubicBezTo>
                  <a:cubicBezTo>
                    <a:pt x="529" y="521"/>
                    <a:pt x="529" y="520"/>
                    <a:pt x="530" y="520"/>
                  </a:cubicBezTo>
                  <a:cubicBezTo>
                    <a:pt x="531" y="520"/>
                    <a:pt x="532" y="519"/>
                    <a:pt x="533" y="519"/>
                  </a:cubicBezTo>
                  <a:cubicBezTo>
                    <a:pt x="533" y="519"/>
                    <a:pt x="533" y="518"/>
                    <a:pt x="534" y="518"/>
                  </a:cubicBezTo>
                  <a:cubicBezTo>
                    <a:pt x="534" y="518"/>
                    <a:pt x="534" y="518"/>
                    <a:pt x="534" y="518"/>
                  </a:cubicBezTo>
                  <a:cubicBezTo>
                    <a:pt x="548" y="511"/>
                    <a:pt x="562" y="503"/>
                    <a:pt x="575" y="495"/>
                  </a:cubicBezTo>
                  <a:cubicBezTo>
                    <a:pt x="575" y="494"/>
                    <a:pt x="575" y="494"/>
                    <a:pt x="575" y="494"/>
                  </a:cubicBezTo>
                  <a:moveTo>
                    <a:pt x="1084" y="500"/>
                  </a:moveTo>
                  <a:cubicBezTo>
                    <a:pt x="1083" y="501"/>
                    <a:pt x="1082" y="501"/>
                    <a:pt x="1081" y="501"/>
                  </a:cubicBezTo>
                  <a:cubicBezTo>
                    <a:pt x="1075" y="504"/>
                    <a:pt x="1069" y="508"/>
                    <a:pt x="1064" y="511"/>
                  </a:cubicBezTo>
                  <a:cubicBezTo>
                    <a:pt x="1063" y="512"/>
                    <a:pt x="1063" y="512"/>
                    <a:pt x="1063" y="513"/>
                  </a:cubicBezTo>
                  <a:cubicBezTo>
                    <a:pt x="1070" y="509"/>
                    <a:pt x="1077" y="505"/>
                    <a:pt x="1084" y="500"/>
                  </a:cubicBezTo>
                  <a:moveTo>
                    <a:pt x="1062" y="512"/>
                  </a:moveTo>
                  <a:cubicBezTo>
                    <a:pt x="1059" y="514"/>
                    <a:pt x="1057" y="515"/>
                    <a:pt x="1055" y="516"/>
                  </a:cubicBezTo>
                  <a:cubicBezTo>
                    <a:pt x="1055" y="516"/>
                    <a:pt x="1055" y="517"/>
                    <a:pt x="1056" y="517"/>
                  </a:cubicBezTo>
                  <a:cubicBezTo>
                    <a:pt x="1057" y="516"/>
                    <a:pt x="1059" y="515"/>
                    <a:pt x="1061" y="514"/>
                  </a:cubicBezTo>
                  <a:cubicBezTo>
                    <a:pt x="1061" y="513"/>
                    <a:pt x="1061" y="513"/>
                    <a:pt x="1062" y="512"/>
                  </a:cubicBezTo>
                  <a:moveTo>
                    <a:pt x="1053" y="517"/>
                  </a:moveTo>
                  <a:cubicBezTo>
                    <a:pt x="1043" y="523"/>
                    <a:pt x="1032" y="529"/>
                    <a:pt x="1021" y="534"/>
                  </a:cubicBezTo>
                  <a:cubicBezTo>
                    <a:pt x="1021" y="534"/>
                    <a:pt x="1022" y="534"/>
                    <a:pt x="1022" y="535"/>
                  </a:cubicBezTo>
                  <a:cubicBezTo>
                    <a:pt x="1033" y="529"/>
                    <a:pt x="1044" y="523"/>
                    <a:pt x="1055" y="517"/>
                  </a:cubicBezTo>
                  <a:cubicBezTo>
                    <a:pt x="1054" y="517"/>
                    <a:pt x="1054" y="517"/>
                    <a:pt x="1053" y="517"/>
                  </a:cubicBezTo>
                  <a:moveTo>
                    <a:pt x="509" y="528"/>
                  </a:moveTo>
                  <a:cubicBezTo>
                    <a:pt x="508" y="528"/>
                    <a:pt x="507" y="529"/>
                    <a:pt x="507" y="529"/>
                  </a:cubicBezTo>
                  <a:cubicBezTo>
                    <a:pt x="507" y="529"/>
                    <a:pt x="508" y="529"/>
                    <a:pt x="509" y="529"/>
                  </a:cubicBezTo>
                  <a:cubicBezTo>
                    <a:pt x="509" y="529"/>
                    <a:pt x="509" y="528"/>
                    <a:pt x="509" y="528"/>
                  </a:cubicBezTo>
                  <a:moveTo>
                    <a:pt x="504" y="530"/>
                  </a:moveTo>
                  <a:cubicBezTo>
                    <a:pt x="503" y="530"/>
                    <a:pt x="503" y="530"/>
                    <a:pt x="502" y="531"/>
                  </a:cubicBezTo>
                  <a:cubicBezTo>
                    <a:pt x="502" y="531"/>
                    <a:pt x="501" y="531"/>
                    <a:pt x="501" y="531"/>
                  </a:cubicBezTo>
                  <a:cubicBezTo>
                    <a:pt x="497" y="532"/>
                    <a:pt x="494" y="534"/>
                    <a:pt x="490" y="535"/>
                  </a:cubicBezTo>
                  <a:cubicBezTo>
                    <a:pt x="490" y="535"/>
                    <a:pt x="490" y="535"/>
                    <a:pt x="490" y="535"/>
                  </a:cubicBezTo>
                  <a:cubicBezTo>
                    <a:pt x="491" y="535"/>
                    <a:pt x="492" y="535"/>
                    <a:pt x="493" y="535"/>
                  </a:cubicBezTo>
                  <a:cubicBezTo>
                    <a:pt x="496" y="534"/>
                    <a:pt x="498" y="533"/>
                    <a:pt x="501" y="532"/>
                  </a:cubicBezTo>
                  <a:cubicBezTo>
                    <a:pt x="501" y="532"/>
                    <a:pt x="502" y="532"/>
                    <a:pt x="502" y="532"/>
                  </a:cubicBezTo>
                  <a:cubicBezTo>
                    <a:pt x="504" y="531"/>
                    <a:pt x="505" y="531"/>
                    <a:pt x="507" y="530"/>
                  </a:cubicBezTo>
                  <a:cubicBezTo>
                    <a:pt x="506" y="530"/>
                    <a:pt x="505" y="530"/>
                    <a:pt x="504" y="530"/>
                  </a:cubicBezTo>
                  <a:moveTo>
                    <a:pt x="1020" y="535"/>
                  </a:moveTo>
                  <a:cubicBezTo>
                    <a:pt x="1012" y="538"/>
                    <a:pt x="1005" y="542"/>
                    <a:pt x="998" y="545"/>
                  </a:cubicBezTo>
                  <a:cubicBezTo>
                    <a:pt x="997" y="546"/>
                    <a:pt x="995" y="547"/>
                    <a:pt x="994" y="548"/>
                  </a:cubicBezTo>
                  <a:cubicBezTo>
                    <a:pt x="1003" y="544"/>
                    <a:pt x="1012" y="540"/>
                    <a:pt x="1021" y="535"/>
                  </a:cubicBezTo>
                  <a:cubicBezTo>
                    <a:pt x="1021" y="535"/>
                    <a:pt x="1020" y="535"/>
                    <a:pt x="1020" y="535"/>
                  </a:cubicBezTo>
                  <a:moveTo>
                    <a:pt x="487" y="536"/>
                  </a:moveTo>
                  <a:cubicBezTo>
                    <a:pt x="486" y="536"/>
                    <a:pt x="485" y="536"/>
                    <a:pt x="485" y="536"/>
                  </a:cubicBezTo>
                  <a:cubicBezTo>
                    <a:pt x="484" y="537"/>
                    <a:pt x="484" y="537"/>
                    <a:pt x="484" y="537"/>
                  </a:cubicBezTo>
                  <a:cubicBezTo>
                    <a:pt x="480" y="538"/>
                    <a:pt x="476" y="539"/>
                    <a:pt x="472" y="540"/>
                  </a:cubicBezTo>
                  <a:cubicBezTo>
                    <a:pt x="474" y="540"/>
                    <a:pt x="475" y="540"/>
                    <a:pt x="476" y="540"/>
                  </a:cubicBezTo>
                  <a:cubicBezTo>
                    <a:pt x="479" y="539"/>
                    <a:pt x="481" y="539"/>
                    <a:pt x="484" y="538"/>
                  </a:cubicBezTo>
                  <a:cubicBezTo>
                    <a:pt x="484" y="538"/>
                    <a:pt x="485" y="538"/>
                    <a:pt x="485" y="537"/>
                  </a:cubicBezTo>
                  <a:cubicBezTo>
                    <a:pt x="485" y="537"/>
                    <a:pt x="486" y="537"/>
                    <a:pt x="486" y="537"/>
                  </a:cubicBezTo>
                  <a:cubicBezTo>
                    <a:pt x="487" y="537"/>
                    <a:pt x="488" y="537"/>
                    <a:pt x="489" y="536"/>
                  </a:cubicBezTo>
                  <a:cubicBezTo>
                    <a:pt x="489" y="536"/>
                    <a:pt x="489" y="536"/>
                    <a:pt x="490" y="536"/>
                  </a:cubicBezTo>
                  <a:cubicBezTo>
                    <a:pt x="489" y="536"/>
                    <a:pt x="488" y="536"/>
                    <a:pt x="487" y="536"/>
                  </a:cubicBezTo>
                  <a:moveTo>
                    <a:pt x="472" y="541"/>
                  </a:moveTo>
                  <a:cubicBezTo>
                    <a:pt x="471" y="541"/>
                    <a:pt x="469" y="541"/>
                    <a:pt x="468" y="541"/>
                  </a:cubicBezTo>
                  <a:cubicBezTo>
                    <a:pt x="463" y="542"/>
                    <a:pt x="459" y="543"/>
                    <a:pt x="454" y="544"/>
                  </a:cubicBezTo>
                  <a:cubicBezTo>
                    <a:pt x="454" y="544"/>
                    <a:pt x="454" y="544"/>
                    <a:pt x="454" y="544"/>
                  </a:cubicBezTo>
                  <a:cubicBezTo>
                    <a:pt x="456" y="544"/>
                    <a:pt x="458" y="544"/>
                    <a:pt x="460" y="544"/>
                  </a:cubicBezTo>
                  <a:cubicBezTo>
                    <a:pt x="463" y="543"/>
                    <a:pt x="465" y="543"/>
                    <a:pt x="468" y="542"/>
                  </a:cubicBezTo>
                  <a:cubicBezTo>
                    <a:pt x="469" y="542"/>
                    <a:pt x="469" y="542"/>
                    <a:pt x="469" y="542"/>
                  </a:cubicBezTo>
                  <a:cubicBezTo>
                    <a:pt x="470" y="542"/>
                    <a:pt x="471" y="541"/>
                    <a:pt x="472" y="541"/>
                  </a:cubicBezTo>
                  <a:moveTo>
                    <a:pt x="454" y="545"/>
                  </a:moveTo>
                  <a:cubicBezTo>
                    <a:pt x="452" y="545"/>
                    <a:pt x="449" y="546"/>
                    <a:pt x="447" y="546"/>
                  </a:cubicBezTo>
                  <a:cubicBezTo>
                    <a:pt x="443" y="546"/>
                    <a:pt x="440" y="547"/>
                    <a:pt x="437" y="547"/>
                  </a:cubicBezTo>
                  <a:cubicBezTo>
                    <a:pt x="436" y="547"/>
                    <a:pt x="436" y="547"/>
                    <a:pt x="436" y="547"/>
                  </a:cubicBezTo>
                  <a:cubicBezTo>
                    <a:pt x="435" y="547"/>
                    <a:pt x="434" y="548"/>
                    <a:pt x="433" y="548"/>
                  </a:cubicBezTo>
                  <a:cubicBezTo>
                    <a:pt x="437" y="547"/>
                    <a:pt x="441" y="547"/>
                    <a:pt x="445" y="547"/>
                  </a:cubicBezTo>
                  <a:cubicBezTo>
                    <a:pt x="448" y="546"/>
                    <a:pt x="451" y="546"/>
                    <a:pt x="453" y="545"/>
                  </a:cubicBezTo>
                  <a:cubicBezTo>
                    <a:pt x="453" y="545"/>
                    <a:pt x="454" y="545"/>
                    <a:pt x="454" y="545"/>
                  </a:cubicBezTo>
                  <a:moveTo>
                    <a:pt x="993" y="547"/>
                  </a:moveTo>
                  <a:cubicBezTo>
                    <a:pt x="991" y="549"/>
                    <a:pt x="988" y="550"/>
                    <a:pt x="986" y="551"/>
                  </a:cubicBezTo>
                  <a:cubicBezTo>
                    <a:pt x="988" y="550"/>
                    <a:pt x="991" y="549"/>
                    <a:pt x="993" y="547"/>
                  </a:cubicBezTo>
                  <a:moveTo>
                    <a:pt x="423" y="550"/>
                  </a:moveTo>
                  <a:cubicBezTo>
                    <a:pt x="418" y="550"/>
                    <a:pt x="413" y="550"/>
                    <a:pt x="408" y="550"/>
                  </a:cubicBezTo>
                  <a:cubicBezTo>
                    <a:pt x="404" y="551"/>
                    <a:pt x="400" y="551"/>
                    <a:pt x="396" y="551"/>
                  </a:cubicBezTo>
                  <a:cubicBezTo>
                    <a:pt x="396" y="551"/>
                    <a:pt x="396" y="551"/>
                    <a:pt x="395" y="551"/>
                  </a:cubicBezTo>
                  <a:cubicBezTo>
                    <a:pt x="390" y="552"/>
                    <a:pt x="384" y="552"/>
                    <a:pt x="378" y="553"/>
                  </a:cubicBezTo>
                  <a:cubicBezTo>
                    <a:pt x="368" y="554"/>
                    <a:pt x="356" y="555"/>
                    <a:pt x="344" y="556"/>
                  </a:cubicBezTo>
                  <a:cubicBezTo>
                    <a:pt x="336" y="556"/>
                    <a:pt x="328" y="557"/>
                    <a:pt x="319" y="558"/>
                  </a:cubicBezTo>
                  <a:cubicBezTo>
                    <a:pt x="313" y="558"/>
                    <a:pt x="307" y="559"/>
                    <a:pt x="301" y="559"/>
                  </a:cubicBezTo>
                  <a:cubicBezTo>
                    <a:pt x="230" y="566"/>
                    <a:pt x="151" y="574"/>
                    <a:pt x="91" y="588"/>
                  </a:cubicBezTo>
                  <a:cubicBezTo>
                    <a:pt x="89" y="589"/>
                    <a:pt x="87" y="590"/>
                    <a:pt x="85" y="591"/>
                  </a:cubicBezTo>
                  <a:cubicBezTo>
                    <a:pt x="139" y="578"/>
                    <a:pt x="212" y="569"/>
                    <a:pt x="280" y="562"/>
                  </a:cubicBezTo>
                  <a:cubicBezTo>
                    <a:pt x="287" y="562"/>
                    <a:pt x="293" y="561"/>
                    <a:pt x="300" y="560"/>
                  </a:cubicBezTo>
                  <a:cubicBezTo>
                    <a:pt x="301" y="560"/>
                    <a:pt x="303" y="560"/>
                    <a:pt x="305" y="560"/>
                  </a:cubicBezTo>
                  <a:cubicBezTo>
                    <a:pt x="318" y="559"/>
                    <a:pt x="332" y="558"/>
                    <a:pt x="345" y="557"/>
                  </a:cubicBezTo>
                  <a:cubicBezTo>
                    <a:pt x="363" y="555"/>
                    <a:pt x="380" y="554"/>
                    <a:pt x="396" y="552"/>
                  </a:cubicBezTo>
                  <a:cubicBezTo>
                    <a:pt x="396" y="552"/>
                    <a:pt x="396" y="552"/>
                    <a:pt x="397" y="552"/>
                  </a:cubicBezTo>
                  <a:cubicBezTo>
                    <a:pt x="401" y="552"/>
                    <a:pt x="406" y="551"/>
                    <a:pt x="410" y="551"/>
                  </a:cubicBezTo>
                  <a:cubicBezTo>
                    <a:pt x="411" y="551"/>
                    <a:pt x="412" y="551"/>
                    <a:pt x="413" y="551"/>
                  </a:cubicBezTo>
                  <a:cubicBezTo>
                    <a:pt x="414" y="551"/>
                    <a:pt x="416" y="551"/>
                    <a:pt x="417" y="550"/>
                  </a:cubicBezTo>
                  <a:cubicBezTo>
                    <a:pt x="417" y="550"/>
                    <a:pt x="417" y="550"/>
                    <a:pt x="418" y="550"/>
                  </a:cubicBezTo>
                  <a:cubicBezTo>
                    <a:pt x="420" y="550"/>
                    <a:pt x="421" y="550"/>
                    <a:pt x="423" y="550"/>
                  </a:cubicBezTo>
                  <a:moveTo>
                    <a:pt x="986" y="552"/>
                  </a:moveTo>
                  <a:cubicBezTo>
                    <a:pt x="985" y="552"/>
                    <a:pt x="983" y="552"/>
                    <a:pt x="981" y="553"/>
                  </a:cubicBezTo>
                  <a:cubicBezTo>
                    <a:pt x="965" y="560"/>
                    <a:pt x="948" y="566"/>
                    <a:pt x="931" y="573"/>
                  </a:cubicBezTo>
                  <a:cubicBezTo>
                    <a:pt x="931" y="573"/>
                    <a:pt x="930" y="573"/>
                    <a:pt x="929" y="573"/>
                  </a:cubicBezTo>
                  <a:cubicBezTo>
                    <a:pt x="917" y="578"/>
                    <a:pt x="905" y="582"/>
                    <a:pt x="893" y="585"/>
                  </a:cubicBezTo>
                  <a:cubicBezTo>
                    <a:pt x="886" y="588"/>
                    <a:pt x="876" y="591"/>
                    <a:pt x="864" y="595"/>
                  </a:cubicBezTo>
                  <a:cubicBezTo>
                    <a:pt x="863" y="595"/>
                    <a:pt x="862" y="596"/>
                    <a:pt x="862" y="596"/>
                  </a:cubicBezTo>
                  <a:cubicBezTo>
                    <a:pt x="857" y="598"/>
                    <a:pt x="852" y="600"/>
                    <a:pt x="847" y="601"/>
                  </a:cubicBezTo>
                  <a:cubicBezTo>
                    <a:pt x="846" y="602"/>
                    <a:pt x="845" y="602"/>
                    <a:pt x="845" y="602"/>
                  </a:cubicBezTo>
                  <a:cubicBezTo>
                    <a:pt x="842" y="603"/>
                    <a:pt x="840" y="604"/>
                    <a:pt x="838" y="605"/>
                  </a:cubicBezTo>
                  <a:cubicBezTo>
                    <a:pt x="837" y="605"/>
                    <a:pt x="836" y="605"/>
                    <a:pt x="835" y="606"/>
                  </a:cubicBezTo>
                  <a:cubicBezTo>
                    <a:pt x="819" y="611"/>
                    <a:pt x="801" y="618"/>
                    <a:pt x="781" y="624"/>
                  </a:cubicBezTo>
                  <a:cubicBezTo>
                    <a:pt x="781" y="625"/>
                    <a:pt x="780" y="625"/>
                    <a:pt x="780" y="625"/>
                  </a:cubicBezTo>
                  <a:cubicBezTo>
                    <a:pt x="765" y="630"/>
                    <a:pt x="750" y="635"/>
                    <a:pt x="734" y="639"/>
                  </a:cubicBezTo>
                  <a:cubicBezTo>
                    <a:pt x="734" y="639"/>
                    <a:pt x="734" y="640"/>
                    <a:pt x="733" y="640"/>
                  </a:cubicBezTo>
                  <a:cubicBezTo>
                    <a:pt x="729" y="641"/>
                    <a:pt x="725" y="642"/>
                    <a:pt x="721" y="643"/>
                  </a:cubicBezTo>
                  <a:cubicBezTo>
                    <a:pt x="721" y="644"/>
                    <a:pt x="720" y="644"/>
                    <a:pt x="720" y="644"/>
                  </a:cubicBezTo>
                  <a:cubicBezTo>
                    <a:pt x="716" y="645"/>
                    <a:pt x="712" y="646"/>
                    <a:pt x="709" y="647"/>
                  </a:cubicBezTo>
                  <a:cubicBezTo>
                    <a:pt x="708" y="647"/>
                    <a:pt x="708" y="647"/>
                    <a:pt x="707" y="647"/>
                  </a:cubicBezTo>
                  <a:cubicBezTo>
                    <a:pt x="701" y="649"/>
                    <a:pt x="695" y="651"/>
                    <a:pt x="688" y="653"/>
                  </a:cubicBezTo>
                  <a:cubicBezTo>
                    <a:pt x="686" y="653"/>
                    <a:pt x="684" y="654"/>
                    <a:pt x="682" y="654"/>
                  </a:cubicBezTo>
                  <a:cubicBezTo>
                    <a:pt x="674" y="656"/>
                    <a:pt x="666" y="658"/>
                    <a:pt x="658" y="660"/>
                  </a:cubicBezTo>
                  <a:cubicBezTo>
                    <a:pt x="658" y="660"/>
                    <a:pt x="657" y="660"/>
                    <a:pt x="657" y="660"/>
                  </a:cubicBezTo>
                  <a:cubicBezTo>
                    <a:pt x="655" y="661"/>
                    <a:pt x="653" y="661"/>
                    <a:pt x="651" y="662"/>
                  </a:cubicBezTo>
                  <a:cubicBezTo>
                    <a:pt x="649" y="662"/>
                    <a:pt x="647" y="663"/>
                    <a:pt x="645" y="663"/>
                  </a:cubicBezTo>
                  <a:cubicBezTo>
                    <a:pt x="645" y="664"/>
                    <a:pt x="644" y="664"/>
                    <a:pt x="644" y="664"/>
                  </a:cubicBezTo>
                  <a:cubicBezTo>
                    <a:pt x="648" y="663"/>
                    <a:pt x="652" y="662"/>
                    <a:pt x="657" y="662"/>
                  </a:cubicBezTo>
                  <a:cubicBezTo>
                    <a:pt x="657" y="661"/>
                    <a:pt x="657" y="661"/>
                    <a:pt x="658" y="661"/>
                  </a:cubicBezTo>
                  <a:cubicBezTo>
                    <a:pt x="666" y="659"/>
                    <a:pt x="674" y="657"/>
                    <a:pt x="682" y="655"/>
                  </a:cubicBezTo>
                  <a:cubicBezTo>
                    <a:pt x="682" y="655"/>
                    <a:pt x="683" y="655"/>
                    <a:pt x="683" y="655"/>
                  </a:cubicBezTo>
                  <a:cubicBezTo>
                    <a:pt x="691" y="653"/>
                    <a:pt x="699" y="651"/>
                    <a:pt x="707" y="648"/>
                  </a:cubicBezTo>
                  <a:cubicBezTo>
                    <a:pt x="707" y="648"/>
                    <a:pt x="708" y="648"/>
                    <a:pt x="708" y="648"/>
                  </a:cubicBezTo>
                  <a:cubicBezTo>
                    <a:pt x="712" y="647"/>
                    <a:pt x="716" y="646"/>
                    <a:pt x="720" y="645"/>
                  </a:cubicBezTo>
                  <a:cubicBezTo>
                    <a:pt x="720" y="645"/>
                    <a:pt x="720" y="645"/>
                    <a:pt x="721" y="645"/>
                  </a:cubicBezTo>
                  <a:cubicBezTo>
                    <a:pt x="725" y="643"/>
                    <a:pt x="730" y="642"/>
                    <a:pt x="734" y="641"/>
                  </a:cubicBezTo>
                  <a:cubicBezTo>
                    <a:pt x="734" y="641"/>
                    <a:pt x="735" y="640"/>
                    <a:pt x="735" y="640"/>
                  </a:cubicBezTo>
                  <a:cubicBezTo>
                    <a:pt x="751" y="635"/>
                    <a:pt x="766" y="630"/>
                    <a:pt x="781" y="626"/>
                  </a:cubicBezTo>
                  <a:cubicBezTo>
                    <a:pt x="781" y="625"/>
                    <a:pt x="782" y="625"/>
                    <a:pt x="782" y="625"/>
                  </a:cubicBezTo>
                  <a:cubicBezTo>
                    <a:pt x="801" y="619"/>
                    <a:pt x="818" y="613"/>
                    <a:pt x="833" y="607"/>
                  </a:cubicBezTo>
                  <a:cubicBezTo>
                    <a:pt x="834" y="607"/>
                    <a:pt x="835" y="607"/>
                    <a:pt x="836" y="607"/>
                  </a:cubicBezTo>
                  <a:cubicBezTo>
                    <a:pt x="838" y="606"/>
                    <a:pt x="841" y="605"/>
                    <a:pt x="843" y="604"/>
                  </a:cubicBezTo>
                  <a:cubicBezTo>
                    <a:pt x="844" y="603"/>
                    <a:pt x="845" y="603"/>
                    <a:pt x="845" y="603"/>
                  </a:cubicBezTo>
                  <a:cubicBezTo>
                    <a:pt x="850" y="601"/>
                    <a:pt x="855" y="599"/>
                    <a:pt x="860" y="598"/>
                  </a:cubicBezTo>
                  <a:cubicBezTo>
                    <a:pt x="861" y="597"/>
                    <a:pt x="861" y="597"/>
                    <a:pt x="862" y="597"/>
                  </a:cubicBezTo>
                  <a:cubicBezTo>
                    <a:pt x="875" y="592"/>
                    <a:pt x="885" y="589"/>
                    <a:pt x="894" y="586"/>
                  </a:cubicBezTo>
                  <a:cubicBezTo>
                    <a:pt x="905" y="583"/>
                    <a:pt x="916" y="579"/>
                    <a:pt x="927" y="575"/>
                  </a:cubicBezTo>
                  <a:cubicBezTo>
                    <a:pt x="928" y="575"/>
                    <a:pt x="929" y="575"/>
                    <a:pt x="930" y="574"/>
                  </a:cubicBezTo>
                  <a:cubicBezTo>
                    <a:pt x="949" y="567"/>
                    <a:pt x="968" y="560"/>
                    <a:pt x="986" y="552"/>
                  </a:cubicBezTo>
                  <a:moveTo>
                    <a:pt x="85" y="590"/>
                  </a:moveTo>
                  <a:cubicBezTo>
                    <a:pt x="82" y="590"/>
                    <a:pt x="80" y="591"/>
                    <a:pt x="77" y="592"/>
                  </a:cubicBezTo>
                  <a:cubicBezTo>
                    <a:pt x="76" y="592"/>
                    <a:pt x="76" y="592"/>
                    <a:pt x="76" y="592"/>
                  </a:cubicBezTo>
                  <a:cubicBezTo>
                    <a:pt x="75" y="592"/>
                    <a:pt x="74" y="592"/>
                    <a:pt x="73" y="593"/>
                  </a:cubicBezTo>
                  <a:cubicBezTo>
                    <a:pt x="73" y="593"/>
                    <a:pt x="72" y="593"/>
                    <a:pt x="72" y="593"/>
                  </a:cubicBezTo>
                  <a:cubicBezTo>
                    <a:pt x="71" y="593"/>
                    <a:pt x="71" y="593"/>
                    <a:pt x="70" y="594"/>
                  </a:cubicBezTo>
                  <a:cubicBezTo>
                    <a:pt x="70" y="594"/>
                    <a:pt x="69" y="594"/>
                    <a:pt x="69" y="594"/>
                  </a:cubicBezTo>
                  <a:cubicBezTo>
                    <a:pt x="68" y="594"/>
                    <a:pt x="68" y="594"/>
                    <a:pt x="67" y="594"/>
                  </a:cubicBezTo>
                  <a:cubicBezTo>
                    <a:pt x="67" y="594"/>
                    <a:pt x="67" y="594"/>
                    <a:pt x="67" y="594"/>
                  </a:cubicBezTo>
                  <a:cubicBezTo>
                    <a:pt x="66" y="595"/>
                    <a:pt x="66" y="595"/>
                    <a:pt x="66" y="595"/>
                  </a:cubicBezTo>
                  <a:cubicBezTo>
                    <a:pt x="65" y="595"/>
                    <a:pt x="64" y="595"/>
                    <a:pt x="63" y="595"/>
                  </a:cubicBezTo>
                  <a:cubicBezTo>
                    <a:pt x="63" y="596"/>
                    <a:pt x="62" y="596"/>
                    <a:pt x="62" y="596"/>
                  </a:cubicBezTo>
                  <a:cubicBezTo>
                    <a:pt x="62" y="596"/>
                    <a:pt x="61" y="596"/>
                    <a:pt x="61" y="596"/>
                  </a:cubicBezTo>
                  <a:cubicBezTo>
                    <a:pt x="61" y="596"/>
                    <a:pt x="60" y="596"/>
                    <a:pt x="60" y="597"/>
                  </a:cubicBezTo>
                  <a:cubicBezTo>
                    <a:pt x="56" y="598"/>
                    <a:pt x="52" y="599"/>
                    <a:pt x="48" y="601"/>
                  </a:cubicBezTo>
                  <a:cubicBezTo>
                    <a:pt x="48" y="601"/>
                    <a:pt x="47" y="601"/>
                    <a:pt x="47" y="601"/>
                  </a:cubicBezTo>
                  <a:cubicBezTo>
                    <a:pt x="44" y="602"/>
                    <a:pt x="42" y="603"/>
                    <a:pt x="40" y="604"/>
                  </a:cubicBezTo>
                  <a:cubicBezTo>
                    <a:pt x="40" y="604"/>
                    <a:pt x="40" y="604"/>
                    <a:pt x="40" y="605"/>
                  </a:cubicBezTo>
                  <a:cubicBezTo>
                    <a:pt x="43" y="604"/>
                    <a:pt x="45" y="603"/>
                    <a:pt x="48" y="602"/>
                  </a:cubicBezTo>
                  <a:cubicBezTo>
                    <a:pt x="48" y="601"/>
                    <a:pt x="49" y="601"/>
                    <a:pt x="49" y="601"/>
                  </a:cubicBezTo>
                  <a:cubicBezTo>
                    <a:pt x="53" y="600"/>
                    <a:pt x="57" y="599"/>
                    <a:pt x="61" y="597"/>
                  </a:cubicBezTo>
                  <a:cubicBezTo>
                    <a:pt x="62" y="597"/>
                    <a:pt x="62" y="597"/>
                    <a:pt x="62" y="597"/>
                  </a:cubicBezTo>
                  <a:cubicBezTo>
                    <a:pt x="63" y="597"/>
                    <a:pt x="63" y="597"/>
                    <a:pt x="63" y="597"/>
                  </a:cubicBezTo>
                  <a:cubicBezTo>
                    <a:pt x="64" y="596"/>
                    <a:pt x="64" y="596"/>
                    <a:pt x="65" y="596"/>
                  </a:cubicBezTo>
                  <a:cubicBezTo>
                    <a:pt x="65" y="596"/>
                    <a:pt x="66" y="596"/>
                    <a:pt x="67" y="596"/>
                  </a:cubicBezTo>
                  <a:cubicBezTo>
                    <a:pt x="67" y="595"/>
                    <a:pt x="68" y="595"/>
                    <a:pt x="68" y="595"/>
                  </a:cubicBezTo>
                  <a:cubicBezTo>
                    <a:pt x="68" y="595"/>
                    <a:pt x="68" y="595"/>
                    <a:pt x="68" y="595"/>
                  </a:cubicBezTo>
                  <a:cubicBezTo>
                    <a:pt x="69" y="595"/>
                    <a:pt x="69" y="595"/>
                    <a:pt x="70" y="595"/>
                  </a:cubicBezTo>
                  <a:cubicBezTo>
                    <a:pt x="70" y="595"/>
                    <a:pt x="71" y="594"/>
                    <a:pt x="71" y="594"/>
                  </a:cubicBezTo>
                  <a:cubicBezTo>
                    <a:pt x="72" y="594"/>
                    <a:pt x="72" y="594"/>
                    <a:pt x="73" y="594"/>
                  </a:cubicBezTo>
                  <a:cubicBezTo>
                    <a:pt x="73" y="594"/>
                    <a:pt x="74" y="594"/>
                    <a:pt x="74" y="594"/>
                  </a:cubicBezTo>
                  <a:cubicBezTo>
                    <a:pt x="75" y="593"/>
                    <a:pt x="76" y="593"/>
                    <a:pt x="77" y="593"/>
                  </a:cubicBezTo>
                  <a:cubicBezTo>
                    <a:pt x="77" y="593"/>
                    <a:pt x="78" y="593"/>
                    <a:pt x="78" y="593"/>
                  </a:cubicBezTo>
                  <a:cubicBezTo>
                    <a:pt x="79" y="592"/>
                    <a:pt x="79" y="592"/>
                    <a:pt x="80" y="592"/>
                  </a:cubicBezTo>
                  <a:cubicBezTo>
                    <a:pt x="81" y="591"/>
                    <a:pt x="83" y="590"/>
                    <a:pt x="85" y="590"/>
                  </a:cubicBezTo>
                  <a:moveTo>
                    <a:pt x="39" y="604"/>
                  </a:moveTo>
                  <a:cubicBezTo>
                    <a:pt x="37" y="605"/>
                    <a:pt x="35" y="606"/>
                    <a:pt x="32" y="607"/>
                  </a:cubicBezTo>
                  <a:cubicBezTo>
                    <a:pt x="32" y="607"/>
                    <a:pt x="32" y="607"/>
                    <a:pt x="33" y="608"/>
                  </a:cubicBezTo>
                  <a:cubicBezTo>
                    <a:pt x="35" y="607"/>
                    <a:pt x="37" y="606"/>
                    <a:pt x="39" y="605"/>
                  </a:cubicBezTo>
                  <a:cubicBezTo>
                    <a:pt x="39" y="605"/>
                    <a:pt x="39" y="604"/>
                    <a:pt x="39" y="604"/>
                  </a:cubicBezTo>
                  <a:moveTo>
                    <a:pt x="32" y="607"/>
                  </a:moveTo>
                  <a:cubicBezTo>
                    <a:pt x="31" y="608"/>
                    <a:pt x="30" y="608"/>
                    <a:pt x="29" y="608"/>
                  </a:cubicBezTo>
                  <a:cubicBezTo>
                    <a:pt x="29" y="609"/>
                    <a:pt x="28" y="609"/>
                    <a:pt x="28" y="609"/>
                  </a:cubicBezTo>
                  <a:cubicBezTo>
                    <a:pt x="27" y="609"/>
                    <a:pt x="27" y="609"/>
                    <a:pt x="26" y="610"/>
                  </a:cubicBezTo>
                  <a:cubicBezTo>
                    <a:pt x="26" y="610"/>
                    <a:pt x="26" y="611"/>
                    <a:pt x="26" y="611"/>
                  </a:cubicBezTo>
                  <a:cubicBezTo>
                    <a:pt x="27" y="610"/>
                    <a:pt x="28" y="610"/>
                    <a:pt x="29" y="609"/>
                  </a:cubicBezTo>
                  <a:cubicBezTo>
                    <a:pt x="29" y="609"/>
                    <a:pt x="30" y="609"/>
                    <a:pt x="30" y="609"/>
                  </a:cubicBezTo>
                  <a:cubicBezTo>
                    <a:pt x="31" y="609"/>
                    <a:pt x="31" y="608"/>
                    <a:pt x="32" y="608"/>
                  </a:cubicBezTo>
                  <a:cubicBezTo>
                    <a:pt x="32" y="608"/>
                    <a:pt x="32" y="608"/>
                    <a:pt x="32" y="607"/>
                  </a:cubicBezTo>
                  <a:moveTo>
                    <a:pt x="25" y="610"/>
                  </a:moveTo>
                  <a:cubicBezTo>
                    <a:pt x="25" y="611"/>
                    <a:pt x="24" y="611"/>
                    <a:pt x="23" y="611"/>
                  </a:cubicBezTo>
                  <a:cubicBezTo>
                    <a:pt x="23" y="612"/>
                    <a:pt x="23" y="612"/>
                    <a:pt x="22" y="612"/>
                  </a:cubicBezTo>
                  <a:cubicBezTo>
                    <a:pt x="22" y="612"/>
                    <a:pt x="22" y="612"/>
                    <a:pt x="22" y="612"/>
                  </a:cubicBezTo>
                  <a:cubicBezTo>
                    <a:pt x="21" y="613"/>
                    <a:pt x="21" y="613"/>
                    <a:pt x="21" y="614"/>
                  </a:cubicBezTo>
                  <a:cubicBezTo>
                    <a:pt x="21" y="614"/>
                    <a:pt x="21" y="614"/>
                    <a:pt x="22" y="613"/>
                  </a:cubicBezTo>
                  <a:cubicBezTo>
                    <a:pt x="22" y="613"/>
                    <a:pt x="23" y="613"/>
                    <a:pt x="23" y="612"/>
                  </a:cubicBezTo>
                  <a:cubicBezTo>
                    <a:pt x="24" y="612"/>
                    <a:pt x="24" y="612"/>
                    <a:pt x="24" y="612"/>
                  </a:cubicBezTo>
                  <a:cubicBezTo>
                    <a:pt x="25" y="612"/>
                    <a:pt x="25" y="612"/>
                    <a:pt x="25" y="611"/>
                  </a:cubicBezTo>
                  <a:cubicBezTo>
                    <a:pt x="25" y="611"/>
                    <a:pt x="25" y="611"/>
                    <a:pt x="25" y="610"/>
                  </a:cubicBezTo>
                  <a:moveTo>
                    <a:pt x="20" y="613"/>
                  </a:moveTo>
                  <a:cubicBezTo>
                    <a:pt x="20" y="613"/>
                    <a:pt x="20" y="613"/>
                    <a:pt x="20" y="614"/>
                  </a:cubicBezTo>
                  <a:cubicBezTo>
                    <a:pt x="19" y="614"/>
                    <a:pt x="18" y="615"/>
                    <a:pt x="17" y="616"/>
                  </a:cubicBezTo>
                  <a:cubicBezTo>
                    <a:pt x="18" y="616"/>
                    <a:pt x="19" y="615"/>
                    <a:pt x="19" y="615"/>
                  </a:cubicBezTo>
                  <a:cubicBezTo>
                    <a:pt x="20" y="614"/>
                    <a:pt x="20" y="614"/>
                    <a:pt x="20" y="613"/>
                  </a:cubicBezTo>
                  <a:moveTo>
                    <a:pt x="16" y="616"/>
                  </a:moveTo>
                  <a:cubicBezTo>
                    <a:pt x="16" y="616"/>
                    <a:pt x="16" y="616"/>
                    <a:pt x="16" y="616"/>
                  </a:cubicBezTo>
                  <a:cubicBezTo>
                    <a:pt x="14" y="617"/>
                    <a:pt x="13" y="618"/>
                    <a:pt x="11" y="619"/>
                  </a:cubicBezTo>
                  <a:cubicBezTo>
                    <a:pt x="11" y="620"/>
                    <a:pt x="10" y="621"/>
                    <a:pt x="9" y="622"/>
                  </a:cubicBezTo>
                  <a:cubicBezTo>
                    <a:pt x="9" y="622"/>
                    <a:pt x="9" y="622"/>
                    <a:pt x="8" y="622"/>
                  </a:cubicBezTo>
                  <a:cubicBezTo>
                    <a:pt x="8" y="623"/>
                    <a:pt x="7" y="624"/>
                    <a:pt x="6" y="625"/>
                  </a:cubicBezTo>
                  <a:cubicBezTo>
                    <a:pt x="6" y="625"/>
                    <a:pt x="6" y="625"/>
                    <a:pt x="6" y="625"/>
                  </a:cubicBezTo>
                  <a:cubicBezTo>
                    <a:pt x="4" y="628"/>
                    <a:pt x="2" y="631"/>
                    <a:pt x="1" y="633"/>
                  </a:cubicBezTo>
                  <a:cubicBezTo>
                    <a:pt x="1" y="634"/>
                    <a:pt x="1" y="634"/>
                    <a:pt x="1" y="634"/>
                  </a:cubicBezTo>
                  <a:cubicBezTo>
                    <a:pt x="1" y="635"/>
                    <a:pt x="0" y="636"/>
                    <a:pt x="0" y="637"/>
                  </a:cubicBezTo>
                  <a:cubicBezTo>
                    <a:pt x="0" y="638"/>
                    <a:pt x="0" y="638"/>
                    <a:pt x="0" y="638"/>
                  </a:cubicBezTo>
                  <a:cubicBezTo>
                    <a:pt x="0" y="639"/>
                    <a:pt x="0" y="639"/>
                    <a:pt x="0" y="640"/>
                  </a:cubicBezTo>
                  <a:cubicBezTo>
                    <a:pt x="0" y="641"/>
                    <a:pt x="0" y="641"/>
                    <a:pt x="0" y="642"/>
                  </a:cubicBezTo>
                  <a:cubicBezTo>
                    <a:pt x="0" y="643"/>
                    <a:pt x="0" y="643"/>
                    <a:pt x="1" y="643"/>
                  </a:cubicBezTo>
                  <a:cubicBezTo>
                    <a:pt x="1" y="644"/>
                    <a:pt x="1" y="644"/>
                    <a:pt x="1" y="644"/>
                  </a:cubicBezTo>
                  <a:cubicBezTo>
                    <a:pt x="1" y="647"/>
                    <a:pt x="2" y="649"/>
                    <a:pt x="4" y="652"/>
                  </a:cubicBezTo>
                  <a:cubicBezTo>
                    <a:pt x="4" y="652"/>
                    <a:pt x="4" y="653"/>
                    <a:pt x="4" y="653"/>
                  </a:cubicBezTo>
                  <a:cubicBezTo>
                    <a:pt x="6" y="657"/>
                    <a:pt x="9" y="660"/>
                    <a:pt x="13" y="664"/>
                  </a:cubicBezTo>
                  <a:cubicBezTo>
                    <a:pt x="14" y="665"/>
                    <a:pt x="14" y="665"/>
                    <a:pt x="15" y="666"/>
                  </a:cubicBezTo>
                  <a:cubicBezTo>
                    <a:pt x="22" y="673"/>
                    <a:pt x="32" y="680"/>
                    <a:pt x="45" y="687"/>
                  </a:cubicBezTo>
                  <a:cubicBezTo>
                    <a:pt x="45" y="687"/>
                    <a:pt x="46" y="687"/>
                    <a:pt x="46" y="688"/>
                  </a:cubicBezTo>
                  <a:cubicBezTo>
                    <a:pt x="52" y="691"/>
                    <a:pt x="58" y="694"/>
                    <a:pt x="64" y="697"/>
                  </a:cubicBezTo>
                  <a:cubicBezTo>
                    <a:pt x="64" y="697"/>
                    <a:pt x="64" y="697"/>
                    <a:pt x="65" y="696"/>
                  </a:cubicBezTo>
                  <a:cubicBezTo>
                    <a:pt x="58" y="693"/>
                    <a:pt x="52" y="690"/>
                    <a:pt x="47" y="687"/>
                  </a:cubicBezTo>
                  <a:cubicBezTo>
                    <a:pt x="47" y="687"/>
                    <a:pt x="46" y="687"/>
                    <a:pt x="46" y="686"/>
                  </a:cubicBezTo>
                  <a:cubicBezTo>
                    <a:pt x="34" y="680"/>
                    <a:pt x="25" y="673"/>
                    <a:pt x="18" y="667"/>
                  </a:cubicBezTo>
                  <a:cubicBezTo>
                    <a:pt x="17" y="666"/>
                    <a:pt x="16" y="666"/>
                    <a:pt x="16" y="665"/>
                  </a:cubicBezTo>
                  <a:cubicBezTo>
                    <a:pt x="11" y="661"/>
                    <a:pt x="7" y="656"/>
                    <a:pt x="5" y="652"/>
                  </a:cubicBezTo>
                  <a:cubicBezTo>
                    <a:pt x="5" y="652"/>
                    <a:pt x="5" y="652"/>
                    <a:pt x="5" y="652"/>
                  </a:cubicBezTo>
                  <a:cubicBezTo>
                    <a:pt x="3" y="649"/>
                    <a:pt x="2" y="647"/>
                    <a:pt x="2" y="645"/>
                  </a:cubicBezTo>
                  <a:cubicBezTo>
                    <a:pt x="2" y="644"/>
                    <a:pt x="2" y="644"/>
                    <a:pt x="2" y="644"/>
                  </a:cubicBezTo>
                  <a:cubicBezTo>
                    <a:pt x="1" y="643"/>
                    <a:pt x="1" y="643"/>
                    <a:pt x="1" y="643"/>
                  </a:cubicBezTo>
                  <a:cubicBezTo>
                    <a:pt x="1" y="642"/>
                    <a:pt x="1" y="641"/>
                    <a:pt x="1" y="640"/>
                  </a:cubicBezTo>
                  <a:cubicBezTo>
                    <a:pt x="1" y="639"/>
                    <a:pt x="1" y="639"/>
                    <a:pt x="1" y="639"/>
                  </a:cubicBezTo>
                  <a:cubicBezTo>
                    <a:pt x="1" y="639"/>
                    <a:pt x="1" y="638"/>
                    <a:pt x="1" y="638"/>
                  </a:cubicBezTo>
                  <a:cubicBezTo>
                    <a:pt x="1" y="637"/>
                    <a:pt x="2" y="636"/>
                    <a:pt x="2" y="635"/>
                  </a:cubicBezTo>
                  <a:cubicBezTo>
                    <a:pt x="2" y="634"/>
                    <a:pt x="2" y="634"/>
                    <a:pt x="2" y="634"/>
                  </a:cubicBezTo>
                  <a:cubicBezTo>
                    <a:pt x="3" y="631"/>
                    <a:pt x="4" y="628"/>
                    <a:pt x="7" y="626"/>
                  </a:cubicBezTo>
                  <a:cubicBezTo>
                    <a:pt x="7" y="625"/>
                    <a:pt x="7" y="625"/>
                    <a:pt x="7" y="625"/>
                  </a:cubicBezTo>
                  <a:cubicBezTo>
                    <a:pt x="8" y="624"/>
                    <a:pt x="8" y="623"/>
                    <a:pt x="9" y="623"/>
                  </a:cubicBezTo>
                  <a:cubicBezTo>
                    <a:pt x="9" y="622"/>
                    <a:pt x="10" y="622"/>
                    <a:pt x="10" y="622"/>
                  </a:cubicBezTo>
                  <a:cubicBezTo>
                    <a:pt x="11" y="621"/>
                    <a:pt x="12" y="620"/>
                    <a:pt x="13" y="619"/>
                  </a:cubicBezTo>
                  <a:cubicBezTo>
                    <a:pt x="14" y="619"/>
                    <a:pt x="14" y="619"/>
                    <a:pt x="14" y="618"/>
                  </a:cubicBezTo>
                  <a:cubicBezTo>
                    <a:pt x="14" y="618"/>
                    <a:pt x="14" y="618"/>
                    <a:pt x="14" y="618"/>
                  </a:cubicBezTo>
                  <a:cubicBezTo>
                    <a:pt x="15" y="617"/>
                    <a:pt x="16" y="617"/>
                    <a:pt x="16" y="616"/>
                  </a:cubicBezTo>
                  <a:moveTo>
                    <a:pt x="324" y="646"/>
                  </a:moveTo>
                  <a:cubicBezTo>
                    <a:pt x="323" y="646"/>
                    <a:pt x="322" y="646"/>
                    <a:pt x="322" y="647"/>
                  </a:cubicBezTo>
                  <a:cubicBezTo>
                    <a:pt x="322" y="649"/>
                    <a:pt x="324" y="652"/>
                    <a:pt x="329" y="655"/>
                  </a:cubicBezTo>
                  <a:cubicBezTo>
                    <a:pt x="329" y="655"/>
                    <a:pt x="330" y="655"/>
                    <a:pt x="330" y="655"/>
                  </a:cubicBezTo>
                  <a:cubicBezTo>
                    <a:pt x="325" y="651"/>
                    <a:pt x="323" y="648"/>
                    <a:pt x="323" y="647"/>
                  </a:cubicBezTo>
                  <a:cubicBezTo>
                    <a:pt x="323" y="647"/>
                    <a:pt x="323" y="647"/>
                    <a:pt x="324" y="647"/>
                  </a:cubicBezTo>
                  <a:cubicBezTo>
                    <a:pt x="327" y="647"/>
                    <a:pt x="333" y="649"/>
                    <a:pt x="343" y="653"/>
                  </a:cubicBezTo>
                  <a:cubicBezTo>
                    <a:pt x="344" y="653"/>
                    <a:pt x="344" y="653"/>
                    <a:pt x="345" y="653"/>
                  </a:cubicBezTo>
                  <a:cubicBezTo>
                    <a:pt x="334" y="648"/>
                    <a:pt x="327" y="646"/>
                    <a:pt x="324" y="646"/>
                  </a:cubicBezTo>
                  <a:moveTo>
                    <a:pt x="347" y="653"/>
                  </a:moveTo>
                  <a:cubicBezTo>
                    <a:pt x="346" y="654"/>
                    <a:pt x="346" y="654"/>
                    <a:pt x="345" y="654"/>
                  </a:cubicBezTo>
                  <a:cubicBezTo>
                    <a:pt x="348" y="655"/>
                    <a:pt x="351" y="656"/>
                    <a:pt x="355" y="658"/>
                  </a:cubicBezTo>
                  <a:cubicBezTo>
                    <a:pt x="355" y="658"/>
                    <a:pt x="355" y="658"/>
                    <a:pt x="355" y="658"/>
                  </a:cubicBezTo>
                  <a:cubicBezTo>
                    <a:pt x="356" y="657"/>
                    <a:pt x="356" y="657"/>
                    <a:pt x="356" y="657"/>
                  </a:cubicBezTo>
                  <a:cubicBezTo>
                    <a:pt x="352" y="656"/>
                    <a:pt x="350" y="655"/>
                    <a:pt x="347" y="653"/>
                  </a:cubicBezTo>
                  <a:moveTo>
                    <a:pt x="331" y="656"/>
                  </a:moveTo>
                  <a:cubicBezTo>
                    <a:pt x="331" y="656"/>
                    <a:pt x="330" y="656"/>
                    <a:pt x="330" y="656"/>
                  </a:cubicBezTo>
                  <a:cubicBezTo>
                    <a:pt x="332" y="658"/>
                    <a:pt x="335" y="661"/>
                    <a:pt x="339" y="663"/>
                  </a:cubicBezTo>
                  <a:cubicBezTo>
                    <a:pt x="339" y="664"/>
                    <a:pt x="339" y="664"/>
                    <a:pt x="340" y="664"/>
                  </a:cubicBezTo>
                  <a:cubicBezTo>
                    <a:pt x="342" y="666"/>
                    <a:pt x="344" y="667"/>
                    <a:pt x="346" y="669"/>
                  </a:cubicBezTo>
                  <a:cubicBezTo>
                    <a:pt x="346" y="669"/>
                    <a:pt x="347" y="669"/>
                    <a:pt x="347" y="669"/>
                  </a:cubicBezTo>
                  <a:cubicBezTo>
                    <a:pt x="345" y="667"/>
                    <a:pt x="343" y="665"/>
                    <a:pt x="341" y="664"/>
                  </a:cubicBezTo>
                  <a:cubicBezTo>
                    <a:pt x="340" y="664"/>
                    <a:pt x="340" y="663"/>
                    <a:pt x="340" y="663"/>
                  </a:cubicBezTo>
                  <a:cubicBezTo>
                    <a:pt x="336" y="660"/>
                    <a:pt x="334" y="658"/>
                    <a:pt x="331" y="656"/>
                  </a:cubicBezTo>
                  <a:moveTo>
                    <a:pt x="356" y="657"/>
                  </a:moveTo>
                  <a:cubicBezTo>
                    <a:pt x="355" y="658"/>
                    <a:pt x="355" y="658"/>
                    <a:pt x="355" y="658"/>
                  </a:cubicBezTo>
                  <a:cubicBezTo>
                    <a:pt x="355" y="658"/>
                    <a:pt x="355" y="658"/>
                    <a:pt x="355" y="658"/>
                  </a:cubicBezTo>
                  <a:cubicBezTo>
                    <a:pt x="356" y="658"/>
                    <a:pt x="356" y="658"/>
                    <a:pt x="356" y="658"/>
                  </a:cubicBezTo>
                  <a:cubicBezTo>
                    <a:pt x="357" y="659"/>
                    <a:pt x="357" y="659"/>
                    <a:pt x="358" y="659"/>
                  </a:cubicBezTo>
                  <a:cubicBezTo>
                    <a:pt x="358" y="659"/>
                    <a:pt x="358" y="659"/>
                    <a:pt x="359" y="659"/>
                  </a:cubicBezTo>
                  <a:cubicBezTo>
                    <a:pt x="360" y="660"/>
                    <a:pt x="361" y="660"/>
                    <a:pt x="362" y="661"/>
                  </a:cubicBezTo>
                  <a:cubicBezTo>
                    <a:pt x="363" y="661"/>
                    <a:pt x="363" y="661"/>
                    <a:pt x="363" y="661"/>
                  </a:cubicBezTo>
                  <a:cubicBezTo>
                    <a:pt x="363" y="661"/>
                    <a:pt x="364" y="661"/>
                    <a:pt x="364" y="661"/>
                  </a:cubicBezTo>
                  <a:cubicBezTo>
                    <a:pt x="365" y="662"/>
                    <a:pt x="366" y="662"/>
                    <a:pt x="367" y="663"/>
                  </a:cubicBezTo>
                  <a:cubicBezTo>
                    <a:pt x="368" y="663"/>
                    <a:pt x="368" y="663"/>
                    <a:pt x="368" y="663"/>
                  </a:cubicBezTo>
                  <a:cubicBezTo>
                    <a:pt x="369" y="664"/>
                    <a:pt x="370" y="664"/>
                    <a:pt x="371" y="664"/>
                  </a:cubicBezTo>
                  <a:cubicBezTo>
                    <a:pt x="372" y="664"/>
                    <a:pt x="373" y="664"/>
                    <a:pt x="373" y="664"/>
                  </a:cubicBezTo>
                  <a:cubicBezTo>
                    <a:pt x="373" y="664"/>
                    <a:pt x="373" y="664"/>
                    <a:pt x="373" y="664"/>
                  </a:cubicBezTo>
                  <a:cubicBezTo>
                    <a:pt x="372" y="663"/>
                    <a:pt x="370" y="663"/>
                    <a:pt x="369" y="662"/>
                  </a:cubicBezTo>
                  <a:cubicBezTo>
                    <a:pt x="369" y="662"/>
                    <a:pt x="369" y="662"/>
                    <a:pt x="368" y="662"/>
                  </a:cubicBezTo>
                  <a:cubicBezTo>
                    <a:pt x="367" y="662"/>
                    <a:pt x="366" y="661"/>
                    <a:pt x="365" y="661"/>
                  </a:cubicBezTo>
                  <a:cubicBezTo>
                    <a:pt x="365" y="661"/>
                    <a:pt x="364" y="661"/>
                    <a:pt x="364" y="661"/>
                  </a:cubicBezTo>
                  <a:cubicBezTo>
                    <a:pt x="364" y="660"/>
                    <a:pt x="363" y="660"/>
                    <a:pt x="363" y="660"/>
                  </a:cubicBezTo>
                  <a:cubicBezTo>
                    <a:pt x="362" y="660"/>
                    <a:pt x="361" y="659"/>
                    <a:pt x="359" y="659"/>
                  </a:cubicBezTo>
                  <a:cubicBezTo>
                    <a:pt x="359" y="659"/>
                    <a:pt x="359" y="659"/>
                    <a:pt x="359" y="659"/>
                  </a:cubicBezTo>
                  <a:cubicBezTo>
                    <a:pt x="359" y="658"/>
                    <a:pt x="358" y="658"/>
                    <a:pt x="358" y="658"/>
                  </a:cubicBezTo>
                  <a:cubicBezTo>
                    <a:pt x="357" y="658"/>
                    <a:pt x="356" y="657"/>
                    <a:pt x="356" y="657"/>
                  </a:cubicBezTo>
                  <a:moveTo>
                    <a:pt x="644" y="663"/>
                  </a:moveTo>
                  <a:cubicBezTo>
                    <a:pt x="641" y="664"/>
                    <a:pt x="639" y="664"/>
                    <a:pt x="637" y="665"/>
                  </a:cubicBezTo>
                  <a:cubicBezTo>
                    <a:pt x="635" y="665"/>
                    <a:pt x="634" y="665"/>
                    <a:pt x="633" y="666"/>
                  </a:cubicBezTo>
                  <a:cubicBezTo>
                    <a:pt x="632" y="666"/>
                    <a:pt x="632" y="666"/>
                    <a:pt x="632" y="666"/>
                  </a:cubicBezTo>
                  <a:cubicBezTo>
                    <a:pt x="628" y="667"/>
                    <a:pt x="625" y="667"/>
                    <a:pt x="622" y="668"/>
                  </a:cubicBezTo>
                  <a:cubicBezTo>
                    <a:pt x="621" y="668"/>
                    <a:pt x="620" y="668"/>
                    <a:pt x="619" y="669"/>
                  </a:cubicBezTo>
                  <a:cubicBezTo>
                    <a:pt x="617" y="669"/>
                    <a:pt x="616" y="669"/>
                    <a:pt x="614" y="669"/>
                  </a:cubicBezTo>
                  <a:cubicBezTo>
                    <a:pt x="615" y="670"/>
                    <a:pt x="616" y="670"/>
                    <a:pt x="617" y="670"/>
                  </a:cubicBezTo>
                  <a:cubicBezTo>
                    <a:pt x="618" y="670"/>
                    <a:pt x="619" y="670"/>
                    <a:pt x="619" y="670"/>
                  </a:cubicBezTo>
                  <a:cubicBezTo>
                    <a:pt x="620" y="669"/>
                    <a:pt x="622" y="669"/>
                    <a:pt x="623" y="669"/>
                  </a:cubicBezTo>
                  <a:cubicBezTo>
                    <a:pt x="627" y="668"/>
                    <a:pt x="632" y="667"/>
                    <a:pt x="637" y="666"/>
                  </a:cubicBezTo>
                  <a:cubicBezTo>
                    <a:pt x="639" y="665"/>
                    <a:pt x="641" y="665"/>
                    <a:pt x="643" y="665"/>
                  </a:cubicBezTo>
                  <a:cubicBezTo>
                    <a:pt x="643" y="664"/>
                    <a:pt x="643" y="664"/>
                    <a:pt x="644" y="663"/>
                  </a:cubicBezTo>
                  <a:moveTo>
                    <a:pt x="375" y="665"/>
                  </a:moveTo>
                  <a:cubicBezTo>
                    <a:pt x="374" y="665"/>
                    <a:pt x="374" y="665"/>
                    <a:pt x="373" y="665"/>
                  </a:cubicBezTo>
                  <a:cubicBezTo>
                    <a:pt x="373" y="665"/>
                    <a:pt x="374" y="665"/>
                    <a:pt x="374" y="665"/>
                  </a:cubicBezTo>
                  <a:cubicBezTo>
                    <a:pt x="374" y="665"/>
                    <a:pt x="375" y="665"/>
                    <a:pt x="375" y="666"/>
                  </a:cubicBezTo>
                  <a:cubicBezTo>
                    <a:pt x="376" y="666"/>
                    <a:pt x="376" y="666"/>
                    <a:pt x="376" y="666"/>
                  </a:cubicBezTo>
                  <a:cubicBezTo>
                    <a:pt x="377" y="666"/>
                    <a:pt x="377" y="666"/>
                    <a:pt x="378" y="665"/>
                  </a:cubicBezTo>
                  <a:cubicBezTo>
                    <a:pt x="377" y="665"/>
                    <a:pt x="377" y="665"/>
                    <a:pt x="376" y="665"/>
                  </a:cubicBezTo>
                  <a:cubicBezTo>
                    <a:pt x="376" y="665"/>
                    <a:pt x="376" y="665"/>
                    <a:pt x="375" y="665"/>
                  </a:cubicBezTo>
                  <a:moveTo>
                    <a:pt x="379" y="666"/>
                  </a:moveTo>
                  <a:cubicBezTo>
                    <a:pt x="379" y="666"/>
                    <a:pt x="378" y="666"/>
                    <a:pt x="378" y="666"/>
                  </a:cubicBezTo>
                  <a:cubicBezTo>
                    <a:pt x="379" y="667"/>
                    <a:pt x="381" y="668"/>
                    <a:pt x="383" y="668"/>
                  </a:cubicBezTo>
                  <a:cubicBezTo>
                    <a:pt x="383" y="668"/>
                    <a:pt x="384" y="668"/>
                    <a:pt x="384" y="667"/>
                  </a:cubicBezTo>
                  <a:cubicBezTo>
                    <a:pt x="383" y="667"/>
                    <a:pt x="381" y="666"/>
                    <a:pt x="379" y="666"/>
                  </a:cubicBezTo>
                  <a:moveTo>
                    <a:pt x="386" y="668"/>
                  </a:moveTo>
                  <a:cubicBezTo>
                    <a:pt x="385" y="668"/>
                    <a:pt x="385" y="668"/>
                    <a:pt x="384" y="669"/>
                  </a:cubicBezTo>
                  <a:cubicBezTo>
                    <a:pt x="385" y="669"/>
                    <a:pt x="386" y="669"/>
                    <a:pt x="388" y="669"/>
                  </a:cubicBezTo>
                  <a:cubicBezTo>
                    <a:pt x="388" y="670"/>
                    <a:pt x="388" y="670"/>
                    <a:pt x="389" y="670"/>
                  </a:cubicBezTo>
                  <a:cubicBezTo>
                    <a:pt x="389" y="670"/>
                    <a:pt x="389" y="670"/>
                    <a:pt x="390" y="670"/>
                  </a:cubicBezTo>
                  <a:cubicBezTo>
                    <a:pt x="390" y="670"/>
                    <a:pt x="390" y="670"/>
                    <a:pt x="390" y="670"/>
                  </a:cubicBezTo>
                  <a:cubicBezTo>
                    <a:pt x="391" y="670"/>
                    <a:pt x="392" y="670"/>
                    <a:pt x="393" y="670"/>
                  </a:cubicBezTo>
                  <a:cubicBezTo>
                    <a:pt x="392" y="670"/>
                    <a:pt x="392" y="670"/>
                    <a:pt x="391" y="669"/>
                  </a:cubicBezTo>
                  <a:cubicBezTo>
                    <a:pt x="391" y="669"/>
                    <a:pt x="391" y="669"/>
                    <a:pt x="390" y="669"/>
                  </a:cubicBezTo>
                  <a:cubicBezTo>
                    <a:pt x="390" y="669"/>
                    <a:pt x="389" y="669"/>
                    <a:pt x="389" y="669"/>
                  </a:cubicBezTo>
                  <a:cubicBezTo>
                    <a:pt x="388" y="669"/>
                    <a:pt x="387" y="668"/>
                    <a:pt x="386" y="668"/>
                  </a:cubicBezTo>
                  <a:moveTo>
                    <a:pt x="348" y="670"/>
                  </a:moveTo>
                  <a:cubicBezTo>
                    <a:pt x="348" y="670"/>
                    <a:pt x="347" y="670"/>
                    <a:pt x="347" y="670"/>
                  </a:cubicBezTo>
                  <a:cubicBezTo>
                    <a:pt x="347" y="670"/>
                    <a:pt x="347" y="670"/>
                    <a:pt x="348" y="670"/>
                  </a:cubicBezTo>
                  <a:cubicBezTo>
                    <a:pt x="348" y="670"/>
                    <a:pt x="348" y="671"/>
                    <a:pt x="348" y="671"/>
                  </a:cubicBezTo>
                  <a:cubicBezTo>
                    <a:pt x="349" y="671"/>
                    <a:pt x="349" y="671"/>
                    <a:pt x="349" y="671"/>
                  </a:cubicBezTo>
                  <a:cubicBezTo>
                    <a:pt x="349" y="672"/>
                    <a:pt x="350" y="672"/>
                    <a:pt x="350" y="672"/>
                  </a:cubicBezTo>
                  <a:cubicBezTo>
                    <a:pt x="350" y="672"/>
                    <a:pt x="351" y="673"/>
                    <a:pt x="351" y="673"/>
                  </a:cubicBezTo>
                  <a:cubicBezTo>
                    <a:pt x="351" y="673"/>
                    <a:pt x="351" y="673"/>
                    <a:pt x="351" y="673"/>
                  </a:cubicBezTo>
                  <a:cubicBezTo>
                    <a:pt x="352" y="673"/>
                    <a:pt x="352" y="674"/>
                    <a:pt x="353" y="674"/>
                  </a:cubicBezTo>
                  <a:cubicBezTo>
                    <a:pt x="353" y="674"/>
                    <a:pt x="353" y="674"/>
                    <a:pt x="354" y="674"/>
                  </a:cubicBezTo>
                  <a:cubicBezTo>
                    <a:pt x="354" y="673"/>
                    <a:pt x="354" y="673"/>
                    <a:pt x="353" y="673"/>
                  </a:cubicBezTo>
                  <a:cubicBezTo>
                    <a:pt x="353" y="673"/>
                    <a:pt x="353" y="673"/>
                    <a:pt x="353" y="673"/>
                  </a:cubicBezTo>
                  <a:cubicBezTo>
                    <a:pt x="352" y="672"/>
                    <a:pt x="352" y="672"/>
                    <a:pt x="352" y="672"/>
                  </a:cubicBezTo>
                  <a:cubicBezTo>
                    <a:pt x="351" y="672"/>
                    <a:pt x="351" y="672"/>
                    <a:pt x="351" y="671"/>
                  </a:cubicBezTo>
                  <a:cubicBezTo>
                    <a:pt x="350" y="671"/>
                    <a:pt x="350" y="671"/>
                    <a:pt x="350" y="671"/>
                  </a:cubicBezTo>
                  <a:cubicBezTo>
                    <a:pt x="350" y="670"/>
                    <a:pt x="349" y="670"/>
                    <a:pt x="349" y="670"/>
                  </a:cubicBezTo>
                  <a:cubicBezTo>
                    <a:pt x="349" y="670"/>
                    <a:pt x="349" y="670"/>
                    <a:pt x="348" y="670"/>
                  </a:cubicBezTo>
                  <a:moveTo>
                    <a:pt x="612" y="670"/>
                  </a:moveTo>
                  <a:cubicBezTo>
                    <a:pt x="611" y="670"/>
                    <a:pt x="611" y="670"/>
                    <a:pt x="611" y="670"/>
                  </a:cubicBezTo>
                  <a:cubicBezTo>
                    <a:pt x="610" y="670"/>
                    <a:pt x="609" y="670"/>
                    <a:pt x="608" y="671"/>
                  </a:cubicBezTo>
                  <a:cubicBezTo>
                    <a:pt x="607" y="671"/>
                    <a:pt x="607" y="671"/>
                    <a:pt x="606" y="671"/>
                  </a:cubicBezTo>
                  <a:cubicBezTo>
                    <a:pt x="606" y="671"/>
                    <a:pt x="606" y="671"/>
                    <a:pt x="605" y="671"/>
                  </a:cubicBezTo>
                  <a:cubicBezTo>
                    <a:pt x="605" y="671"/>
                    <a:pt x="604" y="671"/>
                    <a:pt x="604" y="671"/>
                  </a:cubicBezTo>
                  <a:cubicBezTo>
                    <a:pt x="600" y="672"/>
                    <a:pt x="597" y="672"/>
                    <a:pt x="594" y="673"/>
                  </a:cubicBezTo>
                  <a:cubicBezTo>
                    <a:pt x="594" y="673"/>
                    <a:pt x="594" y="674"/>
                    <a:pt x="594" y="674"/>
                  </a:cubicBezTo>
                  <a:cubicBezTo>
                    <a:pt x="597" y="674"/>
                    <a:pt x="600" y="673"/>
                    <a:pt x="603" y="673"/>
                  </a:cubicBezTo>
                  <a:cubicBezTo>
                    <a:pt x="603" y="672"/>
                    <a:pt x="604" y="672"/>
                    <a:pt x="604" y="672"/>
                  </a:cubicBezTo>
                  <a:cubicBezTo>
                    <a:pt x="604" y="672"/>
                    <a:pt x="604" y="672"/>
                    <a:pt x="604" y="672"/>
                  </a:cubicBezTo>
                  <a:cubicBezTo>
                    <a:pt x="605" y="672"/>
                    <a:pt x="606" y="672"/>
                    <a:pt x="606" y="672"/>
                  </a:cubicBezTo>
                  <a:cubicBezTo>
                    <a:pt x="608" y="672"/>
                    <a:pt x="609" y="672"/>
                    <a:pt x="610" y="671"/>
                  </a:cubicBezTo>
                  <a:cubicBezTo>
                    <a:pt x="610" y="671"/>
                    <a:pt x="611" y="671"/>
                    <a:pt x="611" y="671"/>
                  </a:cubicBezTo>
                  <a:cubicBezTo>
                    <a:pt x="612" y="671"/>
                    <a:pt x="613" y="671"/>
                    <a:pt x="614" y="670"/>
                  </a:cubicBezTo>
                  <a:cubicBezTo>
                    <a:pt x="614" y="670"/>
                    <a:pt x="613" y="670"/>
                    <a:pt x="612" y="670"/>
                  </a:cubicBezTo>
                  <a:moveTo>
                    <a:pt x="395" y="671"/>
                  </a:moveTo>
                  <a:cubicBezTo>
                    <a:pt x="394" y="671"/>
                    <a:pt x="393" y="671"/>
                    <a:pt x="393" y="671"/>
                  </a:cubicBezTo>
                  <a:cubicBezTo>
                    <a:pt x="395" y="671"/>
                    <a:pt x="397" y="672"/>
                    <a:pt x="399" y="672"/>
                  </a:cubicBezTo>
                  <a:cubicBezTo>
                    <a:pt x="399" y="672"/>
                    <a:pt x="400" y="672"/>
                    <a:pt x="400" y="672"/>
                  </a:cubicBezTo>
                  <a:cubicBezTo>
                    <a:pt x="399" y="671"/>
                    <a:pt x="397" y="671"/>
                    <a:pt x="395" y="671"/>
                  </a:cubicBezTo>
                  <a:moveTo>
                    <a:pt x="402" y="672"/>
                  </a:moveTo>
                  <a:cubicBezTo>
                    <a:pt x="402" y="672"/>
                    <a:pt x="402" y="672"/>
                    <a:pt x="402" y="672"/>
                  </a:cubicBezTo>
                  <a:cubicBezTo>
                    <a:pt x="402" y="672"/>
                    <a:pt x="402" y="672"/>
                    <a:pt x="402" y="672"/>
                  </a:cubicBezTo>
                  <a:cubicBezTo>
                    <a:pt x="402" y="672"/>
                    <a:pt x="402" y="672"/>
                    <a:pt x="402" y="672"/>
                  </a:cubicBezTo>
                  <a:moveTo>
                    <a:pt x="405" y="673"/>
                  </a:moveTo>
                  <a:cubicBezTo>
                    <a:pt x="404" y="673"/>
                    <a:pt x="403" y="673"/>
                    <a:pt x="402" y="673"/>
                  </a:cubicBezTo>
                  <a:cubicBezTo>
                    <a:pt x="402" y="673"/>
                    <a:pt x="403" y="673"/>
                    <a:pt x="403" y="673"/>
                  </a:cubicBezTo>
                  <a:cubicBezTo>
                    <a:pt x="405" y="674"/>
                    <a:pt x="406" y="674"/>
                    <a:pt x="407" y="674"/>
                  </a:cubicBezTo>
                  <a:cubicBezTo>
                    <a:pt x="408" y="675"/>
                    <a:pt x="409" y="675"/>
                    <a:pt x="409" y="675"/>
                  </a:cubicBezTo>
                  <a:cubicBezTo>
                    <a:pt x="412" y="675"/>
                    <a:pt x="415" y="676"/>
                    <a:pt x="417" y="676"/>
                  </a:cubicBezTo>
                  <a:cubicBezTo>
                    <a:pt x="418" y="676"/>
                    <a:pt x="418" y="676"/>
                    <a:pt x="419" y="676"/>
                  </a:cubicBezTo>
                  <a:cubicBezTo>
                    <a:pt x="416" y="675"/>
                    <a:pt x="414" y="675"/>
                    <a:pt x="411" y="674"/>
                  </a:cubicBezTo>
                  <a:cubicBezTo>
                    <a:pt x="411" y="674"/>
                    <a:pt x="410" y="674"/>
                    <a:pt x="409" y="674"/>
                  </a:cubicBezTo>
                  <a:cubicBezTo>
                    <a:pt x="408" y="674"/>
                    <a:pt x="406" y="673"/>
                    <a:pt x="405" y="673"/>
                  </a:cubicBezTo>
                  <a:cubicBezTo>
                    <a:pt x="405" y="673"/>
                    <a:pt x="405" y="673"/>
                    <a:pt x="405" y="673"/>
                  </a:cubicBezTo>
                  <a:moveTo>
                    <a:pt x="593" y="673"/>
                  </a:moveTo>
                  <a:cubicBezTo>
                    <a:pt x="583" y="675"/>
                    <a:pt x="572" y="676"/>
                    <a:pt x="562" y="678"/>
                  </a:cubicBezTo>
                  <a:cubicBezTo>
                    <a:pt x="560" y="678"/>
                    <a:pt x="558" y="679"/>
                    <a:pt x="556" y="679"/>
                  </a:cubicBezTo>
                  <a:cubicBezTo>
                    <a:pt x="568" y="678"/>
                    <a:pt x="581" y="676"/>
                    <a:pt x="593" y="674"/>
                  </a:cubicBezTo>
                  <a:cubicBezTo>
                    <a:pt x="593" y="674"/>
                    <a:pt x="593" y="673"/>
                    <a:pt x="593" y="673"/>
                  </a:cubicBezTo>
                  <a:moveTo>
                    <a:pt x="355" y="674"/>
                  </a:moveTo>
                  <a:cubicBezTo>
                    <a:pt x="354" y="674"/>
                    <a:pt x="354" y="674"/>
                    <a:pt x="353" y="675"/>
                  </a:cubicBezTo>
                  <a:cubicBezTo>
                    <a:pt x="354" y="675"/>
                    <a:pt x="354" y="675"/>
                    <a:pt x="354" y="675"/>
                  </a:cubicBezTo>
                  <a:cubicBezTo>
                    <a:pt x="355" y="675"/>
                    <a:pt x="355" y="676"/>
                    <a:pt x="355" y="676"/>
                  </a:cubicBezTo>
                  <a:cubicBezTo>
                    <a:pt x="355" y="676"/>
                    <a:pt x="355" y="676"/>
                    <a:pt x="355" y="676"/>
                  </a:cubicBezTo>
                  <a:cubicBezTo>
                    <a:pt x="356" y="676"/>
                    <a:pt x="356" y="676"/>
                    <a:pt x="357" y="676"/>
                  </a:cubicBezTo>
                  <a:cubicBezTo>
                    <a:pt x="356" y="675"/>
                    <a:pt x="356" y="675"/>
                    <a:pt x="356" y="675"/>
                  </a:cubicBezTo>
                  <a:cubicBezTo>
                    <a:pt x="356" y="675"/>
                    <a:pt x="355" y="675"/>
                    <a:pt x="355" y="675"/>
                  </a:cubicBezTo>
                  <a:cubicBezTo>
                    <a:pt x="355" y="675"/>
                    <a:pt x="355" y="674"/>
                    <a:pt x="355" y="674"/>
                  </a:cubicBezTo>
                  <a:moveTo>
                    <a:pt x="420" y="676"/>
                  </a:moveTo>
                  <a:cubicBezTo>
                    <a:pt x="420" y="676"/>
                    <a:pt x="419" y="676"/>
                    <a:pt x="419" y="677"/>
                  </a:cubicBezTo>
                  <a:cubicBezTo>
                    <a:pt x="423" y="677"/>
                    <a:pt x="427" y="678"/>
                    <a:pt x="431" y="679"/>
                  </a:cubicBezTo>
                  <a:cubicBezTo>
                    <a:pt x="432" y="678"/>
                    <a:pt x="433" y="678"/>
                    <a:pt x="433" y="678"/>
                  </a:cubicBezTo>
                  <a:cubicBezTo>
                    <a:pt x="429" y="677"/>
                    <a:pt x="425" y="677"/>
                    <a:pt x="420" y="676"/>
                  </a:cubicBezTo>
                  <a:moveTo>
                    <a:pt x="358" y="676"/>
                  </a:moveTo>
                  <a:cubicBezTo>
                    <a:pt x="357" y="677"/>
                    <a:pt x="357" y="677"/>
                    <a:pt x="356" y="677"/>
                  </a:cubicBezTo>
                  <a:cubicBezTo>
                    <a:pt x="357" y="677"/>
                    <a:pt x="357" y="677"/>
                    <a:pt x="357" y="677"/>
                  </a:cubicBezTo>
                  <a:cubicBezTo>
                    <a:pt x="357" y="677"/>
                    <a:pt x="357" y="677"/>
                    <a:pt x="357" y="677"/>
                  </a:cubicBezTo>
                  <a:cubicBezTo>
                    <a:pt x="357" y="677"/>
                    <a:pt x="358" y="678"/>
                    <a:pt x="358" y="678"/>
                  </a:cubicBezTo>
                  <a:cubicBezTo>
                    <a:pt x="358" y="678"/>
                    <a:pt x="358" y="678"/>
                    <a:pt x="358" y="678"/>
                  </a:cubicBezTo>
                  <a:cubicBezTo>
                    <a:pt x="359" y="678"/>
                    <a:pt x="359" y="678"/>
                    <a:pt x="359" y="678"/>
                  </a:cubicBezTo>
                  <a:cubicBezTo>
                    <a:pt x="359" y="678"/>
                    <a:pt x="359" y="677"/>
                    <a:pt x="358" y="677"/>
                  </a:cubicBezTo>
                  <a:cubicBezTo>
                    <a:pt x="358" y="677"/>
                    <a:pt x="358" y="677"/>
                    <a:pt x="358" y="677"/>
                  </a:cubicBezTo>
                  <a:cubicBezTo>
                    <a:pt x="358" y="677"/>
                    <a:pt x="358" y="676"/>
                    <a:pt x="358" y="676"/>
                  </a:cubicBezTo>
                  <a:moveTo>
                    <a:pt x="556" y="678"/>
                  </a:moveTo>
                  <a:cubicBezTo>
                    <a:pt x="555" y="678"/>
                    <a:pt x="554" y="678"/>
                    <a:pt x="553" y="679"/>
                  </a:cubicBezTo>
                  <a:cubicBezTo>
                    <a:pt x="551" y="679"/>
                    <a:pt x="550" y="680"/>
                    <a:pt x="548" y="680"/>
                  </a:cubicBezTo>
                  <a:cubicBezTo>
                    <a:pt x="548" y="680"/>
                    <a:pt x="549" y="680"/>
                    <a:pt x="549" y="680"/>
                  </a:cubicBezTo>
                  <a:cubicBezTo>
                    <a:pt x="551" y="679"/>
                    <a:pt x="553" y="679"/>
                    <a:pt x="556" y="678"/>
                  </a:cubicBezTo>
                  <a:moveTo>
                    <a:pt x="436" y="678"/>
                  </a:moveTo>
                  <a:cubicBezTo>
                    <a:pt x="435" y="679"/>
                    <a:pt x="434" y="679"/>
                    <a:pt x="433" y="679"/>
                  </a:cubicBezTo>
                  <a:cubicBezTo>
                    <a:pt x="435" y="679"/>
                    <a:pt x="436" y="679"/>
                    <a:pt x="437" y="680"/>
                  </a:cubicBezTo>
                  <a:cubicBezTo>
                    <a:pt x="438" y="679"/>
                    <a:pt x="438" y="679"/>
                    <a:pt x="439" y="679"/>
                  </a:cubicBezTo>
                  <a:cubicBezTo>
                    <a:pt x="438" y="679"/>
                    <a:pt x="437" y="679"/>
                    <a:pt x="436" y="678"/>
                  </a:cubicBezTo>
                  <a:moveTo>
                    <a:pt x="360" y="678"/>
                  </a:moveTo>
                  <a:cubicBezTo>
                    <a:pt x="360" y="679"/>
                    <a:pt x="360" y="679"/>
                    <a:pt x="359" y="679"/>
                  </a:cubicBezTo>
                  <a:cubicBezTo>
                    <a:pt x="359" y="679"/>
                    <a:pt x="360" y="679"/>
                    <a:pt x="360" y="679"/>
                  </a:cubicBezTo>
                  <a:cubicBezTo>
                    <a:pt x="360" y="679"/>
                    <a:pt x="360" y="680"/>
                    <a:pt x="361" y="680"/>
                  </a:cubicBezTo>
                  <a:cubicBezTo>
                    <a:pt x="361" y="680"/>
                    <a:pt x="361" y="680"/>
                    <a:pt x="361" y="680"/>
                  </a:cubicBezTo>
                  <a:cubicBezTo>
                    <a:pt x="361" y="680"/>
                    <a:pt x="361" y="680"/>
                    <a:pt x="361" y="681"/>
                  </a:cubicBezTo>
                  <a:cubicBezTo>
                    <a:pt x="362" y="680"/>
                    <a:pt x="362" y="680"/>
                    <a:pt x="363" y="680"/>
                  </a:cubicBezTo>
                  <a:cubicBezTo>
                    <a:pt x="362" y="680"/>
                    <a:pt x="362" y="680"/>
                    <a:pt x="362" y="680"/>
                  </a:cubicBezTo>
                  <a:cubicBezTo>
                    <a:pt x="362" y="679"/>
                    <a:pt x="361" y="679"/>
                    <a:pt x="361" y="679"/>
                  </a:cubicBezTo>
                  <a:cubicBezTo>
                    <a:pt x="361" y="679"/>
                    <a:pt x="361" y="679"/>
                    <a:pt x="360" y="678"/>
                  </a:cubicBezTo>
                  <a:moveTo>
                    <a:pt x="441" y="679"/>
                  </a:moveTo>
                  <a:cubicBezTo>
                    <a:pt x="440" y="679"/>
                    <a:pt x="440" y="679"/>
                    <a:pt x="439" y="680"/>
                  </a:cubicBezTo>
                  <a:cubicBezTo>
                    <a:pt x="440" y="680"/>
                    <a:pt x="441" y="680"/>
                    <a:pt x="441" y="680"/>
                  </a:cubicBezTo>
                  <a:cubicBezTo>
                    <a:pt x="444" y="680"/>
                    <a:pt x="447" y="681"/>
                    <a:pt x="451" y="681"/>
                  </a:cubicBezTo>
                  <a:cubicBezTo>
                    <a:pt x="454" y="681"/>
                    <a:pt x="456" y="682"/>
                    <a:pt x="459" y="682"/>
                  </a:cubicBezTo>
                  <a:cubicBezTo>
                    <a:pt x="459" y="681"/>
                    <a:pt x="459" y="681"/>
                    <a:pt x="459" y="681"/>
                  </a:cubicBezTo>
                  <a:cubicBezTo>
                    <a:pt x="456" y="680"/>
                    <a:pt x="453" y="680"/>
                    <a:pt x="451" y="680"/>
                  </a:cubicBezTo>
                  <a:cubicBezTo>
                    <a:pt x="450" y="680"/>
                    <a:pt x="450" y="680"/>
                    <a:pt x="450" y="680"/>
                  </a:cubicBezTo>
                  <a:cubicBezTo>
                    <a:pt x="448" y="680"/>
                    <a:pt x="446" y="680"/>
                    <a:pt x="444" y="679"/>
                  </a:cubicBezTo>
                  <a:cubicBezTo>
                    <a:pt x="443" y="679"/>
                    <a:pt x="442" y="679"/>
                    <a:pt x="441" y="679"/>
                  </a:cubicBezTo>
                  <a:moveTo>
                    <a:pt x="548" y="679"/>
                  </a:moveTo>
                  <a:cubicBezTo>
                    <a:pt x="542" y="680"/>
                    <a:pt x="537" y="680"/>
                    <a:pt x="531" y="680"/>
                  </a:cubicBezTo>
                  <a:cubicBezTo>
                    <a:pt x="532" y="681"/>
                    <a:pt x="533" y="681"/>
                    <a:pt x="534" y="681"/>
                  </a:cubicBezTo>
                  <a:cubicBezTo>
                    <a:pt x="537" y="681"/>
                    <a:pt x="540" y="681"/>
                    <a:pt x="544" y="680"/>
                  </a:cubicBezTo>
                  <a:cubicBezTo>
                    <a:pt x="545" y="680"/>
                    <a:pt x="547" y="680"/>
                    <a:pt x="548" y="679"/>
                  </a:cubicBezTo>
                  <a:moveTo>
                    <a:pt x="528" y="681"/>
                  </a:moveTo>
                  <a:cubicBezTo>
                    <a:pt x="526" y="681"/>
                    <a:pt x="524" y="681"/>
                    <a:pt x="521" y="681"/>
                  </a:cubicBezTo>
                  <a:cubicBezTo>
                    <a:pt x="520" y="681"/>
                    <a:pt x="519" y="682"/>
                    <a:pt x="518" y="682"/>
                  </a:cubicBezTo>
                  <a:cubicBezTo>
                    <a:pt x="522" y="682"/>
                    <a:pt x="527" y="682"/>
                    <a:pt x="531" y="681"/>
                  </a:cubicBezTo>
                  <a:cubicBezTo>
                    <a:pt x="530" y="681"/>
                    <a:pt x="529" y="681"/>
                    <a:pt x="528" y="681"/>
                  </a:cubicBezTo>
                  <a:moveTo>
                    <a:pt x="460" y="681"/>
                  </a:moveTo>
                  <a:cubicBezTo>
                    <a:pt x="460" y="681"/>
                    <a:pt x="461" y="681"/>
                    <a:pt x="461" y="682"/>
                  </a:cubicBezTo>
                  <a:cubicBezTo>
                    <a:pt x="461" y="682"/>
                    <a:pt x="462" y="682"/>
                    <a:pt x="462" y="682"/>
                  </a:cubicBezTo>
                  <a:cubicBezTo>
                    <a:pt x="463" y="682"/>
                    <a:pt x="463" y="681"/>
                    <a:pt x="464" y="681"/>
                  </a:cubicBezTo>
                  <a:cubicBezTo>
                    <a:pt x="463" y="681"/>
                    <a:pt x="462" y="681"/>
                    <a:pt x="461" y="681"/>
                  </a:cubicBezTo>
                  <a:cubicBezTo>
                    <a:pt x="460" y="681"/>
                    <a:pt x="460" y="681"/>
                    <a:pt x="460" y="681"/>
                  </a:cubicBezTo>
                  <a:moveTo>
                    <a:pt x="364" y="681"/>
                  </a:moveTo>
                  <a:cubicBezTo>
                    <a:pt x="363" y="681"/>
                    <a:pt x="363" y="681"/>
                    <a:pt x="363" y="681"/>
                  </a:cubicBezTo>
                  <a:cubicBezTo>
                    <a:pt x="363" y="682"/>
                    <a:pt x="363" y="682"/>
                    <a:pt x="363" y="682"/>
                  </a:cubicBezTo>
                  <a:cubicBezTo>
                    <a:pt x="364" y="682"/>
                    <a:pt x="364" y="682"/>
                    <a:pt x="364" y="683"/>
                  </a:cubicBezTo>
                  <a:cubicBezTo>
                    <a:pt x="366" y="684"/>
                    <a:pt x="367" y="685"/>
                    <a:pt x="369" y="686"/>
                  </a:cubicBezTo>
                  <a:cubicBezTo>
                    <a:pt x="369" y="686"/>
                    <a:pt x="370" y="686"/>
                    <a:pt x="370" y="686"/>
                  </a:cubicBezTo>
                  <a:cubicBezTo>
                    <a:pt x="368" y="684"/>
                    <a:pt x="367" y="683"/>
                    <a:pt x="365" y="682"/>
                  </a:cubicBezTo>
                  <a:cubicBezTo>
                    <a:pt x="365" y="682"/>
                    <a:pt x="365" y="682"/>
                    <a:pt x="364" y="681"/>
                  </a:cubicBezTo>
                  <a:cubicBezTo>
                    <a:pt x="364" y="681"/>
                    <a:pt x="364" y="681"/>
                    <a:pt x="364" y="681"/>
                  </a:cubicBezTo>
                  <a:cubicBezTo>
                    <a:pt x="364" y="681"/>
                    <a:pt x="364" y="681"/>
                    <a:pt x="364" y="681"/>
                  </a:cubicBezTo>
                  <a:moveTo>
                    <a:pt x="466" y="681"/>
                  </a:moveTo>
                  <a:cubicBezTo>
                    <a:pt x="466" y="681"/>
                    <a:pt x="465" y="682"/>
                    <a:pt x="464" y="682"/>
                  </a:cubicBezTo>
                  <a:cubicBezTo>
                    <a:pt x="464" y="682"/>
                    <a:pt x="464" y="682"/>
                    <a:pt x="464" y="682"/>
                  </a:cubicBezTo>
                  <a:cubicBezTo>
                    <a:pt x="465" y="682"/>
                    <a:pt x="467" y="682"/>
                    <a:pt x="468" y="681"/>
                  </a:cubicBezTo>
                  <a:cubicBezTo>
                    <a:pt x="467" y="681"/>
                    <a:pt x="467" y="681"/>
                    <a:pt x="466" y="681"/>
                  </a:cubicBezTo>
                  <a:moveTo>
                    <a:pt x="518" y="681"/>
                  </a:moveTo>
                  <a:cubicBezTo>
                    <a:pt x="516" y="681"/>
                    <a:pt x="514" y="681"/>
                    <a:pt x="512" y="681"/>
                  </a:cubicBezTo>
                  <a:cubicBezTo>
                    <a:pt x="511" y="682"/>
                    <a:pt x="509" y="682"/>
                    <a:pt x="507" y="683"/>
                  </a:cubicBezTo>
                  <a:cubicBezTo>
                    <a:pt x="510" y="683"/>
                    <a:pt x="512" y="682"/>
                    <a:pt x="515" y="682"/>
                  </a:cubicBezTo>
                  <a:cubicBezTo>
                    <a:pt x="516" y="682"/>
                    <a:pt x="517" y="682"/>
                    <a:pt x="518" y="681"/>
                  </a:cubicBezTo>
                  <a:moveTo>
                    <a:pt x="472" y="681"/>
                  </a:moveTo>
                  <a:cubicBezTo>
                    <a:pt x="470" y="682"/>
                    <a:pt x="469" y="682"/>
                    <a:pt x="468" y="682"/>
                  </a:cubicBezTo>
                  <a:cubicBezTo>
                    <a:pt x="474" y="683"/>
                    <a:pt x="481" y="683"/>
                    <a:pt x="488" y="683"/>
                  </a:cubicBezTo>
                  <a:cubicBezTo>
                    <a:pt x="488" y="683"/>
                    <a:pt x="489" y="682"/>
                    <a:pt x="490" y="682"/>
                  </a:cubicBezTo>
                  <a:cubicBezTo>
                    <a:pt x="484" y="682"/>
                    <a:pt x="478" y="682"/>
                    <a:pt x="472" y="681"/>
                  </a:cubicBezTo>
                  <a:moveTo>
                    <a:pt x="507" y="682"/>
                  </a:moveTo>
                  <a:cubicBezTo>
                    <a:pt x="504" y="682"/>
                    <a:pt x="500" y="682"/>
                    <a:pt x="496" y="682"/>
                  </a:cubicBezTo>
                  <a:cubicBezTo>
                    <a:pt x="498" y="682"/>
                    <a:pt x="500" y="683"/>
                    <a:pt x="501" y="683"/>
                  </a:cubicBezTo>
                  <a:cubicBezTo>
                    <a:pt x="502" y="683"/>
                    <a:pt x="502" y="683"/>
                    <a:pt x="502" y="683"/>
                  </a:cubicBezTo>
                  <a:cubicBezTo>
                    <a:pt x="504" y="682"/>
                    <a:pt x="506" y="682"/>
                    <a:pt x="507" y="682"/>
                  </a:cubicBezTo>
                  <a:moveTo>
                    <a:pt x="492" y="682"/>
                  </a:moveTo>
                  <a:cubicBezTo>
                    <a:pt x="492" y="682"/>
                    <a:pt x="491" y="683"/>
                    <a:pt x="490" y="683"/>
                  </a:cubicBezTo>
                  <a:cubicBezTo>
                    <a:pt x="491" y="683"/>
                    <a:pt x="492" y="683"/>
                    <a:pt x="492" y="683"/>
                  </a:cubicBezTo>
                  <a:cubicBezTo>
                    <a:pt x="494" y="683"/>
                    <a:pt x="495" y="683"/>
                    <a:pt x="496" y="683"/>
                  </a:cubicBezTo>
                  <a:cubicBezTo>
                    <a:pt x="495" y="683"/>
                    <a:pt x="494" y="682"/>
                    <a:pt x="492" y="682"/>
                  </a:cubicBezTo>
                  <a:moveTo>
                    <a:pt x="371" y="686"/>
                  </a:moveTo>
                  <a:cubicBezTo>
                    <a:pt x="370" y="686"/>
                    <a:pt x="370" y="686"/>
                    <a:pt x="370" y="687"/>
                  </a:cubicBezTo>
                  <a:cubicBezTo>
                    <a:pt x="370" y="687"/>
                    <a:pt x="370" y="687"/>
                    <a:pt x="371" y="687"/>
                  </a:cubicBezTo>
                  <a:cubicBezTo>
                    <a:pt x="371" y="687"/>
                    <a:pt x="371" y="688"/>
                    <a:pt x="372" y="688"/>
                  </a:cubicBezTo>
                  <a:cubicBezTo>
                    <a:pt x="373" y="689"/>
                    <a:pt x="374" y="690"/>
                    <a:pt x="375" y="691"/>
                  </a:cubicBezTo>
                  <a:cubicBezTo>
                    <a:pt x="376" y="691"/>
                    <a:pt x="376" y="691"/>
                    <a:pt x="377" y="690"/>
                  </a:cubicBezTo>
                  <a:cubicBezTo>
                    <a:pt x="375" y="689"/>
                    <a:pt x="374" y="688"/>
                    <a:pt x="373" y="688"/>
                  </a:cubicBezTo>
                  <a:cubicBezTo>
                    <a:pt x="372" y="687"/>
                    <a:pt x="372" y="687"/>
                    <a:pt x="372" y="687"/>
                  </a:cubicBezTo>
                  <a:cubicBezTo>
                    <a:pt x="372" y="687"/>
                    <a:pt x="372" y="687"/>
                    <a:pt x="372" y="687"/>
                  </a:cubicBezTo>
                  <a:cubicBezTo>
                    <a:pt x="371" y="687"/>
                    <a:pt x="371" y="686"/>
                    <a:pt x="371" y="686"/>
                  </a:cubicBezTo>
                  <a:moveTo>
                    <a:pt x="378" y="691"/>
                  </a:moveTo>
                  <a:cubicBezTo>
                    <a:pt x="377" y="691"/>
                    <a:pt x="377" y="691"/>
                    <a:pt x="376" y="692"/>
                  </a:cubicBezTo>
                  <a:cubicBezTo>
                    <a:pt x="377" y="692"/>
                    <a:pt x="378" y="693"/>
                    <a:pt x="379" y="693"/>
                  </a:cubicBezTo>
                  <a:cubicBezTo>
                    <a:pt x="379" y="693"/>
                    <a:pt x="380" y="693"/>
                    <a:pt x="380" y="693"/>
                  </a:cubicBezTo>
                  <a:cubicBezTo>
                    <a:pt x="379" y="692"/>
                    <a:pt x="378" y="692"/>
                    <a:pt x="378" y="691"/>
                  </a:cubicBezTo>
                  <a:moveTo>
                    <a:pt x="381" y="694"/>
                  </a:moveTo>
                  <a:cubicBezTo>
                    <a:pt x="381" y="694"/>
                    <a:pt x="380" y="694"/>
                    <a:pt x="380" y="694"/>
                  </a:cubicBezTo>
                  <a:cubicBezTo>
                    <a:pt x="382" y="696"/>
                    <a:pt x="385" y="698"/>
                    <a:pt x="388" y="700"/>
                  </a:cubicBezTo>
                  <a:cubicBezTo>
                    <a:pt x="388" y="700"/>
                    <a:pt x="389" y="700"/>
                    <a:pt x="389" y="700"/>
                  </a:cubicBezTo>
                  <a:cubicBezTo>
                    <a:pt x="386" y="698"/>
                    <a:pt x="384" y="696"/>
                    <a:pt x="381" y="694"/>
                  </a:cubicBezTo>
                  <a:moveTo>
                    <a:pt x="65" y="697"/>
                  </a:moveTo>
                  <a:cubicBezTo>
                    <a:pt x="65" y="697"/>
                    <a:pt x="65" y="697"/>
                    <a:pt x="65" y="698"/>
                  </a:cubicBezTo>
                  <a:cubicBezTo>
                    <a:pt x="71" y="701"/>
                    <a:pt x="78" y="704"/>
                    <a:pt x="85" y="707"/>
                  </a:cubicBezTo>
                  <a:cubicBezTo>
                    <a:pt x="84" y="706"/>
                    <a:pt x="83" y="705"/>
                    <a:pt x="82" y="705"/>
                  </a:cubicBezTo>
                  <a:cubicBezTo>
                    <a:pt x="76" y="702"/>
                    <a:pt x="71" y="699"/>
                    <a:pt x="65" y="697"/>
                  </a:cubicBezTo>
                  <a:moveTo>
                    <a:pt x="390" y="701"/>
                  </a:moveTo>
                  <a:cubicBezTo>
                    <a:pt x="390" y="701"/>
                    <a:pt x="390" y="701"/>
                    <a:pt x="389" y="701"/>
                  </a:cubicBezTo>
                  <a:cubicBezTo>
                    <a:pt x="390" y="702"/>
                    <a:pt x="391" y="702"/>
                    <a:pt x="392" y="703"/>
                  </a:cubicBezTo>
                  <a:cubicBezTo>
                    <a:pt x="392" y="703"/>
                    <a:pt x="392" y="703"/>
                    <a:pt x="393" y="704"/>
                  </a:cubicBezTo>
                  <a:cubicBezTo>
                    <a:pt x="394" y="705"/>
                    <a:pt x="396" y="706"/>
                    <a:pt x="397" y="707"/>
                  </a:cubicBezTo>
                  <a:cubicBezTo>
                    <a:pt x="398" y="707"/>
                    <a:pt x="398" y="707"/>
                    <a:pt x="399" y="707"/>
                  </a:cubicBezTo>
                  <a:cubicBezTo>
                    <a:pt x="397" y="706"/>
                    <a:pt x="396" y="705"/>
                    <a:pt x="394" y="704"/>
                  </a:cubicBezTo>
                  <a:cubicBezTo>
                    <a:pt x="394" y="703"/>
                    <a:pt x="394" y="703"/>
                    <a:pt x="393" y="703"/>
                  </a:cubicBezTo>
                  <a:cubicBezTo>
                    <a:pt x="392" y="702"/>
                    <a:pt x="391" y="701"/>
                    <a:pt x="390" y="701"/>
                  </a:cubicBezTo>
                  <a:moveTo>
                    <a:pt x="86" y="706"/>
                  </a:moveTo>
                  <a:cubicBezTo>
                    <a:pt x="86" y="706"/>
                    <a:pt x="86" y="706"/>
                    <a:pt x="86" y="707"/>
                  </a:cubicBezTo>
                  <a:cubicBezTo>
                    <a:pt x="86" y="707"/>
                    <a:pt x="86" y="707"/>
                    <a:pt x="86" y="707"/>
                  </a:cubicBezTo>
                  <a:cubicBezTo>
                    <a:pt x="86" y="706"/>
                    <a:pt x="86" y="706"/>
                    <a:pt x="86" y="706"/>
                  </a:cubicBezTo>
                  <a:moveTo>
                    <a:pt x="87" y="707"/>
                  </a:moveTo>
                  <a:cubicBezTo>
                    <a:pt x="87" y="707"/>
                    <a:pt x="87" y="707"/>
                    <a:pt x="87" y="707"/>
                  </a:cubicBezTo>
                  <a:cubicBezTo>
                    <a:pt x="88" y="708"/>
                    <a:pt x="88" y="708"/>
                    <a:pt x="89" y="709"/>
                  </a:cubicBezTo>
                  <a:cubicBezTo>
                    <a:pt x="92" y="710"/>
                    <a:pt x="95" y="711"/>
                    <a:pt x="99" y="713"/>
                  </a:cubicBezTo>
                  <a:cubicBezTo>
                    <a:pt x="99" y="713"/>
                    <a:pt x="100" y="713"/>
                    <a:pt x="100" y="713"/>
                  </a:cubicBezTo>
                  <a:cubicBezTo>
                    <a:pt x="104" y="715"/>
                    <a:pt x="108" y="717"/>
                    <a:pt x="112" y="718"/>
                  </a:cubicBezTo>
                  <a:cubicBezTo>
                    <a:pt x="112" y="718"/>
                    <a:pt x="112" y="718"/>
                    <a:pt x="113" y="718"/>
                  </a:cubicBezTo>
                  <a:cubicBezTo>
                    <a:pt x="109" y="716"/>
                    <a:pt x="105" y="714"/>
                    <a:pt x="101" y="713"/>
                  </a:cubicBezTo>
                  <a:cubicBezTo>
                    <a:pt x="101" y="713"/>
                    <a:pt x="100" y="713"/>
                    <a:pt x="100" y="712"/>
                  </a:cubicBezTo>
                  <a:cubicBezTo>
                    <a:pt x="96" y="711"/>
                    <a:pt x="91" y="709"/>
                    <a:pt x="87" y="707"/>
                  </a:cubicBezTo>
                  <a:moveTo>
                    <a:pt x="400" y="708"/>
                  </a:moveTo>
                  <a:cubicBezTo>
                    <a:pt x="399" y="708"/>
                    <a:pt x="399" y="708"/>
                    <a:pt x="398" y="708"/>
                  </a:cubicBezTo>
                  <a:cubicBezTo>
                    <a:pt x="399" y="708"/>
                    <a:pt x="399" y="708"/>
                    <a:pt x="399" y="709"/>
                  </a:cubicBezTo>
                  <a:cubicBezTo>
                    <a:pt x="400" y="708"/>
                    <a:pt x="400" y="708"/>
                    <a:pt x="400" y="708"/>
                  </a:cubicBezTo>
                  <a:cubicBezTo>
                    <a:pt x="400" y="708"/>
                    <a:pt x="400" y="708"/>
                    <a:pt x="400" y="708"/>
                  </a:cubicBezTo>
                  <a:moveTo>
                    <a:pt x="401" y="709"/>
                  </a:moveTo>
                  <a:cubicBezTo>
                    <a:pt x="401" y="709"/>
                    <a:pt x="401" y="709"/>
                    <a:pt x="400" y="709"/>
                  </a:cubicBezTo>
                  <a:cubicBezTo>
                    <a:pt x="401" y="710"/>
                    <a:pt x="402" y="711"/>
                    <a:pt x="403" y="712"/>
                  </a:cubicBezTo>
                  <a:cubicBezTo>
                    <a:pt x="404" y="712"/>
                    <a:pt x="404" y="712"/>
                    <a:pt x="405" y="711"/>
                  </a:cubicBezTo>
                  <a:cubicBezTo>
                    <a:pt x="404" y="711"/>
                    <a:pt x="402" y="710"/>
                    <a:pt x="401" y="709"/>
                  </a:cubicBezTo>
                  <a:moveTo>
                    <a:pt x="406" y="712"/>
                  </a:moveTo>
                  <a:cubicBezTo>
                    <a:pt x="405" y="712"/>
                    <a:pt x="405" y="712"/>
                    <a:pt x="404" y="712"/>
                  </a:cubicBezTo>
                  <a:cubicBezTo>
                    <a:pt x="406" y="713"/>
                    <a:pt x="407" y="714"/>
                    <a:pt x="408" y="715"/>
                  </a:cubicBezTo>
                  <a:cubicBezTo>
                    <a:pt x="408" y="715"/>
                    <a:pt x="409" y="715"/>
                    <a:pt x="409" y="715"/>
                  </a:cubicBezTo>
                  <a:cubicBezTo>
                    <a:pt x="408" y="714"/>
                    <a:pt x="408" y="714"/>
                    <a:pt x="407" y="713"/>
                  </a:cubicBezTo>
                  <a:cubicBezTo>
                    <a:pt x="406" y="713"/>
                    <a:pt x="406" y="712"/>
                    <a:pt x="406" y="712"/>
                  </a:cubicBezTo>
                  <a:moveTo>
                    <a:pt x="410" y="716"/>
                  </a:moveTo>
                  <a:cubicBezTo>
                    <a:pt x="410" y="716"/>
                    <a:pt x="409" y="716"/>
                    <a:pt x="409" y="716"/>
                  </a:cubicBezTo>
                  <a:cubicBezTo>
                    <a:pt x="409" y="716"/>
                    <a:pt x="409" y="716"/>
                    <a:pt x="410" y="716"/>
                  </a:cubicBezTo>
                  <a:cubicBezTo>
                    <a:pt x="410" y="716"/>
                    <a:pt x="410" y="716"/>
                    <a:pt x="411" y="716"/>
                  </a:cubicBezTo>
                  <a:cubicBezTo>
                    <a:pt x="411" y="716"/>
                    <a:pt x="410" y="716"/>
                    <a:pt x="410" y="716"/>
                  </a:cubicBezTo>
                  <a:moveTo>
                    <a:pt x="412" y="717"/>
                  </a:moveTo>
                  <a:cubicBezTo>
                    <a:pt x="411" y="717"/>
                    <a:pt x="411" y="717"/>
                    <a:pt x="411" y="717"/>
                  </a:cubicBezTo>
                  <a:cubicBezTo>
                    <a:pt x="411" y="717"/>
                    <a:pt x="411" y="718"/>
                    <a:pt x="411" y="718"/>
                  </a:cubicBezTo>
                  <a:cubicBezTo>
                    <a:pt x="412" y="718"/>
                    <a:pt x="412" y="718"/>
                    <a:pt x="413" y="717"/>
                  </a:cubicBezTo>
                  <a:cubicBezTo>
                    <a:pt x="412" y="717"/>
                    <a:pt x="412" y="717"/>
                    <a:pt x="412" y="717"/>
                  </a:cubicBezTo>
                  <a:moveTo>
                    <a:pt x="114" y="718"/>
                  </a:moveTo>
                  <a:cubicBezTo>
                    <a:pt x="113" y="718"/>
                    <a:pt x="113" y="718"/>
                    <a:pt x="113" y="719"/>
                  </a:cubicBezTo>
                  <a:cubicBezTo>
                    <a:pt x="121" y="722"/>
                    <a:pt x="129" y="725"/>
                    <a:pt x="138" y="729"/>
                  </a:cubicBezTo>
                  <a:cubicBezTo>
                    <a:pt x="139" y="728"/>
                    <a:pt x="139" y="728"/>
                    <a:pt x="139" y="728"/>
                  </a:cubicBezTo>
                  <a:cubicBezTo>
                    <a:pt x="130" y="725"/>
                    <a:pt x="122" y="721"/>
                    <a:pt x="114" y="718"/>
                  </a:cubicBezTo>
                  <a:moveTo>
                    <a:pt x="414" y="718"/>
                  </a:moveTo>
                  <a:cubicBezTo>
                    <a:pt x="413" y="718"/>
                    <a:pt x="413" y="718"/>
                    <a:pt x="412" y="719"/>
                  </a:cubicBezTo>
                  <a:cubicBezTo>
                    <a:pt x="419" y="723"/>
                    <a:pt x="425" y="728"/>
                    <a:pt x="431" y="733"/>
                  </a:cubicBezTo>
                  <a:cubicBezTo>
                    <a:pt x="431" y="733"/>
                    <a:pt x="432" y="734"/>
                    <a:pt x="432" y="734"/>
                  </a:cubicBezTo>
                  <a:cubicBezTo>
                    <a:pt x="444" y="744"/>
                    <a:pt x="456" y="754"/>
                    <a:pt x="465" y="763"/>
                  </a:cubicBezTo>
                  <a:cubicBezTo>
                    <a:pt x="465" y="763"/>
                    <a:pt x="466" y="763"/>
                    <a:pt x="466" y="764"/>
                  </a:cubicBezTo>
                  <a:cubicBezTo>
                    <a:pt x="474" y="772"/>
                    <a:pt x="481" y="779"/>
                    <a:pt x="485" y="786"/>
                  </a:cubicBezTo>
                  <a:cubicBezTo>
                    <a:pt x="485" y="786"/>
                    <a:pt x="485" y="786"/>
                    <a:pt x="485" y="787"/>
                  </a:cubicBezTo>
                  <a:cubicBezTo>
                    <a:pt x="488" y="791"/>
                    <a:pt x="490" y="796"/>
                    <a:pt x="490" y="799"/>
                  </a:cubicBezTo>
                  <a:cubicBezTo>
                    <a:pt x="490" y="803"/>
                    <a:pt x="488" y="806"/>
                    <a:pt x="484" y="808"/>
                  </a:cubicBezTo>
                  <a:cubicBezTo>
                    <a:pt x="483" y="809"/>
                    <a:pt x="482" y="809"/>
                    <a:pt x="481" y="810"/>
                  </a:cubicBezTo>
                  <a:cubicBezTo>
                    <a:pt x="477" y="811"/>
                    <a:pt x="470" y="812"/>
                    <a:pt x="461" y="812"/>
                  </a:cubicBezTo>
                  <a:cubicBezTo>
                    <a:pt x="457" y="812"/>
                    <a:pt x="453" y="812"/>
                    <a:pt x="448" y="812"/>
                  </a:cubicBezTo>
                  <a:cubicBezTo>
                    <a:pt x="446" y="811"/>
                    <a:pt x="443" y="811"/>
                    <a:pt x="441" y="811"/>
                  </a:cubicBezTo>
                  <a:cubicBezTo>
                    <a:pt x="421" y="809"/>
                    <a:pt x="394" y="804"/>
                    <a:pt x="360" y="795"/>
                  </a:cubicBezTo>
                  <a:cubicBezTo>
                    <a:pt x="362" y="796"/>
                    <a:pt x="364" y="797"/>
                    <a:pt x="366" y="798"/>
                  </a:cubicBezTo>
                  <a:cubicBezTo>
                    <a:pt x="394" y="805"/>
                    <a:pt x="417" y="809"/>
                    <a:pt x="435" y="811"/>
                  </a:cubicBezTo>
                  <a:cubicBezTo>
                    <a:pt x="437" y="812"/>
                    <a:pt x="439" y="812"/>
                    <a:pt x="441" y="812"/>
                  </a:cubicBezTo>
                  <a:cubicBezTo>
                    <a:pt x="449" y="813"/>
                    <a:pt x="456" y="813"/>
                    <a:pt x="461" y="813"/>
                  </a:cubicBezTo>
                  <a:cubicBezTo>
                    <a:pt x="472" y="813"/>
                    <a:pt x="479" y="812"/>
                    <a:pt x="484" y="809"/>
                  </a:cubicBezTo>
                  <a:cubicBezTo>
                    <a:pt x="485" y="809"/>
                    <a:pt x="486" y="809"/>
                    <a:pt x="486" y="808"/>
                  </a:cubicBezTo>
                  <a:cubicBezTo>
                    <a:pt x="489" y="806"/>
                    <a:pt x="491" y="803"/>
                    <a:pt x="491" y="799"/>
                  </a:cubicBezTo>
                  <a:cubicBezTo>
                    <a:pt x="491" y="796"/>
                    <a:pt x="489" y="791"/>
                    <a:pt x="486" y="787"/>
                  </a:cubicBezTo>
                  <a:cubicBezTo>
                    <a:pt x="486" y="786"/>
                    <a:pt x="486" y="786"/>
                    <a:pt x="486" y="786"/>
                  </a:cubicBezTo>
                  <a:cubicBezTo>
                    <a:pt x="482" y="779"/>
                    <a:pt x="475" y="772"/>
                    <a:pt x="467" y="764"/>
                  </a:cubicBezTo>
                  <a:cubicBezTo>
                    <a:pt x="467" y="763"/>
                    <a:pt x="467" y="763"/>
                    <a:pt x="466" y="763"/>
                  </a:cubicBezTo>
                  <a:cubicBezTo>
                    <a:pt x="457" y="754"/>
                    <a:pt x="446" y="744"/>
                    <a:pt x="433" y="734"/>
                  </a:cubicBezTo>
                  <a:cubicBezTo>
                    <a:pt x="433" y="734"/>
                    <a:pt x="433" y="733"/>
                    <a:pt x="432" y="733"/>
                  </a:cubicBezTo>
                  <a:cubicBezTo>
                    <a:pt x="426" y="728"/>
                    <a:pt x="420" y="723"/>
                    <a:pt x="414" y="718"/>
                  </a:cubicBezTo>
                  <a:moveTo>
                    <a:pt x="141" y="728"/>
                  </a:moveTo>
                  <a:cubicBezTo>
                    <a:pt x="140" y="729"/>
                    <a:pt x="140" y="729"/>
                    <a:pt x="140" y="729"/>
                  </a:cubicBezTo>
                  <a:cubicBezTo>
                    <a:pt x="142" y="730"/>
                    <a:pt x="145" y="731"/>
                    <a:pt x="148" y="732"/>
                  </a:cubicBezTo>
                  <a:cubicBezTo>
                    <a:pt x="148" y="732"/>
                    <a:pt x="148" y="732"/>
                    <a:pt x="149" y="732"/>
                  </a:cubicBezTo>
                  <a:cubicBezTo>
                    <a:pt x="153" y="734"/>
                    <a:pt x="157" y="735"/>
                    <a:pt x="162" y="737"/>
                  </a:cubicBezTo>
                  <a:cubicBezTo>
                    <a:pt x="163" y="737"/>
                    <a:pt x="164" y="738"/>
                    <a:pt x="165" y="738"/>
                  </a:cubicBezTo>
                  <a:cubicBezTo>
                    <a:pt x="165" y="738"/>
                    <a:pt x="165" y="738"/>
                    <a:pt x="166" y="737"/>
                  </a:cubicBezTo>
                  <a:cubicBezTo>
                    <a:pt x="160" y="736"/>
                    <a:pt x="155" y="734"/>
                    <a:pt x="150" y="732"/>
                  </a:cubicBezTo>
                  <a:cubicBezTo>
                    <a:pt x="150" y="732"/>
                    <a:pt x="149" y="732"/>
                    <a:pt x="149" y="731"/>
                  </a:cubicBezTo>
                  <a:cubicBezTo>
                    <a:pt x="146" y="730"/>
                    <a:pt x="143" y="729"/>
                    <a:pt x="141" y="728"/>
                  </a:cubicBezTo>
                  <a:moveTo>
                    <a:pt x="167" y="738"/>
                  </a:moveTo>
                  <a:cubicBezTo>
                    <a:pt x="167" y="738"/>
                    <a:pt x="166" y="738"/>
                    <a:pt x="166" y="738"/>
                  </a:cubicBezTo>
                  <a:cubicBezTo>
                    <a:pt x="166" y="738"/>
                    <a:pt x="166" y="738"/>
                    <a:pt x="166" y="739"/>
                  </a:cubicBezTo>
                  <a:cubicBezTo>
                    <a:pt x="167" y="738"/>
                    <a:pt x="167" y="738"/>
                    <a:pt x="167" y="738"/>
                  </a:cubicBezTo>
                  <a:cubicBezTo>
                    <a:pt x="167" y="738"/>
                    <a:pt x="167" y="738"/>
                    <a:pt x="167" y="738"/>
                  </a:cubicBezTo>
                  <a:moveTo>
                    <a:pt x="169" y="738"/>
                  </a:moveTo>
                  <a:cubicBezTo>
                    <a:pt x="168" y="739"/>
                    <a:pt x="168" y="739"/>
                    <a:pt x="167" y="739"/>
                  </a:cubicBezTo>
                  <a:cubicBezTo>
                    <a:pt x="168" y="739"/>
                    <a:pt x="169" y="740"/>
                    <a:pt x="171" y="740"/>
                  </a:cubicBezTo>
                  <a:cubicBezTo>
                    <a:pt x="171" y="740"/>
                    <a:pt x="171" y="740"/>
                    <a:pt x="172" y="741"/>
                  </a:cubicBezTo>
                  <a:cubicBezTo>
                    <a:pt x="175" y="742"/>
                    <a:pt x="178" y="743"/>
                    <a:pt x="181" y="744"/>
                  </a:cubicBezTo>
                  <a:cubicBezTo>
                    <a:pt x="181" y="743"/>
                    <a:pt x="182" y="743"/>
                    <a:pt x="182" y="743"/>
                  </a:cubicBezTo>
                  <a:cubicBezTo>
                    <a:pt x="182" y="743"/>
                    <a:pt x="182" y="743"/>
                    <a:pt x="181" y="743"/>
                  </a:cubicBezTo>
                  <a:cubicBezTo>
                    <a:pt x="181" y="743"/>
                    <a:pt x="180" y="742"/>
                    <a:pt x="179" y="742"/>
                  </a:cubicBezTo>
                  <a:cubicBezTo>
                    <a:pt x="176" y="741"/>
                    <a:pt x="173" y="740"/>
                    <a:pt x="170" y="739"/>
                  </a:cubicBezTo>
                  <a:cubicBezTo>
                    <a:pt x="170" y="739"/>
                    <a:pt x="169" y="739"/>
                    <a:pt x="169" y="738"/>
                  </a:cubicBezTo>
                  <a:moveTo>
                    <a:pt x="184" y="743"/>
                  </a:moveTo>
                  <a:cubicBezTo>
                    <a:pt x="183" y="744"/>
                    <a:pt x="183" y="744"/>
                    <a:pt x="182" y="744"/>
                  </a:cubicBezTo>
                  <a:cubicBezTo>
                    <a:pt x="185" y="745"/>
                    <a:pt x="187" y="746"/>
                    <a:pt x="190" y="747"/>
                  </a:cubicBezTo>
                  <a:cubicBezTo>
                    <a:pt x="190" y="746"/>
                    <a:pt x="191" y="746"/>
                    <a:pt x="191" y="746"/>
                  </a:cubicBezTo>
                  <a:cubicBezTo>
                    <a:pt x="190" y="746"/>
                    <a:pt x="190" y="746"/>
                    <a:pt x="189" y="745"/>
                  </a:cubicBezTo>
                  <a:cubicBezTo>
                    <a:pt x="188" y="745"/>
                    <a:pt x="188" y="745"/>
                    <a:pt x="188" y="745"/>
                  </a:cubicBezTo>
                  <a:cubicBezTo>
                    <a:pt x="188" y="745"/>
                    <a:pt x="188" y="745"/>
                    <a:pt x="187" y="745"/>
                  </a:cubicBezTo>
                  <a:cubicBezTo>
                    <a:pt x="187" y="745"/>
                    <a:pt x="187" y="745"/>
                    <a:pt x="187" y="745"/>
                  </a:cubicBezTo>
                  <a:cubicBezTo>
                    <a:pt x="187" y="745"/>
                    <a:pt x="186" y="744"/>
                    <a:pt x="185" y="744"/>
                  </a:cubicBezTo>
                  <a:cubicBezTo>
                    <a:pt x="185" y="744"/>
                    <a:pt x="184" y="744"/>
                    <a:pt x="184" y="743"/>
                  </a:cubicBezTo>
                  <a:moveTo>
                    <a:pt x="193" y="746"/>
                  </a:moveTo>
                  <a:cubicBezTo>
                    <a:pt x="192" y="747"/>
                    <a:pt x="192" y="747"/>
                    <a:pt x="191" y="747"/>
                  </a:cubicBezTo>
                  <a:cubicBezTo>
                    <a:pt x="191" y="747"/>
                    <a:pt x="191" y="747"/>
                    <a:pt x="191" y="747"/>
                  </a:cubicBezTo>
                  <a:cubicBezTo>
                    <a:pt x="192" y="747"/>
                    <a:pt x="193" y="748"/>
                    <a:pt x="194" y="748"/>
                  </a:cubicBezTo>
                  <a:cubicBezTo>
                    <a:pt x="194" y="748"/>
                    <a:pt x="195" y="748"/>
                    <a:pt x="195" y="748"/>
                  </a:cubicBezTo>
                  <a:cubicBezTo>
                    <a:pt x="195" y="748"/>
                    <a:pt x="195" y="748"/>
                    <a:pt x="195" y="748"/>
                  </a:cubicBezTo>
                  <a:cubicBezTo>
                    <a:pt x="196" y="748"/>
                    <a:pt x="196" y="748"/>
                    <a:pt x="197" y="748"/>
                  </a:cubicBezTo>
                  <a:cubicBezTo>
                    <a:pt x="197" y="748"/>
                    <a:pt x="197" y="748"/>
                    <a:pt x="197" y="748"/>
                  </a:cubicBezTo>
                  <a:cubicBezTo>
                    <a:pt x="195" y="747"/>
                    <a:pt x="194" y="747"/>
                    <a:pt x="193" y="746"/>
                  </a:cubicBezTo>
                  <a:moveTo>
                    <a:pt x="198" y="748"/>
                  </a:moveTo>
                  <a:cubicBezTo>
                    <a:pt x="198" y="749"/>
                    <a:pt x="197" y="749"/>
                    <a:pt x="197" y="749"/>
                  </a:cubicBezTo>
                  <a:cubicBezTo>
                    <a:pt x="197" y="749"/>
                    <a:pt x="197" y="749"/>
                    <a:pt x="197" y="749"/>
                  </a:cubicBezTo>
                  <a:cubicBezTo>
                    <a:pt x="197" y="749"/>
                    <a:pt x="197" y="749"/>
                    <a:pt x="197" y="749"/>
                  </a:cubicBezTo>
                  <a:cubicBezTo>
                    <a:pt x="198" y="749"/>
                    <a:pt x="198" y="749"/>
                    <a:pt x="199" y="749"/>
                  </a:cubicBezTo>
                  <a:cubicBezTo>
                    <a:pt x="200" y="750"/>
                    <a:pt x="201" y="750"/>
                    <a:pt x="202" y="751"/>
                  </a:cubicBezTo>
                  <a:cubicBezTo>
                    <a:pt x="204" y="751"/>
                    <a:pt x="206" y="752"/>
                    <a:pt x="207" y="752"/>
                  </a:cubicBezTo>
                  <a:cubicBezTo>
                    <a:pt x="205" y="751"/>
                    <a:pt x="203" y="750"/>
                    <a:pt x="200" y="749"/>
                  </a:cubicBezTo>
                  <a:cubicBezTo>
                    <a:pt x="200" y="749"/>
                    <a:pt x="199" y="749"/>
                    <a:pt x="198" y="748"/>
                  </a:cubicBezTo>
                  <a:moveTo>
                    <a:pt x="208" y="752"/>
                  </a:moveTo>
                  <a:cubicBezTo>
                    <a:pt x="209" y="752"/>
                    <a:pt x="210" y="753"/>
                    <a:pt x="211" y="753"/>
                  </a:cubicBezTo>
                  <a:cubicBezTo>
                    <a:pt x="212" y="753"/>
                    <a:pt x="212" y="753"/>
                    <a:pt x="212" y="753"/>
                  </a:cubicBezTo>
                  <a:cubicBezTo>
                    <a:pt x="212" y="753"/>
                    <a:pt x="212" y="753"/>
                    <a:pt x="212" y="753"/>
                  </a:cubicBezTo>
                  <a:cubicBezTo>
                    <a:pt x="211" y="752"/>
                    <a:pt x="209" y="752"/>
                    <a:pt x="208" y="752"/>
                  </a:cubicBezTo>
                  <a:moveTo>
                    <a:pt x="213" y="753"/>
                  </a:moveTo>
                  <a:cubicBezTo>
                    <a:pt x="213" y="753"/>
                    <a:pt x="213" y="754"/>
                    <a:pt x="213" y="754"/>
                  </a:cubicBezTo>
                  <a:cubicBezTo>
                    <a:pt x="213" y="754"/>
                    <a:pt x="214" y="754"/>
                    <a:pt x="214" y="754"/>
                  </a:cubicBezTo>
                  <a:cubicBezTo>
                    <a:pt x="214" y="754"/>
                    <a:pt x="215" y="754"/>
                    <a:pt x="215" y="754"/>
                  </a:cubicBezTo>
                  <a:cubicBezTo>
                    <a:pt x="215" y="754"/>
                    <a:pt x="214" y="753"/>
                    <a:pt x="213" y="753"/>
                  </a:cubicBezTo>
                  <a:moveTo>
                    <a:pt x="217" y="754"/>
                  </a:moveTo>
                  <a:cubicBezTo>
                    <a:pt x="216" y="755"/>
                    <a:pt x="216" y="755"/>
                    <a:pt x="215" y="755"/>
                  </a:cubicBezTo>
                  <a:cubicBezTo>
                    <a:pt x="218" y="756"/>
                    <a:pt x="220" y="756"/>
                    <a:pt x="223" y="757"/>
                  </a:cubicBezTo>
                  <a:cubicBezTo>
                    <a:pt x="223" y="757"/>
                    <a:pt x="223" y="757"/>
                    <a:pt x="224" y="757"/>
                  </a:cubicBezTo>
                  <a:cubicBezTo>
                    <a:pt x="222" y="756"/>
                    <a:pt x="221" y="756"/>
                    <a:pt x="219" y="755"/>
                  </a:cubicBezTo>
                  <a:cubicBezTo>
                    <a:pt x="218" y="755"/>
                    <a:pt x="218" y="755"/>
                    <a:pt x="217" y="754"/>
                  </a:cubicBezTo>
                  <a:moveTo>
                    <a:pt x="225" y="757"/>
                  </a:moveTo>
                  <a:cubicBezTo>
                    <a:pt x="225" y="757"/>
                    <a:pt x="224" y="757"/>
                    <a:pt x="224" y="758"/>
                  </a:cubicBezTo>
                  <a:cubicBezTo>
                    <a:pt x="224" y="758"/>
                    <a:pt x="225" y="758"/>
                    <a:pt x="225" y="758"/>
                  </a:cubicBezTo>
                  <a:cubicBezTo>
                    <a:pt x="225" y="758"/>
                    <a:pt x="226" y="758"/>
                    <a:pt x="226" y="758"/>
                  </a:cubicBezTo>
                  <a:cubicBezTo>
                    <a:pt x="226" y="758"/>
                    <a:pt x="227" y="758"/>
                    <a:pt x="227" y="759"/>
                  </a:cubicBezTo>
                  <a:cubicBezTo>
                    <a:pt x="228" y="759"/>
                    <a:pt x="228" y="759"/>
                    <a:pt x="229" y="759"/>
                  </a:cubicBezTo>
                  <a:cubicBezTo>
                    <a:pt x="230" y="760"/>
                    <a:pt x="231" y="760"/>
                    <a:pt x="233" y="760"/>
                  </a:cubicBezTo>
                  <a:cubicBezTo>
                    <a:pt x="233" y="760"/>
                    <a:pt x="233" y="760"/>
                    <a:pt x="233" y="760"/>
                  </a:cubicBezTo>
                  <a:cubicBezTo>
                    <a:pt x="233" y="760"/>
                    <a:pt x="233" y="760"/>
                    <a:pt x="233" y="760"/>
                  </a:cubicBezTo>
                  <a:cubicBezTo>
                    <a:pt x="231" y="759"/>
                    <a:pt x="228" y="758"/>
                    <a:pt x="225" y="757"/>
                  </a:cubicBezTo>
                  <a:moveTo>
                    <a:pt x="235" y="761"/>
                  </a:moveTo>
                  <a:cubicBezTo>
                    <a:pt x="235" y="761"/>
                    <a:pt x="234" y="761"/>
                    <a:pt x="234" y="761"/>
                  </a:cubicBezTo>
                  <a:cubicBezTo>
                    <a:pt x="234" y="761"/>
                    <a:pt x="235" y="761"/>
                    <a:pt x="235" y="761"/>
                  </a:cubicBezTo>
                  <a:cubicBezTo>
                    <a:pt x="235" y="761"/>
                    <a:pt x="236" y="761"/>
                    <a:pt x="237" y="762"/>
                  </a:cubicBezTo>
                  <a:cubicBezTo>
                    <a:pt x="237" y="762"/>
                    <a:pt x="237" y="761"/>
                    <a:pt x="237" y="761"/>
                  </a:cubicBezTo>
                  <a:cubicBezTo>
                    <a:pt x="236" y="761"/>
                    <a:pt x="236" y="761"/>
                    <a:pt x="235" y="761"/>
                  </a:cubicBezTo>
                  <a:moveTo>
                    <a:pt x="239" y="762"/>
                  </a:moveTo>
                  <a:cubicBezTo>
                    <a:pt x="238" y="762"/>
                    <a:pt x="238" y="762"/>
                    <a:pt x="238" y="762"/>
                  </a:cubicBezTo>
                  <a:cubicBezTo>
                    <a:pt x="238" y="762"/>
                    <a:pt x="238" y="762"/>
                    <a:pt x="239" y="762"/>
                  </a:cubicBezTo>
                  <a:cubicBezTo>
                    <a:pt x="239" y="762"/>
                    <a:pt x="240" y="763"/>
                    <a:pt x="241" y="763"/>
                  </a:cubicBezTo>
                  <a:cubicBezTo>
                    <a:pt x="241" y="763"/>
                    <a:pt x="242" y="763"/>
                    <a:pt x="242" y="763"/>
                  </a:cubicBezTo>
                  <a:cubicBezTo>
                    <a:pt x="243" y="763"/>
                    <a:pt x="243" y="764"/>
                    <a:pt x="243" y="764"/>
                  </a:cubicBezTo>
                  <a:cubicBezTo>
                    <a:pt x="244" y="764"/>
                    <a:pt x="244" y="764"/>
                    <a:pt x="244" y="764"/>
                  </a:cubicBezTo>
                  <a:cubicBezTo>
                    <a:pt x="244" y="764"/>
                    <a:pt x="244" y="764"/>
                    <a:pt x="244" y="764"/>
                  </a:cubicBezTo>
                  <a:cubicBezTo>
                    <a:pt x="242" y="763"/>
                    <a:pt x="240" y="763"/>
                    <a:pt x="239" y="762"/>
                  </a:cubicBezTo>
                  <a:moveTo>
                    <a:pt x="244" y="763"/>
                  </a:moveTo>
                  <a:cubicBezTo>
                    <a:pt x="244" y="763"/>
                    <a:pt x="245" y="763"/>
                    <a:pt x="245" y="763"/>
                  </a:cubicBezTo>
                  <a:cubicBezTo>
                    <a:pt x="245" y="763"/>
                    <a:pt x="245" y="763"/>
                    <a:pt x="245" y="763"/>
                  </a:cubicBezTo>
                  <a:cubicBezTo>
                    <a:pt x="245" y="763"/>
                    <a:pt x="245" y="763"/>
                    <a:pt x="245" y="763"/>
                  </a:cubicBezTo>
                  <a:cubicBezTo>
                    <a:pt x="245" y="763"/>
                    <a:pt x="245" y="763"/>
                    <a:pt x="245" y="763"/>
                  </a:cubicBezTo>
                  <a:cubicBezTo>
                    <a:pt x="244" y="763"/>
                    <a:pt x="244" y="763"/>
                    <a:pt x="244" y="763"/>
                  </a:cubicBezTo>
                  <a:moveTo>
                    <a:pt x="246" y="764"/>
                  </a:moveTo>
                  <a:cubicBezTo>
                    <a:pt x="246" y="764"/>
                    <a:pt x="246" y="764"/>
                    <a:pt x="246" y="764"/>
                  </a:cubicBezTo>
                  <a:cubicBezTo>
                    <a:pt x="248" y="764"/>
                    <a:pt x="251" y="765"/>
                    <a:pt x="253" y="766"/>
                  </a:cubicBezTo>
                  <a:cubicBezTo>
                    <a:pt x="253" y="766"/>
                    <a:pt x="253" y="766"/>
                    <a:pt x="253" y="766"/>
                  </a:cubicBezTo>
                  <a:cubicBezTo>
                    <a:pt x="253" y="765"/>
                    <a:pt x="252" y="765"/>
                    <a:pt x="252" y="765"/>
                  </a:cubicBezTo>
                  <a:cubicBezTo>
                    <a:pt x="252" y="765"/>
                    <a:pt x="251" y="765"/>
                    <a:pt x="251" y="765"/>
                  </a:cubicBezTo>
                  <a:cubicBezTo>
                    <a:pt x="250" y="765"/>
                    <a:pt x="249" y="764"/>
                    <a:pt x="247" y="764"/>
                  </a:cubicBezTo>
                  <a:cubicBezTo>
                    <a:pt x="247" y="764"/>
                    <a:pt x="247" y="764"/>
                    <a:pt x="246" y="764"/>
                  </a:cubicBezTo>
                  <a:moveTo>
                    <a:pt x="255" y="766"/>
                  </a:moveTo>
                  <a:cubicBezTo>
                    <a:pt x="255" y="766"/>
                    <a:pt x="254" y="766"/>
                    <a:pt x="254" y="766"/>
                  </a:cubicBezTo>
                  <a:cubicBezTo>
                    <a:pt x="256" y="767"/>
                    <a:pt x="257" y="767"/>
                    <a:pt x="259" y="768"/>
                  </a:cubicBezTo>
                  <a:cubicBezTo>
                    <a:pt x="259" y="768"/>
                    <a:pt x="259" y="768"/>
                    <a:pt x="260" y="768"/>
                  </a:cubicBezTo>
                  <a:cubicBezTo>
                    <a:pt x="259" y="767"/>
                    <a:pt x="259" y="767"/>
                    <a:pt x="259" y="767"/>
                  </a:cubicBezTo>
                  <a:cubicBezTo>
                    <a:pt x="259" y="767"/>
                    <a:pt x="258" y="767"/>
                    <a:pt x="258" y="767"/>
                  </a:cubicBezTo>
                  <a:cubicBezTo>
                    <a:pt x="257" y="767"/>
                    <a:pt x="256" y="766"/>
                    <a:pt x="255" y="766"/>
                  </a:cubicBezTo>
                  <a:moveTo>
                    <a:pt x="261" y="768"/>
                  </a:moveTo>
                  <a:cubicBezTo>
                    <a:pt x="261" y="768"/>
                    <a:pt x="261" y="768"/>
                    <a:pt x="260" y="768"/>
                  </a:cubicBezTo>
                  <a:cubicBezTo>
                    <a:pt x="261" y="769"/>
                    <a:pt x="262" y="769"/>
                    <a:pt x="263" y="769"/>
                  </a:cubicBezTo>
                  <a:cubicBezTo>
                    <a:pt x="264" y="769"/>
                    <a:pt x="264" y="769"/>
                    <a:pt x="264" y="769"/>
                  </a:cubicBezTo>
                  <a:cubicBezTo>
                    <a:pt x="263" y="769"/>
                    <a:pt x="262" y="768"/>
                    <a:pt x="261" y="768"/>
                  </a:cubicBezTo>
                  <a:moveTo>
                    <a:pt x="265" y="770"/>
                  </a:moveTo>
                  <a:cubicBezTo>
                    <a:pt x="265" y="770"/>
                    <a:pt x="265" y="770"/>
                    <a:pt x="265" y="770"/>
                  </a:cubicBezTo>
                  <a:cubicBezTo>
                    <a:pt x="267" y="771"/>
                    <a:pt x="269" y="771"/>
                    <a:pt x="271" y="772"/>
                  </a:cubicBezTo>
                  <a:cubicBezTo>
                    <a:pt x="271" y="772"/>
                    <a:pt x="272" y="772"/>
                    <a:pt x="273" y="773"/>
                  </a:cubicBezTo>
                  <a:cubicBezTo>
                    <a:pt x="271" y="772"/>
                    <a:pt x="268" y="771"/>
                    <a:pt x="265" y="770"/>
                  </a:cubicBezTo>
                  <a:moveTo>
                    <a:pt x="273" y="772"/>
                  </a:moveTo>
                  <a:cubicBezTo>
                    <a:pt x="278" y="773"/>
                    <a:pt x="283" y="775"/>
                    <a:pt x="288" y="777"/>
                  </a:cubicBezTo>
                  <a:cubicBezTo>
                    <a:pt x="292" y="778"/>
                    <a:pt x="297" y="779"/>
                    <a:pt x="301" y="781"/>
                  </a:cubicBezTo>
                  <a:cubicBezTo>
                    <a:pt x="302" y="781"/>
                    <a:pt x="302" y="781"/>
                    <a:pt x="302" y="781"/>
                  </a:cubicBezTo>
                  <a:cubicBezTo>
                    <a:pt x="302" y="781"/>
                    <a:pt x="303" y="781"/>
                    <a:pt x="303" y="781"/>
                  </a:cubicBezTo>
                  <a:cubicBezTo>
                    <a:pt x="299" y="780"/>
                    <a:pt x="296" y="778"/>
                    <a:pt x="293" y="777"/>
                  </a:cubicBezTo>
                  <a:cubicBezTo>
                    <a:pt x="289" y="776"/>
                    <a:pt x="285" y="775"/>
                    <a:pt x="280" y="774"/>
                  </a:cubicBezTo>
                  <a:cubicBezTo>
                    <a:pt x="280" y="774"/>
                    <a:pt x="280" y="773"/>
                    <a:pt x="279" y="773"/>
                  </a:cubicBezTo>
                  <a:cubicBezTo>
                    <a:pt x="277" y="773"/>
                    <a:pt x="275" y="772"/>
                    <a:pt x="273" y="772"/>
                  </a:cubicBezTo>
                  <a:moveTo>
                    <a:pt x="303" y="780"/>
                  </a:moveTo>
                  <a:cubicBezTo>
                    <a:pt x="306" y="781"/>
                    <a:pt x="309" y="783"/>
                    <a:pt x="313" y="784"/>
                  </a:cubicBezTo>
                  <a:cubicBezTo>
                    <a:pt x="315" y="784"/>
                    <a:pt x="317" y="785"/>
                    <a:pt x="319" y="786"/>
                  </a:cubicBezTo>
                  <a:cubicBezTo>
                    <a:pt x="319" y="786"/>
                    <a:pt x="320" y="786"/>
                    <a:pt x="320" y="786"/>
                  </a:cubicBezTo>
                  <a:cubicBezTo>
                    <a:pt x="323" y="787"/>
                    <a:pt x="326" y="788"/>
                    <a:pt x="329" y="788"/>
                  </a:cubicBezTo>
                  <a:cubicBezTo>
                    <a:pt x="330" y="789"/>
                    <a:pt x="331" y="789"/>
                    <a:pt x="332" y="789"/>
                  </a:cubicBezTo>
                  <a:cubicBezTo>
                    <a:pt x="329" y="788"/>
                    <a:pt x="326" y="787"/>
                    <a:pt x="324" y="786"/>
                  </a:cubicBezTo>
                  <a:cubicBezTo>
                    <a:pt x="323" y="786"/>
                    <a:pt x="321" y="785"/>
                    <a:pt x="320" y="785"/>
                  </a:cubicBezTo>
                  <a:cubicBezTo>
                    <a:pt x="320" y="785"/>
                    <a:pt x="319" y="785"/>
                    <a:pt x="319" y="785"/>
                  </a:cubicBezTo>
                  <a:cubicBezTo>
                    <a:pt x="314" y="783"/>
                    <a:pt x="308" y="782"/>
                    <a:pt x="303" y="780"/>
                  </a:cubicBezTo>
                  <a:cubicBezTo>
                    <a:pt x="303" y="780"/>
                    <a:pt x="303" y="780"/>
                    <a:pt x="303" y="780"/>
                  </a:cubicBezTo>
                  <a:moveTo>
                    <a:pt x="332" y="788"/>
                  </a:moveTo>
                  <a:cubicBezTo>
                    <a:pt x="334" y="789"/>
                    <a:pt x="337" y="790"/>
                    <a:pt x="339" y="791"/>
                  </a:cubicBezTo>
                  <a:cubicBezTo>
                    <a:pt x="346" y="793"/>
                    <a:pt x="353" y="795"/>
                    <a:pt x="360" y="796"/>
                  </a:cubicBezTo>
                  <a:cubicBezTo>
                    <a:pt x="357" y="795"/>
                    <a:pt x="355" y="794"/>
                    <a:pt x="353" y="794"/>
                  </a:cubicBezTo>
                  <a:cubicBezTo>
                    <a:pt x="349" y="792"/>
                    <a:pt x="344" y="791"/>
                    <a:pt x="339" y="790"/>
                  </a:cubicBezTo>
                  <a:cubicBezTo>
                    <a:pt x="337" y="789"/>
                    <a:pt x="336" y="789"/>
                    <a:pt x="334" y="789"/>
                  </a:cubicBezTo>
                  <a:cubicBezTo>
                    <a:pt x="334" y="789"/>
                    <a:pt x="333" y="788"/>
                    <a:pt x="333" y="788"/>
                  </a:cubicBezTo>
                  <a:cubicBezTo>
                    <a:pt x="332" y="788"/>
                    <a:pt x="332" y="788"/>
                    <a:pt x="332" y="788"/>
                  </a:cubicBezTo>
                  <a:cubicBezTo>
                    <a:pt x="332" y="788"/>
                    <a:pt x="332" y="788"/>
                    <a:pt x="332" y="788"/>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50" name="Freeform 79"/>
            <p:cNvSpPr>
              <a:spLocks noEditPoints="1"/>
            </p:cNvSpPr>
            <p:nvPr userDrawn="1"/>
          </p:nvSpPr>
          <p:spPr bwMode="auto">
            <a:xfrm>
              <a:off x="1857" y="3474"/>
              <a:ext cx="2977" cy="1854"/>
            </a:xfrm>
            <a:custGeom>
              <a:avLst/>
              <a:gdLst>
                <a:gd name="T0" fmla="*/ 2147483646 w 1469"/>
                <a:gd name="T1" fmla="*/ 2147483646 h 914"/>
                <a:gd name="T2" fmla="*/ 2147483646 w 1469"/>
                <a:gd name="T3" fmla="*/ 2147483646 h 914"/>
                <a:gd name="T4" fmla="*/ 2147483646 w 1469"/>
                <a:gd name="T5" fmla="*/ 2147483646 h 914"/>
                <a:gd name="T6" fmla="*/ 2147483646 w 1469"/>
                <a:gd name="T7" fmla="*/ 2147483646 h 914"/>
                <a:gd name="T8" fmla="*/ 2147483646 w 1469"/>
                <a:gd name="T9" fmla="*/ 2147483646 h 914"/>
                <a:gd name="T10" fmla="*/ 2147483646 w 1469"/>
                <a:gd name="T11" fmla="*/ 2147483646 h 914"/>
                <a:gd name="T12" fmla="*/ 2147483646 w 1469"/>
                <a:gd name="T13" fmla="*/ 2147483646 h 914"/>
                <a:gd name="T14" fmla="*/ 2147483646 w 1469"/>
                <a:gd name="T15" fmla="*/ 2147483646 h 914"/>
                <a:gd name="T16" fmla="*/ 2147483646 w 1469"/>
                <a:gd name="T17" fmla="*/ 2147483646 h 914"/>
                <a:gd name="T18" fmla="*/ 2147483646 w 1469"/>
                <a:gd name="T19" fmla="*/ 2147483646 h 914"/>
                <a:gd name="T20" fmla="*/ 2147483646 w 1469"/>
                <a:gd name="T21" fmla="*/ 2147483646 h 914"/>
                <a:gd name="T22" fmla="*/ 2147483646 w 1469"/>
                <a:gd name="T23" fmla="*/ 2147483646 h 914"/>
                <a:gd name="T24" fmla="*/ 2147483646 w 1469"/>
                <a:gd name="T25" fmla="*/ 2147483646 h 914"/>
                <a:gd name="T26" fmla="*/ 2147483646 w 1469"/>
                <a:gd name="T27" fmla="*/ 2147483646 h 914"/>
                <a:gd name="T28" fmla="*/ 2147483646 w 1469"/>
                <a:gd name="T29" fmla="*/ 2147483646 h 914"/>
                <a:gd name="T30" fmla="*/ 2147483646 w 1469"/>
                <a:gd name="T31" fmla="*/ 2147483646 h 914"/>
                <a:gd name="T32" fmla="*/ 2147483646 w 1469"/>
                <a:gd name="T33" fmla="*/ 2147483646 h 914"/>
                <a:gd name="T34" fmla="*/ 2147483646 w 1469"/>
                <a:gd name="T35" fmla="*/ 2147483646 h 914"/>
                <a:gd name="T36" fmla="*/ 2147483646 w 1469"/>
                <a:gd name="T37" fmla="*/ 2147483646 h 914"/>
                <a:gd name="T38" fmla="*/ 2147483646 w 1469"/>
                <a:gd name="T39" fmla="*/ 2147483646 h 914"/>
                <a:gd name="T40" fmla="*/ 2147483646 w 1469"/>
                <a:gd name="T41" fmla="*/ 2147483646 h 914"/>
                <a:gd name="T42" fmla="*/ 2147483646 w 1469"/>
                <a:gd name="T43" fmla="*/ 2147483646 h 914"/>
                <a:gd name="T44" fmla="*/ 2147483646 w 1469"/>
                <a:gd name="T45" fmla="*/ 2147483646 h 914"/>
                <a:gd name="T46" fmla="*/ 2147483646 w 1469"/>
                <a:gd name="T47" fmla="*/ 2147483646 h 914"/>
                <a:gd name="T48" fmla="*/ 2147483646 w 1469"/>
                <a:gd name="T49" fmla="*/ 2147483646 h 914"/>
                <a:gd name="T50" fmla="*/ 2147483646 w 1469"/>
                <a:gd name="T51" fmla="*/ 2147483646 h 914"/>
                <a:gd name="T52" fmla="*/ 2147483646 w 1469"/>
                <a:gd name="T53" fmla="*/ 2147483646 h 914"/>
                <a:gd name="T54" fmla="*/ 2147483646 w 1469"/>
                <a:gd name="T55" fmla="*/ 2147483646 h 914"/>
                <a:gd name="T56" fmla="*/ 2147483646 w 1469"/>
                <a:gd name="T57" fmla="*/ 2147483646 h 914"/>
                <a:gd name="T58" fmla="*/ 2147483646 w 1469"/>
                <a:gd name="T59" fmla="*/ 2147483646 h 914"/>
                <a:gd name="T60" fmla="*/ 2147483646 w 1469"/>
                <a:gd name="T61" fmla="*/ 2147483646 h 914"/>
                <a:gd name="T62" fmla="*/ 2147483646 w 1469"/>
                <a:gd name="T63" fmla="*/ 2147483646 h 914"/>
                <a:gd name="T64" fmla="*/ 2147483646 w 1469"/>
                <a:gd name="T65" fmla="*/ 2147483646 h 914"/>
                <a:gd name="T66" fmla="*/ 2147483646 w 1469"/>
                <a:gd name="T67" fmla="*/ 2147483646 h 914"/>
                <a:gd name="T68" fmla="*/ 2147483646 w 1469"/>
                <a:gd name="T69" fmla="*/ 2147483646 h 914"/>
                <a:gd name="T70" fmla="*/ 2147483646 w 1469"/>
                <a:gd name="T71" fmla="*/ 2147483646 h 914"/>
                <a:gd name="T72" fmla="*/ 2147483646 w 1469"/>
                <a:gd name="T73" fmla="*/ 2147483646 h 914"/>
                <a:gd name="T74" fmla="*/ 2147483646 w 1469"/>
                <a:gd name="T75" fmla="*/ 2147483646 h 914"/>
                <a:gd name="T76" fmla="*/ 2147483646 w 1469"/>
                <a:gd name="T77" fmla="*/ 2147483646 h 914"/>
                <a:gd name="T78" fmla="*/ 2147483646 w 1469"/>
                <a:gd name="T79" fmla="*/ 2147483646 h 914"/>
                <a:gd name="T80" fmla="*/ 2147483646 w 1469"/>
                <a:gd name="T81" fmla="*/ 2147483646 h 914"/>
                <a:gd name="T82" fmla="*/ 2147483646 w 1469"/>
                <a:gd name="T83" fmla="*/ 2147483646 h 914"/>
                <a:gd name="T84" fmla="*/ 2147483646 w 1469"/>
                <a:gd name="T85" fmla="*/ 2147483646 h 914"/>
                <a:gd name="T86" fmla="*/ 2147483646 w 1469"/>
                <a:gd name="T87" fmla="*/ 2147483646 h 914"/>
                <a:gd name="T88" fmla="*/ 2147483646 w 1469"/>
                <a:gd name="T89" fmla="*/ 2147483646 h 914"/>
                <a:gd name="T90" fmla="*/ 2147483646 w 1469"/>
                <a:gd name="T91" fmla="*/ 2147483646 h 914"/>
                <a:gd name="T92" fmla="*/ 2147483646 w 1469"/>
                <a:gd name="T93" fmla="*/ 2147483646 h 914"/>
                <a:gd name="T94" fmla="*/ 2147483646 w 1469"/>
                <a:gd name="T95" fmla="*/ 2147483646 h 914"/>
                <a:gd name="T96" fmla="*/ 2147483646 w 1469"/>
                <a:gd name="T97" fmla="*/ 2147483646 h 914"/>
                <a:gd name="T98" fmla="*/ 2147483646 w 1469"/>
                <a:gd name="T99" fmla="*/ 2147483646 h 914"/>
                <a:gd name="T100" fmla="*/ 2147483646 w 1469"/>
                <a:gd name="T101" fmla="*/ 2147483646 h 914"/>
                <a:gd name="T102" fmla="*/ 2147483646 w 1469"/>
                <a:gd name="T103" fmla="*/ 2147483646 h 914"/>
                <a:gd name="T104" fmla="*/ 2147483646 w 1469"/>
                <a:gd name="T105" fmla="*/ 2147483646 h 914"/>
                <a:gd name="T106" fmla="*/ 2147483646 w 1469"/>
                <a:gd name="T107" fmla="*/ 2147483646 h 914"/>
                <a:gd name="T108" fmla="*/ 2147483646 w 1469"/>
                <a:gd name="T109" fmla="*/ 2147483646 h 914"/>
                <a:gd name="T110" fmla="*/ 2147483646 w 1469"/>
                <a:gd name="T111" fmla="*/ 2147483646 h 914"/>
                <a:gd name="T112" fmla="*/ 2147483646 w 1469"/>
                <a:gd name="T113" fmla="*/ 2147483646 h 914"/>
                <a:gd name="T114" fmla="*/ 2147483646 w 1469"/>
                <a:gd name="T115" fmla="*/ 2147483646 h 914"/>
                <a:gd name="T116" fmla="*/ 2147483646 w 1469"/>
                <a:gd name="T117" fmla="*/ 2147483646 h 914"/>
                <a:gd name="T118" fmla="*/ 2147483646 w 1469"/>
                <a:gd name="T119" fmla="*/ 2147483646 h 914"/>
                <a:gd name="T120" fmla="*/ 2147483646 w 1469"/>
                <a:gd name="T121" fmla="*/ 2147483646 h 914"/>
                <a:gd name="T122" fmla="*/ 2147483646 w 1469"/>
                <a:gd name="T123" fmla="*/ 2147483646 h 914"/>
                <a:gd name="T124" fmla="*/ 2147483646 w 1469"/>
                <a:gd name="T125" fmla="*/ 2147483646 h 9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469" h="914">
                  <a:moveTo>
                    <a:pt x="1413" y="0"/>
                  </a:moveTo>
                  <a:cubicBezTo>
                    <a:pt x="1412" y="0"/>
                    <a:pt x="1411" y="0"/>
                    <a:pt x="1410" y="0"/>
                  </a:cubicBezTo>
                  <a:cubicBezTo>
                    <a:pt x="1409" y="1"/>
                    <a:pt x="1409" y="1"/>
                    <a:pt x="1409" y="1"/>
                  </a:cubicBezTo>
                  <a:cubicBezTo>
                    <a:pt x="1410" y="1"/>
                    <a:pt x="1412" y="1"/>
                    <a:pt x="1413" y="1"/>
                  </a:cubicBezTo>
                  <a:cubicBezTo>
                    <a:pt x="1416" y="1"/>
                    <a:pt x="1420" y="2"/>
                    <a:pt x="1423" y="3"/>
                  </a:cubicBezTo>
                  <a:cubicBezTo>
                    <a:pt x="1423" y="2"/>
                    <a:pt x="1423" y="2"/>
                    <a:pt x="1424" y="2"/>
                  </a:cubicBezTo>
                  <a:cubicBezTo>
                    <a:pt x="1420" y="1"/>
                    <a:pt x="1417" y="0"/>
                    <a:pt x="1413" y="0"/>
                  </a:cubicBezTo>
                  <a:moveTo>
                    <a:pt x="1408" y="0"/>
                  </a:moveTo>
                  <a:cubicBezTo>
                    <a:pt x="1403" y="1"/>
                    <a:pt x="1398" y="2"/>
                    <a:pt x="1393" y="4"/>
                  </a:cubicBezTo>
                  <a:cubicBezTo>
                    <a:pt x="1393" y="5"/>
                    <a:pt x="1392" y="5"/>
                    <a:pt x="1392" y="6"/>
                  </a:cubicBezTo>
                  <a:cubicBezTo>
                    <a:pt x="1397" y="4"/>
                    <a:pt x="1402" y="2"/>
                    <a:pt x="1407" y="1"/>
                  </a:cubicBezTo>
                  <a:cubicBezTo>
                    <a:pt x="1408" y="1"/>
                    <a:pt x="1408" y="1"/>
                    <a:pt x="1408" y="0"/>
                  </a:cubicBezTo>
                  <a:moveTo>
                    <a:pt x="1425" y="2"/>
                  </a:moveTo>
                  <a:cubicBezTo>
                    <a:pt x="1424" y="2"/>
                    <a:pt x="1424" y="3"/>
                    <a:pt x="1424" y="3"/>
                  </a:cubicBezTo>
                  <a:cubicBezTo>
                    <a:pt x="1424" y="3"/>
                    <a:pt x="1424" y="3"/>
                    <a:pt x="1425" y="3"/>
                  </a:cubicBezTo>
                  <a:cubicBezTo>
                    <a:pt x="1425" y="3"/>
                    <a:pt x="1425" y="3"/>
                    <a:pt x="1425" y="2"/>
                  </a:cubicBezTo>
                  <a:cubicBezTo>
                    <a:pt x="1425" y="2"/>
                    <a:pt x="1425" y="2"/>
                    <a:pt x="1425" y="2"/>
                  </a:cubicBezTo>
                  <a:moveTo>
                    <a:pt x="1427" y="3"/>
                  </a:moveTo>
                  <a:cubicBezTo>
                    <a:pt x="1427" y="3"/>
                    <a:pt x="1426" y="3"/>
                    <a:pt x="1426" y="4"/>
                  </a:cubicBezTo>
                  <a:cubicBezTo>
                    <a:pt x="1429" y="5"/>
                    <a:pt x="1432" y="7"/>
                    <a:pt x="1435" y="9"/>
                  </a:cubicBezTo>
                  <a:cubicBezTo>
                    <a:pt x="1435" y="9"/>
                    <a:pt x="1435" y="8"/>
                    <a:pt x="1436" y="8"/>
                  </a:cubicBezTo>
                  <a:cubicBezTo>
                    <a:pt x="1433" y="6"/>
                    <a:pt x="1430" y="4"/>
                    <a:pt x="1427" y="3"/>
                  </a:cubicBezTo>
                  <a:moveTo>
                    <a:pt x="1391" y="5"/>
                  </a:moveTo>
                  <a:cubicBezTo>
                    <a:pt x="1385" y="7"/>
                    <a:pt x="1380" y="11"/>
                    <a:pt x="1374" y="14"/>
                  </a:cubicBezTo>
                  <a:cubicBezTo>
                    <a:pt x="1373" y="15"/>
                    <a:pt x="1372" y="16"/>
                    <a:pt x="1371" y="17"/>
                  </a:cubicBezTo>
                  <a:cubicBezTo>
                    <a:pt x="1378" y="13"/>
                    <a:pt x="1384" y="9"/>
                    <a:pt x="1390" y="7"/>
                  </a:cubicBezTo>
                  <a:cubicBezTo>
                    <a:pt x="1390" y="6"/>
                    <a:pt x="1390" y="6"/>
                    <a:pt x="1391" y="5"/>
                  </a:cubicBezTo>
                  <a:moveTo>
                    <a:pt x="1436" y="9"/>
                  </a:moveTo>
                  <a:cubicBezTo>
                    <a:pt x="1436" y="9"/>
                    <a:pt x="1436" y="9"/>
                    <a:pt x="1436" y="10"/>
                  </a:cubicBezTo>
                  <a:cubicBezTo>
                    <a:pt x="1436" y="10"/>
                    <a:pt x="1436" y="10"/>
                    <a:pt x="1437" y="10"/>
                  </a:cubicBezTo>
                  <a:cubicBezTo>
                    <a:pt x="1437" y="10"/>
                    <a:pt x="1437" y="10"/>
                    <a:pt x="1437" y="10"/>
                  </a:cubicBezTo>
                  <a:cubicBezTo>
                    <a:pt x="1437" y="9"/>
                    <a:pt x="1437" y="9"/>
                    <a:pt x="1436" y="9"/>
                  </a:cubicBezTo>
                  <a:moveTo>
                    <a:pt x="1438" y="10"/>
                  </a:moveTo>
                  <a:cubicBezTo>
                    <a:pt x="1438" y="11"/>
                    <a:pt x="1438" y="11"/>
                    <a:pt x="1437" y="11"/>
                  </a:cubicBezTo>
                  <a:cubicBezTo>
                    <a:pt x="1438" y="12"/>
                    <a:pt x="1438" y="12"/>
                    <a:pt x="1439" y="13"/>
                  </a:cubicBezTo>
                  <a:cubicBezTo>
                    <a:pt x="1439" y="12"/>
                    <a:pt x="1439" y="12"/>
                    <a:pt x="1440" y="12"/>
                  </a:cubicBezTo>
                  <a:cubicBezTo>
                    <a:pt x="1439" y="11"/>
                    <a:pt x="1439" y="11"/>
                    <a:pt x="1438" y="10"/>
                  </a:cubicBezTo>
                  <a:moveTo>
                    <a:pt x="1440" y="13"/>
                  </a:moveTo>
                  <a:cubicBezTo>
                    <a:pt x="1440" y="13"/>
                    <a:pt x="1440" y="13"/>
                    <a:pt x="1440" y="13"/>
                  </a:cubicBezTo>
                  <a:cubicBezTo>
                    <a:pt x="1441" y="14"/>
                    <a:pt x="1442" y="16"/>
                    <a:pt x="1443" y="17"/>
                  </a:cubicBezTo>
                  <a:cubicBezTo>
                    <a:pt x="1443" y="17"/>
                    <a:pt x="1443" y="17"/>
                    <a:pt x="1444" y="17"/>
                  </a:cubicBezTo>
                  <a:cubicBezTo>
                    <a:pt x="1443" y="15"/>
                    <a:pt x="1441" y="14"/>
                    <a:pt x="1440" y="13"/>
                  </a:cubicBezTo>
                  <a:moveTo>
                    <a:pt x="1371" y="17"/>
                  </a:moveTo>
                  <a:cubicBezTo>
                    <a:pt x="1351" y="30"/>
                    <a:pt x="1330" y="50"/>
                    <a:pt x="1307" y="75"/>
                  </a:cubicBezTo>
                  <a:cubicBezTo>
                    <a:pt x="1307" y="76"/>
                    <a:pt x="1306" y="76"/>
                    <a:pt x="1306" y="77"/>
                  </a:cubicBezTo>
                  <a:cubicBezTo>
                    <a:pt x="1286" y="99"/>
                    <a:pt x="1265" y="124"/>
                    <a:pt x="1244" y="151"/>
                  </a:cubicBezTo>
                  <a:cubicBezTo>
                    <a:pt x="1244" y="151"/>
                    <a:pt x="1244" y="152"/>
                    <a:pt x="1244" y="152"/>
                  </a:cubicBezTo>
                  <a:cubicBezTo>
                    <a:pt x="1228" y="172"/>
                    <a:pt x="1213" y="192"/>
                    <a:pt x="1197" y="213"/>
                  </a:cubicBezTo>
                  <a:cubicBezTo>
                    <a:pt x="1198" y="213"/>
                    <a:pt x="1198" y="213"/>
                    <a:pt x="1199" y="213"/>
                  </a:cubicBezTo>
                  <a:cubicBezTo>
                    <a:pt x="1214" y="192"/>
                    <a:pt x="1229" y="172"/>
                    <a:pt x="1244" y="153"/>
                  </a:cubicBezTo>
                  <a:cubicBezTo>
                    <a:pt x="1244" y="153"/>
                    <a:pt x="1245" y="152"/>
                    <a:pt x="1245" y="152"/>
                  </a:cubicBezTo>
                  <a:cubicBezTo>
                    <a:pt x="1266" y="124"/>
                    <a:pt x="1288" y="98"/>
                    <a:pt x="1308" y="76"/>
                  </a:cubicBezTo>
                  <a:cubicBezTo>
                    <a:pt x="1309" y="75"/>
                    <a:pt x="1309" y="75"/>
                    <a:pt x="1310" y="74"/>
                  </a:cubicBezTo>
                  <a:cubicBezTo>
                    <a:pt x="1330" y="51"/>
                    <a:pt x="1350" y="33"/>
                    <a:pt x="1368" y="20"/>
                  </a:cubicBezTo>
                  <a:cubicBezTo>
                    <a:pt x="1369" y="19"/>
                    <a:pt x="1370" y="18"/>
                    <a:pt x="1371" y="17"/>
                  </a:cubicBezTo>
                  <a:moveTo>
                    <a:pt x="1444" y="17"/>
                  </a:moveTo>
                  <a:cubicBezTo>
                    <a:pt x="1444" y="18"/>
                    <a:pt x="1444" y="18"/>
                    <a:pt x="1443" y="18"/>
                  </a:cubicBezTo>
                  <a:cubicBezTo>
                    <a:pt x="1445" y="21"/>
                    <a:pt x="1447" y="24"/>
                    <a:pt x="1449" y="27"/>
                  </a:cubicBezTo>
                  <a:cubicBezTo>
                    <a:pt x="1449" y="27"/>
                    <a:pt x="1450" y="27"/>
                    <a:pt x="1450" y="27"/>
                  </a:cubicBezTo>
                  <a:cubicBezTo>
                    <a:pt x="1448" y="23"/>
                    <a:pt x="1446" y="20"/>
                    <a:pt x="1444" y="17"/>
                  </a:cubicBezTo>
                  <a:moveTo>
                    <a:pt x="1451" y="28"/>
                  </a:moveTo>
                  <a:cubicBezTo>
                    <a:pt x="1450" y="28"/>
                    <a:pt x="1450" y="28"/>
                    <a:pt x="1450" y="28"/>
                  </a:cubicBezTo>
                  <a:cubicBezTo>
                    <a:pt x="1452" y="33"/>
                    <a:pt x="1455" y="39"/>
                    <a:pt x="1457" y="46"/>
                  </a:cubicBezTo>
                  <a:cubicBezTo>
                    <a:pt x="1457" y="46"/>
                    <a:pt x="1457" y="46"/>
                    <a:pt x="1458" y="45"/>
                  </a:cubicBezTo>
                  <a:cubicBezTo>
                    <a:pt x="1456" y="39"/>
                    <a:pt x="1453" y="33"/>
                    <a:pt x="1451" y="28"/>
                  </a:cubicBezTo>
                  <a:moveTo>
                    <a:pt x="1458" y="46"/>
                  </a:moveTo>
                  <a:cubicBezTo>
                    <a:pt x="1458" y="47"/>
                    <a:pt x="1457" y="47"/>
                    <a:pt x="1457" y="47"/>
                  </a:cubicBezTo>
                  <a:cubicBezTo>
                    <a:pt x="1457" y="47"/>
                    <a:pt x="1458" y="48"/>
                    <a:pt x="1458" y="49"/>
                  </a:cubicBezTo>
                  <a:cubicBezTo>
                    <a:pt x="1460" y="57"/>
                    <a:pt x="1462" y="65"/>
                    <a:pt x="1464" y="73"/>
                  </a:cubicBezTo>
                  <a:cubicBezTo>
                    <a:pt x="1464" y="73"/>
                    <a:pt x="1464" y="73"/>
                    <a:pt x="1465" y="73"/>
                  </a:cubicBezTo>
                  <a:cubicBezTo>
                    <a:pt x="1463" y="65"/>
                    <a:pt x="1461" y="56"/>
                    <a:pt x="1459" y="48"/>
                  </a:cubicBezTo>
                  <a:cubicBezTo>
                    <a:pt x="1458" y="48"/>
                    <a:pt x="1458" y="47"/>
                    <a:pt x="1458" y="46"/>
                  </a:cubicBezTo>
                  <a:moveTo>
                    <a:pt x="1465" y="74"/>
                  </a:moveTo>
                  <a:cubicBezTo>
                    <a:pt x="1465" y="74"/>
                    <a:pt x="1464" y="74"/>
                    <a:pt x="1464" y="74"/>
                  </a:cubicBezTo>
                  <a:cubicBezTo>
                    <a:pt x="1466" y="85"/>
                    <a:pt x="1467" y="96"/>
                    <a:pt x="1468" y="107"/>
                  </a:cubicBezTo>
                  <a:cubicBezTo>
                    <a:pt x="1468" y="107"/>
                    <a:pt x="1468" y="107"/>
                    <a:pt x="1469" y="107"/>
                  </a:cubicBezTo>
                  <a:cubicBezTo>
                    <a:pt x="1468" y="96"/>
                    <a:pt x="1467" y="85"/>
                    <a:pt x="1465" y="74"/>
                  </a:cubicBezTo>
                  <a:moveTo>
                    <a:pt x="1468" y="108"/>
                  </a:moveTo>
                  <a:cubicBezTo>
                    <a:pt x="1468" y="112"/>
                    <a:pt x="1468" y="116"/>
                    <a:pt x="1468" y="120"/>
                  </a:cubicBezTo>
                  <a:cubicBezTo>
                    <a:pt x="1468" y="128"/>
                    <a:pt x="1468" y="136"/>
                    <a:pt x="1467" y="144"/>
                  </a:cubicBezTo>
                  <a:cubicBezTo>
                    <a:pt x="1467" y="144"/>
                    <a:pt x="1468" y="144"/>
                    <a:pt x="1468" y="144"/>
                  </a:cubicBezTo>
                  <a:cubicBezTo>
                    <a:pt x="1469" y="136"/>
                    <a:pt x="1469" y="128"/>
                    <a:pt x="1469" y="120"/>
                  </a:cubicBezTo>
                  <a:cubicBezTo>
                    <a:pt x="1469" y="116"/>
                    <a:pt x="1469" y="112"/>
                    <a:pt x="1469" y="108"/>
                  </a:cubicBezTo>
                  <a:cubicBezTo>
                    <a:pt x="1468" y="108"/>
                    <a:pt x="1468" y="108"/>
                    <a:pt x="1468" y="108"/>
                  </a:cubicBezTo>
                  <a:moveTo>
                    <a:pt x="1467" y="145"/>
                  </a:moveTo>
                  <a:cubicBezTo>
                    <a:pt x="1466" y="158"/>
                    <a:pt x="1463" y="172"/>
                    <a:pt x="1460" y="185"/>
                  </a:cubicBezTo>
                  <a:cubicBezTo>
                    <a:pt x="1461" y="185"/>
                    <a:pt x="1461" y="185"/>
                    <a:pt x="1461" y="185"/>
                  </a:cubicBezTo>
                  <a:cubicBezTo>
                    <a:pt x="1464" y="172"/>
                    <a:pt x="1467" y="158"/>
                    <a:pt x="1468" y="145"/>
                  </a:cubicBezTo>
                  <a:cubicBezTo>
                    <a:pt x="1468" y="145"/>
                    <a:pt x="1467" y="145"/>
                    <a:pt x="1467" y="145"/>
                  </a:cubicBezTo>
                  <a:moveTo>
                    <a:pt x="1460" y="186"/>
                  </a:moveTo>
                  <a:cubicBezTo>
                    <a:pt x="1457" y="200"/>
                    <a:pt x="1452" y="214"/>
                    <a:pt x="1447" y="229"/>
                  </a:cubicBezTo>
                  <a:cubicBezTo>
                    <a:pt x="1447" y="229"/>
                    <a:pt x="1448" y="229"/>
                    <a:pt x="1448" y="229"/>
                  </a:cubicBezTo>
                  <a:cubicBezTo>
                    <a:pt x="1453" y="215"/>
                    <a:pt x="1458" y="201"/>
                    <a:pt x="1461" y="186"/>
                  </a:cubicBezTo>
                  <a:cubicBezTo>
                    <a:pt x="1461" y="186"/>
                    <a:pt x="1460" y="186"/>
                    <a:pt x="1460" y="186"/>
                  </a:cubicBezTo>
                  <a:moveTo>
                    <a:pt x="894" y="206"/>
                  </a:moveTo>
                  <a:cubicBezTo>
                    <a:pt x="894" y="206"/>
                    <a:pt x="893" y="206"/>
                    <a:pt x="893" y="206"/>
                  </a:cubicBezTo>
                  <a:cubicBezTo>
                    <a:pt x="891" y="206"/>
                    <a:pt x="890" y="207"/>
                    <a:pt x="889" y="207"/>
                  </a:cubicBezTo>
                  <a:cubicBezTo>
                    <a:pt x="891" y="207"/>
                    <a:pt x="892" y="207"/>
                    <a:pt x="894" y="207"/>
                  </a:cubicBezTo>
                  <a:cubicBezTo>
                    <a:pt x="902" y="207"/>
                    <a:pt x="911" y="207"/>
                    <a:pt x="918" y="208"/>
                  </a:cubicBezTo>
                  <a:cubicBezTo>
                    <a:pt x="919" y="208"/>
                    <a:pt x="919" y="208"/>
                    <a:pt x="920" y="207"/>
                  </a:cubicBezTo>
                  <a:cubicBezTo>
                    <a:pt x="912" y="206"/>
                    <a:pt x="903" y="206"/>
                    <a:pt x="894" y="206"/>
                  </a:cubicBezTo>
                  <a:moveTo>
                    <a:pt x="889" y="206"/>
                  </a:moveTo>
                  <a:cubicBezTo>
                    <a:pt x="870" y="206"/>
                    <a:pt x="851" y="209"/>
                    <a:pt x="832" y="214"/>
                  </a:cubicBezTo>
                  <a:cubicBezTo>
                    <a:pt x="831" y="214"/>
                    <a:pt x="830" y="215"/>
                    <a:pt x="829" y="215"/>
                  </a:cubicBezTo>
                  <a:cubicBezTo>
                    <a:pt x="821" y="217"/>
                    <a:pt x="814" y="220"/>
                    <a:pt x="806" y="223"/>
                  </a:cubicBezTo>
                  <a:cubicBezTo>
                    <a:pt x="806" y="224"/>
                    <a:pt x="805" y="224"/>
                    <a:pt x="805" y="224"/>
                  </a:cubicBezTo>
                  <a:cubicBezTo>
                    <a:pt x="796" y="228"/>
                    <a:pt x="788" y="232"/>
                    <a:pt x="781" y="238"/>
                  </a:cubicBezTo>
                  <a:cubicBezTo>
                    <a:pt x="781" y="238"/>
                    <a:pt x="780" y="238"/>
                    <a:pt x="780" y="238"/>
                  </a:cubicBezTo>
                  <a:cubicBezTo>
                    <a:pt x="769" y="246"/>
                    <a:pt x="760" y="256"/>
                    <a:pt x="754" y="267"/>
                  </a:cubicBezTo>
                  <a:cubicBezTo>
                    <a:pt x="754" y="267"/>
                    <a:pt x="754" y="268"/>
                    <a:pt x="754" y="268"/>
                  </a:cubicBezTo>
                  <a:cubicBezTo>
                    <a:pt x="749" y="277"/>
                    <a:pt x="746" y="288"/>
                    <a:pt x="746" y="300"/>
                  </a:cubicBezTo>
                  <a:cubicBezTo>
                    <a:pt x="746" y="300"/>
                    <a:pt x="746" y="300"/>
                    <a:pt x="746" y="301"/>
                  </a:cubicBezTo>
                  <a:cubicBezTo>
                    <a:pt x="746" y="301"/>
                    <a:pt x="746" y="301"/>
                    <a:pt x="746" y="302"/>
                  </a:cubicBezTo>
                  <a:cubicBezTo>
                    <a:pt x="746" y="305"/>
                    <a:pt x="747" y="309"/>
                    <a:pt x="747" y="313"/>
                  </a:cubicBezTo>
                  <a:cubicBezTo>
                    <a:pt x="749" y="321"/>
                    <a:pt x="749" y="329"/>
                    <a:pt x="750" y="336"/>
                  </a:cubicBezTo>
                  <a:cubicBezTo>
                    <a:pt x="750" y="337"/>
                    <a:pt x="750" y="337"/>
                    <a:pt x="750" y="338"/>
                  </a:cubicBezTo>
                  <a:cubicBezTo>
                    <a:pt x="750" y="338"/>
                    <a:pt x="750" y="339"/>
                    <a:pt x="750" y="340"/>
                  </a:cubicBezTo>
                  <a:cubicBezTo>
                    <a:pt x="750" y="348"/>
                    <a:pt x="749" y="355"/>
                    <a:pt x="748" y="363"/>
                  </a:cubicBezTo>
                  <a:cubicBezTo>
                    <a:pt x="748" y="363"/>
                    <a:pt x="748" y="364"/>
                    <a:pt x="748" y="364"/>
                  </a:cubicBezTo>
                  <a:cubicBezTo>
                    <a:pt x="747" y="371"/>
                    <a:pt x="746" y="378"/>
                    <a:pt x="744" y="386"/>
                  </a:cubicBezTo>
                  <a:cubicBezTo>
                    <a:pt x="744" y="386"/>
                    <a:pt x="744" y="386"/>
                    <a:pt x="744" y="387"/>
                  </a:cubicBezTo>
                  <a:cubicBezTo>
                    <a:pt x="742" y="391"/>
                    <a:pt x="741" y="395"/>
                    <a:pt x="740" y="399"/>
                  </a:cubicBezTo>
                  <a:cubicBezTo>
                    <a:pt x="740" y="399"/>
                    <a:pt x="740" y="399"/>
                    <a:pt x="740" y="400"/>
                  </a:cubicBezTo>
                  <a:cubicBezTo>
                    <a:pt x="739" y="400"/>
                    <a:pt x="739" y="401"/>
                    <a:pt x="739" y="402"/>
                  </a:cubicBezTo>
                  <a:cubicBezTo>
                    <a:pt x="739" y="402"/>
                    <a:pt x="739" y="403"/>
                    <a:pt x="739" y="403"/>
                  </a:cubicBezTo>
                  <a:cubicBezTo>
                    <a:pt x="739" y="403"/>
                    <a:pt x="739" y="403"/>
                    <a:pt x="739" y="403"/>
                  </a:cubicBezTo>
                  <a:cubicBezTo>
                    <a:pt x="739" y="403"/>
                    <a:pt x="739" y="403"/>
                    <a:pt x="740" y="403"/>
                  </a:cubicBezTo>
                  <a:cubicBezTo>
                    <a:pt x="740" y="403"/>
                    <a:pt x="740" y="403"/>
                    <a:pt x="740" y="402"/>
                  </a:cubicBezTo>
                  <a:cubicBezTo>
                    <a:pt x="740" y="402"/>
                    <a:pt x="740" y="401"/>
                    <a:pt x="741" y="400"/>
                  </a:cubicBezTo>
                  <a:cubicBezTo>
                    <a:pt x="741" y="400"/>
                    <a:pt x="741" y="399"/>
                    <a:pt x="741" y="399"/>
                  </a:cubicBezTo>
                  <a:cubicBezTo>
                    <a:pt x="742" y="395"/>
                    <a:pt x="743" y="391"/>
                    <a:pt x="744" y="387"/>
                  </a:cubicBezTo>
                  <a:cubicBezTo>
                    <a:pt x="745" y="387"/>
                    <a:pt x="745" y="386"/>
                    <a:pt x="745" y="386"/>
                  </a:cubicBezTo>
                  <a:cubicBezTo>
                    <a:pt x="747" y="379"/>
                    <a:pt x="748" y="372"/>
                    <a:pt x="749" y="364"/>
                  </a:cubicBezTo>
                  <a:cubicBezTo>
                    <a:pt x="749" y="364"/>
                    <a:pt x="749" y="364"/>
                    <a:pt x="749" y="363"/>
                  </a:cubicBezTo>
                  <a:cubicBezTo>
                    <a:pt x="750" y="356"/>
                    <a:pt x="751" y="348"/>
                    <a:pt x="751" y="340"/>
                  </a:cubicBezTo>
                  <a:cubicBezTo>
                    <a:pt x="751" y="340"/>
                    <a:pt x="751" y="339"/>
                    <a:pt x="751" y="338"/>
                  </a:cubicBezTo>
                  <a:cubicBezTo>
                    <a:pt x="751" y="337"/>
                    <a:pt x="751" y="337"/>
                    <a:pt x="751" y="337"/>
                  </a:cubicBezTo>
                  <a:cubicBezTo>
                    <a:pt x="750" y="329"/>
                    <a:pt x="750" y="321"/>
                    <a:pt x="748" y="313"/>
                  </a:cubicBezTo>
                  <a:cubicBezTo>
                    <a:pt x="748" y="309"/>
                    <a:pt x="747" y="306"/>
                    <a:pt x="747" y="302"/>
                  </a:cubicBezTo>
                  <a:cubicBezTo>
                    <a:pt x="747" y="302"/>
                    <a:pt x="747" y="301"/>
                    <a:pt x="747" y="301"/>
                  </a:cubicBezTo>
                  <a:cubicBezTo>
                    <a:pt x="747" y="301"/>
                    <a:pt x="747" y="300"/>
                    <a:pt x="747" y="300"/>
                  </a:cubicBezTo>
                  <a:cubicBezTo>
                    <a:pt x="747" y="288"/>
                    <a:pt x="750" y="278"/>
                    <a:pt x="755" y="268"/>
                  </a:cubicBezTo>
                  <a:cubicBezTo>
                    <a:pt x="755" y="268"/>
                    <a:pt x="755" y="268"/>
                    <a:pt x="755" y="267"/>
                  </a:cubicBezTo>
                  <a:cubicBezTo>
                    <a:pt x="761" y="256"/>
                    <a:pt x="770" y="247"/>
                    <a:pt x="781" y="239"/>
                  </a:cubicBezTo>
                  <a:cubicBezTo>
                    <a:pt x="782" y="238"/>
                    <a:pt x="782" y="238"/>
                    <a:pt x="782" y="238"/>
                  </a:cubicBezTo>
                  <a:cubicBezTo>
                    <a:pt x="786" y="235"/>
                    <a:pt x="790" y="233"/>
                    <a:pt x="795" y="230"/>
                  </a:cubicBezTo>
                  <a:cubicBezTo>
                    <a:pt x="799" y="228"/>
                    <a:pt x="803" y="226"/>
                    <a:pt x="807" y="224"/>
                  </a:cubicBezTo>
                  <a:cubicBezTo>
                    <a:pt x="807" y="224"/>
                    <a:pt x="808" y="224"/>
                    <a:pt x="808" y="224"/>
                  </a:cubicBezTo>
                  <a:cubicBezTo>
                    <a:pt x="816" y="220"/>
                    <a:pt x="824" y="217"/>
                    <a:pt x="832" y="215"/>
                  </a:cubicBezTo>
                  <a:cubicBezTo>
                    <a:pt x="834" y="215"/>
                    <a:pt x="835" y="214"/>
                    <a:pt x="836" y="214"/>
                  </a:cubicBezTo>
                  <a:cubicBezTo>
                    <a:pt x="852" y="210"/>
                    <a:pt x="869" y="208"/>
                    <a:pt x="886" y="207"/>
                  </a:cubicBezTo>
                  <a:cubicBezTo>
                    <a:pt x="887" y="207"/>
                    <a:pt x="888" y="206"/>
                    <a:pt x="889" y="206"/>
                  </a:cubicBezTo>
                  <a:moveTo>
                    <a:pt x="922" y="208"/>
                  </a:moveTo>
                  <a:cubicBezTo>
                    <a:pt x="921" y="208"/>
                    <a:pt x="921" y="208"/>
                    <a:pt x="920" y="208"/>
                  </a:cubicBezTo>
                  <a:cubicBezTo>
                    <a:pt x="931" y="210"/>
                    <a:pt x="942" y="212"/>
                    <a:pt x="951" y="215"/>
                  </a:cubicBezTo>
                  <a:cubicBezTo>
                    <a:pt x="951" y="215"/>
                    <a:pt x="952" y="215"/>
                    <a:pt x="952" y="215"/>
                  </a:cubicBezTo>
                  <a:cubicBezTo>
                    <a:pt x="943" y="211"/>
                    <a:pt x="932" y="209"/>
                    <a:pt x="922" y="208"/>
                  </a:cubicBezTo>
                  <a:moveTo>
                    <a:pt x="1198" y="214"/>
                  </a:moveTo>
                  <a:cubicBezTo>
                    <a:pt x="1197" y="214"/>
                    <a:pt x="1197" y="214"/>
                    <a:pt x="1196" y="214"/>
                  </a:cubicBezTo>
                  <a:cubicBezTo>
                    <a:pt x="1191" y="221"/>
                    <a:pt x="1186" y="227"/>
                    <a:pt x="1182" y="234"/>
                  </a:cubicBezTo>
                  <a:cubicBezTo>
                    <a:pt x="1182" y="234"/>
                    <a:pt x="1182" y="234"/>
                    <a:pt x="1183" y="234"/>
                  </a:cubicBezTo>
                  <a:cubicBezTo>
                    <a:pt x="1188" y="227"/>
                    <a:pt x="1193" y="220"/>
                    <a:pt x="1198" y="214"/>
                  </a:cubicBezTo>
                  <a:moveTo>
                    <a:pt x="953" y="215"/>
                  </a:moveTo>
                  <a:cubicBezTo>
                    <a:pt x="953" y="215"/>
                    <a:pt x="952" y="215"/>
                    <a:pt x="952" y="216"/>
                  </a:cubicBezTo>
                  <a:cubicBezTo>
                    <a:pt x="956" y="217"/>
                    <a:pt x="961" y="219"/>
                    <a:pt x="965" y="221"/>
                  </a:cubicBezTo>
                  <a:cubicBezTo>
                    <a:pt x="972" y="225"/>
                    <a:pt x="978" y="229"/>
                    <a:pt x="983" y="234"/>
                  </a:cubicBezTo>
                  <a:cubicBezTo>
                    <a:pt x="983" y="234"/>
                    <a:pt x="983" y="233"/>
                    <a:pt x="983" y="233"/>
                  </a:cubicBezTo>
                  <a:cubicBezTo>
                    <a:pt x="976" y="225"/>
                    <a:pt x="965" y="219"/>
                    <a:pt x="953" y="215"/>
                  </a:cubicBezTo>
                  <a:moveTo>
                    <a:pt x="1447" y="230"/>
                  </a:moveTo>
                  <a:cubicBezTo>
                    <a:pt x="1441" y="244"/>
                    <a:pt x="1435" y="258"/>
                    <a:pt x="1428" y="272"/>
                  </a:cubicBezTo>
                  <a:cubicBezTo>
                    <a:pt x="1428" y="273"/>
                    <a:pt x="1429" y="273"/>
                    <a:pt x="1429" y="273"/>
                  </a:cubicBezTo>
                  <a:cubicBezTo>
                    <a:pt x="1436" y="259"/>
                    <a:pt x="1442" y="244"/>
                    <a:pt x="1448" y="230"/>
                  </a:cubicBezTo>
                  <a:cubicBezTo>
                    <a:pt x="1447" y="230"/>
                    <a:pt x="1447" y="230"/>
                    <a:pt x="1447" y="230"/>
                  </a:cubicBezTo>
                  <a:moveTo>
                    <a:pt x="984" y="234"/>
                  </a:moveTo>
                  <a:cubicBezTo>
                    <a:pt x="984" y="234"/>
                    <a:pt x="984" y="234"/>
                    <a:pt x="983" y="235"/>
                  </a:cubicBezTo>
                  <a:cubicBezTo>
                    <a:pt x="986" y="238"/>
                    <a:pt x="989" y="241"/>
                    <a:pt x="991" y="245"/>
                  </a:cubicBezTo>
                  <a:cubicBezTo>
                    <a:pt x="991" y="245"/>
                    <a:pt x="991" y="245"/>
                    <a:pt x="991" y="244"/>
                  </a:cubicBezTo>
                  <a:cubicBezTo>
                    <a:pt x="990" y="241"/>
                    <a:pt x="987" y="237"/>
                    <a:pt x="984" y="234"/>
                  </a:cubicBezTo>
                  <a:moveTo>
                    <a:pt x="1182" y="235"/>
                  </a:moveTo>
                  <a:cubicBezTo>
                    <a:pt x="1182" y="235"/>
                    <a:pt x="1181" y="235"/>
                    <a:pt x="1181" y="235"/>
                  </a:cubicBezTo>
                  <a:cubicBezTo>
                    <a:pt x="1173" y="245"/>
                    <a:pt x="1166" y="254"/>
                    <a:pt x="1159" y="264"/>
                  </a:cubicBezTo>
                  <a:cubicBezTo>
                    <a:pt x="1159" y="264"/>
                    <a:pt x="1159" y="264"/>
                    <a:pt x="1159" y="264"/>
                  </a:cubicBezTo>
                  <a:cubicBezTo>
                    <a:pt x="1162" y="261"/>
                    <a:pt x="1165" y="257"/>
                    <a:pt x="1167" y="254"/>
                  </a:cubicBezTo>
                  <a:cubicBezTo>
                    <a:pt x="1172" y="248"/>
                    <a:pt x="1177" y="241"/>
                    <a:pt x="1182" y="235"/>
                  </a:cubicBezTo>
                  <a:moveTo>
                    <a:pt x="992" y="245"/>
                  </a:moveTo>
                  <a:cubicBezTo>
                    <a:pt x="992" y="246"/>
                    <a:pt x="991" y="246"/>
                    <a:pt x="991" y="246"/>
                  </a:cubicBezTo>
                  <a:cubicBezTo>
                    <a:pt x="994" y="251"/>
                    <a:pt x="995" y="257"/>
                    <a:pt x="995" y="263"/>
                  </a:cubicBezTo>
                  <a:cubicBezTo>
                    <a:pt x="995" y="263"/>
                    <a:pt x="995" y="263"/>
                    <a:pt x="995" y="263"/>
                  </a:cubicBezTo>
                  <a:cubicBezTo>
                    <a:pt x="995" y="263"/>
                    <a:pt x="995" y="263"/>
                    <a:pt x="996" y="263"/>
                  </a:cubicBezTo>
                  <a:cubicBezTo>
                    <a:pt x="996" y="256"/>
                    <a:pt x="994" y="251"/>
                    <a:pt x="992" y="245"/>
                  </a:cubicBezTo>
                  <a:moveTo>
                    <a:pt x="996" y="264"/>
                  </a:moveTo>
                  <a:cubicBezTo>
                    <a:pt x="995" y="264"/>
                    <a:pt x="995" y="264"/>
                    <a:pt x="995" y="265"/>
                  </a:cubicBezTo>
                  <a:cubicBezTo>
                    <a:pt x="994" y="277"/>
                    <a:pt x="989" y="290"/>
                    <a:pt x="978" y="306"/>
                  </a:cubicBezTo>
                  <a:cubicBezTo>
                    <a:pt x="975" y="310"/>
                    <a:pt x="972" y="313"/>
                    <a:pt x="970" y="317"/>
                  </a:cubicBezTo>
                  <a:cubicBezTo>
                    <a:pt x="970" y="317"/>
                    <a:pt x="971" y="317"/>
                    <a:pt x="971" y="317"/>
                  </a:cubicBezTo>
                  <a:cubicBezTo>
                    <a:pt x="971" y="316"/>
                    <a:pt x="972" y="316"/>
                    <a:pt x="972" y="316"/>
                  </a:cubicBezTo>
                  <a:cubicBezTo>
                    <a:pt x="974" y="313"/>
                    <a:pt x="976" y="309"/>
                    <a:pt x="979" y="306"/>
                  </a:cubicBezTo>
                  <a:cubicBezTo>
                    <a:pt x="990" y="290"/>
                    <a:pt x="995" y="276"/>
                    <a:pt x="996" y="264"/>
                  </a:cubicBezTo>
                  <a:moveTo>
                    <a:pt x="1158" y="265"/>
                  </a:moveTo>
                  <a:cubicBezTo>
                    <a:pt x="1151" y="274"/>
                    <a:pt x="1143" y="284"/>
                    <a:pt x="1136" y="293"/>
                  </a:cubicBezTo>
                  <a:cubicBezTo>
                    <a:pt x="1137" y="293"/>
                    <a:pt x="1137" y="293"/>
                    <a:pt x="1138" y="293"/>
                  </a:cubicBezTo>
                  <a:cubicBezTo>
                    <a:pt x="1143" y="287"/>
                    <a:pt x="1148" y="280"/>
                    <a:pt x="1152" y="274"/>
                  </a:cubicBezTo>
                  <a:cubicBezTo>
                    <a:pt x="1154" y="271"/>
                    <a:pt x="1157" y="268"/>
                    <a:pt x="1159" y="265"/>
                  </a:cubicBezTo>
                  <a:cubicBezTo>
                    <a:pt x="1158" y="265"/>
                    <a:pt x="1158" y="265"/>
                    <a:pt x="1158" y="265"/>
                  </a:cubicBezTo>
                  <a:moveTo>
                    <a:pt x="1428" y="273"/>
                  </a:moveTo>
                  <a:cubicBezTo>
                    <a:pt x="1420" y="288"/>
                    <a:pt x="1412" y="302"/>
                    <a:pt x="1402" y="317"/>
                  </a:cubicBezTo>
                  <a:cubicBezTo>
                    <a:pt x="1403" y="317"/>
                    <a:pt x="1403" y="317"/>
                    <a:pt x="1403" y="317"/>
                  </a:cubicBezTo>
                  <a:cubicBezTo>
                    <a:pt x="1413" y="303"/>
                    <a:pt x="1421" y="288"/>
                    <a:pt x="1428" y="274"/>
                  </a:cubicBezTo>
                  <a:cubicBezTo>
                    <a:pt x="1428" y="274"/>
                    <a:pt x="1428" y="273"/>
                    <a:pt x="1428" y="273"/>
                  </a:cubicBezTo>
                  <a:moveTo>
                    <a:pt x="1137" y="294"/>
                  </a:moveTo>
                  <a:cubicBezTo>
                    <a:pt x="1137" y="294"/>
                    <a:pt x="1136" y="294"/>
                    <a:pt x="1136" y="294"/>
                  </a:cubicBezTo>
                  <a:cubicBezTo>
                    <a:pt x="1132" y="299"/>
                    <a:pt x="1127" y="304"/>
                    <a:pt x="1123" y="310"/>
                  </a:cubicBezTo>
                  <a:cubicBezTo>
                    <a:pt x="1123" y="310"/>
                    <a:pt x="1122" y="311"/>
                    <a:pt x="1121" y="312"/>
                  </a:cubicBezTo>
                  <a:cubicBezTo>
                    <a:pt x="1118" y="316"/>
                    <a:pt x="1115" y="320"/>
                    <a:pt x="1112" y="324"/>
                  </a:cubicBezTo>
                  <a:cubicBezTo>
                    <a:pt x="1113" y="324"/>
                    <a:pt x="1113" y="324"/>
                    <a:pt x="1113" y="324"/>
                  </a:cubicBezTo>
                  <a:cubicBezTo>
                    <a:pt x="1116" y="321"/>
                    <a:pt x="1118" y="318"/>
                    <a:pt x="1121" y="315"/>
                  </a:cubicBezTo>
                  <a:cubicBezTo>
                    <a:pt x="1121" y="314"/>
                    <a:pt x="1122" y="313"/>
                    <a:pt x="1122" y="312"/>
                  </a:cubicBezTo>
                  <a:cubicBezTo>
                    <a:pt x="1127" y="306"/>
                    <a:pt x="1132" y="300"/>
                    <a:pt x="1137" y="294"/>
                  </a:cubicBezTo>
                  <a:moveTo>
                    <a:pt x="1402" y="318"/>
                  </a:moveTo>
                  <a:cubicBezTo>
                    <a:pt x="1394" y="329"/>
                    <a:pt x="1387" y="341"/>
                    <a:pt x="1378" y="352"/>
                  </a:cubicBezTo>
                  <a:cubicBezTo>
                    <a:pt x="1378" y="352"/>
                    <a:pt x="1379" y="352"/>
                    <a:pt x="1379" y="353"/>
                  </a:cubicBezTo>
                  <a:cubicBezTo>
                    <a:pt x="1387" y="341"/>
                    <a:pt x="1395" y="330"/>
                    <a:pt x="1403" y="318"/>
                  </a:cubicBezTo>
                  <a:cubicBezTo>
                    <a:pt x="1402" y="318"/>
                    <a:pt x="1402" y="318"/>
                    <a:pt x="1402" y="318"/>
                  </a:cubicBezTo>
                  <a:moveTo>
                    <a:pt x="970" y="319"/>
                  </a:moveTo>
                  <a:cubicBezTo>
                    <a:pt x="969" y="320"/>
                    <a:pt x="968" y="321"/>
                    <a:pt x="967" y="322"/>
                  </a:cubicBezTo>
                  <a:cubicBezTo>
                    <a:pt x="965" y="325"/>
                    <a:pt x="963" y="328"/>
                    <a:pt x="961" y="331"/>
                  </a:cubicBezTo>
                  <a:cubicBezTo>
                    <a:pt x="961" y="331"/>
                    <a:pt x="962" y="331"/>
                    <a:pt x="962" y="331"/>
                  </a:cubicBezTo>
                  <a:cubicBezTo>
                    <a:pt x="964" y="327"/>
                    <a:pt x="967" y="323"/>
                    <a:pt x="970" y="319"/>
                  </a:cubicBezTo>
                  <a:moveTo>
                    <a:pt x="1111" y="324"/>
                  </a:moveTo>
                  <a:cubicBezTo>
                    <a:pt x="1111" y="325"/>
                    <a:pt x="1111" y="325"/>
                    <a:pt x="1111" y="325"/>
                  </a:cubicBezTo>
                  <a:cubicBezTo>
                    <a:pt x="1111" y="325"/>
                    <a:pt x="1111" y="326"/>
                    <a:pt x="1111" y="326"/>
                  </a:cubicBezTo>
                  <a:cubicBezTo>
                    <a:pt x="1112" y="326"/>
                    <a:pt x="1112" y="325"/>
                    <a:pt x="1113" y="325"/>
                  </a:cubicBezTo>
                  <a:cubicBezTo>
                    <a:pt x="1112" y="325"/>
                    <a:pt x="1112" y="324"/>
                    <a:pt x="1111" y="324"/>
                  </a:cubicBezTo>
                  <a:moveTo>
                    <a:pt x="1110" y="326"/>
                  </a:moveTo>
                  <a:cubicBezTo>
                    <a:pt x="1107" y="329"/>
                    <a:pt x="1105" y="333"/>
                    <a:pt x="1102" y="336"/>
                  </a:cubicBezTo>
                  <a:cubicBezTo>
                    <a:pt x="1102" y="336"/>
                    <a:pt x="1102" y="337"/>
                    <a:pt x="1102" y="337"/>
                  </a:cubicBezTo>
                  <a:cubicBezTo>
                    <a:pt x="1105" y="334"/>
                    <a:pt x="1108" y="330"/>
                    <a:pt x="1111" y="327"/>
                  </a:cubicBezTo>
                  <a:cubicBezTo>
                    <a:pt x="1110" y="327"/>
                    <a:pt x="1110" y="326"/>
                    <a:pt x="1110" y="326"/>
                  </a:cubicBezTo>
                  <a:moveTo>
                    <a:pt x="961" y="332"/>
                  </a:moveTo>
                  <a:cubicBezTo>
                    <a:pt x="961" y="332"/>
                    <a:pt x="960" y="332"/>
                    <a:pt x="960" y="333"/>
                  </a:cubicBezTo>
                  <a:cubicBezTo>
                    <a:pt x="959" y="335"/>
                    <a:pt x="957" y="337"/>
                    <a:pt x="956" y="339"/>
                  </a:cubicBezTo>
                  <a:cubicBezTo>
                    <a:pt x="956" y="341"/>
                    <a:pt x="955" y="342"/>
                    <a:pt x="954" y="344"/>
                  </a:cubicBezTo>
                  <a:cubicBezTo>
                    <a:pt x="957" y="340"/>
                    <a:pt x="959" y="336"/>
                    <a:pt x="961" y="332"/>
                  </a:cubicBezTo>
                  <a:moveTo>
                    <a:pt x="1101" y="337"/>
                  </a:moveTo>
                  <a:cubicBezTo>
                    <a:pt x="1101" y="337"/>
                    <a:pt x="1100" y="338"/>
                    <a:pt x="1100" y="339"/>
                  </a:cubicBezTo>
                  <a:cubicBezTo>
                    <a:pt x="1100" y="339"/>
                    <a:pt x="1100" y="339"/>
                    <a:pt x="1099" y="340"/>
                  </a:cubicBezTo>
                  <a:cubicBezTo>
                    <a:pt x="1099" y="340"/>
                    <a:pt x="1099" y="341"/>
                    <a:pt x="1099" y="341"/>
                  </a:cubicBezTo>
                  <a:cubicBezTo>
                    <a:pt x="1100" y="340"/>
                    <a:pt x="1100" y="339"/>
                    <a:pt x="1101" y="338"/>
                  </a:cubicBezTo>
                  <a:cubicBezTo>
                    <a:pt x="1101" y="338"/>
                    <a:pt x="1101" y="337"/>
                    <a:pt x="1101" y="337"/>
                  </a:cubicBezTo>
                  <a:moveTo>
                    <a:pt x="1098" y="341"/>
                  </a:moveTo>
                  <a:cubicBezTo>
                    <a:pt x="1097" y="342"/>
                    <a:pt x="1096" y="342"/>
                    <a:pt x="1096" y="343"/>
                  </a:cubicBezTo>
                  <a:cubicBezTo>
                    <a:pt x="1096" y="344"/>
                    <a:pt x="1096" y="344"/>
                    <a:pt x="1096" y="345"/>
                  </a:cubicBezTo>
                  <a:cubicBezTo>
                    <a:pt x="1096" y="344"/>
                    <a:pt x="1096" y="344"/>
                    <a:pt x="1097" y="344"/>
                  </a:cubicBezTo>
                  <a:cubicBezTo>
                    <a:pt x="1097" y="343"/>
                    <a:pt x="1097" y="342"/>
                    <a:pt x="1098" y="341"/>
                  </a:cubicBezTo>
                  <a:moveTo>
                    <a:pt x="1094" y="345"/>
                  </a:moveTo>
                  <a:cubicBezTo>
                    <a:pt x="1091" y="349"/>
                    <a:pt x="1088" y="352"/>
                    <a:pt x="1085" y="356"/>
                  </a:cubicBezTo>
                  <a:cubicBezTo>
                    <a:pt x="1086" y="356"/>
                    <a:pt x="1086" y="356"/>
                    <a:pt x="1086" y="356"/>
                  </a:cubicBezTo>
                  <a:cubicBezTo>
                    <a:pt x="1089" y="353"/>
                    <a:pt x="1091" y="350"/>
                    <a:pt x="1094" y="347"/>
                  </a:cubicBezTo>
                  <a:cubicBezTo>
                    <a:pt x="1094" y="346"/>
                    <a:pt x="1094" y="346"/>
                    <a:pt x="1094" y="345"/>
                  </a:cubicBezTo>
                  <a:moveTo>
                    <a:pt x="952" y="346"/>
                  </a:moveTo>
                  <a:cubicBezTo>
                    <a:pt x="950" y="349"/>
                    <a:pt x="949" y="353"/>
                    <a:pt x="947" y="356"/>
                  </a:cubicBezTo>
                  <a:cubicBezTo>
                    <a:pt x="947" y="356"/>
                    <a:pt x="947" y="356"/>
                    <a:pt x="947" y="356"/>
                  </a:cubicBezTo>
                  <a:cubicBezTo>
                    <a:pt x="948" y="356"/>
                    <a:pt x="948" y="356"/>
                    <a:pt x="948" y="356"/>
                  </a:cubicBezTo>
                  <a:cubicBezTo>
                    <a:pt x="949" y="354"/>
                    <a:pt x="950" y="352"/>
                    <a:pt x="951" y="351"/>
                  </a:cubicBezTo>
                  <a:cubicBezTo>
                    <a:pt x="951" y="350"/>
                    <a:pt x="951" y="349"/>
                    <a:pt x="952" y="349"/>
                  </a:cubicBezTo>
                  <a:cubicBezTo>
                    <a:pt x="952" y="348"/>
                    <a:pt x="952" y="347"/>
                    <a:pt x="952" y="346"/>
                  </a:cubicBezTo>
                  <a:moveTo>
                    <a:pt x="1377" y="353"/>
                  </a:moveTo>
                  <a:cubicBezTo>
                    <a:pt x="1364" y="371"/>
                    <a:pt x="1349" y="388"/>
                    <a:pt x="1333" y="406"/>
                  </a:cubicBezTo>
                  <a:cubicBezTo>
                    <a:pt x="1333" y="406"/>
                    <a:pt x="1333" y="406"/>
                    <a:pt x="1333" y="407"/>
                  </a:cubicBezTo>
                  <a:cubicBezTo>
                    <a:pt x="1350" y="389"/>
                    <a:pt x="1365" y="371"/>
                    <a:pt x="1378" y="353"/>
                  </a:cubicBezTo>
                  <a:cubicBezTo>
                    <a:pt x="1378" y="353"/>
                    <a:pt x="1378" y="353"/>
                    <a:pt x="1377" y="353"/>
                  </a:cubicBezTo>
                  <a:moveTo>
                    <a:pt x="1084" y="357"/>
                  </a:moveTo>
                  <a:cubicBezTo>
                    <a:pt x="1084" y="357"/>
                    <a:pt x="1083" y="358"/>
                    <a:pt x="1083" y="358"/>
                  </a:cubicBezTo>
                  <a:cubicBezTo>
                    <a:pt x="1083" y="359"/>
                    <a:pt x="1083" y="359"/>
                    <a:pt x="1083" y="360"/>
                  </a:cubicBezTo>
                  <a:cubicBezTo>
                    <a:pt x="1084" y="359"/>
                    <a:pt x="1085" y="358"/>
                    <a:pt x="1085" y="357"/>
                  </a:cubicBezTo>
                  <a:cubicBezTo>
                    <a:pt x="1085" y="357"/>
                    <a:pt x="1085" y="357"/>
                    <a:pt x="1084" y="357"/>
                  </a:cubicBezTo>
                  <a:moveTo>
                    <a:pt x="948" y="357"/>
                  </a:moveTo>
                  <a:cubicBezTo>
                    <a:pt x="948" y="357"/>
                    <a:pt x="947" y="357"/>
                    <a:pt x="947" y="357"/>
                  </a:cubicBezTo>
                  <a:cubicBezTo>
                    <a:pt x="947" y="358"/>
                    <a:pt x="947" y="358"/>
                    <a:pt x="947" y="359"/>
                  </a:cubicBezTo>
                  <a:cubicBezTo>
                    <a:pt x="947" y="358"/>
                    <a:pt x="947" y="357"/>
                    <a:pt x="948" y="357"/>
                  </a:cubicBezTo>
                  <a:moveTo>
                    <a:pt x="946" y="358"/>
                  </a:moveTo>
                  <a:cubicBezTo>
                    <a:pt x="943" y="364"/>
                    <a:pt x="941" y="370"/>
                    <a:pt x="939" y="375"/>
                  </a:cubicBezTo>
                  <a:cubicBezTo>
                    <a:pt x="940" y="373"/>
                    <a:pt x="941" y="371"/>
                    <a:pt x="942" y="369"/>
                  </a:cubicBezTo>
                  <a:cubicBezTo>
                    <a:pt x="943" y="367"/>
                    <a:pt x="944" y="364"/>
                    <a:pt x="945" y="362"/>
                  </a:cubicBezTo>
                  <a:cubicBezTo>
                    <a:pt x="946" y="361"/>
                    <a:pt x="946" y="360"/>
                    <a:pt x="946" y="358"/>
                  </a:cubicBezTo>
                  <a:moveTo>
                    <a:pt x="1082" y="359"/>
                  </a:moveTo>
                  <a:cubicBezTo>
                    <a:pt x="1081" y="360"/>
                    <a:pt x="1081" y="360"/>
                    <a:pt x="1081" y="361"/>
                  </a:cubicBezTo>
                  <a:cubicBezTo>
                    <a:pt x="1081" y="361"/>
                    <a:pt x="1081" y="361"/>
                    <a:pt x="1082" y="361"/>
                  </a:cubicBezTo>
                  <a:cubicBezTo>
                    <a:pt x="1082" y="361"/>
                    <a:pt x="1082" y="361"/>
                    <a:pt x="1082" y="360"/>
                  </a:cubicBezTo>
                  <a:cubicBezTo>
                    <a:pt x="1082" y="360"/>
                    <a:pt x="1082" y="360"/>
                    <a:pt x="1082" y="359"/>
                  </a:cubicBezTo>
                  <a:moveTo>
                    <a:pt x="1080" y="361"/>
                  </a:moveTo>
                  <a:cubicBezTo>
                    <a:pt x="1075" y="367"/>
                    <a:pt x="1071" y="372"/>
                    <a:pt x="1066" y="376"/>
                  </a:cubicBezTo>
                  <a:cubicBezTo>
                    <a:pt x="1066" y="376"/>
                    <a:pt x="1067" y="377"/>
                    <a:pt x="1067" y="377"/>
                  </a:cubicBezTo>
                  <a:cubicBezTo>
                    <a:pt x="1071" y="372"/>
                    <a:pt x="1076" y="367"/>
                    <a:pt x="1081" y="362"/>
                  </a:cubicBezTo>
                  <a:cubicBezTo>
                    <a:pt x="1081" y="362"/>
                    <a:pt x="1080" y="362"/>
                    <a:pt x="1080" y="361"/>
                  </a:cubicBezTo>
                  <a:moveTo>
                    <a:pt x="940" y="376"/>
                  </a:moveTo>
                  <a:cubicBezTo>
                    <a:pt x="939" y="377"/>
                    <a:pt x="938" y="379"/>
                    <a:pt x="937" y="380"/>
                  </a:cubicBezTo>
                  <a:cubicBezTo>
                    <a:pt x="937" y="382"/>
                    <a:pt x="937" y="383"/>
                    <a:pt x="936" y="385"/>
                  </a:cubicBezTo>
                  <a:cubicBezTo>
                    <a:pt x="936" y="385"/>
                    <a:pt x="937" y="385"/>
                    <a:pt x="937" y="385"/>
                  </a:cubicBezTo>
                  <a:cubicBezTo>
                    <a:pt x="938" y="382"/>
                    <a:pt x="939" y="379"/>
                    <a:pt x="940" y="376"/>
                  </a:cubicBezTo>
                  <a:moveTo>
                    <a:pt x="1066" y="377"/>
                  </a:moveTo>
                  <a:cubicBezTo>
                    <a:pt x="1062" y="381"/>
                    <a:pt x="1059" y="384"/>
                    <a:pt x="1055" y="387"/>
                  </a:cubicBezTo>
                  <a:cubicBezTo>
                    <a:pt x="1056" y="387"/>
                    <a:pt x="1056" y="387"/>
                    <a:pt x="1056" y="387"/>
                  </a:cubicBezTo>
                  <a:cubicBezTo>
                    <a:pt x="1060" y="384"/>
                    <a:pt x="1063" y="381"/>
                    <a:pt x="1066" y="378"/>
                  </a:cubicBezTo>
                  <a:cubicBezTo>
                    <a:pt x="1066" y="377"/>
                    <a:pt x="1066" y="377"/>
                    <a:pt x="1066" y="377"/>
                  </a:cubicBezTo>
                  <a:moveTo>
                    <a:pt x="936" y="386"/>
                  </a:moveTo>
                  <a:cubicBezTo>
                    <a:pt x="935" y="388"/>
                    <a:pt x="935" y="390"/>
                    <a:pt x="935" y="391"/>
                  </a:cubicBezTo>
                  <a:cubicBezTo>
                    <a:pt x="935" y="390"/>
                    <a:pt x="936" y="390"/>
                    <a:pt x="936" y="388"/>
                  </a:cubicBezTo>
                  <a:cubicBezTo>
                    <a:pt x="937" y="388"/>
                    <a:pt x="937" y="387"/>
                    <a:pt x="937" y="386"/>
                  </a:cubicBezTo>
                  <a:cubicBezTo>
                    <a:pt x="937" y="386"/>
                    <a:pt x="936" y="386"/>
                    <a:pt x="936" y="386"/>
                  </a:cubicBezTo>
                  <a:moveTo>
                    <a:pt x="1054" y="388"/>
                  </a:moveTo>
                  <a:cubicBezTo>
                    <a:pt x="1052" y="390"/>
                    <a:pt x="1051" y="391"/>
                    <a:pt x="1049" y="393"/>
                  </a:cubicBezTo>
                  <a:cubicBezTo>
                    <a:pt x="1050" y="393"/>
                    <a:pt x="1050" y="393"/>
                    <a:pt x="1051" y="393"/>
                  </a:cubicBezTo>
                  <a:cubicBezTo>
                    <a:pt x="1052" y="391"/>
                    <a:pt x="1054" y="390"/>
                    <a:pt x="1055" y="388"/>
                  </a:cubicBezTo>
                  <a:cubicBezTo>
                    <a:pt x="1055" y="388"/>
                    <a:pt x="1054" y="388"/>
                    <a:pt x="1054" y="388"/>
                  </a:cubicBezTo>
                  <a:moveTo>
                    <a:pt x="936" y="392"/>
                  </a:moveTo>
                  <a:cubicBezTo>
                    <a:pt x="935" y="393"/>
                    <a:pt x="935" y="394"/>
                    <a:pt x="934" y="394"/>
                  </a:cubicBezTo>
                  <a:cubicBezTo>
                    <a:pt x="934" y="395"/>
                    <a:pt x="934" y="395"/>
                    <a:pt x="934" y="395"/>
                  </a:cubicBezTo>
                  <a:cubicBezTo>
                    <a:pt x="935" y="394"/>
                    <a:pt x="935" y="393"/>
                    <a:pt x="936" y="392"/>
                  </a:cubicBezTo>
                  <a:moveTo>
                    <a:pt x="1048" y="394"/>
                  </a:moveTo>
                  <a:cubicBezTo>
                    <a:pt x="1048" y="394"/>
                    <a:pt x="1047" y="395"/>
                    <a:pt x="1046" y="395"/>
                  </a:cubicBezTo>
                  <a:cubicBezTo>
                    <a:pt x="1047" y="396"/>
                    <a:pt x="1047" y="396"/>
                    <a:pt x="1047" y="396"/>
                  </a:cubicBezTo>
                  <a:cubicBezTo>
                    <a:pt x="1048" y="395"/>
                    <a:pt x="1049" y="395"/>
                    <a:pt x="1050" y="394"/>
                  </a:cubicBezTo>
                  <a:cubicBezTo>
                    <a:pt x="1049" y="394"/>
                    <a:pt x="1049" y="394"/>
                    <a:pt x="1048" y="394"/>
                  </a:cubicBezTo>
                  <a:moveTo>
                    <a:pt x="1046" y="396"/>
                  </a:moveTo>
                  <a:cubicBezTo>
                    <a:pt x="1042" y="399"/>
                    <a:pt x="1039" y="402"/>
                    <a:pt x="1036" y="404"/>
                  </a:cubicBezTo>
                  <a:cubicBezTo>
                    <a:pt x="1036" y="405"/>
                    <a:pt x="1036" y="405"/>
                    <a:pt x="1035" y="406"/>
                  </a:cubicBezTo>
                  <a:cubicBezTo>
                    <a:pt x="1035" y="406"/>
                    <a:pt x="1036" y="406"/>
                    <a:pt x="1036" y="406"/>
                  </a:cubicBezTo>
                  <a:cubicBezTo>
                    <a:pt x="1039" y="403"/>
                    <a:pt x="1043" y="400"/>
                    <a:pt x="1046" y="397"/>
                  </a:cubicBezTo>
                  <a:cubicBezTo>
                    <a:pt x="1046" y="396"/>
                    <a:pt x="1046" y="396"/>
                    <a:pt x="1046" y="396"/>
                  </a:cubicBezTo>
                  <a:moveTo>
                    <a:pt x="935" y="398"/>
                  </a:moveTo>
                  <a:cubicBezTo>
                    <a:pt x="935" y="399"/>
                    <a:pt x="934" y="400"/>
                    <a:pt x="934" y="400"/>
                  </a:cubicBezTo>
                  <a:cubicBezTo>
                    <a:pt x="934" y="401"/>
                    <a:pt x="934" y="401"/>
                    <a:pt x="934" y="402"/>
                  </a:cubicBezTo>
                  <a:cubicBezTo>
                    <a:pt x="934" y="402"/>
                    <a:pt x="934" y="403"/>
                    <a:pt x="934" y="403"/>
                  </a:cubicBezTo>
                  <a:cubicBezTo>
                    <a:pt x="934" y="403"/>
                    <a:pt x="935" y="402"/>
                    <a:pt x="935" y="402"/>
                  </a:cubicBezTo>
                  <a:cubicBezTo>
                    <a:pt x="935" y="400"/>
                    <a:pt x="935" y="399"/>
                    <a:pt x="935" y="398"/>
                  </a:cubicBezTo>
                  <a:moveTo>
                    <a:pt x="935" y="403"/>
                  </a:moveTo>
                  <a:cubicBezTo>
                    <a:pt x="935" y="404"/>
                    <a:pt x="934" y="404"/>
                    <a:pt x="934" y="405"/>
                  </a:cubicBezTo>
                  <a:cubicBezTo>
                    <a:pt x="934" y="407"/>
                    <a:pt x="934" y="408"/>
                    <a:pt x="935" y="410"/>
                  </a:cubicBezTo>
                  <a:cubicBezTo>
                    <a:pt x="935" y="409"/>
                    <a:pt x="935" y="408"/>
                    <a:pt x="935" y="407"/>
                  </a:cubicBezTo>
                  <a:cubicBezTo>
                    <a:pt x="935" y="406"/>
                    <a:pt x="935" y="405"/>
                    <a:pt x="935" y="403"/>
                  </a:cubicBezTo>
                  <a:moveTo>
                    <a:pt x="739" y="404"/>
                  </a:moveTo>
                  <a:cubicBezTo>
                    <a:pt x="739" y="404"/>
                    <a:pt x="738" y="404"/>
                    <a:pt x="738" y="404"/>
                  </a:cubicBezTo>
                  <a:cubicBezTo>
                    <a:pt x="738" y="406"/>
                    <a:pt x="737" y="407"/>
                    <a:pt x="737" y="408"/>
                  </a:cubicBezTo>
                  <a:cubicBezTo>
                    <a:pt x="737" y="408"/>
                    <a:pt x="737" y="409"/>
                    <a:pt x="736" y="409"/>
                  </a:cubicBezTo>
                  <a:cubicBezTo>
                    <a:pt x="736" y="410"/>
                    <a:pt x="735" y="412"/>
                    <a:pt x="735" y="413"/>
                  </a:cubicBezTo>
                  <a:cubicBezTo>
                    <a:pt x="735" y="413"/>
                    <a:pt x="735" y="414"/>
                    <a:pt x="735" y="414"/>
                  </a:cubicBezTo>
                  <a:cubicBezTo>
                    <a:pt x="734" y="415"/>
                    <a:pt x="734" y="416"/>
                    <a:pt x="733" y="418"/>
                  </a:cubicBezTo>
                  <a:cubicBezTo>
                    <a:pt x="733" y="418"/>
                    <a:pt x="733" y="418"/>
                    <a:pt x="733" y="419"/>
                  </a:cubicBezTo>
                  <a:cubicBezTo>
                    <a:pt x="732" y="420"/>
                    <a:pt x="732" y="421"/>
                    <a:pt x="731" y="421"/>
                  </a:cubicBezTo>
                  <a:cubicBezTo>
                    <a:pt x="732" y="421"/>
                    <a:pt x="732" y="421"/>
                    <a:pt x="732" y="421"/>
                  </a:cubicBezTo>
                  <a:cubicBezTo>
                    <a:pt x="733" y="421"/>
                    <a:pt x="733" y="420"/>
                    <a:pt x="733" y="419"/>
                  </a:cubicBezTo>
                  <a:cubicBezTo>
                    <a:pt x="734" y="419"/>
                    <a:pt x="734" y="418"/>
                    <a:pt x="734" y="418"/>
                  </a:cubicBezTo>
                  <a:cubicBezTo>
                    <a:pt x="734" y="417"/>
                    <a:pt x="735" y="416"/>
                    <a:pt x="735" y="414"/>
                  </a:cubicBezTo>
                  <a:cubicBezTo>
                    <a:pt x="736" y="414"/>
                    <a:pt x="736" y="414"/>
                    <a:pt x="736" y="413"/>
                  </a:cubicBezTo>
                  <a:cubicBezTo>
                    <a:pt x="736" y="412"/>
                    <a:pt x="737" y="411"/>
                    <a:pt x="737" y="409"/>
                  </a:cubicBezTo>
                  <a:cubicBezTo>
                    <a:pt x="738" y="409"/>
                    <a:pt x="738" y="409"/>
                    <a:pt x="738" y="408"/>
                  </a:cubicBezTo>
                  <a:cubicBezTo>
                    <a:pt x="738" y="407"/>
                    <a:pt x="739" y="406"/>
                    <a:pt x="739" y="404"/>
                  </a:cubicBezTo>
                  <a:moveTo>
                    <a:pt x="1034" y="405"/>
                  </a:moveTo>
                  <a:cubicBezTo>
                    <a:pt x="1034" y="406"/>
                    <a:pt x="1033" y="406"/>
                    <a:pt x="1033" y="406"/>
                  </a:cubicBezTo>
                  <a:cubicBezTo>
                    <a:pt x="1033" y="406"/>
                    <a:pt x="1034" y="406"/>
                    <a:pt x="1034" y="406"/>
                  </a:cubicBezTo>
                  <a:cubicBezTo>
                    <a:pt x="1034" y="406"/>
                    <a:pt x="1034" y="405"/>
                    <a:pt x="1034" y="405"/>
                  </a:cubicBezTo>
                  <a:moveTo>
                    <a:pt x="1332" y="406"/>
                  </a:moveTo>
                  <a:cubicBezTo>
                    <a:pt x="1315" y="424"/>
                    <a:pt x="1297" y="442"/>
                    <a:pt x="1278" y="459"/>
                  </a:cubicBezTo>
                  <a:cubicBezTo>
                    <a:pt x="1278" y="459"/>
                    <a:pt x="1278" y="460"/>
                    <a:pt x="1278" y="460"/>
                  </a:cubicBezTo>
                  <a:cubicBezTo>
                    <a:pt x="1298" y="443"/>
                    <a:pt x="1316" y="425"/>
                    <a:pt x="1333" y="407"/>
                  </a:cubicBezTo>
                  <a:cubicBezTo>
                    <a:pt x="1332" y="407"/>
                    <a:pt x="1332" y="407"/>
                    <a:pt x="1332" y="406"/>
                  </a:cubicBezTo>
                  <a:moveTo>
                    <a:pt x="1033" y="407"/>
                  </a:moveTo>
                  <a:cubicBezTo>
                    <a:pt x="1032" y="408"/>
                    <a:pt x="1031" y="408"/>
                    <a:pt x="1030" y="408"/>
                  </a:cubicBezTo>
                  <a:cubicBezTo>
                    <a:pt x="1028" y="410"/>
                    <a:pt x="1025" y="412"/>
                    <a:pt x="1022" y="414"/>
                  </a:cubicBezTo>
                  <a:cubicBezTo>
                    <a:pt x="1021" y="414"/>
                    <a:pt x="1021" y="414"/>
                    <a:pt x="1020" y="415"/>
                  </a:cubicBezTo>
                  <a:cubicBezTo>
                    <a:pt x="1020" y="415"/>
                    <a:pt x="1020" y="415"/>
                    <a:pt x="1020" y="415"/>
                  </a:cubicBezTo>
                  <a:cubicBezTo>
                    <a:pt x="1019" y="415"/>
                    <a:pt x="1019" y="416"/>
                    <a:pt x="1019" y="416"/>
                  </a:cubicBezTo>
                  <a:cubicBezTo>
                    <a:pt x="1019" y="416"/>
                    <a:pt x="1020" y="416"/>
                    <a:pt x="1020" y="416"/>
                  </a:cubicBezTo>
                  <a:cubicBezTo>
                    <a:pt x="1020" y="416"/>
                    <a:pt x="1021" y="416"/>
                    <a:pt x="1021" y="415"/>
                  </a:cubicBezTo>
                  <a:cubicBezTo>
                    <a:pt x="1025" y="413"/>
                    <a:pt x="1028" y="411"/>
                    <a:pt x="1031" y="409"/>
                  </a:cubicBezTo>
                  <a:cubicBezTo>
                    <a:pt x="1032" y="408"/>
                    <a:pt x="1033" y="408"/>
                    <a:pt x="1033" y="407"/>
                  </a:cubicBezTo>
                  <a:moveTo>
                    <a:pt x="936" y="410"/>
                  </a:moveTo>
                  <a:cubicBezTo>
                    <a:pt x="935" y="411"/>
                    <a:pt x="935" y="411"/>
                    <a:pt x="935" y="412"/>
                  </a:cubicBezTo>
                  <a:cubicBezTo>
                    <a:pt x="935" y="412"/>
                    <a:pt x="935" y="413"/>
                    <a:pt x="935" y="413"/>
                  </a:cubicBezTo>
                  <a:cubicBezTo>
                    <a:pt x="936" y="413"/>
                    <a:pt x="936" y="412"/>
                    <a:pt x="936" y="412"/>
                  </a:cubicBezTo>
                  <a:cubicBezTo>
                    <a:pt x="936" y="411"/>
                    <a:pt x="936" y="411"/>
                    <a:pt x="936" y="410"/>
                  </a:cubicBezTo>
                  <a:moveTo>
                    <a:pt x="937" y="413"/>
                  </a:moveTo>
                  <a:cubicBezTo>
                    <a:pt x="936" y="413"/>
                    <a:pt x="936" y="414"/>
                    <a:pt x="936" y="414"/>
                  </a:cubicBezTo>
                  <a:cubicBezTo>
                    <a:pt x="936" y="415"/>
                    <a:pt x="936" y="415"/>
                    <a:pt x="936" y="416"/>
                  </a:cubicBezTo>
                  <a:cubicBezTo>
                    <a:pt x="937" y="416"/>
                    <a:pt x="937" y="416"/>
                    <a:pt x="938" y="416"/>
                  </a:cubicBezTo>
                  <a:cubicBezTo>
                    <a:pt x="937" y="415"/>
                    <a:pt x="937" y="414"/>
                    <a:pt x="937" y="413"/>
                  </a:cubicBezTo>
                  <a:moveTo>
                    <a:pt x="1017" y="417"/>
                  </a:moveTo>
                  <a:cubicBezTo>
                    <a:pt x="1017" y="417"/>
                    <a:pt x="1017" y="417"/>
                    <a:pt x="1017" y="417"/>
                  </a:cubicBezTo>
                  <a:cubicBezTo>
                    <a:pt x="1016" y="417"/>
                    <a:pt x="1016" y="417"/>
                    <a:pt x="1015" y="418"/>
                  </a:cubicBezTo>
                  <a:cubicBezTo>
                    <a:pt x="1012" y="420"/>
                    <a:pt x="1008" y="421"/>
                    <a:pt x="1005" y="423"/>
                  </a:cubicBezTo>
                  <a:cubicBezTo>
                    <a:pt x="1006" y="423"/>
                    <a:pt x="1006" y="423"/>
                    <a:pt x="1007" y="423"/>
                  </a:cubicBezTo>
                  <a:cubicBezTo>
                    <a:pt x="1009" y="422"/>
                    <a:pt x="1011" y="421"/>
                    <a:pt x="1014" y="420"/>
                  </a:cubicBezTo>
                  <a:cubicBezTo>
                    <a:pt x="1014" y="419"/>
                    <a:pt x="1015" y="419"/>
                    <a:pt x="1016" y="419"/>
                  </a:cubicBezTo>
                  <a:cubicBezTo>
                    <a:pt x="1016" y="418"/>
                    <a:pt x="1016" y="418"/>
                    <a:pt x="1017" y="418"/>
                  </a:cubicBezTo>
                  <a:cubicBezTo>
                    <a:pt x="1017" y="418"/>
                    <a:pt x="1018" y="417"/>
                    <a:pt x="1019" y="417"/>
                  </a:cubicBezTo>
                  <a:cubicBezTo>
                    <a:pt x="1019" y="417"/>
                    <a:pt x="1019" y="417"/>
                    <a:pt x="1019" y="417"/>
                  </a:cubicBezTo>
                  <a:cubicBezTo>
                    <a:pt x="1018" y="417"/>
                    <a:pt x="1018" y="417"/>
                    <a:pt x="1017" y="417"/>
                  </a:cubicBezTo>
                  <a:moveTo>
                    <a:pt x="937" y="417"/>
                  </a:moveTo>
                  <a:cubicBezTo>
                    <a:pt x="938" y="419"/>
                    <a:pt x="939" y="421"/>
                    <a:pt x="940" y="423"/>
                  </a:cubicBezTo>
                  <a:cubicBezTo>
                    <a:pt x="941" y="422"/>
                    <a:pt x="941" y="422"/>
                    <a:pt x="941" y="422"/>
                  </a:cubicBezTo>
                  <a:cubicBezTo>
                    <a:pt x="940" y="420"/>
                    <a:pt x="939" y="419"/>
                    <a:pt x="938" y="417"/>
                  </a:cubicBezTo>
                  <a:cubicBezTo>
                    <a:pt x="938" y="417"/>
                    <a:pt x="937" y="417"/>
                    <a:pt x="937" y="417"/>
                  </a:cubicBezTo>
                  <a:moveTo>
                    <a:pt x="732" y="422"/>
                  </a:moveTo>
                  <a:cubicBezTo>
                    <a:pt x="732" y="422"/>
                    <a:pt x="731" y="423"/>
                    <a:pt x="731" y="423"/>
                  </a:cubicBezTo>
                  <a:cubicBezTo>
                    <a:pt x="730" y="424"/>
                    <a:pt x="729" y="426"/>
                    <a:pt x="728" y="428"/>
                  </a:cubicBezTo>
                  <a:cubicBezTo>
                    <a:pt x="728" y="428"/>
                    <a:pt x="728" y="429"/>
                    <a:pt x="728" y="429"/>
                  </a:cubicBezTo>
                  <a:cubicBezTo>
                    <a:pt x="725" y="435"/>
                    <a:pt x="722" y="441"/>
                    <a:pt x="718" y="447"/>
                  </a:cubicBezTo>
                  <a:cubicBezTo>
                    <a:pt x="719" y="447"/>
                    <a:pt x="719" y="447"/>
                    <a:pt x="719" y="447"/>
                  </a:cubicBezTo>
                  <a:cubicBezTo>
                    <a:pt x="723" y="441"/>
                    <a:pt x="726" y="435"/>
                    <a:pt x="729" y="429"/>
                  </a:cubicBezTo>
                  <a:cubicBezTo>
                    <a:pt x="729" y="429"/>
                    <a:pt x="729" y="429"/>
                    <a:pt x="729" y="428"/>
                  </a:cubicBezTo>
                  <a:cubicBezTo>
                    <a:pt x="730" y="426"/>
                    <a:pt x="731" y="424"/>
                    <a:pt x="732" y="422"/>
                  </a:cubicBezTo>
                  <a:moveTo>
                    <a:pt x="942" y="423"/>
                  </a:moveTo>
                  <a:cubicBezTo>
                    <a:pt x="942" y="423"/>
                    <a:pt x="941" y="423"/>
                    <a:pt x="941" y="423"/>
                  </a:cubicBezTo>
                  <a:cubicBezTo>
                    <a:pt x="941" y="424"/>
                    <a:pt x="942" y="424"/>
                    <a:pt x="942" y="424"/>
                  </a:cubicBezTo>
                  <a:cubicBezTo>
                    <a:pt x="942" y="424"/>
                    <a:pt x="942" y="425"/>
                    <a:pt x="943" y="425"/>
                  </a:cubicBezTo>
                  <a:cubicBezTo>
                    <a:pt x="945" y="427"/>
                    <a:pt x="948" y="429"/>
                    <a:pt x="952" y="431"/>
                  </a:cubicBezTo>
                  <a:cubicBezTo>
                    <a:pt x="952" y="431"/>
                    <a:pt x="953" y="431"/>
                    <a:pt x="953" y="431"/>
                  </a:cubicBezTo>
                  <a:cubicBezTo>
                    <a:pt x="953" y="431"/>
                    <a:pt x="953" y="431"/>
                    <a:pt x="953" y="431"/>
                  </a:cubicBezTo>
                  <a:cubicBezTo>
                    <a:pt x="954" y="431"/>
                    <a:pt x="954" y="431"/>
                    <a:pt x="955" y="430"/>
                  </a:cubicBezTo>
                  <a:cubicBezTo>
                    <a:pt x="954" y="430"/>
                    <a:pt x="954" y="430"/>
                    <a:pt x="954" y="430"/>
                  </a:cubicBezTo>
                  <a:cubicBezTo>
                    <a:pt x="953" y="430"/>
                    <a:pt x="953" y="430"/>
                    <a:pt x="953" y="430"/>
                  </a:cubicBezTo>
                  <a:cubicBezTo>
                    <a:pt x="949" y="428"/>
                    <a:pt x="946" y="427"/>
                    <a:pt x="943" y="424"/>
                  </a:cubicBezTo>
                  <a:cubicBezTo>
                    <a:pt x="943" y="424"/>
                    <a:pt x="943" y="424"/>
                    <a:pt x="942" y="423"/>
                  </a:cubicBezTo>
                  <a:cubicBezTo>
                    <a:pt x="942" y="423"/>
                    <a:pt x="942" y="423"/>
                    <a:pt x="942" y="423"/>
                  </a:cubicBezTo>
                  <a:moveTo>
                    <a:pt x="1003" y="423"/>
                  </a:moveTo>
                  <a:cubicBezTo>
                    <a:pt x="1001" y="425"/>
                    <a:pt x="998" y="426"/>
                    <a:pt x="995" y="427"/>
                  </a:cubicBezTo>
                  <a:cubicBezTo>
                    <a:pt x="994" y="427"/>
                    <a:pt x="993" y="427"/>
                    <a:pt x="992" y="428"/>
                  </a:cubicBezTo>
                  <a:cubicBezTo>
                    <a:pt x="985" y="430"/>
                    <a:pt x="978" y="432"/>
                    <a:pt x="971" y="432"/>
                  </a:cubicBezTo>
                  <a:cubicBezTo>
                    <a:pt x="971" y="432"/>
                    <a:pt x="970" y="432"/>
                    <a:pt x="970" y="432"/>
                  </a:cubicBezTo>
                  <a:cubicBezTo>
                    <a:pt x="970" y="432"/>
                    <a:pt x="969" y="432"/>
                    <a:pt x="969" y="432"/>
                  </a:cubicBezTo>
                  <a:cubicBezTo>
                    <a:pt x="969" y="432"/>
                    <a:pt x="969" y="433"/>
                    <a:pt x="968" y="433"/>
                  </a:cubicBezTo>
                  <a:cubicBezTo>
                    <a:pt x="969" y="433"/>
                    <a:pt x="969" y="433"/>
                    <a:pt x="969" y="433"/>
                  </a:cubicBezTo>
                  <a:cubicBezTo>
                    <a:pt x="969" y="433"/>
                    <a:pt x="970" y="433"/>
                    <a:pt x="970" y="433"/>
                  </a:cubicBezTo>
                  <a:cubicBezTo>
                    <a:pt x="976" y="433"/>
                    <a:pt x="983" y="432"/>
                    <a:pt x="990" y="430"/>
                  </a:cubicBezTo>
                  <a:cubicBezTo>
                    <a:pt x="990" y="429"/>
                    <a:pt x="991" y="429"/>
                    <a:pt x="992" y="429"/>
                  </a:cubicBezTo>
                  <a:cubicBezTo>
                    <a:pt x="997" y="427"/>
                    <a:pt x="1001" y="426"/>
                    <a:pt x="1005" y="424"/>
                  </a:cubicBezTo>
                  <a:cubicBezTo>
                    <a:pt x="1005" y="424"/>
                    <a:pt x="1004" y="424"/>
                    <a:pt x="1003" y="423"/>
                  </a:cubicBezTo>
                  <a:moveTo>
                    <a:pt x="956" y="431"/>
                  </a:moveTo>
                  <a:cubicBezTo>
                    <a:pt x="956" y="431"/>
                    <a:pt x="955" y="431"/>
                    <a:pt x="955" y="431"/>
                  </a:cubicBezTo>
                  <a:cubicBezTo>
                    <a:pt x="958" y="433"/>
                    <a:pt x="963" y="433"/>
                    <a:pt x="967" y="433"/>
                  </a:cubicBezTo>
                  <a:cubicBezTo>
                    <a:pt x="967" y="433"/>
                    <a:pt x="967" y="433"/>
                    <a:pt x="967" y="433"/>
                  </a:cubicBezTo>
                  <a:cubicBezTo>
                    <a:pt x="968" y="433"/>
                    <a:pt x="968" y="432"/>
                    <a:pt x="968" y="432"/>
                  </a:cubicBezTo>
                  <a:cubicBezTo>
                    <a:pt x="968" y="432"/>
                    <a:pt x="967" y="432"/>
                    <a:pt x="967" y="432"/>
                  </a:cubicBezTo>
                  <a:cubicBezTo>
                    <a:pt x="963" y="432"/>
                    <a:pt x="959" y="432"/>
                    <a:pt x="956" y="431"/>
                  </a:cubicBezTo>
                  <a:moveTo>
                    <a:pt x="719" y="448"/>
                  </a:moveTo>
                  <a:cubicBezTo>
                    <a:pt x="718" y="448"/>
                    <a:pt x="718" y="448"/>
                    <a:pt x="717" y="448"/>
                  </a:cubicBezTo>
                  <a:cubicBezTo>
                    <a:pt x="717" y="448"/>
                    <a:pt x="717" y="448"/>
                    <a:pt x="717" y="448"/>
                  </a:cubicBezTo>
                  <a:cubicBezTo>
                    <a:pt x="717" y="449"/>
                    <a:pt x="717" y="449"/>
                    <a:pt x="717" y="449"/>
                  </a:cubicBezTo>
                  <a:cubicBezTo>
                    <a:pt x="713" y="456"/>
                    <a:pt x="709" y="462"/>
                    <a:pt x="705" y="468"/>
                  </a:cubicBezTo>
                  <a:cubicBezTo>
                    <a:pt x="705" y="468"/>
                    <a:pt x="704" y="468"/>
                    <a:pt x="704" y="469"/>
                  </a:cubicBezTo>
                  <a:cubicBezTo>
                    <a:pt x="700" y="474"/>
                    <a:pt x="696" y="480"/>
                    <a:pt x="691" y="486"/>
                  </a:cubicBezTo>
                  <a:cubicBezTo>
                    <a:pt x="691" y="486"/>
                    <a:pt x="690" y="487"/>
                    <a:pt x="690" y="487"/>
                  </a:cubicBezTo>
                  <a:cubicBezTo>
                    <a:pt x="674" y="506"/>
                    <a:pt x="655" y="524"/>
                    <a:pt x="635" y="540"/>
                  </a:cubicBezTo>
                  <a:cubicBezTo>
                    <a:pt x="635" y="541"/>
                    <a:pt x="635" y="541"/>
                    <a:pt x="635" y="542"/>
                  </a:cubicBezTo>
                  <a:cubicBezTo>
                    <a:pt x="656" y="525"/>
                    <a:pt x="675" y="507"/>
                    <a:pt x="691" y="487"/>
                  </a:cubicBezTo>
                  <a:cubicBezTo>
                    <a:pt x="691" y="487"/>
                    <a:pt x="692" y="487"/>
                    <a:pt x="692" y="487"/>
                  </a:cubicBezTo>
                  <a:cubicBezTo>
                    <a:pt x="696" y="481"/>
                    <a:pt x="701" y="475"/>
                    <a:pt x="705" y="469"/>
                  </a:cubicBezTo>
                  <a:cubicBezTo>
                    <a:pt x="705" y="469"/>
                    <a:pt x="706" y="468"/>
                    <a:pt x="706" y="468"/>
                  </a:cubicBezTo>
                  <a:cubicBezTo>
                    <a:pt x="710" y="462"/>
                    <a:pt x="714" y="456"/>
                    <a:pt x="718" y="450"/>
                  </a:cubicBezTo>
                  <a:cubicBezTo>
                    <a:pt x="718" y="450"/>
                    <a:pt x="718" y="449"/>
                    <a:pt x="718" y="449"/>
                  </a:cubicBezTo>
                  <a:cubicBezTo>
                    <a:pt x="718" y="449"/>
                    <a:pt x="719" y="448"/>
                    <a:pt x="719" y="448"/>
                  </a:cubicBezTo>
                  <a:moveTo>
                    <a:pt x="1277" y="460"/>
                  </a:moveTo>
                  <a:cubicBezTo>
                    <a:pt x="1258" y="476"/>
                    <a:pt x="1238" y="492"/>
                    <a:pt x="1217" y="508"/>
                  </a:cubicBezTo>
                  <a:cubicBezTo>
                    <a:pt x="1217" y="508"/>
                    <a:pt x="1217" y="509"/>
                    <a:pt x="1217" y="509"/>
                  </a:cubicBezTo>
                  <a:cubicBezTo>
                    <a:pt x="1238" y="494"/>
                    <a:pt x="1258" y="478"/>
                    <a:pt x="1277" y="461"/>
                  </a:cubicBezTo>
                  <a:cubicBezTo>
                    <a:pt x="1277" y="460"/>
                    <a:pt x="1277" y="460"/>
                    <a:pt x="1277" y="460"/>
                  </a:cubicBezTo>
                  <a:moveTo>
                    <a:pt x="1216" y="509"/>
                  </a:moveTo>
                  <a:cubicBezTo>
                    <a:pt x="1195" y="523"/>
                    <a:pt x="1174" y="538"/>
                    <a:pt x="1152" y="551"/>
                  </a:cubicBezTo>
                  <a:cubicBezTo>
                    <a:pt x="1152" y="552"/>
                    <a:pt x="1151" y="552"/>
                    <a:pt x="1151" y="553"/>
                  </a:cubicBezTo>
                  <a:cubicBezTo>
                    <a:pt x="1174" y="539"/>
                    <a:pt x="1195" y="525"/>
                    <a:pt x="1216" y="510"/>
                  </a:cubicBezTo>
                  <a:cubicBezTo>
                    <a:pt x="1216" y="509"/>
                    <a:pt x="1216" y="509"/>
                    <a:pt x="1216" y="509"/>
                  </a:cubicBezTo>
                  <a:moveTo>
                    <a:pt x="634" y="541"/>
                  </a:moveTo>
                  <a:cubicBezTo>
                    <a:pt x="614" y="557"/>
                    <a:pt x="593" y="570"/>
                    <a:pt x="570" y="582"/>
                  </a:cubicBezTo>
                  <a:cubicBezTo>
                    <a:pt x="570" y="582"/>
                    <a:pt x="570" y="582"/>
                    <a:pt x="570" y="582"/>
                  </a:cubicBezTo>
                  <a:cubicBezTo>
                    <a:pt x="593" y="571"/>
                    <a:pt x="614" y="558"/>
                    <a:pt x="634" y="542"/>
                  </a:cubicBezTo>
                  <a:cubicBezTo>
                    <a:pt x="634" y="542"/>
                    <a:pt x="634" y="542"/>
                    <a:pt x="634" y="541"/>
                  </a:cubicBezTo>
                  <a:moveTo>
                    <a:pt x="1150" y="552"/>
                  </a:moveTo>
                  <a:cubicBezTo>
                    <a:pt x="1130" y="564"/>
                    <a:pt x="1108" y="576"/>
                    <a:pt x="1086" y="587"/>
                  </a:cubicBezTo>
                  <a:cubicBezTo>
                    <a:pt x="1086" y="588"/>
                    <a:pt x="1086" y="588"/>
                    <a:pt x="1086" y="589"/>
                  </a:cubicBezTo>
                  <a:cubicBezTo>
                    <a:pt x="1108" y="578"/>
                    <a:pt x="1129" y="566"/>
                    <a:pt x="1150" y="553"/>
                  </a:cubicBezTo>
                  <a:cubicBezTo>
                    <a:pt x="1150" y="553"/>
                    <a:pt x="1150" y="552"/>
                    <a:pt x="1150" y="552"/>
                  </a:cubicBezTo>
                  <a:moveTo>
                    <a:pt x="569" y="582"/>
                  </a:moveTo>
                  <a:cubicBezTo>
                    <a:pt x="555" y="589"/>
                    <a:pt x="540" y="595"/>
                    <a:pt x="525" y="601"/>
                  </a:cubicBezTo>
                  <a:cubicBezTo>
                    <a:pt x="526" y="601"/>
                    <a:pt x="527" y="601"/>
                    <a:pt x="527" y="601"/>
                  </a:cubicBezTo>
                  <a:cubicBezTo>
                    <a:pt x="542" y="596"/>
                    <a:pt x="556" y="590"/>
                    <a:pt x="569" y="583"/>
                  </a:cubicBezTo>
                  <a:cubicBezTo>
                    <a:pt x="569" y="583"/>
                    <a:pt x="569" y="582"/>
                    <a:pt x="569" y="582"/>
                  </a:cubicBezTo>
                  <a:moveTo>
                    <a:pt x="1085" y="588"/>
                  </a:moveTo>
                  <a:cubicBezTo>
                    <a:pt x="1043" y="609"/>
                    <a:pt x="999" y="626"/>
                    <a:pt x="954" y="640"/>
                  </a:cubicBezTo>
                  <a:cubicBezTo>
                    <a:pt x="941" y="645"/>
                    <a:pt x="925" y="651"/>
                    <a:pt x="906" y="658"/>
                  </a:cubicBezTo>
                  <a:cubicBezTo>
                    <a:pt x="905" y="658"/>
                    <a:pt x="904" y="658"/>
                    <a:pt x="903" y="659"/>
                  </a:cubicBezTo>
                  <a:cubicBezTo>
                    <a:pt x="883" y="666"/>
                    <a:pt x="860" y="675"/>
                    <a:pt x="836" y="684"/>
                  </a:cubicBezTo>
                  <a:cubicBezTo>
                    <a:pt x="835" y="684"/>
                    <a:pt x="834" y="684"/>
                    <a:pt x="833" y="685"/>
                  </a:cubicBezTo>
                  <a:cubicBezTo>
                    <a:pt x="829" y="686"/>
                    <a:pt x="826" y="688"/>
                    <a:pt x="822" y="689"/>
                  </a:cubicBezTo>
                  <a:cubicBezTo>
                    <a:pt x="821" y="689"/>
                    <a:pt x="821" y="689"/>
                    <a:pt x="820" y="690"/>
                  </a:cubicBezTo>
                  <a:cubicBezTo>
                    <a:pt x="814" y="692"/>
                    <a:pt x="809" y="694"/>
                    <a:pt x="803" y="696"/>
                  </a:cubicBezTo>
                  <a:cubicBezTo>
                    <a:pt x="802" y="696"/>
                    <a:pt x="801" y="696"/>
                    <a:pt x="800" y="697"/>
                  </a:cubicBezTo>
                  <a:cubicBezTo>
                    <a:pt x="795" y="699"/>
                    <a:pt x="789" y="701"/>
                    <a:pt x="784" y="702"/>
                  </a:cubicBezTo>
                  <a:cubicBezTo>
                    <a:pt x="784" y="703"/>
                    <a:pt x="783" y="703"/>
                    <a:pt x="783" y="703"/>
                  </a:cubicBezTo>
                  <a:cubicBezTo>
                    <a:pt x="766" y="709"/>
                    <a:pt x="748" y="715"/>
                    <a:pt x="731" y="720"/>
                  </a:cubicBezTo>
                  <a:cubicBezTo>
                    <a:pt x="730" y="720"/>
                    <a:pt x="730" y="720"/>
                    <a:pt x="730" y="720"/>
                  </a:cubicBezTo>
                  <a:cubicBezTo>
                    <a:pt x="723" y="722"/>
                    <a:pt x="717" y="724"/>
                    <a:pt x="711" y="726"/>
                  </a:cubicBezTo>
                  <a:cubicBezTo>
                    <a:pt x="710" y="726"/>
                    <a:pt x="710" y="726"/>
                    <a:pt x="710" y="726"/>
                  </a:cubicBezTo>
                  <a:cubicBezTo>
                    <a:pt x="705" y="728"/>
                    <a:pt x="701" y="729"/>
                    <a:pt x="696" y="730"/>
                  </a:cubicBezTo>
                  <a:cubicBezTo>
                    <a:pt x="696" y="731"/>
                    <a:pt x="695" y="731"/>
                    <a:pt x="695" y="731"/>
                  </a:cubicBezTo>
                  <a:cubicBezTo>
                    <a:pt x="686" y="733"/>
                    <a:pt x="678" y="735"/>
                    <a:pt x="670" y="737"/>
                  </a:cubicBezTo>
                  <a:cubicBezTo>
                    <a:pt x="669" y="738"/>
                    <a:pt x="669" y="738"/>
                    <a:pt x="669" y="738"/>
                  </a:cubicBezTo>
                  <a:cubicBezTo>
                    <a:pt x="660" y="740"/>
                    <a:pt x="652" y="742"/>
                    <a:pt x="644" y="744"/>
                  </a:cubicBezTo>
                  <a:cubicBezTo>
                    <a:pt x="644" y="744"/>
                    <a:pt x="643" y="744"/>
                    <a:pt x="643" y="744"/>
                  </a:cubicBezTo>
                  <a:cubicBezTo>
                    <a:pt x="635" y="746"/>
                    <a:pt x="626" y="747"/>
                    <a:pt x="618" y="749"/>
                  </a:cubicBezTo>
                  <a:cubicBezTo>
                    <a:pt x="618" y="749"/>
                    <a:pt x="617" y="749"/>
                    <a:pt x="617" y="749"/>
                  </a:cubicBezTo>
                  <a:cubicBezTo>
                    <a:pt x="610" y="750"/>
                    <a:pt x="603" y="752"/>
                    <a:pt x="596" y="753"/>
                  </a:cubicBezTo>
                  <a:cubicBezTo>
                    <a:pt x="595" y="753"/>
                    <a:pt x="595" y="753"/>
                    <a:pt x="595" y="753"/>
                  </a:cubicBezTo>
                  <a:cubicBezTo>
                    <a:pt x="593" y="753"/>
                    <a:pt x="592" y="753"/>
                    <a:pt x="591" y="753"/>
                  </a:cubicBezTo>
                  <a:cubicBezTo>
                    <a:pt x="590" y="753"/>
                    <a:pt x="589" y="754"/>
                    <a:pt x="588" y="754"/>
                  </a:cubicBezTo>
                  <a:cubicBezTo>
                    <a:pt x="587" y="754"/>
                    <a:pt x="586" y="754"/>
                    <a:pt x="585" y="754"/>
                  </a:cubicBezTo>
                  <a:cubicBezTo>
                    <a:pt x="585" y="754"/>
                    <a:pt x="584" y="754"/>
                    <a:pt x="584" y="754"/>
                  </a:cubicBezTo>
                  <a:cubicBezTo>
                    <a:pt x="584" y="755"/>
                    <a:pt x="584" y="755"/>
                    <a:pt x="584" y="755"/>
                  </a:cubicBezTo>
                  <a:cubicBezTo>
                    <a:pt x="584" y="755"/>
                    <a:pt x="584" y="755"/>
                    <a:pt x="584" y="755"/>
                  </a:cubicBezTo>
                  <a:cubicBezTo>
                    <a:pt x="585" y="755"/>
                    <a:pt x="586" y="755"/>
                    <a:pt x="587" y="755"/>
                  </a:cubicBezTo>
                  <a:cubicBezTo>
                    <a:pt x="587" y="755"/>
                    <a:pt x="588" y="755"/>
                    <a:pt x="589" y="755"/>
                  </a:cubicBezTo>
                  <a:cubicBezTo>
                    <a:pt x="591" y="754"/>
                    <a:pt x="592" y="754"/>
                    <a:pt x="594" y="754"/>
                  </a:cubicBezTo>
                  <a:cubicBezTo>
                    <a:pt x="594" y="754"/>
                    <a:pt x="595" y="754"/>
                    <a:pt x="595" y="754"/>
                  </a:cubicBezTo>
                  <a:cubicBezTo>
                    <a:pt x="602" y="753"/>
                    <a:pt x="609" y="751"/>
                    <a:pt x="617" y="750"/>
                  </a:cubicBezTo>
                  <a:cubicBezTo>
                    <a:pt x="617" y="750"/>
                    <a:pt x="617" y="750"/>
                    <a:pt x="618" y="750"/>
                  </a:cubicBezTo>
                  <a:cubicBezTo>
                    <a:pt x="626" y="748"/>
                    <a:pt x="634" y="747"/>
                    <a:pt x="643" y="745"/>
                  </a:cubicBezTo>
                  <a:cubicBezTo>
                    <a:pt x="643" y="745"/>
                    <a:pt x="643" y="745"/>
                    <a:pt x="644" y="745"/>
                  </a:cubicBezTo>
                  <a:cubicBezTo>
                    <a:pt x="652" y="743"/>
                    <a:pt x="660" y="741"/>
                    <a:pt x="669" y="739"/>
                  </a:cubicBezTo>
                  <a:cubicBezTo>
                    <a:pt x="669" y="739"/>
                    <a:pt x="669" y="739"/>
                    <a:pt x="670" y="738"/>
                  </a:cubicBezTo>
                  <a:cubicBezTo>
                    <a:pt x="678" y="736"/>
                    <a:pt x="686" y="734"/>
                    <a:pt x="695" y="732"/>
                  </a:cubicBezTo>
                  <a:cubicBezTo>
                    <a:pt x="695" y="732"/>
                    <a:pt x="695" y="732"/>
                    <a:pt x="696" y="731"/>
                  </a:cubicBezTo>
                  <a:cubicBezTo>
                    <a:pt x="700" y="730"/>
                    <a:pt x="705" y="729"/>
                    <a:pt x="710" y="727"/>
                  </a:cubicBezTo>
                  <a:cubicBezTo>
                    <a:pt x="710" y="727"/>
                    <a:pt x="711" y="727"/>
                    <a:pt x="711" y="727"/>
                  </a:cubicBezTo>
                  <a:cubicBezTo>
                    <a:pt x="717" y="725"/>
                    <a:pt x="724" y="723"/>
                    <a:pt x="730" y="721"/>
                  </a:cubicBezTo>
                  <a:cubicBezTo>
                    <a:pt x="731" y="721"/>
                    <a:pt x="731" y="721"/>
                    <a:pt x="731" y="721"/>
                  </a:cubicBezTo>
                  <a:cubicBezTo>
                    <a:pt x="749" y="715"/>
                    <a:pt x="767" y="709"/>
                    <a:pt x="784" y="703"/>
                  </a:cubicBezTo>
                  <a:cubicBezTo>
                    <a:pt x="785" y="703"/>
                    <a:pt x="785" y="703"/>
                    <a:pt x="785" y="703"/>
                  </a:cubicBezTo>
                  <a:cubicBezTo>
                    <a:pt x="789" y="702"/>
                    <a:pt x="793" y="700"/>
                    <a:pt x="797" y="699"/>
                  </a:cubicBezTo>
                  <a:cubicBezTo>
                    <a:pt x="798" y="699"/>
                    <a:pt x="799" y="698"/>
                    <a:pt x="800" y="698"/>
                  </a:cubicBezTo>
                  <a:cubicBezTo>
                    <a:pt x="806" y="696"/>
                    <a:pt x="812" y="693"/>
                    <a:pt x="818" y="691"/>
                  </a:cubicBezTo>
                  <a:cubicBezTo>
                    <a:pt x="819" y="691"/>
                    <a:pt x="820" y="691"/>
                    <a:pt x="820" y="691"/>
                  </a:cubicBezTo>
                  <a:cubicBezTo>
                    <a:pt x="824" y="689"/>
                    <a:pt x="828" y="688"/>
                    <a:pt x="831" y="687"/>
                  </a:cubicBezTo>
                  <a:cubicBezTo>
                    <a:pt x="832" y="686"/>
                    <a:pt x="833" y="686"/>
                    <a:pt x="834" y="686"/>
                  </a:cubicBezTo>
                  <a:cubicBezTo>
                    <a:pt x="858" y="677"/>
                    <a:pt x="881" y="668"/>
                    <a:pt x="901" y="661"/>
                  </a:cubicBezTo>
                  <a:cubicBezTo>
                    <a:pt x="902" y="660"/>
                    <a:pt x="903" y="660"/>
                    <a:pt x="904" y="659"/>
                  </a:cubicBezTo>
                  <a:cubicBezTo>
                    <a:pt x="924" y="652"/>
                    <a:pt x="941" y="646"/>
                    <a:pt x="955" y="641"/>
                  </a:cubicBezTo>
                  <a:cubicBezTo>
                    <a:pt x="999" y="627"/>
                    <a:pt x="1043" y="610"/>
                    <a:pt x="1084" y="589"/>
                  </a:cubicBezTo>
                  <a:cubicBezTo>
                    <a:pt x="1084" y="589"/>
                    <a:pt x="1085" y="588"/>
                    <a:pt x="1085" y="588"/>
                  </a:cubicBezTo>
                  <a:moveTo>
                    <a:pt x="522" y="601"/>
                  </a:moveTo>
                  <a:cubicBezTo>
                    <a:pt x="521" y="602"/>
                    <a:pt x="521" y="602"/>
                    <a:pt x="520" y="602"/>
                  </a:cubicBezTo>
                  <a:cubicBezTo>
                    <a:pt x="520" y="602"/>
                    <a:pt x="519" y="602"/>
                    <a:pt x="519" y="602"/>
                  </a:cubicBezTo>
                  <a:cubicBezTo>
                    <a:pt x="519" y="602"/>
                    <a:pt x="519" y="602"/>
                    <a:pt x="519" y="603"/>
                  </a:cubicBezTo>
                  <a:cubicBezTo>
                    <a:pt x="516" y="603"/>
                    <a:pt x="514" y="604"/>
                    <a:pt x="511" y="605"/>
                  </a:cubicBezTo>
                  <a:cubicBezTo>
                    <a:pt x="511" y="605"/>
                    <a:pt x="511" y="605"/>
                    <a:pt x="510" y="605"/>
                  </a:cubicBezTo>
                  <a:cubicBezTo>
                    <a:pt x="510" y="605"/>
                    <a:pt x="509" y="606"/>
                    <a:pt x="508" y="606"/>
                  </a:cubicBezTo>
                  <a:cubicBezTo>
                    <a:pt x="508" y="606"/>
                    <a:pt x="507" y="606"/>
                    <a:pt x="507" y="606"/>
                  </a:cubicBezTo>
                  <a:cubicBezTo>
                    <a:pt x="509" y="606"/>
                    <a:pt x="510" y="606"/>
                    <a:pt x="511" y="606"/>
                  </a:cubicBezTo>
                  <a:cubicBezTo>
                    <a:pt x="511" y="606"/>
                    <a:pt x="511" y="606"/>
                    <a:pt x="511" y="606"/>
                  </a:cubicBezTo>
                  <a:cubicBezTo>
                    <a:pt x="514" y="605"/>
                    <a:pt x="516" y="604"/>
                    <a:pt x="519" y="604"/>
                  </a:cubicBezTo>
                  <a:cubicBezTo>
                    <a:pt x="519" y="603"/>
                    <a:pt x="519" y="603"/>
                    <a:pt x="520" y="603"/>
                  </a:cubicBezTo>
                  <a:cubicBezTo>
                    <a:pt x="520" y="603"/>
                    <a:pt x="521" y="603"/>
                    <a:pt x="522" y="602"/>
                  </a:cubicBezTo>
                  <a:cubicBezTo>
                    <a:pt x="522" y="602"/>
                    <a:pt x="523" y="602"/>
                    <a:pt x="523" y="602"/>
                  </a:cubicBezTo>
                  <a:cubicBezTo>
                    <a:pt x="524" y="602"/>
                    <a:pt x="524" y="602"/>
                    <a:pt x="525" y="602"/>
                  </a:cubicBezTo>
                  <a:cubicBezTo>
                    <a:pt x="524" y="601"/>
                    <a:pt x="523" y="601"/>
                    <a:pt x="522" y="601"/>
                  </a:cubicBezTo>
                  <a:moveTo>
                    <a:pt x="508" y="607"/>
                  </a:moveTo>
                  <a:cubicBezTo>
                    <a:pt x="506" y="607"/>
                    <a:pt x="505" y="607"/>
                    <a:pt x="504" y="607"/>
                  </a:cubicBezTo>
                  <a:cubicBezTo>
                    <a:pt x="504" y="607"/>
                    <a:pt x="503" y="607"/>
                    <a:pt x="503" y="607"/>
                  </a:cubicBezTo>
                  <a:cubicBezTo>
                    <a:pt x="503" y="607"/>
                    <a:pt x="503" y="608"/>
                    <a:pt x="503" y="608"/>
                  </a:cubicBezTo>
                  <a:cubicBezTo>
                    <a:pt x="504" y="608"/>
                    <a:pt x="505" y="608"/>
                    <a:pt x="506" y="607"/>
                  </a:cubicBezTo>
                  <a:cubicBezTo>
                    <a:pt x="506" y="607"/>
                    <a:pt x="507" y="607"/>
                    <a:pt x="507" y="607"/>
                  </a:cubicBezTo>
                  <a:cubicBezTo>
                    <a:pt x="507" y="607"/>
                    <a:pt x="507" y="607"/>
                    <a:pt x="508" y="607"/>
                  </a:cubicBezTo>
                  <a:moveTo>
                    <a:pt x="502" y="607"/>
                  </a:moveTo>
                  <a:cubicBezTo>
                    <a:pt x="499" y="608"/>
                    <a:pt x="496" y="609"/>
                    <a:pt x="493" y="610"/>
                  </a:cubicBezTo>
                  <a:cubicBezTo>
                    <a:pt x="492" y="610"/>
                    <a:pt x="492" y="610"/>
                    <a:pt x="492" y="610"/>
                  </a:cubicBezTo>
                  <a:cubicBezTo>
                    <a:pt x="491" y="610"/>
                    <a:pt x="490" y="610"/>
                    <a:pt x="490" y="610"/>
                  </a:cubicBezTo>
                  <a:cubicBezTo>
                    <a:pt x="491" y="610"/>
                    <a:pt x="493" y="610"/>
                    <a:pt x="494" y="610"/>
                  </a:cubicBezTo>
                  <a:cubicBezTo>
                    <a:pt x="497" y="610"/>
                    <a:pt x="500" y="609"/>
                    <a:pt x="502" y="608"/>
                  </a:cubicBezTo>
                  <a:cubicBezTo>
                    <a:pt x="502" y="608"/>
                    <a:pt x="502" y="608"/>
                    <a:pt x="502" y="607"/>
                  </a:cubicBezTo>
                  <a:moveTo>
                    <a:pt x="490" y="611"/>
                  </a:moveTo>
                  <a:cubicBezTo>
                    <a:pt x="488" y="612"/>
                    <a:pt x="486" y="612"/>
                    <a:pt x="484" y="612"/>
                  </a:cubicBezTo>
                  <a:cubicBezTo>
                    <a:pt x="481" y="612"/>
                    <a:pt x="478" y="613"/>
                    <a:pt x="475" y="613"/>
                  </a:cubicBezTo>
                  <a:cubicBezTo>
                    <a:pt x="475" y="613"/>
                    <a:pt x="475" y="613"/>
                    <a:pt x="474" y="614"/>
                  </a:cubicBezTo>
                  <a:cubicBezTo>
                    <a:pt x="473" y="614"/>
                    <a:pt x="473" y="614"/>
                    <a:pt x="472" y="614"/>
                  </a:cubicBezTo>
                  <a:cubicBezTo>
                    <a:pt x="471" y="614"/>
                    <a:pt x="471" y="614"/>
                    <a:pt x="471" y="614"/>
                  </a:cubicBezTo>
                  <a:cubicBezTo>
                    <a:pt x="473" y="614"/>
                    <a:pt x="474" y="614"/>
                    <a:pt x="476" y="614"/>
                  </a:cubicBezTo>
                  <a:cubicBezTo>
                    <a:pt x="477" y="614"/>
                    <a:pt x="478" y="614"/>
                    <a:pt x="479" y="614"/>
                  </a:cubicBezTo>
                  <a:cubicBezTo>
                    <a:pt x="483" y="613"/>
                    <a:pt x="486" y="612"/>
                    <a:pt x="490" y="611"/>
                  </a:cubicBezTo>
                  <a:moveTo>
                    <a:pt x="471" y="615"/>
                  </a:moveTo>
                  <a:cubicBezTo>
                    <a:pt x="468" y="615"/>
                    <a:pt x="464" y="615"/>
                    <a:pt x="461" y="616"/>
                  </a:cubicBezTo>
                  <a:cubicBezTo>
                    <a:pt x="460" y="616"/>
                    <a:pt x="460" y="616"/>
                    <a:pt x="459" y="616"/>
                  </a:cubicBezTo>
                  <a:cubicBezTo>
                    <a:pt x="459" y="616"/>
                    <a:pt x="459" y="616"/>
                    <a:pt x="458" y="616"/>
                  </a:cubicBezTo>
                  <a:cubicBezTo>
                    <a:pt x="454" y="616"/>
                    <a:pt x="450" y="617"/>
                    <a:pt x="446" y="617"/>
                  </a:cubicBezTo>
                  <a:cubicBezTo>
                    <a:pt x="445" y="617"/>
                    <a:pt x="445" y="617"/>
                    <a:pt x="444" y="617"/>
                  </a:cubicBezTo>
                  <a:cubicBezTo>
                    <a:pt x="444" y="617"/>
                    <a:pt x="444" y="617"/>
                    <a:pt x="443" y="617"/>
                  </a:cubicBezTo>
                  <a:cubicBezTo>
                    <a:pt x="441" y="618"/>
                    <a:pt x="438" y="618"/>
                    <a:pt x="435" y="618"/>
                  </a:cubicBezTo>
                  <a:cubicBezTo>
                    <a:pt x="431" y="618"/>
                    <a:pt x="427" y="618"/>
                    <a:pt x="423" y="619"/>
                  </a:cubicBezTo>
                  <a:cubicBezTo>
                    <a:pt x="418" y="619"/>
                    <a:pt x="413" y="619"/>
                    <a:pt x="407" y="620"/>
                  </a:cubicBezTo>
                  <a:cubicBezTo>
                    <a:pt x="407" y="620"/>
                    <a:pt x="406" y="620"/>
                    <a:pt x="405" y="620"/>
                  </a:cubicBezTo>
                  <a:cubicBezTo>
                    <a:pt x="403" y="620"/>
                    <a:pt x="401" y="620"/>
                    <a:pt x="399" y="620"/>
                  </a:cubicBezTo>
                  <a:cubicBezTo>
                    <a:pt x="407" y="620"/>
                    <a:pt x="416" y="620"/>
                    <a:pt x="425" y="620"/>
                  </a:cubicBezTo>
                  <a:cubicBezTo>
                    <a:pt x="425" y="620"/>
                    <a:pt x="425" y="620"/>
                    <a:pt x="426" y="620"/>
                  </a:cubicBezTo>
                  <a:cubicBezTo>
                    <a:pt x="426" y="619"/>
                    <a:pt x="427" y="619"/>
                    <a:pt x="427" y="619"/>
                  </a:cubicBezTo>
                  <a:cubicBezTo>
                    <a:pt x="433" y="619"/>
                    <a:pt x="438" y="619"/>
                    <a:pt x="443" y="618"/>
                  </a:cubicBezTo>
                  <a:cubicBezTo>
                    <a:pt x="444" y="618"/>
                    <a:pt x="444" y="618"/>
                    <a:pt x="444" y="618"/>
                  </a:cubicBezTo>
                  <a:cubicBezTo>
                    <a:pt x="445" y="618"/>
                    <a:pt x="446" y="618"/>
                    <a:pt x="446" y="618"/>
                  </a:cubicBezTo>
                  <a:cubicBezTo>
                    <a:pt x="450" y="618"/>
                    <a:pt x="454" y="617"/>
                    <a:pt x="459" y="617"/>
                  </a:cubicBezTo>
                  <a:cubicBezTo>
                    <a:pt x="459" y="617"/>
                    <a:pt x="459" y="617"/>
                    <a:pt x="460" y="617"/>
                  </a:cubicBezTo>
                  <a:cubicBezTo>
                    <a:pt x="463" y="616"/>
                    <a:pt x="466" y="616"/>
                    <a:pt x="468" y="615"/>
                  </a:cubicBezTo>
                  <a:cubicBezTo>
                    <a:pt x="469" y="615"/>
                    <a:pt x="470" y="615"/>
                    <a:pt x="470" y="615"/>
                  </a:cubicBezTo>
                  <a:cubicBezTo>
                    <a:pt x="470" y="615"/>
                    <a:pt x="471" y="615"/>
                    <a:pt x="471" y="615"/>
                  </a:cubicBezTo>
                  <a:moveTo>
                    <a:pt x="398" y="621"/>
                  </a:moveTo>
                  <a:cubicBezTo>
                    <a:pt x="386" y="622"/>
                    <a:pt x="374" y="622"/>
                    <a:pt x="362" y="622"/>
                  </a:cubicBezTo>
                  <a:cubicBezTo>
                    <a:pt x="357" y="623"/>
                    <a:pt x="353" y="623"/>
                    <a:pt x="348" y="623"/>
                  </a:cubicBezTo>
                  <a:cubicBezTo>
                    <a:pt x="345" y="623"/>
                    <a:pt x="341" y="624"/>
                    <a:pt x="338" y="624"/>
                  </a:cubicBezTo>
                  <a:cubicBezTo>
                    <a:pt x="288" y="627"/>
                    <a:pt x="232" y="631"/>
                    <a:pt x="180" y="637"/>
                  </a:cubicBezTo>
                  <a:cubicBezTo>
                    <a:pt x="172" y="638"/>
                    <a:pt x="164" y="639"/>
                    <a:pt x="156" y="640"/>
                  </a:cubicBezTo>
                  <a:cubicBezTo>
                    <a:pt x="148" y="642"/>
                    <a:pt x="140" y="643"/>
                    <a:pt x="133" y="645"/>
                  </a:cubicBezTo>
                  <a:cubicBezTo>
                    <a:pt x="148" y="642"/>
                    <a:pt x="164" y="640"/>
                    <a:pt x="180" y="638"/>
                  </a:cubicBezTo>
                  <a:cubicBezTo>
                    <a:pt x="228" y="633"/>
                    <a:pt x="279" y="629"/>
                    <a:pt x="325" y="626"/>
                  </a:cubicBezTo>
                  <a:cubicBezTo>
                    <a:pt x="329" y="625"/>
                    <a:pt x="333" y="625"/>
                    <a:pt x="337" y="625"/>
                  </a:cubicBezTo>
                  <a:cubicBezTo>
                    <a:pt x="347" y="624"/>
                    <a:pt x="356" y="624"/>
                    <a:pt x="365" y="623"/>
                  </a:cubicBezTo>
                  <a:cubicBezTo>
                    <a:pt x="371" y="623"/>
                    <a:pt x="377" y="623"/>
                    <a:pt x="382" y="622"/>
                  </a:cubicBezTo>
                  <a:cubicBezTo>
                    <a:pt x="383" y="622"/>
                    <a:pt x="384" y="622"/>
                    <a:pt x="385" y="622"/>
                  </a:cubicBezTo>
                  <a:cubicBezTo>
                    <a:pt x="385" y="622"/>
                    <a:pt x="386" y="622"/>
                    <a:pt x="386" y="622"/>
                  </a:cubicBezTo>
                  <a:cubicBezTo>
                    <a:pt x="390" y="622"/>
                    <a:pt x="394" y="621"/>
                    <a:pt x="398" y="621"/>
                  </a:cubicBezTo>
                  <a:moveTo>
                    <a:pt x="131" y="644"/>
                  </a:moveTo>
                  <a:cubicBezTo>
                    <a:pt x="105" y="648"/>
                    <a:pt x="81" y="653"/>
                    <a:pt x="61" y="659"/>
                  </a:cubicBezTo>
                  <a:cubicBezTo>
                    <a:pt x="61" y="659"/>
                    <a:pt x="61" y="659"/>
                    <a:pt x="60" y="659"/>
                  </a:cubicBezTo>
                  <a:cubicBezTo>
                    <a:pt x="59" y="659"/>
                    <a:pt x="59" y="660"/>
                    <a:pt x="58" y="660"/>
                  </a:cubicBezTo>
                  <a:cubicBezTo>
                    <a:pt x="58" y="660"/>
                    <a:pt x="57" y="660"/>
                    <a:pt x="57" y="660"/>
                  </a:cubicBezTo>
                  <a:cubicBezTo>
                    <a:pt x="56" y="660"/>
                    <a:pt x="56" y="661"/>
                    <a:pt x="55" y="661"/>
                  </a:cubicBezTo>
                  <a:cubicBezTo>
                    <a:pt x="55" y="661"/>
                    <a:pt x="54" y="661"/>
                    <a:pt x="54" y="661"/>
                  </a:cubicBezTo>
                  <a:cubicBezTo>
                    <a:pt x="53" y="661"/>
                    <a:pt x="53" y="661"/>
                    <a:pt x="52" y="662"/>
                  </a:cubicBezTo>
                  <a:cubicBezTo>
                    <a:pt x="52" y="662"/>
                    <a:pt x="52" y="662"/>
                    <a:pt x="51" y="662"/>
                  </a:cubicBezTo>
                  <a:cubicBezTo>
                    <a:pt x="51" y="662"/>
                    <a:pt x="51" y="662"/>
                    <a:pt x="51" y="662"/>
                  </a:cubicBezTo>
                  <a:cubicBezTo>
                    <a:pt x="51" y="662"/>
                    <a:pt x="50" y="662"/>
                    <a:pt x="50" y="662"/>
                  </a:cubicBezTo>
                  <a:cubicBezTo>
                    <a:pt x="49" y="663"/>
                    <a:pt x="48" y="663"/>
                    <a:pt x="47" y="663"/>
                  </a:cubicBezTo>
                  <a:cubicBezTo>
                    <a:pt x="47" y="664"/>
                    <a:pt x="46" y="664"/>
                    <a:pt x="46" y="664"/>
                  </a:cubicBezTo>
                  <a:cubicBezTo>
                    <a:pt x="45" y="664"/>
                    <a:pt x="45" y="664"/>
                    <a:pt x="45" y="664"/>
                  </a:cubicBezTo>
                  <a:cubicBezTo>
                    <a:pt x="45" y="664"/>
                    <a:pt x="44" y="664"/>
                    <a:pt x="44" y="665"/>
                  </a:cubicBezTo>
                  <a:cubicBezTo>
                    <a:pt x="40" y="666"/>
                    <a:pt x="37" y="667"/>
                    <a:pt x="33" y="669"/>
                  </a:cubicBezTo>
                  <a:cubicBezTo>
                    <a:pt x="33" y="669"/>
                    <a:pt x="32" y="669"/>
                    <a:pt x="32" y="669"/>
                  </a:cubicBezTo>
                  <a:cubicBezTo>
                    <a:pt x="31" y="670"/>
                    <a:pt x="30" y="670"/>
                    <a:pt x="29" y="671"/>
                  </a:cubicBezTo>
                  <a:cubicBezTo>
                    <a:pt x="29" y="671"/>
                    <a:pt x="29" y="671"/>
                    <a:pt x="29" y="672"/>
                  </a:cubicBezTo>
                  <a:cubicBezTo>
                    <a:pt x="31" y="671"/>
                    <a:pt x="32" y="671"/>
                    <a:pt x="33" y="670"/>
                  </a:cubicBezTo>
                  <a:cubicBezTo>
                    <a:pt x="34" y="670"/>
                    <a:pt x="34" y="670"/>
                    <a:pt x="34" y="669"/>
                  </a:cubicBezTo>
                  <a:cubicBezTo>
                    <a:pt x="38" y="668"/>
                    <a:pt x="41" y="667"/>
                    <a:pt x="45" y="665"/>
                  </a:cubicBezTo>
                  <a:cubicBezTo>
                    <a:pt x="46" y="665"/>
                    <a:pt x="46" y="665"/>
                    <a:pt x="46" y="665"/>
                  </a:cubicBezTo>
                  <a:cubicBezTo>
                    <a:pt x="47" y="665"/>
                    <a:pt x="47" y="665"/>
                    <a:pt x="47" y="665"/>
                  </a:cubicBezTo>
                  <a:cubicBezTo>
                    <a:pt x="47" y="664"/>
                    <a:pt x="48" y="664"/>
                    <a:pt x="48" y="664"/>
                  </a:cubicBezTo>
                  <a:cubicBezTo>
                    <a:pt x="49" y="664"/>
                    <a:pt x="50" y="663"/>
                    <a:pt x="51" y="663"/>
                  </a:cubicBezTo>
                  <a:cubicBezTo>
                    <a:pt x="52" y="663"/>
                    <a:pt x="52" y="663"/>
                    <a:pt x="52" y="663"/>
                  </a:cubicBezTo>
                  <a:cubicBezTo>
                    <a:pt x="53" y="663"/>
                    <a:pt x="53" y="662"/>
                    <a:pt x="53" y="662"/>
                  </a:cubicBezTo>
                  <a:cubicBezTo>
                    <a:pt x="54" y="662"/>
                    <a:pt x="54" y="662"/>
                    <a:pt x="55" y="662"/>
                  </a:cubicBezTo>
                  <a:cubicBezTo>
                    <a:pt x="55" y="662"/>
                    <a:pt x="56" y="662"/>
                    <a:pt x="56" y="662"/>
                  </a:cubicBezTo>
                  <a:cubicBezTo>
                    <a:pt x="57" y="661"/>
                    <a:pt x="57" y="661"/>
                    <a:pt x="58" y="661"/>
                  </a:cubicBezTo>
                  <a:cubicBezTo>
                    <a:pt x="58" y="661"/>
                    <a:pt x="59" y="661"/>
                    <a:pt x="59" y="661"/>
                  </a:cubicBezTo>
                  <a:cubicBezTo>
                    <a:pt x="60" y="660"/>
                    <a:pt x="60" y="660"/>
                    <a:pt x="61" y="660"/>
                  </a:cubicBezTo>
                  <a:cubicBezTo>
                    <a:pt x="62" y="660"/>
                    <a:pt x="62" y="660"/>
                    <a:pt x="62" y="660"/>
                  </a:cubicBezTo>
                  <a:cubicBezTo>
                    <a:pt x="78" y="655"/>
                    <a:pt x="96" y="651"/>
                    <a:pt x="115" y="648"/>
                  </a:cubicBezTo>
                  <a:cubicBezTo>
                    <a:pt x="120" y="646"/>
                    <a:pt x="126" y="645"/>
                    <a:pt x="131" y="644"/>
                  </a:cubicBezTo>
                  <a:moveTo>
                    <a:pt x="28" y="671"/>
                  </a:moveTo>
                  <a:cubicBezTo>
                    <a:pt x="26" y="672"/>
                    <a:pt x="24" y="673"/>
                    <a:pt x="23" y="674"/>
                  </a:cubicBezTo>
                  <a:cubicBezTo>
                    <a:pt x="23" y="675"/>
                    <a:pt x="22" y="675"/>
                    <a:pt x="22" y="675"/>
                  </a:cubicBezTo>
                  <a:cubicBezTo>
                    <a:pt x="24" y="674"/>
                    <a:pt x="26" y="673"/>
                    <a:pt x="28" y="672"/>
                  </a:cubicBezTo>
                  <a:cubicBezTo>
                    <a:pt x="28" y="672"/>
                    <a:pt x="28" y="672"/>
                    <a:pt x="28" y="671"/>
                  </a:cubicBezTo>
                  <a:moveTo>
                    <a:pt x="22" y="675"/>
                  </a:moveTo>
                  <a:cubicBezTo>
                    <a:pt x="20" y="676"/>
                    <a:pt x="19" y="676"/>
                    <a:pt x="17" y="677"/>
                  </a:cubicBezTo>
                  <a:cubicBezTo>
                    <a:pt x="17" y="678"/>
                    <a:pt x="17" y="678"/>
                    <a:pt x="17" y="679"/>
                  </a:cubicBezTo>
                  <a:cubicBezTo>
                    <a:pt x="17" y="679"/>
                    <a:pt x="17" y="679"/>
                    <a:pt x="17" y="678"/>
                  </a:cubicBezTo>
                  <a:cubicBezTo>
                    <a:pt x="19" y="678"/>
                    <a:pt x="20" y="677"/>
                    <a:pt x="21" y="676"/>
                  </a:cubicBezTo>
                  <a:cubicBezTo>
                    <a:pt x="21" y="676"/>
                    <a:pt x="22" y="675"/>
                    <a:pt x="22" y="675"/>
                  </a:cubicBezTo>
                  <a:moveTo>
                    <a:pt x="16" y="678"/>
                  </a:moveTo>
                  <a:cubicBezTo>
                    <a:pt x="16" y="678"/>
                    <a:pt x="16" y="678"/>
                    <a:pt x="15" y="679"/>
                  </a:cubicBezTo>
                  <a:cubicBezTo>
                    <a:pt x="15" y="679"/>
                    <a:pt x="15" y="679"/>
                    <a:pt x="14" y="680"/>
                  </a:cubicBezTo>
                  <a:cubicBezTo>
                    <a:pt x="13" y="680"/>
                    <a:pt x="13" y="681"/>
                    <a:pt x="12" y="682"/>
                  </a:cubicBezTo>
                  <a:cubicBezTo>
                    <a:pt x="12" y="682"/>
                    <a:pt x="13" y="682"/>
                    <a:pt x="13" y="682"/>
                  </a:cubicBezTo>
                  <a:cubicBezTo>
                    <a:pt x="14" y="681"/>
                    <a:pt x="15" y="680"/>
                    <a:pt x="16" y="680"/>
                  </a:cubicBezTo>
                  <a:cubicBezTo>
                    <a:pt x="16" y="679"/>
                    <a:pt x="16" y="679"/>
                    <a:pt x="16" y="678"/>
                  </a:cubicBezTo>
                  <a:moveTo>
                    <a:pt x="12" y="682"/>
                  </a:moveTo>
                  <a:cubicBezTo>
                    <a:pt x="11" y="682"/>
                    <a:pt x="11" y="682"/>
                    <a:pt x="11" y="682"/>
                  </a:cubicBezTo>
                  <a:cubicBezTo>
                    <a:pt x="9" y="684"/>
                    <a:pt x="8" y="685"/>
                    <a:pt x="6" y="687"/>
                  </a:cubicBezTo>
                  <a:cubicBezTo>
                    <a:pt x="6" y="688"/>
                    <a:pt x="5" y="688"/>
                    <a:pt x="4" y="689"/>
                  </a:cubicBezTo>
                  <a:cubicBezTo>
                    <a:pt x="4" y="689"/>
                    <a:pt x="4" y="689"/>
                    <a:pt x="4" y="689"/>
                  </a:cubicBezTo>
                  <a:cubicBezTo>
                    <a:pt x="4" y="690"/>
                    <a:pt x="4" y="690"/>
                    <a:pt x="4" y="690"/>
                  </a:cubicBezTo>
                  <a:cubicBezTo>
                    <a:pt x="3" y="691"/>
                    <a:pt x="2" y="693"/>
                    <a:pt x="2" y="694"/>
                  </a:cubicBezTo>
                  <a:cubicBezTo>
                    <a:pt x="2" y="694"/>
                    <a:pt x="1" y="694"/>
                    <a:pt x="1" y="695"/>
                  </a:cubicBezTo>
                  <a:cubicBezTo>
                    <a:pt x="1" y="696"/>
                    <a:pt x="1" y="696"/>
                    <a:pt x="0" y="697"/>
                  </a:cubicBezTo>
                  <a:cubicBezTo>
                    <a:pt x="0" y="698"/>
                    <a:pt x="0" y="698"/>
                    <a:pt x="0" y="698"/>
                  </a:cubicBezTo>
                  <a:cubicBezTo>
                    <a:pt x="0" y="700"/>
                    <a:pt x="0" y="701"/>
                    <a:pt x="0" y="703"/>
                  </a:cubicBezTo>
                  <a:cubicBezTo>
                    <a:pt x="0" y="705"/>
                    <a:pt x="0" y="706"/>
                    <a:pt x="0" y="708"/>
                  </a:cubicBezTo>
                  <a:cubicBezTo>
                    <a:pt x="0" y="709"/>
                    <a:pt x="0" y="709"/>
                    <a:pt x="0" y="709"/>
                  </a:cubicBezTo>
                  <a:cubicBezTo>
                    <a:pt x="1" y="711"/>
                    <a:pt x="1" y="712"/>
                    <a:pt x="2" y="713"/>
                  </a:cubicBezTo>
                  <a:cubicBezTo>
                    <a:pt x="2" y="714"/>
                    <a:pt x="2" y="714"/>
                    <a:pt x="2" y="714"/>
                  </a:cubicBezTo>
                  <a:cubicBezTo>
                    <a:pt x="3" y="716"/>
                    <a:pt x="4" y="717"/>
                    <a:pt x="4" y="718"/>
                  </a:cubicBezTo>
                  <a:cubicBezTo>
                    <a:pt x="4" y="718"/>
                    <a:pt x="5" y="719"/>
                    <a:pt x="5" y="719"/>
                  </a:cubicBezTo>
                  <a:cubicBezTo>
                    <a:pt x="5" y="719"/>
                    <a:pt x="5" y="719"/>
                    <a:pt x="5" y="719"/>
                  </a:cubicBezTo>
                  <a:cubicBezTo>
                    <a:pt x="5" y="720"/>
                    <a:pt x="6" y="720"/>
                    <a:pt x="6" y="721"/>
                  </a:cubicBezTo>
                  <a:cubicBezTo>
                    <a:pt x="6" y="721"/>
                    <a:pt x="7" y="722"/>
                    <a:pt x="7" y="722"/>
                  </a:cubicBezTo>
                  <a:cubicBezTo>
                    <a:pt x="13" y="730"/>
                    <a:pt x="22" y="738"/>
                    <a:pt x="35" y="747"/>
                  </a:cubicBezTo>
                  <a:cubicBezTo>
                    <a:pt x="36" y="748"/>
                    <a:pt x="38" y="749"/>
                    <a:pt x="39" y="750"/>
                  </a:cubicBezTo>
                  <a:cubicBezTo>
                    <a:pt x="41" y="751"/>
                    <a:pt x="42" y="752"/>
                    <a:pt x="44" y="753"/>
                  </a:cubicBezTo>
                  <a:cubicBezTo>
                    <a:pt x="45" y="754"/>
                    <a:pt x="45" y="754"/>
                    <a:pt x="45" y="754"/>
                  </a:cubicBezTo>
                  <a:cubicBezTo>
                    <a:pt x="49" y="756"/>
                    <a:pt x="53" y="759"/>
                    <a:pt x="57" y="761"/>
                  </a:cubicBezTo>
                  <a:cubicBezTo>
                    <a:pt x="57" y="760"/>
                    <a:pt x="56" y="759"/>
                    <a:pt x="55" y="759"/>
                  </a:cubicBezTo>
                  <a:cubicBezTo>
                    <a:pt x="52" y="757"/>
                    <a:pt x="49" y="755"/>
                    <a:pt x="47" y="753"/>
                  </a:cubicBezTo>
                  <a:cubicBezTo>
                    <a:pt x="46" y="753"/>
                    <a:pt x="46" y="753"/>
                    <a:pt x="45" y="753"/>
                  </a:cubicBezTo>
                  <a:cubicBezTo>
                    <a:pt x="45" y="752"/>
                    <a:pt x="44" y="752"/>
                    <a:pt x="43" y="751"/>
                  </a:cubicBezTo>
                  <a:cubicBezTo>
                    <a:pt x="42" y="750"/>
                    <a:pt x="40" y="750"/>
                    <a:pt x="39" y="749"/>
                  </a:cubicBezTo>
                  <a:cubicBezTo>
                    <a:pt x="25" y="739"/>
                    <a:pt x="15" y="731"/>
                    <a:pt x="9" y="723"/>
                  </a:cubicBezTo>
                  <a:cubicBezTo>
                    <a:pt x="8" y="722"/>
                    <a:pt x="8" y="722"/>
                    <a:pt x="8" y="722"/>
                  </a:cubicBezTo>
                  <a:cubicBezTo>
                    <a:pt x="7" y="721"/>
                    <a:pt x="7" y="721"/>
                    <a:pt x="7" y="720"/>
                  </a:cubicBezTo>
                  <a:cubicBezTo>
                    <a:pt x="6" y="720"/>
                    <a:pt x="6" y="719"/>
                    <a:pt x="6" y="718"/>
                  </a:cubicBezTo>
                  <a:cubicBezTo>
                    <a:pt x="5" y="718"/>
                    <a:pt x="5" y="718"/>
                    <a:pt x="5" y="718"/>
                  </a:cubicBezTo>
                  <a:cubicBezTo>
                    <a:pt x="5" y="717"/>
                    <a:pt x="4" y="716"/>
                    <a:pt x="4" y="715"/>
                  </a:cubicBezTo>
                  <a:cubicBezTo>
                    <a:pt x="3" y="715"/>
                    <a:pt x="3" y="714"/>
                    <a:pt x="3" y="714"/>
                  </a:cubicBezTo>
                  <a:cubicBezTo>
                    <a:pt x="2" y="712"/>
                    <a:pt x="2" y="711"/>
                    <a:pt x="2" y="710"/>
                  </a:cubicBezTo>
                  <a:cubicBezTo>
                    <a:pt x="1" y="709"/>
                    <a:pt x="1" y="709"/>
                    <a:pt x="1" y="709"/>
                  </a:cubicBezTo>
                  <a:cubicBezTo>
                    <a:pt x="1" y="707"/>
                    <a:pt x="1" y="705"/>
                    <a:pt x="1" y="703"/>
                  </a:cubicBezTo>
                  <a:cubicBezTo>
                    <a:pt x="1" y="702"/>
                    <a:pt x="1" y="700"/>
                    <a:pt x="1" y="699"/>
                  </a:cubicBezTo>
                  <a:cubicBezTo>
                    <a:pt x="1" y="698"/>
                    <a:pt x="1" y="698"/>
                    <a:pt x="1" y="698"/>
                  </a:cubicBezTo>
                  <a:cubicBezTo>
                    <a:pt x="2" y="697"/>
                    <a:pt x="2" y="696"/>
                    <a:pt x="2" y="695"/>
                  </a:cubicBezTo>
                  <a:cubicBezTo>
                    <a:pt x="2" y="695"/>
                    <a:pt x="2" y="695"/>
                    <a:pt x="3" y="694"/>
                  </a:cubicBezTo>
                  <a:cubicBezTo>
                    <a:pt x="3" y="693"/>
                    <a:pt x="4" y="692"/>
                    <a:pt x="5" y="691"/>
                  </a:cubicBezTo>
                  <a:cubicBezTo>
                    <a:pt x="5" y="690"/>
                    <a:pt x="5" y="690"/>
                    <a:pt x="5" y="690"/>
                  </a:cubicBezTo>
                  <a:cubicBezTo>
                    <a:pt x="5" y="689"/>
                    <a:pt x="6" y="689"/>
                    <a:pt x="6" y="688"/>
                  </a:cubicBezTo>
                  <a:cubicBezTo>
                    <a:pt x="6" y="688"/>
                    <a:pt x="6" y="688"/>
                    <a:pt x="7" y="688"/>
                  </a:cubicBezTo>
                  <a:cubicBezTo>
                    <a:pt x="7" y="688"/>
                    <a:pt x="7" y="687"/>
                    <a:pt x="7" y="687"/>
                  </a:cubicBezTo>
                  <a:cubicBezTo>
                    <a:pt x="8" y="686"/>
                    <a:pt x="9" y="685"/>
                    <a:pt x="10" y="685"/>
                  </a:cubicBezTo>
                  <a:cubicBezTo>
                    <a:pt x="10" y="684"/>
                    <a:pt x="10" y="684"/>
                    <a:pt x="10" y="684"/>
                  </a:cubicBezTo>
                  <a:cubicBezTo>
                    <a:pt x="11" y="683"/>
                    <a:pt x="11" y="682"/>
                    <a:pt x="12" y="682"/>
                  </a:cubicBezTo>
                  <a:moveTo>
                    <a:pt x="449" y="743"/>
                  </a:moveTo>
                  <a:cubicBezTo>
                    <a:pt x="447" y="743"/>
                    <a:pt x="446" y="743"/>
                    <a:pt x="445" y="745"/>
                  </a:cubicBezTo>
                  <a:cubicBezTo>
                    <a:pt x="446" y="744"/>
                    <a:pt x="446" y="744"/>
                    <a:pt x="447" y="744"/>
                  </a:cubicBezTo>
                  <a:cubicBezTo>
                    <a:pt x="447" y="744"/>
                    <a:pt x="448" y="744"/>
                    <a:pt x="449" y="744"/>
                  </a:cubicBezTo>
                  <a:cubicBezTo>
                    <a:pt x="449" y="744"/>
                    <a:pt x="449" y="744"/>
                    <a:pt x="450" y="744"/>
                  </a:cubicBezTo>
                  <a:cubicBezTo>
                    <a:pt x="451" y="744"/>
                    <a:pt x="452" y="743"/>
                    <a:pt x="453" y="743"/>
                  </a:cubicBezTo>
                  <a:cubicBezTo>
                    <a:pt x="451" y="743"/>
                    <a:pt x="450" y="743"/>
                    <a:pt x="449" y="743"/>
                  </a:cubicBezTo>
                  <a:moveTo>
                    <a:pt x="455" y="744"/>
                  </a:moveTo>
                  <a:cubicBezTo>
                    <a:pt x="454" y="744"/>
                    <a:pt x="453" y="744"/>
                    <a:pt x="453" y="744"/>
                  </a:cubicBezTo>
                  <a:cubicBezTo>
                    <a:pt x="455" y="745"/>
                    <a:pt x="459" y="746"/>
                    <a:pt x="464" y="748"/>
                  </a:cubicBezTo>
                  <a:cubicBezTo>
                    <a:pt x="465" y="747"/>
                    <a:pt x="465" y="747"/>
                    <a:pt x="466" y="747"/>
                  </a:cubicBezTo>
                  <a:cubicBezTo>
                    <a:pt x="461" y="745"/>
                    <a:pt x="458" y="744"/>
                    <a:pt x="455" y="744"/>
                  </a:cubicBezTo>
                  <a:moveTo>
                    <a:pt x="446" y="745"/>
                  </a:moveTo>
                  <a:cubicBezTo>
                    <a:pt x="446" y="745"/>
                    <a:pt x="446" y="745"/>
                    <a:pt x="445" y="746"/>
                  </a:cubicBezTo>
                  <a:cubicBezTo>
                    <a:pt x="445" y="747"/>
                    <a:pt x="446" y="748"/>
                    <a:pt x="447" y="749"/>
                  </a:cubicBezTo>
                  <a:cubicBezTo>
                    <a:pt x="447" y="750"/>
                    <a:pt x="447" y="750"/>
                    <a:pt x="448" y="750"/>
                  </a:cubicBezTo>
                  <a:cubicBezTo>
                    <a:pt x="448" y="751"/>
                    <a:pt x="448" y="751"/>
                    <a:pt x="448" y="751"/>
                  </a:cubicBezTo>
                  <a:cubicBezTo>
                    <a:pt x="448" y="751"/>
                    <a:pt x="448" y="751"/>
                    <a:pt x="449" y="752"/>
                  </a:cubicBezTo>
                  <a:cubicBezTo>
                    <a:pt x="449" y="752"/>
                    <a:pt x="449" y="752"/>
                    <a:pt x="449" y="753"/>
                  </a:cubicBezTo>
                  <a:cubicBezTo>
                    <a:pt x="450" y="753"/>
                    <a:pt x="450" y="753"/>
                    <a:pt x="450" y="754"/>
                  </a:cubicBezTo>
                  <a:cubicBezTo>
                    <a:pt x="451" y="753"/>
                    <a:pt x="451" y="753"/>
                    <a:pt x="451" y="753"/>
                  </a:cubicBezTo>
                  <a:cubicBezTo>
                    <a:pt x="451" y="753"/>
                    <a:pt x="451" y="753"/>
                    <a:pt x="451" y="753"/>
                  </a:cubicBezTo>
                  <a:cubicBezTo>
                    <a:pt x="451" y="752"/>
                    <a:pt x="450" y="752"/>
                    <a:pt x="450" y="752"/>
                  </a:cubicBezTo>
                  <a:cubicBezTo>
                    <a:pt x="450" y="751"/>
                    <a:pt x="449" y="751"/>
                    <a:pt x="449" y="751"/>
                  </a:cubicBezTo>
                  <a:cubicBezTo>
                    <a:pt x="449" y="751"/>
                    <a:pt x="449" y="750"/>
                    <a:pt x="449" y="750"/>
                  </a:cubicBezTo>
                  <a:cubicBezTo>
                    <a:pt x="449" y="750"/>
                    <a:pt x="448" y="750"/>
                    <a:pt x="448" y="749"/>
                  </a:cubicBezTo>
                  <a:cubicBezTo>
                    <a:pt x="447" y="748"/>
                    <a:pt x="446" y="746"/>
                    <a:pt x="446" y="745"/>
                  </a:cubicBezTo>
                  <a:moveTo>
                    <a:pt x="467" y="747"/>
                  </a:moveTo>
                  <a:cubicBezTo>
                    <a:pt x="467" y="748"/>
                    <a:pt x="466" y="748"/>
                    <a:pt x="466" y="748"/>
                  </a:cubicBezTo>
                  <a:cubicBezTo>
                    <a:pt x="466" y="748"/>
                    <a:pt x="467" y="748"/>
                    <a:pt x="467" y="749"/>
                  </a:cubicBezTo>
                  <a:cubicBezTo>
                    <a:pt x="468" y="749"/>
                    <a:pt x="469" y="749"/>
                    <a:pt x="470" y="750"/>
                  </a:cubicBezTo>
                  <a:cubicBezTo>
                    <a:pt x="471" y="749"/>
                    <a:pt x="472" y="749"/>
                    <a:pt x="472" y="749"/>
                  </a:cubicBezTo>
                  <a:cubicBezTo>
                    <a:pt x="471" y="749"/>
                    <a:pt x="471" y="749"/>
                    <a:pt x="470" y="748"/>
                  </a:cubicBezTo>
                  <a:cubicBezTo>
                    <a:pt x="469" y="748"/>
                    <a:pt x="468" y="748"/>
                    <a:pt x="468" y="748"/>
                  </a:cubicBezTo>
                  <a:cubicBezTo>
                    <a:pt x="467" y="748"/>
                    <a:pt x="467" y="748"/>
                    <a:pt x="467" y="747"/>
                  </a:cubicBezTo>
                  <a:moveTo>
                    <a:pt x="474" y="750"/>
                  </a:moveTo>
                  <a:cubicBezTo>
                    <a:pt x="473" y="750"/>
                    <a:pt x="473" y="750"/>
                    <a:pt x="472" y="750"/>
                  </a:cubicBezTo>
                  <a:cubicBezTo>
                    <a:pt x="473" y="750"/>
                    <a:pt x="474" y="751"/>
                    <a:pt x="474" y="751"/>
                  </a:cubicBezTo>
                  <a:cubicBezTo>
                    <a:pt x="476" y="751"/>
                    <a:pt x="479" y="752"/>
                    <a:pt x="481" y="753"/>
                  </a:cubicBezTo>
                  <a:cubicBezTo>
                    <a:pt x="481" y="752"/>
                    <a:pt x="482" y="752"/>
                    <a:pt x="482" y="752"/>
                  </a:cubicBezTo>
                  <a:cubicBezTo>
                    <a:pt x="481" y="752"/>
                    <a:pt x="479" y="751"/>
                    <a:pt x="477" y="751"/>
                  </a:cubicBezTo>
                  <a:cubicBezTo>
                    <a:pt x="476" y="750"/>
                    <a:pt x="475" y="750"/>
                    <a:pt x="474" y="750"/>
                  </a:cubicBezTo>
                  <a:cubicBezTo>
                    <a:pt x="474" y="750"/>
                    <a:pt x="474" y="750"/>
                    <a:pt x="474" y="750"/>
                  </a:cubicBezTo>
                  <a:moveTo>
                    <a:pt x="484" y="752"/>
                  </a:moveTo>
                  <a:cubicBezTo>
                    <a:pt x="484" y="753"/>
                    <a:pt x="483" y="753"/>
                    <a:pt x="482" y="753"/>
                  </a:cubicBezTo>
                  <a:cubicBezTo>
                    <a:pt x="484" y="753"/>
                    <a:pt x="485" y="754"/>
                    <a:pt x="486" y="754"/>
                  </a:cubicBezTo>
                  <a:cubicBezTo>
                    <a:pt x="487" y="754"/>
                    <a:pt x="488" y="754"/>
                    <a:pt x="489" y="754"/>
                  </a:cubicBezTo>
                  <a:cubicBezTo>
                    <a:pt x="490" y="754"/>
                    <a:pt x="491" y="754"/>
                    <a:pt x="492" y="754"/>
                  </a:cubicBezTo>
                  <a:cubicBezTo>
                    <a:pt x="492" y="754"/>
                    <a:pt x="491" y="754"/>
                    <a:pt x="491" y="754"/>
                  </a:cubicBezTo>
                  <a:cubicBezTo>
                    <a:pt x="490" y="754"/>
                    <a:pt x="488" y="753"/>
                    <a:pt x="486" y="753"/>
                  </a:cubicBezTo>
                  <a:cubicBezTo>
                    <a:pt x="486" y="753"/>
                    <a:pt x="485" y="753"/>
                    <a:pt x="484" y="752"/>
                  </a:cubicBezTo>
                  <a:moveTo>
                    <a:pt x="494" y="754"/>
                  </a:moveTo>
                  <a:cubicBezTo>
                    <a:pt x="493" y="755"/>
                    <a:pt x="493" y="755"/>
                    <a:pt x="492" y="755"/>
                  </a:cubicBezTo>
                  <a:cubicBezTo>
                    <a:pt x="494" y="755"/>
                    <a:pt x="496" y="756"/>
                    <a:pt x="498" y="756"/>
                  </a:cubicBezTo>
                  <a:cubicBezTo>
                    <a:pt x="498" y="756"/>
                    <a:pt x="499" y="755"/>
                    <a:pt x="500" y="755"/>
                  </a:cubicBezTo>
                  <a:cubicBezTo>
                    <a:pt x="498" y="755"/>
                    <a:pt x="496" y="755"/>
                    <a:pt x="494" y="754"/>
                  </a:cubicBezTo>
                  <a:moveTo>
                    <a:pt x="583" y="754"/>
                  </a:moveTo>
                  <a:cubicBezTo>
                    <a:pt x="582" y="754"/>
                    <a:pt x="582" y="754"/>
                    <a:pt x="582" y="755"/>
                  </a:cubicBezTo>
                  <a:cubicBezTo>
                    <a:pt x="569" y="756"/>
                    <a:pt x="557" y="757"/>
                    <a:pt x="545" y="757"/>
                  </a:cubicBezTo>
                  <a:cubicBezTo>
                    <a:pt x="547" y="758"/>
                    <a:pt x="548" y="758"/>
                    <a:pt x="550" y="758"/>
                  </a:cubicBezTo>
                  <a:cubicBezTo>
                    <a:pt x="560" y="758"/>
                    <a:pt x="570" y="757"/>
                    <a:pt x="580" y="756"/>
                  </a:cubicBezTo>
                  <a:cubicBezTo>
                    <a:pt x="581" y="756"/>
                    <a:pt x="581" y="756"/>
                    <a:pt x="582" y="755"/>
                  </a:cubicBezTo>
                  <a:cubicBezTo>
                    <a:pt x="582" y="755"/>
                    <a:pt x="582" y="755"/>
                    <a:pt x="582" y="755"/>
                  </a:cubicBezTo>
                  <a:cubicBezTo>
                    <a:pt x="583" y="755"/>
                    <a:pt x="583" y="755"/>
                    <a:pt x="583" y="754"/>
                  </a:cubicBezTo>
                  <a:moveTo>
                    <a:pt x="452" y="754"/>
                  </a:moveTo>
                  <a:cubicBezTo>
                    <a:pt x="452" y="755"/>
                    <a:pt x="452" y="755"/>
                    <a:pt x="451" y="755"/>
                  </a:cubicBezTo>
                  <a:cubicBezTo>
                    <a:pt x="453" y="757"/>
                    <a:pt x="455" y="759"/>
                    <a:pt x="458" y="762"/>
                  </a:cubicBezTo>
                  <a:cubicBezTo>
                    <a:pt x="458" y="761"/>
                    <a:pt x="458" y="761"/>
                    <a:pt x="459" y="761"/>
                  </a:cubicBezTo>
                  <a:cubicBezTo>
                    <a:pt x="456" y="759"/>
                    <a:pt x="454" y="756"/>
                    <a:pt x="452" y="754"/>
                  </a:cubicBezTo>
                  <a:moveTo>
                    <a:pt x="502" y="755"/>
                  </a:moveTo>
                  <a:cubicBezTo>
                    <a:pt x="501" y="756"/>
                    <a:pt x="501" y="756"/>
                    <a:pt x="500" y="756"/>
                  </a:cubicBezTo>
                  <a:cubicBezTo>
                    <a:pt x="504" y="757"/>
                    <a:pt x="508" y="757"/>
                    <a:pt x="512" y="758"/>
                  </a:cubicBezTo>
                  <a:cubicBezTo>
                    <a:pt x="513" y="757"/>
                    <a:pt x="514" y="757"/>
                    <a:pt x="515" y="757"/>
                  </a:cubicBezTo>
                  <a:cubicBezTo>
                    <a:pt x="510" y="756"/>
                    <a:pt x="506" y="756"/>
                    <a:pt x="502" y="755"/>
                  </a:cubicBezTo>
                  <a:moveTo>
                    <a:pt x="519" y="757"/>
                  </a:moveTo>
                  <a:cubicBezTo>
                    <a:pt x="518" y="757"/>
                    <a:pt x="517" y="758"/>
                    <a:pt x="516" y="758"/>
                  </a:cubicBezTo>
                  <a:cubicBezTo>
                    <a:pt x="521" y="758"/>
                    <a:pt x="525" y="758"/>
                    <a:pt x="530" y="758"/>
                  </a:cubicBezTo>
                  <a:cubicBezTo>
                    <a:pt x="532" y="758"/>
                    <a:pt x="534" y="758"/>
                    <a:pt x="535" y="758"/>
                  </a:cubicBezTo>
                  <a:cubicBezTo>
                    <a:pt x="535" y="758"/>
                    <a:pt x="535" y="758"/>
                    <a:pt x="536" y="758"/>
                  </a:cubicBezTo>
                  <a:cubicBezTo>
                    <a:pt x="539" y="758"/>
                    <a:pt x="542" y="758"/>
                    <a:pt x="545" y="758"/>
                  </a:cubicBezTo>
                  <a:cubicBezTo>
                    <a:pt x="544" y="758"/>
                    <a:pt x="542" y="758"/>
                    <a:pt x="541" y="757"/>
                  </a:cubicBezTo>
                  <a:cubicBezTo>
                    <a:pt x="541" y="757"/>
                    <a:pt x="541" y="757"/>
                    <a:pt x="541" y="757"/>
                  </a:cubicBezTo>
                  <a:cubicBezTo>
                    <a:pt x="539" y="757"/>
                    <a:pt x="537" y="758"/>
                    <a:pt x="535" y="758"/>
                  </a:cubicBezTo>
                  <a:cubicBezTo>
                    <a:pt x="535" y="758"/>
                    <a:pt x="535" y="758"/>
                    <a:pt x="535" y="758"/>
                  </a:cubicBezTo>
                  <a:cubicBezTo>
                    <a:pt x="530" y="758"/>
                    <a:pt x="524" y="757"/>
                    <a:pt x="519" y="757"/>
                  </a:cubicBezTo>
                  <a:moveTo>
                    <a:pt x="58" y="760"/>
                  </a:moveTo>
                  <a:cubicBezTo>
                    <a:pt x="58" y="760"/>
                    <a:pt x="58" y="760"/>
                    <a:pt x="58" y="761"/>
                  </a:cubicBezTo>
                  <a:cubicBezTo>
                    <a:pt x="58" y="761"/>
                    <a:pt x="58" y="760"/>
                    <a:pt x="58" y="760"/>
                  </a:cubicBezTo>
                  <a:cubicBezTo>
                    <a:pt x="58" y="760"/>
                    <a:pt x="58" y="760"/>
                    <a:pt x="58" y="760"/>
                  </a:cubicBezTo>
                  <a:moveTo>
                    <a:pt x="59" y="761"/>
                  </a:moveTo>
                  <a:cubicBezTo>
                    <a:pt x="59" y="761"/>
                    <a:pt x="59" y="761"/>
                    <a:pt x="59" y="761"/>
                  </a:cubicBezTo>
                  <a:cubicBezTo>
                    <a:pt x="59" y="762"/>
                    <a:pt x="59" y="762"/>
                    <a:pt x="60" y="762"/>
                  </a:cubicBezTo>
                  <a:cubicBezTo>
                    <a:pt x="66" y="766"/>
                    <a:pt x="74" y="770"/>
                    <a:pt x="81" y="774"/>
                  </a:cubicBezTo>
                  <a:cubicBezTo>
                    <a:pt x="82" y="773"/>
                    <a:pt x="82" y="773"/>
                    <a:pt x="82" y="773"/>
                  </a:cubicBezTo>
                  <a:cubicBezTo>
                    <a:pt x="74" y="769"/>
                    <a:pt x="66" y="765"/>
                    <a:pt x="59" y="761"/>
                  </a:cubicBezTo>
                  <a:moveTo>
                    <a:pt x="460" y="762"/>
                  </a:moveTo>
                  <a:cubicBezTo>
                    <a:pt x="460" y="762"/>
                    <a:pt x="459" y="763"/>
                    <a:pt x="459" y="763"/>
                  </a:cubicBezTo>
                  <a:cubicBezTo>
                    <a:pt x="460" y="764"/>
                    <a:pt x="462" y="766"/>
                    <a:pt x="463" y="767"/>
                  </a:cubicBezTo>
                  <a:cubicBezTo>
                    <a:pt x="464" y="767"/>
                    <a:pt x="464" y="767"/>
                    <a:pt x="464" y="767"/>
                  </a:cubicBezTo>
                  <a:cubicBezTo>
                    <a:pt x="463" y="765"/>
                    <a:pt x="461" y="764"/>
                    <a:pt x="460" y="762"/>
                  </a:cubicBezTo>
                  <a:moveTo>
                    <a:pt x="465" y="768"/>
                  </a:moveTo>
                  <a:cubicBezTo>
                    <a:pt x="465" y="768"/>
                    <a:pt x="465" y="768"/>
                    <a:pt x="464" y="768"/>
                  </a:cubicBezTo>
                  <a:cubicBezTo>
                    <a:pt x="464" y="768"/>
                    <a:pt x="464" y="768"/>
                    <a:pt x="464" y="768"/>
                  </a:cubicBezTo>
                  <a:cubicBezTo>
                    <a:pt x="465" y="768"/>
                    <a:pt x="465" y="769"/>
                    <a:pt x="465" y="769"/>
                  </a:cubicBezTo>
                  <a:cubicBezTo>
                    <a:pt x="465" y="769"/>
                    <a:pt x="465" y="769"/>
                    <a:pt x="466" y="769"/>
                  </a:cubicBezTo>
                  <a:cubicBezTo>
                    <a:pt x="466" y="769"/>
                    <a:pt x="466" y="769"/>
                    <a:pt x="467" y="769"/>
                  </a:cubicBezTo>
                  <a:cubicBezTo>
                    <a:pt x="466" y="769"/>
                    <a:pt x="466" y="768"/>
                    <a:pt x="466" y="768"/>
                  </a:cubicBezTo>
                  <a:cubicBezTo>
                    <a:pt x="466" y="768"/>
                    <a:pt x="465" y="768"/>
                    <a:pt x="465" y="768"/>
                  </a:cubicBezTo>
                  <a:moveTo>
                    <a:pt x="468" y="770"/>
                  </a:moveTo>
                  <a:cubicBezTo>
                    <a:pt x="467" y="770"/>
                    <a:pt x="467" y="770"/>
                    <a:pt x="466" y="770"/>
                  </a:cubicBezTo>
                  <a:cubicBezTo>
                    <a:pt x="466" y="770"/>
                    <a:pt x="466" y="770"/>
                    <a:pt x="466" y="770"/>
                  </a:cubicBezTo>
                  <a:cubicBezTo>
                    <a:pt x="467" y="770"/>
                    <a:pt x="467" y="770"/>
                    <a:pt x="468" y="770"/>
                  </a:cubicBezTo>
                  <a:cubicBezTo>
                    <a:pt x="468" y="770"/>
                    <a:pt x="468" y="770"/>
                    <a:pt x="468" y="770"/>
                  </a:cubicBezTo>
                  <a:moveTo>
                    <a:pt x="468" y="770"/>
                  </a:moveTo>
                  <a:cubicBezTo>
                    <a:pt x="468" y="771"/>
                    <a:pt x="468" y="771"/>
                    <a:pt x="467" y="771"/>
                  </a:cubicBezTo>
                  <a:cubicBezTo>
                    <a:pt x="476" y="779"/>
                    <a:pt x="486" y="787"/>
                    <a:pt x="496" y="797"/>
                  </a:cubicBezTo>
                  <a:cubicBezTo>
                    <a:pt x="497" y="797"/>
                    <a:pt x="497" y="798"/>
                    <a:pt x="497" y="798"/>
                  </a:cubicBezTo>
                  <a:cubicBezTo>
                    <a:pt x="502" y="802"/>
                    <a:pt x="507" y="807"/>
                    <a:pt x="512" y="811"/>
                  </a:cubicBezTo>
                  <a:cubicBezTo>
                    <a:pt x="515" y="814"/>
                    <a:pt x="519" y="818"/>
                    <a:pt x="522" y="821"/>
                  </a:cubicBezTo>
                  <a:cubicBezTo>
                    <a:pt x="522" y="821"/>
                    <a:pt x="523" y="821"/>
                    <a:pt x="523" y="822"/>
                  </a:cubicBezTo>
                  <a:cubicBezTo>
                    <a:pt x="524" y="823"/>
                    <a:pt x="526" y="824"/>
                    <a:pt x="527" y="826"/>
                  </a:cubicBezTo>
                  <a:cubicBezTo>
                    <a:pt x="527" y="826"/>
                    <a:pt x="528" y="826"/>
                    <a:pt x="528" y="827"/>
                  </a:cubicBezTo>
                  <a:cubicBezTo>
                    <a:pt x="530" y="829"/>
                    <a:pt x="532" y="831"/>
                    <a:pt x="534" y="833"/>
                  </a:cubicBezTo>
                  <a:cubicBezTo>
                    <a:pt x="534" y="833"/>
                    <a:pt x="535" y="833"/>
                    <a:pt x="535" y="833"/>
                  </a:cubicBezTo>
                  <a:cubicBezTo>
                    <a:pt x="540" y="838"/>
                    <a:pt x="544" y="843"/>
                    <a:pt x="549" y="847"/>
                  </a:cubicBezTo>
                  <a:cubicBezTo>
                    <a:pt x="549" y="848"/>
                    <a:pt x="549" y="848"/>
                    <a:pt x="549" y="848"/>
                  </a:cubicBezTo>
                  <a:cubicBezTo>
                    <a:pt x="555" y="855"/>
                    <a:pt x="561" y="862"/>
                    <a:pt x="565" y="868"/>
                  </a:cubicBezTo>
                  <a:cubicBezTo>
                    <a:pt x="566" y="868"/>
                    <a:pt x="566" y="868"/>
                    <a:pt x="566" y="869"/>
                  </a:cubicBezTo>
                  <a:cubicBezTo>
                    <a:pt x="573" y="879"/>
                    <a:pt x="578" y="888"/>
                    <a:pt x="578" y="896"/>
                  </a:cubicBezTo>
                  <a:cubicBezTo>
                    <a:pt x="578" y="903"/>
                    <a:pt x="573" y="909"/>
                    <a:pt x="561" y="912"/>
                  </a:cubicBezTo>
                  <a:cubicBezTo>
                    <a:pt x="560" y="912"/>
                    <a:pt x="560" y="912"/>
                    <a:pt x="560" y="912"/>
                  </a:cubicBezTo>
                  <a:cubicBezTo>
                    <a:pt x="558" y="912"/>
                    <a:pt x="555" y="912"/>
                    <a:pt x="553" y="913"/>
                  </a:cubicBezTo>
                  <a:cubicBezTo>
                    <a:pt x="553" y="913"/>
                    <a:pt x="552" y="913"/>
                    <a:pt x="552" y="913"/>
                  </a:cubicBezTo>
                  <a:cubicBezTo>
                    <a:pt x="549" y="913"/>
                    <a:pt x="546" y="913"/>
                    <a:pt x="543" y="913"/>
                  </a:cubicBezTo>
                  <a:cubicBezTo>
                    <a:pt x="543" y="913"/>
                    <a:pt x="543" y="913"/>
                    <a:pt x="543" y="913"/>
                  </a:cubicBezTo>
                  <a:cubicBezTo>
                    <a:pt x="534" y="913"/>
                    <a:pt x="524" y="912"/>
                    <a:pt x="511" y="911"/>
                  </a:cubicBezTo>
                  <a:cubicBezTo>
                    <a:pt x="511" y="911"/>
                    <a:pt x="511" y="911"/>
                    <a:pt x="511" y="911"/>
                  </a:cubicBezTo>
                  <a:cubicBezTo>
                    <a:pt x="510" y="911"/>
                    <a:pt x="510" y="911"/>
                    <a:pt x="510" y="910"/>
                  </a:cubicBezTo>
                  <a:cubicBezTo>
                    <a:pt x="498" y="909"/>
                    <a:pt x="485" y="907"/>
                    <a:pt x="470" y="903"/>
                  </a:cubicBezTo>
                  <a:cubicBezTo>
                    <a:pt x="470" y="903"/>
                    <a:pt x="469" y="903"/>
                    <a:pt x="469" y="903"/>
                  </a:cubicBezTo>
                  <a:cubicBezTo>
                    <a:pt x="461" y="901"/>
                    <a:pt x="453" y="899"/>
                    <a:pt x="444" y="897"/>
                  </a:cubicBezTo>
                  <a:cubicBezTo>
                    <a:pt x="443" y="897"/>
                    <a:pt x="443" y="897"/>
                    <a:pt x="442" y="897"/>
                  </a:cubicBezTo>
                  <a:cubicBezTo>
                    <a:pt x="441" y="897"/>
                    <a:pt x="439" y="896"/>
                    <a:pt x="437" y="896"/>
                  </a:cubicBezTo>
                  <a:cubicBezTo>
                    <a:pt x="437" y="896"/>
                    <a:pt x="436" y="895"/>
                    <a:pt x="435" y="895"/>
                  </a:cubicBezTo>
                  <a:cubicBezTo>
                    <a:pt x="434" y="895"/>
                    <a:pt x="433" y="895"/>
                    <a:pt x="432" y="894"/>
                  </a:cubicBezTo>
                  <a:cubicBezTo>
                    <a:pt x="428" y="893"/>
                    <a:pt x="424" y="892"/>
                    <a:pt x="419" y="891"/>
                  </a:cubicBezTo>
                  <a:cubicBezTo>
                    <a:pt x="419" y="891"/>
                    <a:pt x="418" y="891"/>
                    <a:pt x="417" y="891"/>
                  </a:cubicBezTo>
                  <a:cubicBezTo>
                    <a:pt x="416" y="890"/>
                    <a:pt x="415" y="890"/>
                    <a:pt x="414" y="890"/>
                  </a:cubicBezTo>
                  <a:cubicBezTo>
                    <a:pt x="408" y="888"/>
                    <a:pt x="401" y="886"/>
                    <a:pt x="394" y="884"/>
                  </a:cubicBezTo>
                  <a:cubicBezTo>
                    <a:pt x="397" y="885"/>
                    <a:pt x="400" y="886"/>
                    <a:pt x="402" y="888"/>
                  </a:cubicBezTo>
                  <a:cubicBezTo>
                    <a:pt x="405" y="888"/>
                    <a:pt x="408" y="889"/>
                    <a:pt x="411" y="890"/>
                  </a:cubicBezTo>
                  <a:cubicBezTo>
                    <a:pt x="412" y="890"/>
                    <a:pt x="413" y="890"/>
                    <a:pt x="414" y="891"/>
                  </a:cubicBezTo>
                  <a:cubicBezTo>
                    <a:pt x="415" y="891"/>
                    <a:pt x="415" y="891"/>
                    <a:pt x="416" y="891"/>
                  </a:cubicBezTo>
                  <a:cubicBezTo>
                    <a:pt x="420" y="892"/>
                    <a:pt x="424" y="893"/>
                    <a:pt x="428" y="894"/>
                  </a:cubicBezTo>
                  <a:cubicBezTo>
                    <a:pt x="429" y="895"/>
                    <a:pt x="431" y="895"/>
                    <a:pt x="432" y="895"/>
                  </a:cubicBezTo>
                  <a:cubicBezTo>
                    <a:pt x="432" y="895"/>
                    <a:pt x="433" y="896"/>
                    <a:pt x="434" y="896"/>
                  </a:cubicBezTo>
                  <a:cubicBezTo>
                    <a:pt x="436" y="896"/>
                    <a:pt x="439" y="897"/>
                    <a:pt x="441" y="898"/>
                  </a:cubicBezTo>
                  <a:cubicBezTo>
                    <a:pt x="441" y="898"/>
                    <a:pt x="442" y="898"/>
                    <a:pt x="442" y="898"/>
                  </a:cubicBezTo>
                  <a:cubicBezTo>
                    <a:pt x="451" y="900"/>
                    <a:pt x="460" y="902"/>
                    <a:pt x="468" y="904"/>
                  </a:cubicBezTo>
                  <a:cubicBezTo>
                    <a:pt x="468" y="904"/>
                    <a:pt x="469" y="904"/>
                    <a:pt x="469" y="904"/>
                  </a:cubicBezTo>
                  <a:cubicBezTo>
                    <a:pt x="484" y="907"/>
                    <a:pt x="498" y="910"/>
                    <a:pt x="509" y="911"/>
                  </a:cubicBezTo>
                  <a:cubicBezTo>
                    <a:pt x="509" y="911"/>
                    <a:pt x="510" y="911"/>
                    <a:pt x="510" y="912"/>
                  </a:cubicBezTo>
                  <a:cubicBezTo>
                    <a:pt x="510" y="912"/>
                    <a:pt x="510" y="912"/>
                    <a:pt x="510" y="912"/>
                  </a:cubicBezTo>
                  <a:cubicBezTo>
                    <a:pt x="511" y="912"/>
                    <a:pt x="511" y="912"/>
                    <a:pt x="511" y="912"/>
                  </a:cubicBezTo>
                  <a:cubicBezTo>
                    <a:pt x="524" y="913"/>
                    <a:pt x="534" y="914"/>
                    <a:pt x="543" y="914"/>
                  </a:cubicBezTo>
                  <a:cubicBezTo>
                    <a:pt x="546" y="914"/>
                    <a:pt x="550" y="914"/>
                    <a:pt x="553" y="914"/>
                  </a:cubicBezTo>
                  <a:cubicBezTo>
                    <a:pt x="553" y="914"/>
                    <a:pt x="553" y="914"/>
                    <a:pt x="554" y="914"/>
                  </a:cubicBezTo>
                  <a:cubicBezTo>
                    <a:pt x="556" y="913"/>
                    <a:pt x="558" y="913"/>
                    <a:pt x="560" y="913"/>
                  </a:cubicBezTo>
                  <a:cubicBezTo>
                    <a:pt x="560" y="913"/>
                    <a:pt x="561" y="913"/>
                    <a:pt x="561" y="912"/>
                  </a:cubicBezTo>
                  <a:cubicBezTo>
                    <a:pt x="574" y="910"/>
                    <a:pt x="579" y="904"/>
                    <a:pt x="579" y="896"/>
                  </a:cubicBezTo>
                  <a:cubicBezTo>
                    <a:pt x="579" y="888"/>
                    <a:pt x="574" y="879"/>
                    <a:pt x="567" y="868"/>
                  </a:cubicBezTo>
                  <a:cubicBezTo>
                    <a:pt x="567" y="868"/>
                    <a:pt x="567" y="868"/>
                    <a:pt x="567" y="868"/>
                  </a:cubicBezTo>
                  <a:cubicBezTo>
                    <a:pt x="562" y="861"/>
                    <a:pt x="557" y="855"/>
                    <a:pt x="551" y="848"/>
                  </a:cubicBezTo>
                  <a:cubicBezTo>
                    <a:pt x="550" y="848"/>
                    <a:pt x="550" y="848"/>
                    <a:pt x="550" y="847"/>
                  </a:cubicBezTo>
                  <a:cubicBezTo>
                    <a:pt x="545" y="842"/>
                    <a:pt x="540" y="837"/>
                    <a:pt x="535" y="832"/>
                  </a:cubicBezTo>
                  <a:cubicBezTo>
                    <a:pt x="535" y="832"/>
                    <a:pt x="535" y="832"/>
                    <a:pt x="534" y="831"/>
                  </a:cubicBezTo>
                  <a:cubicBezTo>
                    <a:pt x="533" y="830"/>
                    <a:pt x="531" y="828"/>
                    <a:pt x="529" y="826"/>
                  </a:cubicBezTo>
                  <a:cubicBezTo>
                    <a:pt x="529" y="826"/>
                    <a:pt x="529" y="826"/>
                    <a:pt x="528" y="825"/>
                  </a:cubicBezTo>
                  <a:cubicBezTo>
                    <a:pt x="527" y="824"/>
                    <a:pt x="525" y="822"/>
                    <a:pt x="523" y="821"/>
                  </a:cubicBezTo>
                  <a:cubicBezTo>
                    <a:pt x="523" y="821"/>
                    <a:pt x="523" y="820"/>
                    <a:pt x="523" y="820"/>
                  </a:cubicBezTo>
                  <a:cubicBezTo>
                    <a:pt x="519" y="817"/>
                    <a:pt x="516" y="814"/>
                    <a:pt x="512" y="811"/>
                  </a:cubicBezTo>
                  <a:cubicBezTo>
                    <a:pt x="508" y="806"/>
                    <a:pt x="503" y="802"/>
                    <a:pt x="498" y="798"/>
                  </a:cubicBezTo>
                  <a:cubicBezTo>
                    <a:pt x="498" y="797"/>
                    <a:pt x="498" y="797"/>
                    <a:pt x="498" y="797"/>
                  </a:cubicBezTo>
                  <a:cubicBezTo>
                    <a:pt x="487" y="787"/>
                    <a:pt x="477" y="778"/>
                    <a:pt x="468" y="770"/>
                  </a:cubicBezTo>
                  <a:moveTo>
                    <a:pt x="83" y="773"/>
                  </a:moveTo>
                  <a:cubicBezTo>
                    <a:pt x="83" y="774"/>
                    <a:pt x="82" y="774"/>
                    <a:pt x="82" y="774"/>
                  </a:cubicBezTo>
                  <a:cubicBezTo>
                    <a:pt x="87" y="776"/>
                    <a:pt x="91" y="778"/>
                    <a:pt x="96" y="781"/>
                  </a:cubicBezTo>
                  <a:cubicBezTo>
                    <a:pt x="97" y="781"/>
                    <a:pt x="97" y="781"/>
                    <a:pt x="97" y="781"/>
                  </a:cubicBezTo>
                  <a:cubicBezTo>
                    <a:pt x="101" y="783"/>
                    <a:pt x="104" y="784"/>
                    <a:pt x="107" y="786"/>
                  </a:cubicBezTo>
                  <a:cubicBezTo>
                    <a:pt x="108" y="786"/>
                    <a:pt x="108" y="785"/>
                    <a:pt x="108" y="785"/>
                  </a:cubicBezTo>
                  <a:cubicBezTo>
                    <a:pt x="105" y="784"/>
                    <a:pt x="102" y="782"/>
                    <a:pt x="99" y="781"/>
                  </a:cubicBezTo>
                  <a:cubicBezTo>
                    <a:pt x="98" y="781"/>
                    <a:pt x="98" y="780"/>
                    <a:pt x="97" y="780"/>
                  </a:cubicBezTo>
                  <a:cubicBezTo>
                    <a:pt x="92" y="778"/>
                    <a:pt x="88" y="776"/>
                    <a:pt x="83" y="773"/>
                  </a:cubicBezTo>
                  <a:moveTo>
                    <a:pt x="110" y="786"/>
                  </a:moveTo>
                  <a:cubicBezTo>
                    <a:pt x="109" y="786"/>
                    <a:pt x="109" y="786"/>
                    <a:pt x="108" y="786"/>
                  </a:cubicBezTo>
                  <a:cubicBezTo>
                    <a:pt x="116" y="790"/>
                    <a:pt x="125" y="793"/>
                    <a:pt x="133" y="797"/>
                  </a:cubicBezTo>
                  <a:cubicBezTo>
                    <a:pt x="134" y="797"/>
                    <a:pt x="134" y="797"/>
                    <a:pt x="135" y="797"/>
                  </a:cubicBezTo>
                  <a:cubicBezTo>
                    <a:pt x="126" y="793"/>
                    <a:pt x="117" y="789"/>
                    <a:pt x="110" y="786"/>
                  </a:cubicBezTo>
                  <a:moveTo>
                    <a:pt x="136" y="797"/>
                  </a:moveTo>
                  <a:cubicBezTo>
                    <a:pt x="135" y="797"/>
                    <a:pt x="135" y="797"/>
                    <a:pt x="135" y="798"/>
                  </a:cubicBezTo>
                  <a:cubicBezTo>
                    <a:pt x="137" y="799"/>
                    <a:pt x="140" y="800"/>
                    <a:pt x="142" y="801"/>
                  </a:cubicBezTo>
                  <a:cubicBezTo>
                    <a:pt x="143" y="801"/>
                    <a:pt x="143" y="801"/>
                    <a:pt x="144" y="801"/>
                  </a:cubicBezTo>
                  <a:cubicBezTo>
                    <a:pt x="148" y="803"/>
                    <a:pt x="153" y="805"/>
                    <a:pt x="159" y="807"/>
                  </a:cubicBezTo>
                  <a:cubicBezTo>
                    <a:pt x="159" y="807"/>
                    <a:pt x="159" y="807"/>
                    <a:pt x="160" y="807"/>
                  </a:cubicBezTo>
                  <a:cubicBezTo>
                    <a:pt x="155" y="805"/>
                    <a:pt x="150" y="803"/>
                    <a:pt x="145" y="801"/>
                  </a:cubicBezTo>
                  <a:cubicBezTo>
                    <a:pt x="144" y="801"/>
                    <a:pt x="144" y="800"/>
                    <a:pt x="144" y="800"/>
                  </a:cubicBezTo>
                  <a:cubicBezTo>
                    <a:pt x="141" y="799"/>
                    <a:pt x="138" y="798"/>
                    <a:pt x="136" y="797"/>
                  </a:cubicBezTo>
                  <a:moveTo>
                    <a:pt x="161" y="807"/>
                  </a:moveTo>
                  <a:cubicBezTo>
                    <a:pt x="161" y="807"/>
                    <a:pt x="160" y="808"/>
                    <a:pt x="160" y="808"/>
                  </a:cubicBezTo>
                  <a:cubicBezTo>
                    <a:pt x="160" y="808"/>
                    <a:pt x="160" y="808"/>
                    <a:pt x="160" y="808"/>
                  </a:cubicBezTo>
                  <a:cubicBezTo>
                    <a:pt x="160" y="808"/>
                    <a:pt x="161" y="807"/>
                    <a:pt x="161" y="807"/>
                  </a:cubicBezTo>
                  <a:cubicBezTo>
                    <a:pt x="161" y="807"/>
                    <a:pt x="161" y="807"/>
                    <a:pt x="161" y="807"/>
                  </a:cubicBezTo>
                  <a:moveTo>
                    <a:pt x="163" y="808"/>
                  </a:moveTo>
                  <a:cubicBezTo>
                    <a:pt x="162" y="808"/>
                    <a:pt x="162" y="808"/>
                    <a:pt x="161" y="808"/>
                  </a:cubicBezTo>
                  <a:cubicBezTo>
                    <a:pt x="163" y="809"/>
                    <a:pt x="164" y="809"/>
                    <a:pt x="166" y="810"/>
                  </a:cubicBezTo>
                  <a:cubicBezTo>
                    <a:pt x="166" y="810"/>
                    <a:pt x="167" y="810"/>
                    <a:pt x="167" y="810"/>
                  </a:cubicBezTo>
                  <a:cubicBezTo>
                    <a:pt x="168" y="811"/>
                    <a:pt x="169" y="811"/>
                    <a:pt x="171" y="812"/>
                  </a:cubicBezTo>
                  <a:cubicBezTo>
                    <a:pt x="171" y="812"/>
                    <a:pt x="171" y="812"/>
                    <a:pt x="172" y="812"/>
                  </a:cubicBezTo>
                  <a:cubicBezTo>
                    <a:pt x="172" y="813"/>
                    <a:pt x="173" y="813"/>
                    <a:pt x="173" y="813"/>
                  </a:cubicBezTo>
                  <a:cubicBezTo>
                    <a:pt x="173" y="813"/>
                    <a:pt x="173" y="813"/>
                    <a:pt x="174" y="813"/>
                  </a:cubicBezTo>
                  <a:cubicBezTo>
                    <a:pt x="174" y="813"/>
                    <a:pt x="174" y="813"/>
                    <a:pt x="174" y="813"/>
                  </a:cubicBezTo>
                  <a:cubicBezTo>
                    <a:pt x="174" y="813"/>
                    <a:pt x="175" y="813"/>
                    <a:pt x="175" y="813"/>
                  </a:cubicBezTo>
                  <a:cubicBezTo>
                    <a:pt x="174" y="812"/>
                    <a:pt x="174" y="812"/>
                    <a:pt x="173" y="812"/>
                  </a:cubicBezTo>
                  <a:cubicBezTo>
                    <a:pt x="172" y="811"/>
                    <a:pt x="172" y="811"/>
                    <a:pt x="171" y="811"/>
                  </a:cubicBezTo>
                  <a:cubicBezTo>
                    <a:pt x="171" y="811"/>
                    <a:pt x="171" y="811"/>
                    <a:pt x="171" y="811"/>
                  </a:cubicBezTo>
                  <a:cubicBezTo>
                    <a:pt x="171" y="811"/>
                    <a:pt x="170" y="811"/>
                    <a:pt x="170" y="811"/>
                  </a:cubicBezTo>
                  <a:cubicBezTo>
                    <a:pt x="169" y="810"/>
                    <a:pt x="168" y="810"/>
                    <a:pt x="167" y="809"/>
                  </a:cubicBezTo>
                  <a:cubicBezTo>
                    <a:pt x="167" y="809"/>
                    <a:pt x="166" y="809"/>
                    <a:pt x="166" y="809"/>
                  </a:cubicBezTo>
                  <a:cubicBezTo>
                    <a:pt x="165" y="809"/>
                    <a:pt x="164" y="808"/>
                    <a:pt x="163" y="808"/>
                  </a:cubicBezTo>
                  <a:moveTo>
                    <a:pt x="176" y="813"/>
                  </a:moveTo>
                  <a:cubicBezTo>
                    <a:pt x="176" y="813"/>
                    <a:pt x="176" y="814"/>
                    <a:pt x="175" y="814"/>
                  </a:cubicBezTo>
                  <a:cubicBezTo>
                    <a:pt x="177" y="814"/>
                    <a:pt x="178" y="815"/>
                    <a:pt x="180" y="815"/>
                  </a:cubicBezTo>
                  <a:cubicBezTo>
                    <a:pt x="181" y="816"/>
                    <a:pt x="182" y="816"/>
                    <a:pt x="183" y="816"/>
                  </a:cubicBezTo>
                  <a:cubicBezTo>
                    <a:pt x="180" y="815"/>
                    <a:pt x="178" y="814"/>
                    <a:pt x="176" y="813"/>
                  </a:cubicBezTo>
                  <a:moveTo>
                    <a:pt x="183" y="816"/>
                  </a:moveTo>
                  <a:cubicBezTo>
                    <a:pt x="184" y="816"/>
                    <a:pt x="184" y="816"/>
                    <a:pt x="184" y="816"/>
                  </a:cubicBezTo>
                  <a:cubicBezTo>
                    <a:pt x="184" y="816"/>
                    <a:pt x="184" y="816"/>
                    <a:pt x="184" y="816"/>
                  </a:cubicBezTo>
                  <a:cubicBezTo>
                    <a:pt x="184" y="816"/>
                    <a:pt x="184" y="816"/>
                    <a:pt x="183" y="816"/>
                  </a:cubicBezTo>
                  <a:moveTo>
                    <a:pt x="185" y="816"/>
                  </a:moveTo>
                  <a:cubicBezTo>
                    <a:pt x="185" y="816"/>
                    <a:pt x="185" y="816"/>
                    <a:pt x="185" y="816"/>
                  </a:cubicBezTo>
                  <a:cubicBezTo>
                    <a:pt x="186" y="817"/>
                    <a:pt x="187" y="818"/>
                    <a:pt x="188" y="818"/>
                  </a:cubicBezTo>
                  <a:cubicBezTo>
                    <a:pt x="189" y="818"/>
                    <a:pt x="189" y="818"/>
                    <a:pt x="189" y="818"/>
                  </a:cubicBezTo>
                  <a:cubicBezTo>
                    <a:pt x="189" y="818"/>
                    <a:pt x="189" y="818"/>
                    <a:pt x="188" y="818"/>
                  </a:cubicBezTo>
                  <a:cubicBezTo>
                    <a:pt x="188" y="817"/>
                    <a:pt x="188" y="817"/>
                    <a:pt x="187" y="817"/>
                  </a:cubicBezTo>
                  <a:cubicBezTo>
                    <a:pt x="187" y="817"/>
                    <a:pt x="187" y="817"/>
                    <a:pt x="186" y="817"/>
                  </a:cubicBezTo>
                  <a:cubicBezTo>
                    <a:pt x="186" y="817"/>
                    <a:pt x="186" y="817"/>
                    <a:pt x="185" y="816"/>
                  </a:cubicBezTo>
                  <a:moveTo>
                    <a:pt x="191" y="818"/>
                  </a:moveTo>
                  <a:cubicBezTo>
                    <a:pt x="190" y="818"/>
                    <a:pt x="190" y="819"/>
                    <a:pt x="190" y="819"/>
                  </a:cubicBezTo>
                  <a:cubicBezTo>
                    <a:pt x="191" y="819"/>
                    <a:pt x="192" y="820"/>
                    <a:pt x="193" y="820"/>
                  </a:cubicBezTo>
                  <a:cubicBezTo>
                    <a:pt x="194" y="820"/>
                    <a:pt x="194" y="821"/>
                    <a:pt x="194" y="821"/>
                  </a:cubicBezTo>
                  <a:cubicBezTo>
                    <a:pt x="197" y="822"/>
                    <a:pt x="200" y="823"/>
                    <a:pt x="202" y="824"/>
                  </a:cubicBezTo>
                  <a:cubicBezTo>
                    <a:pt x="203" y="823"/>
                    <a:pt x="203" y="823"/>
                    <a:pt x="204" y="823"/>
                  </a:cubicBezTo>
                  <a:cubicBezTo>
                    <a:pt x="203" y="823"/>
                    <a:pt x="203" y="823"/>
                    <a:pt x="202" y="823"/>
                  </a:cubicBezTo>
                  <a:cubicBezTo>
                    <a:pt x="202" y="822"/>
                    <a:pt x="201" y="822"/>
                    <a:pt x="201" y="822"/>
                  </a:cubicBezTo>
                  <a:cubicBezTo>
                    <a:pt x="198" y="821"/>
                    <a:pt x="195" y="820"/>
                    <a:pt x="192" y="819"/>
                  </a:cubicBezTo>
                  <a:cubicBezTo>
                    <a:pt x="191" y="819"/>
                    <a:pt x="191" y="818"/>
                    <a:pt x="191" y="818"/>
                  </a:cubicBezTo>
                  <a:moveTo>
                    <a:pt x="205" y="824"/>
                  </a:moveTo>
                  <a:cubicBezTo>
                    <a:pt x="205" y="824"/>
                    <a:pt x="204" y="824"/>
                    <a:pt x="204" y="824"/>
                  </a:cubicBezTo>
                  <a:cubicBezTo>
                    <a:pt x="204" y="824"/>
                    <a:pt x="205" y="824"/>
                    <a:pt x="205" y="825"/>
                  </a:cubicBezTo>
                  <a:cubicBezTo>
                    <a:pt x="205" y="825"/>
                    <a:pt x="205" y="825"/>
                    <a:pt x="205" y="825"/>
                  </a:cubicBezTo>
                  <a:cubicBezTo>
                    <a:pt x="206" y="825"/>
                    <a:pt x="206" y="824"/>
                    <a:pt x="207" y="824"/>
                  </a:cubicBezTo>
                  <a:cubicBezTo>
                    <a:pt x="206" y="824"/>
                    <a:pt x="206" y="824"/>
                    <a:pt x="205" y="824"/>
                  </a:cubicBezTo>
                  <a:cubicBezTo>
                    <a:pt x="205" y="824"/>
                    <a:pt x="205" y="824"/>
                    <a:pt x="205" y="824"/>
                  </a:cubicBezTo>
                  <a:moveTo>
                    <a:pt x="208" y="825"/>
                  </a:moveTo>
                  <a:cubicBezTo>
                    <a:pt x="208" y="825"/>
                    <a:pt x="207" y="825"/>
                    <a:pt x="207" y="825"/>
                  </a:cubicBezTo>
                  <a:cubicBezTo>
                    <a:pt x="208" y="826"/>
                    <a:pt x="208" y="826"/>
                    <a:pt x="209" y="826"/>
                  </a:cubicBezTo>
                  <a:cubicBezTo>
                    <a:pt x="211" y="827"/>
                    <a:pt x="212" y="827"/>
                    <a:pt x="214" y="828"/>
                  </a:cubicBezTo>
                  <a:cubicBezTo>
                    <a:pt x="214" y="828"/>
                    <a:pt x="215" y="827"/>
                    <a:pt x="215" y="827"/>
                  </a:cubicBezTo>
                  <a:cubicBezTo>
                    <a:pt x="213" y="826"/>
                    <a:pt x="210" y="826"/>
                    <a:pt x="208" y="825"/>
                  </a:cubicBezTo>
                  <a:moveTo>
                    <a:pt x="216" y="828"/>
                  </a:moveTo>
                  <a:cubicBezTo>
                    <a:pt x="216" y="828"/>
                    <a:pt x="216" y="828"/>
                    <a:pt x="215" y="828"/>
                  </a:cubicBezTo>
                  <a:cubicBezTo>
                    <a:pt x="218" y="829"/>
                    <a:pt x="221" y="830"/>
                    <a:pt x="223" y="831"/>
                  </a:cubicBezTo>
                  <a:cubicBezTo>
                    <a:pt x="224" y="831"/>
                    <a:pt x="224" y="831"/>
                    <a:pt x="225" y="831"/>
                  </a:cubicBezTo>
                  <a:cubicBezTo>
                    <a:pt x="224" y="830"/>
                    <a:pt x="223" y="830"/>
                    <a:pt x="222" y="830"/>
                  </a:cubicBezTo>
                  <a:cubicBezTo>
                    <a:pt x="222" y="830"/>
                    <a:pt x="221" y="829"/>
                    <a:pt x="220" y="829"/>
                  </a:cubicBezTo>
                  <a:cubicBezTo>
                    <a:pt x="220" y="829"/>
                    <a:pt x="219" y="829"/>
                    <a:pt x="219" y="829"/>
                  </a:cubicBezTo>
                  <a:cubicBezTo>
                    <a:pt x="219" y="828"/>
                    <a:pt x="218" y="828"/>
                    <a:pt x="218" y="828"/>
                  </a:cubicBezTo>
                  <a:cubicBezTo>
                    <a:pt x="217" y="828"/>
                    <a:pt x="217" y="828"/>
                    <a:pt x="217" y="828"/>
                  </a:cubicBezTo>
                  <a:cubicBezTo>
                    <a:pt x="217" y="828"/>
                    <a:pt x="217" y="828"/>
                    <a:pt x="217" y="828"/>
                  </a:cubicBezTo>
                  <a:cubicBezTo>
                    <a:pt x="217" y="828"/>
                    <a:pt x="216" y="828"/>
                    <a:pt x="216" y="828"/>
                  </a:cubicBezTo>
                  <a:moveTo>
                    <a:pt x="226" y="831"/>
                  </a:moveTo>
                  <a:cubicBezTo>
                    <a:pt x="226" y="831"/>
                    <a:pt x="225" y="831"/>
                    <a:pt x="225" y="832"/>
                  </a:cubicBezTo>
                  <a:cubicBezTo>
                    <a:pt x="226" y="832"/>
                    <a:pt x="226" y="832"/>
                    <a:pt x="227" y="832"/>
                  </a:cubicBezTo>
                  <a:cubicBezTo>
                    <a:pt x="228" y="832"/>
                    <a:pt x="228" y="832"/>
                    <a:pt x="228" y="832"/>
                  </a:cubicBezTo>
                  <a:cubicBezTo>
                    <a:pt x="228" y="832"/>
                    <a:pt x="227" y="831"/>
                    <a:pt x="226" y="831"/>
                  </a:cubicBezTo>
                  <a:cubicBezTo>
                    <a:pt x="226" y="831"/>
                    <a:pt x="226" y="831"/>
                    <a:pt x="226" y="831"/>
                  </a:cubicBezTo>
                  <a:moveTo>
                    <a:pt x="230" y="832"/>
                  </a:moveTo>
                  <a:cubicBezTo>
                    <a:pt x="229" y="833"/>
                    <a:pt x="229" y="833"/>
                    <a:pt x="229" y="833"/>
                  </a:cubicBezTo>
                  <a:cubicBezTo>
                    <a:pt x="230" y="834"/>
                    <a:pt x="232" y="834"/>
                    <a:pt x="234" y="835"/>
                  </a:cubicBezTo>
                  <a:cubicBezTo>
                    <a:pt x="234" y="834"/>
                    <a:pt x="234" y="834"/>
                    <a:pt x="235" y="834"/>
                  </a:cubicBezTo>
                  <a:cubicBezTo>
                    <a:pt x="235" y="834"/>
                    <a:pt x="234" y="834"/>
                    <a:pt x="234" y="834"/>
                  </a:cubicBezTo>
                  <a:cubicBezTo>
                    <a:pt x="234" y="834"/>
                    <a:pt x="234" y="834"/>
                    <a:pt x="233" y="834"/>
                  </a:cubicBezTo>
                  <a:cubicBezTo>
                    <a:pt x="233" y="833"/>
                    <a:pt x="233" y="833"/>
                    <a:pt x="232" y="833"/>
                  </a:cubicBezTo>
                  <a:cubicBezTo>
                    <a:pt x="232" y="833"/>
                    <a:pt x="231" y="833"/>
                    <a:pt x="230" y="832"/>
                  </a:cubicBezTo>
                  <a:moveTo>
                    <a:pt x="236" y="835"/>
                  </a:moveTo>
                  <a:cubicBezTo>
                    <a:pt x="236" y="835"/>
                    <a:pt x="235" y="835"/>
                    <a:pt x="235" y="835"/>
                  </a:cubicBezTo>
                  <a:cubicBezTo>
                    <a:pt x="235" y="835"/>
                    <a:pt x="236" y="836"/>
                    <a:pt x="237" y="836"/>
                  </a:cubicBezTo>
                  <a:cubicBezTo>
                    <a:pt x="238" y="836"/>
                    <a:pt x="239" y="836"/>
                    <a:pt x="240" y="837"/>
                  </a:cubicBezTo>
                  <a:cubicBezTo>
                    <a:pt x="240" y="837"/>
                    <a:pt x="240" y="837"/>
                    <a:pt x="241" y="837"/>
                  </a:cubicBezTo>
                  <a:cubicBezTo>
                    <a:pt x="241" y="837"/>
                    <a:pt x="241" y="837"/>
                    <a:pt x="241" y="837"/>
                  </a:cubicBezTo>
                  <a:cubicBezTo>
                    <a:pt x="242" y="837"/>
                    <a:pt x="242" y="837"/>
                    <a:pt x="243" y="837"/>
                  </a:cubicBezTo>
                  <a:cubicBezTo>
                    <a:pt x="241" y="836"/>
                    <a:pt x="238" y="835"/>
                    <a:pt x="236" y="835"/>
                  </a:cubicBezTo>
                  <a:moveTo>
                    <a:pt x="244" y="837"/>
                  </a:moveTo>
                  <a:cubicBezTo>
                    <a:pt x="244" y="837"/>
                    <a:pt x="243" y="838"/>
                    <a:pt x="243" y="838"/>
                  </a:cubicBezTo>
                  <a:cubicBezTo>
                    <a:pt x="244" y="838"/>
                    <a:pt x="245" y="839"/>
                    <a:pt x="247" y="839"/>
                  </a:cubicBezTo>
                  <a:cubicBezTo>
                    <a:pt x="247" y="839"/>
                    <a:pt x="247" y="839"/>
                    <a:pt x="248" y="839"/>
                  </a:cubicBezTo>
                  <a:cubicBezTo>
                    <a:pt x="248" y="839"/>
                    <a:pt x="248" y="839"/>
                    <a:pt x="249" y="839"/>
                  </a:cubicBezTo>
                  <a:cubicBezTo>
                    <a:pt x="247" y="838"/>
                    <a:pt x="246" y="838"/>
                    <a:pt x="244" y="837"/>
                  </a:cubicBezTo>
                  <a:moveTo>
                    <a:pt x="250" y="839"/>
                  </a:moveTo>
                  <a:cubicBezTo>
                    <a:pt x="250" y="840"/>
                    <a:pt x="250" y="840"/>
                    <a:pt x="249" y="840"/>
                  </a:cubicBezTo>
                  <a:cubicBezTo>
                    <a:pt x="250" y="840"/>
                    <a:pt x="251" y="841"/>
                    <a:pt x="252" y="841"/>
                  </a:cubicBezTo>
                  <a:cubicBezTo>
                    <a:pt x="252" y="841"/>
                    <a:pt x="253" y="841"/>
                    <a:pt x="253" y="840"/>
                  </a:cubicBezTo>
                  <a:cubicBezTo>
                    <a:pt x="252" y="840"/>
                    <a:pt x="251" y="840"/>
                    <a:pt x="250" y="839"/>
                  </a:cubicBezTo>
                  <a:moveTo>
                    <a:pt x="255" y="841"/>
                  </a:moveTo>
                  <a:cubicBezTo>
                    <a:pt x="254" y="841"/>
                    <a:pt x="254" y="841"/>
                    <a:pt x="254" y="841"/>
                  </a:cubicBezTo>
                  <a:cubicBezTo>
                    <a:pt x="254" y="842"/>
                    <a:pt x="254" y="842"/>
                    <a:pt x="254" y="842"/>
                  </a:cubicBezTo>
                  <a:cubicBezTo>
                    <a:pt x="254" y="842"/>
                    <a:pt x="255" y="842"/>
                    <a:pt x="255" y="842"/>
                  </a:cubicBezTo>
                  <a:cubicBezTo>
                    <a:pt x="259" y="843"/>
                    <a:pt x="263" y="845"/>
                    <a:pt x="267" y="846"/>
                  </a:cubicBezTo>
                  <a:cubicBezTo>
                    <a:pt x="268" y="846"/>
                    <a:pt x="268" y="846"/>
                    <a:pt x="268" y="846"/>
                  </a:cubicBezTo>
                  <a:cubicBezTo>
                    <a:pt x="270" y="847"/>
                    <a:pt x="272" y="848"/>
                    <a:pt x="274" y="848"/>
                  </a:cubicBezTo>
                  <a:cubicBezTo>
                    <a:pt x="280" y="850"/>
                    <a:pt x="285" y="852"/>
                    <a:pt x="290" y="854"/>
                  </a:cubicBezTo>
                  <a:cubicBezTo>
                    <a:pt x="291" y="854"/>
                    <a:pt x="291" y="854"/>
                    <a:pt x="291" y="854"/>
                  </a:cubicBezTo>
                  <a:cubicBezTo>
                    <a:pt x="293" y="855"/>
                    <a:pt x="295" y="855"/>
                    <a:pt x="298" y="856"/>
                  </a:cubicBezTo>
                  <a:cubicBezTo>
                    <a:pt x="287" y="852"/>
                    <a:pt x="276" y="848"/>
                    <a:pt x="266" y="845"/>
                  </a:cubicBezTo>
                  <a:cubicBezTo>
                    <a:pt x="264" y="844"/>
                    <a:pt x="262" y="843"/>
                    <a:pt x="261" y="843"/>
                  </a:cubicBezTo>
                  <a:cubicBezTo>
                    <a:pt x="259" y="842"/>
                    <a:pt x="257" y="842"/>
                    <a:pt x="255" y="841"/>
                  </a:cubicBezTo>
                  <a:moveTo>
                    <a:pt x="298" y="855"/>
                  </a:moveTo>
                  <a:cubicBezTo>
                    <a:pt x="302" y="857"/>
                    <a:pt x="306" y="858"/>
                    <a:pt x="310" y="859"/>
                  </a:cubicBezTo>
                  <a:cubicBezTo>
                    <a:pt x="317" y="862"/>
                    <a:pt x="324" y="864"/>
                    <a:pt x="330" y="866"/>
                  </a:cubicBezTo>
                  <a:cubicBezTo>
                    <a:pt x="330" y="866"/>
                    <a:pt x="330" y="866"/>
                    <a:pt x="330" y="866"/>
                  </a:cubicBezTo>
                  <a:cubicBezTo>
                    <a:pt x="325" y="864"/>
                    <a:pt x="319" y="862"/>
                    <a:pt x="313" y="860"/>
                  </a:cubicBezTo>
                  <a:cubicBezTo>
                    <a:pt x="312" y="860"/>
                    <a:pt x="311" y="859"/>
                    <a:pt x="310" y="859"/>
                  </a:cubicBezTo>
                  <a:cubicBezTo>
                    <a:pt x="310" y="859"/>
                    <a:pt x="310" y="859"/>
                    <a:pt x="310" y="859"/>
                  </a:cubicBezTo>
                  <a:cubicBezTo>
                    <a:pt x="309" y="859"/>
                    <a:pt x="309" y="859"/>
                    <a:pt x="309" y="858"/>
                  </a:cubicBezTo>
                  <a:cubicBezTo>
                    <a:pt x="305" y="857"/>
                    <a:pt x="302" y="856"/>
                    <a:pt x="298" y="855"/>
                  </a:cubicBezTo>
                  <a:moveTo>
                    <a:pt x="331" y="865"/>
                  </a:moveTo>
                  <a:cubicBezTo>
                    <a:pt x="335" y="867"/>
                    <a:pt x="340" y="869"/>
                    <a:pt x="345" y="871"/>
                  </a:cubicBezTo>
                  <a:cubicBezTo>
                    <a:pt x="346" y="871"/>
                    <a:pt x="347" y="871"/>
                    <a:pt x="348" y="872"/>
                  </a:cubicBezTo>
                  <a:cubicBezTo>
                    <a:pt x="353" y="873"/>
                    <a:pt x="358" y="875"/>
                    <a:pt x="362" y="876"/>
                  </a:cubicBezTo>
                  <a:cubicBezTo>
                    <a:pt x="359" y="875"/>
                    <a:pt x="355" y="873"/>
                    <a:pt x="351" y="872"/>
                  </a:cubicBezTo>
                  <a:cubicBezTo>
                    <a:pt x="344" y="870"/>
                    <a:pt x="338" y="868"/>
                    <a:pt x="331" y="865"/>
                  </a:cubicBezTo>
                  <a:moveTo>
                    <a:pt x="363" y="875"/>
                  </a:moveTo>
                  <a:cubicBezTo>
                    <a:pt x="367" y="877"/>
                    <a:pt x="370" y="878"/>
                    <a:pt x="374" y="880"/>
                  </a:cubicBezTo>
                  <a:cubicBezTo>
                    <a:pt x="378" y="881"/>
                    <a:pt x="382" y="882"/>
                    <a:pt x="386" y="883"/>
                  </a:cubicBezTo>
                  <a:cubicBezTo>
                    <a:pt x="387" y="883"/>
                    <a:pt x="388" y="884"/>
                    <a:pt x="389" y="884"/>
                  </a:cubicBezTo>
                  <a:cubicBezTo>
                    <a:pt x="391" y="884"/>
                    <a:pt x="392" y="885"/>
                    <a:pt x="394" y="885"/>
                  </a:cubicBezTo>
                  <a:cubicBezTo>
                    <a:pt x="391" y="884"/>
                    <a:pt x="388" y="883"/>
                    <a:pt x="385" y="882"/>
                  </a:cubicBezTo>
                  <a:cubicBezTo>
                    <a:pt x="378" y="880"/>
                    <a:pt x="370" y="877"/>
                    <a:pt x="363" y="875"/>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51" name="Freeform 80"/>
            <p:cNvSpPr>
              <a:spLocks noEditPoints="1"/>
            </p:cNvSpPr>
            <p:nvPr userDrawn="1"/>
          </p:nvSpPr>
          <p:spPr bwMode="auto">
            <a:xfrm>
              <a:off x="1874" y="3328"/>
              <a:ext cx="3191" cy="2063"/>
            </a:xfrm>
            <a:custGeom>
              <a:avLst/>
              <a:gdLst>
                <a:gd name="T0" fmla="*/ 2147483646 w 1575"/>
                <a:gd name="T1" fmla="*/ 2147483646 h 1017"/>
                <a:gd name="T2" fmla="*/ 2147483646 w 1575"/>
                <a:gd name="T3" fmla="*/ 2147483646 h 1017"/>
                <a:gd name="T4" fmla="*/ 2147483646 w 1575"/>
                <a:gd name="T5" fmla="*/ 2147483646 h 1017"/>
                <a:gd name="T6" fmla="*/ 2147483646 w 1575"/>
                <a:gd name="T7" fmla="*/ 2147483646 h 1017"/>
                <a:gd name="T8" fmla="*/ 2147483646 w 1575"/>
                <a:gd name="T9" fmla="*/ 2147483646 h 1017"/>
                <a:gd name="T10" fmla="*/ 2147483646 w 1575"/>
                <a:gd name="T11" fmla="*/ 2147483646 h 1017"/>
                <a:gd name="T12" fmla="*/ 2147483646 w 1575"/>
                <a:gd name="T13" fmla="*/ 2147483646 h 1017"/>
                <a:gd name="T14" fmla="*/ 2147483646 w 1575"/>
                <a:gd name="T15" fmla="*/ 2147483646 h 1017"/>
                <a:gd name="T16" fmla="*/ 2147483646 w 1575"/>
                <a:gd name="T17" fmla="*/ 2147483646 h 1017"/>
                <a:gd name="T18" fmla="*/ 2147483646 w 1575"/>
                <a:gd name="T19" fmla="*/ 2147483646 h 1017"/>
                <a:gd name="T20" fmla="*/ 2147483646 w 1575"/>
                <a:gd name="T21" fmla="*/ 2147483646 h 1017"/>
                <a:gd name="T22" fmla="*/ 2147483646 w 1575"/>
                <a:gd name="T23" fmla="*/ 2147483646 h 1017"/>
                <a:gd name="T24" fmla="*/ 2147483646 w 1575"/>
                <a:gd name="T25" fmla="*/ 2147483646 h 1017"/>
                <a:gd name="T26" fmla="*/ 2147483646 w 1575"/>
                <a:gd name="T27" fmla="*/ 2147483646 h 1017"/>
                <a:gd name="T28" fmla="*/ 2147483646 w 1575"/>
                <a:gd name="T29" fmla="*/ 2147483646 h 1017"/>
                <a:gd name="T30" fmla="*/ 2147483646 w 1575"/>
                <a:gd name="T31" fmla="*/ 2147483646 h 1017"/>
                <a:gd name="T32" fmla="*/ 2147483646 w 1575"/>
                <a:gd name="T33" fmla="*/ 2147483646 h 1017"/>
                <a:gd name="T34" fmla="*/ 2147483646 w 1575"/>
                <a:gd name="T35" fmla="*/ 2147483646 h 1017"/>
                <a:gd name="T36" fmla="*/ 2147483646 w 1575"/>
                <a:gd name="T37" fmla="*/ 2147483646 h 1017"/>
                <a:gd name="T38" fmla="*/ 2147483646 w 1575"/>
                <a:gd name="T39" fmla="*/ 2147483646 h 1017"/>
                <a:gd name="T40" fmla="*/ 2147483646 w 1575"/>
                <a:gd name="T41" fmla="*/ 2147483646 h 1017"/>
                <a:gd name="T42" fmla="*/ 2147483646 w 1575"/>
                <a:gd name="T43" fmla="*/ 2147483646 h 1017"/>
                <a:gd name="T44" fmla="*/ 2147483646 w 1575"/>
                <a:gd name="T45" fmla="*/ 2147483646 h 1017"/>
                <a:gd name="T46" fmla="*/ 2147483646 w 1575"/>
                <a:gd name="T47" fmla="*/ 2147483646 h 1017"/>
                <a:gd name="T48" fmla="*/ 2147483646 w 1575"/>
                <a:gd name="T49" fmla="*/ 2147483646 h 1017"/>
                <a:gd name="T50" fmla="*/ 2147483646 w 1575"/>
                <a:gd name="T51" fmla="*/ 2147483646 h 1017"/>
                <a:gd name="T52" fmla="*/ 2147483646 w 1575"/>
                <a:gd name="T53" fmla="*/ 2147483646 h 1017"/>
                <a:gd name="T54" fmla="*/ 2147483646 w 1575"/>
                <a:gd name="T55" fmla="*/ 2147483646 h 1017"/>
                <a:gd name="T56" fmla="*/ 2147483646 w 1575"/>
                <a:gd name="T57" fmla="*/ 2147483646 h 1017"/>
                <a:gd name="T58" fmla="*/ 2147483646 w 1575"/>
                <a:gd name="T59" fmla="*/ 2147483646 h 1017"/>
                <a:gd name="T60" fmla="*/ 2147483646 w 1575"/>
                <a:gd name="T61" fmla="*/ 2147483646 h 1017"/>
                <a:gd name="T62" fmla="*/ 2147483646 w 1575"/>
                <a:gd name="T63" fmla="*/ 2147483646 h 1017"/>
                <a:gd name="T64" fmla="*/ 2147483646 w 1575"/>
                <a:gd name="T65" fmla="*/ 2147483646 h 1017"/>
                <a:gd name="T66" fmla="*/ 2147483646 w 1575"/>
                <a:gd name="T67" fmla="*/ 2147483646 h 1017"/>
                <a:gd name="T68" fmla="*/ 2147483646 w 1575"/>
                <a:gd name="T69" fmla="*/ 2147483646 h 1017"/>
                <a:gd name="T70" fmla="*/ 2147483646 w 1575"/>
                <a:gd name="T71" fmla="*/ 2147483646 h 1017"/>
                <a:gd name="T72" fmla="*/ 2147483646 w 1575"/>
                <a:gd name="T73" fmla="*/ 2147483646 h 1017"/>
                <a:gd name="T74" fmla="*/ 2147483646 w 1575"/>
                <a:gd name="T75" fmla="*/ 2147483646 h 1017"/>
                <a:gd name="T76" fmla="*/ 2147483646 w 1575"/>
                <a:gd name="T77" fmla="*/ 2147483646 h 1017"/>
                <a:gd name="T78" fmla="*/ 2147483646 w 1575"/>
                <a:gd name="T79" fmla="*/ 2147483646 h 1017"/>
                <a:gd name="T80" fmla="*/ 2147483646 w 1575"/>
                <a:gd name="T81" fmla="*/ 2147483646 h 1017"/>
                <a:gd name="T82" fmla="*/ 2147483646 w 1575"/>
                <a:gd name="T83" fmla="*/ 2147483646 h 1017"/>
                <a:gd name="T84" fmla="*/ 2147483646 w 1575"/>
                <a:gd name="T85" fmla="*/ 2147483646 h 1017"/>
                <a:gd name="T86" fmla="*/ 2147483646 w 1575"/>
                <a:gd name="T87" fmla="*/ 2147483646 h 1017"/>
                <a:gd name="T88" fmla="*/ 2147483646 w 1575"/>
                <a:gd name="T89" fmla="*/ 2147483646 h 1017"/>
                <a:gd name="T90" fmla="*/ 2147483646 w 1575"/>
                <a:gd name="T91" fmla="*/ 2147483646 h 1017"/>
                <a:gd name="T92" fmla="*/ 2147483646 w 1575"/>
                <a:gd name="T93" fmla="*/ 2147483646 h 1017"/>
                <a:gd name="T94" fmla="*/ 2147483646 w 1575"/>
                <a:gd name="T95" fmla="*/ 2147483646 h 1017"/>
                <a:gd name="T96" fmla="*/ 2147483646 w 1575"/>
                <a:gd name="T97" fmla="*/ 2147483646 h 1017"/>
                <a:gd name="T98" fmla="*/ 2147483646 w 1575"/>
                <a:gd name="T99" fmla="*/ 2147483646 h 1017"/>
                <a:gd name="T100" fmla="*/ 2147483646 w 1575"/>
                <a:gd name="T101" fmla="*/ 2147483646 h 1017"/>
                <a:gd name="T102" fmla="*/ 2147483646 w 1575"/>
                <a:gd name="T103" fmla="*/ 2147483646 h 1017"/>
                <a:gd name="T104" fmla="*/ 2147483646 w 1575"/>
                <a:gd name="T105" fmla="*/ 2147483646 h 1017"/>
                <a:gd name="T106" fmla="*/ 2147483646 w 1575"/>
                <a:gd name="T107" fmla="*/ 2147483646 h 1017"/>
                <a:gd name="T108" fmla="*/ 2147483646 w 1575"/>
                <a:gd name="T109" fmla="*/ 2147483646 h 1017"/>
                <a:gd name="T110" fmla="*/ 2147483646 w 1575"/>
                <a:gd name="T111" fmla="*/ 2147483646 h 1017"/>
                <a:gd name="T112" fmla="*/ 2147483646 w 1575"/>
                <a:gd name="T113" fmla="*/ 2147483646 h 1017"/>
                <a:gd name="T114" fmla="*/ 2147483646 w 1575"/>
                <a:gd name="T115" fmla="*/ 2147483646 h 1017"/>
                <a:gd name="T116" fmla="*/ 2147483646 w 1575"/>
                <a:gd name="T117" fmla="*/ 2147483646 h 1017"/>
                <a:gd name="T118" fmla="*/ 2147483646 w 1575"/>
                <a:gd name="T119" fmla="*/ 2147483646 h 1017"/>
                <a:gd name="T120" fmla="*/ 2147483646 w 1575"/>
                <a:gd name="T121" fmla="*/ 2147483646 h 1017"/>
                <a:gd name="T122" fmla="*/ 2147483646 w 1575"/>
                <a:gd name="T123" fmla="*/ 2147483646 h 1017"/>
                <a:gd name="T124" fmla="*/ 2147483646 w 1575"/>
                <a:gd name="T125" fmla="*/ 2147483646 h 101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575" h="1017">
                  <a:moveTo>
                    <a:pt x="1494" y="0"/>
                  </a:moveTo>
                  <a:cubicBezTo>
                    <a:pt x="1488" y="0"/>
                    <a:pt x="1483" y="1"/>
                    <a:pt x="1477" y="3"/>
                  </a:cubicBezTo>
                  <a:cubicBezTo>
                    <a:pt x="1477" y="3"/>
                    <a:pt x="1476" y="3"/>
                    <a:pt x="1476" y="4"/>
                  </a:cubicBezTo>
                  <a:cubicBezTo>
                    <a:pt x="1482" y="2"/>
                    <a:pt x="1488" y="1"/>
                    <a:pt x="1494" y="1"/>
                  </a:cubicBezTo>
                  <a:cubicBezTo>
                    <a:pt x="1496" y="1"/>
                    <a:pt x="1498" y="2"/>
                    <a:pt x="1501" y="2"/>
                  </a:cubicBezTo>
                  <a:cubicBezTo>
                    <a:pt x="1501" y="2"/>
                    <a:pt x="1501" y="1"/>
                    <a:pt x="1502" y="1"/>
                  </a:cubicBezTo>
                  <a:cubicBezTo>
                    <a:pt x="1499" y="1"/>
                    <a:pt x="1496" y="0"/>
                    <a:pt x="1494" y="0"/>
                  </a:cubicBezTo>
                  <a:moveTo>
                    <a:pt x="1503" y="1"/>
                  </a:moveTo>
                  <a:cubicBezTo>
                    <a:pt x="1503" y="1"/>
                    <a:pt x="1502" y="2"/>
                    <a:pt x="1502" y="2"/>
                  </a:cubicBezTo>
                  <a:cubicBezTo>
                    <a:pt x="1506" y="3"/>
                    <a:pt x="1511" y="4"/>
                    <a:pt x="1515" y="6"/>
                  </a:cubicBezTo>
                  <a:cubicBezTo>
                    <a:pt x="1515" y="6"/>
                    <a:pt x="1516" y="5"/>
                    <a:pt x="1516" y="5"/>
                  </a:cubicBezTo>
                  <a:cubicBezTo>
                    <a:pt x="1512" y="3"/>
                    <a:pt x="1507" y="2"/>
                    <a:pt x="1503" y="1"/>
                  </a:cubicBezTo>
                  <a:moveTo>
                    <a:pt x="1475" y="3"/>
                  </a:moveTo>
                  <a:cubicBezTo>
                    <a:pt x="1474" y="3"/>
                    <a:pt x="1473" y="4"/>
                    <a:pt x="1472" y="4"/>
                  </a:cubicBezTo>
                  <a:cubicBezTo>
                    <a:pt x="1472" y="4"/>
                    <a:pt x="1471" y="5"/>
                    <a:pt x="1471" y="5"/>
                  </a:cubicBezTo>
                  <a:cubicBezTo>
                    <a:pt x="1472" y="5"/>
                    <a:pt x="1473" y="5"/>
                    <a:pt x="1474" y="4"/>
                  </a:cubicBezTo>
                  <a:cubicBezTo>
                    <a:pt x="1474" y="4"/>
                    <a:pt x="1475" y="4"/>
                    <a:pt x="1475" y="3"/>
                  </a:cubicBezTo>
                  <a:moveTo>
                    <a:pt x="1470" y="5"/>
                  </a:moveTo>
                  <a:cubicBezTo>
                    <a:pt x="1469" y="5"/>
                    <a:pt x="1468" y="5"/>
                    <a:pt x="1467" y="6"/>
                  </a:cubicBezTo>
                  <a:cubicBezTo>
                    <a:pt x="1467" y="6"/>
                    <a:pt x="1466" y="7"/>
                    <a:pt x="1466" y="7"/>
                  </a:cubicBezTo>
                  <a:cubicBezTo>
                    <a:pt x="1467" y="7"/>
                    <a:pt x="1468" y="6"/>
                    <a:pt x="1469" y="6"/>
                  </a:cubicBezTo>
                  <a:cubicBezTo>
                    <a:pt x="1470" y="6"/>
                    <a:pt x="1470" y="5"/>
                    <a:pt x="1470" y="5"/>
                  </a:cubicBezTo>
                  <a:moveTo>
                    <a:pt x="1517" y="6"/>
                  </a:moveTo>
                  <a:cubicBezTo>
                    <a:pt x="1517" y="6"/>
                    <a:pt x="1516" y="6"/>
                    <a:pt x="1516" y="6"/>
                  </a:cubicBezTo>
                  <a:cubicBezTo>
                    <a:pt x="1522" y="9"/>
                    <a:pt x="1527" y="13"/>
                    <a:pt x="1532" y="18"/>
                  </a:cubicBezTo>
                  <a:cubicBezTo>
                    <a:pt x="1533" y="18"/>
                    <a:pt x="1533" y="18"/>
                    <a:pt x="1533" y="18"/>
                  </a:cubicBezTo>
                  <a:cubicBezTo>
                    <a:pt x="1528" y="13"/>
                    <a:pt x="1523" y="9"/>
                    <a:pt x="1517" y="6"/>
                  </a:cubicBezTo>
                  <a:moveTo>
                    <a:pt x="1465" y="6"/>
                  </a:moveTo>
                  <a:cubicBezTo>
                    <a:pt x="1459" y="9"/>
                    <a:pt x="1453" y="12"/>
                    <a:pt x="1447" y="15"/>
                  </a:cubicBezTo>
                  <a:cubicBezTo>
                    <a:pt x="1447" y="16"/>
                    <a:pt x="1446" y="17"/>
                    <a:pt x="1445" y="17"/>
                  </a:cubicBezTo>
                  <a:cubicBezTo>
                    <a:pt x="1452" y="14"/>
                    <a:pt x="1458" y="10"/>
                    <a:pt x="1464" y="8"/>
                  </a:cubicBezTo>
                  <a:cubicBezTo>
                    <a:pt x="1464" y="7"/>
                    <a:pt x="1465" y="7"/>
                    <a:pt x="1465" y="6"/>
                  </a:cubicBezTo>
                  <a:moveTo>
                    <a:pt x="1445" y="17"/>
                  </a:moveTo>
                  <a:cubicBezTo>
                    <a:pt x="1439" y="20"/>
                    <a:pt x="1433" y="24"/>
                    <a:pt x="1427" y="29"/>
                  </a:cubicBezTo>
                  <a:cubicBezTo>
                    <a:pt x="1425" y="30"/>
                    <a:pt x="1424" y="32"/>
                    <a:pt x="1423" y="33"/>
                  </a:cubicBezTo>
                  <a:cubicBezTo>
                    <a:pt x="1429" y="28"/>
                    <a:pt x="1436" y="23"/>
                    <a:pt x="1443" y="19"/>
                  </a:cubicBezTo>
                  <a:cubicBezTo>
                    <a:pt x="1443" y="18"/>
                    <a:pt x="1444" y="18"/>
                    <a:pt x="1445" y="17"/>
                  </a:cubicBezTo>
                  <a:moveTo>
                    <a:pt x="1534" y="19"/>
                  </a:moveTo>
                  <a:cubicBezTo>
                    <a:pt x="1534" y="19"/>
                    <a:pt x="1533" y="19"/>
                    <a:pt x="1533" y="19"/>
                  </a:cubicBezTo>
                  <a:cubicBezTo>
                    <a:pt x="1539" y="25"/>
                    <a:pt x="1545" y="33"/>
                    <a:pt x="1550" y="43"/>
                  </a:cubicBezTo>
                  <a:cubicBezTo>
                    <a:pt x="1550" y="43"/>
                    <a:pt x="1551" y="43"/>
                    <a:pt x="1551" y="43"/>
                  </a:cubicBezTo>
                  <a:cubicBezTo>
                    <a:pt x="1546" y="33"/>
                    <a:pt x="1540" y="25"/>
                    <a:pt x="1534" y="19"/>
                  </a:cubicBezTo>
                  <a:moveTo>
                    <a:pt x="1422" y="33"/>
                  </a:moveTo>
                  <a:cubicBezTo>
                    <a:pt x="1403" y="47"/>
                    <a:pt x="1383" y="67"/>
                    <a:pt x="1363" y="89"/>
                  </a:cubicBezTo>
                  <a:cubicBezTo>
                    <a:pt x="1362" y="90"/>
                    <a:pt x="1361" y="91"/>
                    <a:pt x="1360" y="92"/>
                  </a:cubicBezTo>
                  <a:cubicBezTo>
                    <a:pt x="1345" y="108"/>
                    <a:pt x="1331" y="125"/>
                    <a:pt x="1316" y="143"/>
                  </a:cubicBezTo>
                  <a:cubicBezTo>
                    <a:pt x="1316" y="143"/>
                    <a:pt x="1316" y="143"/>
                    <a:pt x="1315" y="144"/>
                  </a:cubicBezTo>
                  <a:cubicBezTo>
                    <a:pt x="1290" y="175"/>
                    <a:pt x="1265" y="209"/>
                    <a:pt x="1240" y="243"/>
                  </a:cubicBezTo>
                  <a:cubicBezTo>
                    <a:pt x="1239" y="243"/>
                    <a:pt x="1239" y="243"/>
                    <a:pt x="1239" y="244"/>
                  </a:cubicBezTo>
                  <a:cubicBezTo>
                    <a:pt x="1231" y="255"/>
                    <a:pt x="1223" y="266"/>
                    <a:pt x="1215" y="277"/>
                  </a:cubicBezTo>
                  <a:cubicBezTo>
                    <a:pt x="1215" y="276"/>
                    <a:pt x="1216" y="276"/>
                    <a:pt x="1217" y="275"/>
                  </a:cubicBezTo>
                  <a:cubicBezTo>
                    <a:pt x="1224" y="265"/>
                    <a:pt x="1232" y="255"/>
                    <a:pt x="1239" y="245"/>
                  </a:cubicBezTo>
                  <a:cubicBezTo>
                    <a:pt x="1239" y="245"/>
                    <a:pt x="1240" y="245"/>
                    <a:pt x="1240" y="244"/>
                  </a:cubicBezTo>
                  <a:cubicBezTo>
                    <a:pt x="1265" y="210"/>
                    <a:pt x="1291" y="176"/>
                    <a:pt x="1317" y="144"/>
                  </a:cubicBezTo>
                  <a:cubicBezTo>
                    <a:pt x="1317" y="144"/>
                    <a:pt x="1317" y="143"/>
                    <a:pt x="1317" y="143"/>
                  </a:cubicBezTo>
                  <a:cubicBezTo>
                    <a:pt x="1333" y="124"/>
                    <a:pt x="1348" y="106"/>
                    <a:pt x="1363" y="89"/>
                  </a:cubicBezTo>
                  <a:cubicBezTo>
                    <a:pt x="1364" y="88"/>
                    <a:pt x="1365" y="87"/>
                    <a:pt x="1366" y="86"/>
                  </a:cubicBezTo>
                  <a:cubicBezTo>
                    <a:pt x="1384" y="67"/>
                    <a:pt x="1401" y="51"/>
                    <a:pt x="1418" y="37"/>
                  </a:cubicBezTo>
                  <a:cubicBezTo>
                    <a:pt x="1419" y="36"/>
                    <a:pt x="1420" y="34"/>
                    <a:pt x="1422" y="33"/>
                  </a:cubicBezTo>
                  <a:moveTo>
                    <a:pt x="1552" y="44"/>
                  </a:moveTo>
                  <a:cubicBezTo>
                    <a:pt x="1551" y="44"/>
                    <a:pt x="1551" y="44"/>
                    <a:pt x="1551" y="44"/>
                  </a:cubicBezTo>
                  <a:cubicBezTo>
                    <a:pt x="1551" y="45"/>
                    <a:pt x="1552" y="46"/>
                    <a:pt x="1552" y="48"/>
                  </a:cubicBezTo>
                  <a:cubicBezTo>
                    <a:pt x="1557" y="58"/>
                    <a:pt x="1562" y="69"/>
                    <a:pt x="1565" y="81"/>
                  </a:cubicBezTo>
                  <a:cubicBezTo>
                    <a:pt x="1565" y="81"/>
                    <a:pt x="1566" y="81"/>
                    <a:pt x="1566" y="81"/>
                  </a:cubicBezTo>
                  <a:cubicBezTo>
                    <a:pt x="1563" y="69"/>
                    <a:pt x="1558" y="58"/>
                    <a:pt x="1553" y="47"/>
                  </a:cubicBezTo>
                  <a:cubicBezTo>
                    <a:pt x="1553" y="46"/>
                    <a:pt x="1552" y="45"/>
                    <a:pt x="1552" y="44"/>
                  </a:cubicBezTo>
                  <a:moveTo>
                    <a:pt x="1565" y="82"/>
                  </a:moveTo>
                  <a:cubicBezTo>
                    <a:pt x="1569" y="95"/>
                    <a:pt x="1572" y="110"/>
                    <a:pt x="1573" y="124"/>
                  </a:cubicBezTo>
                  <a:cubicBezTo>
                    <a:pt x="1573" y="124"/>
                    <a:pt x="1574" y="124"/>
                    <a:pt x="1574" y="124"/>
                  </a:cubicBezTo>
                  <a:cubicBezTo>
                    <a:pt x="1573" y="110"/>
                    <a:pt x="1570" y="96"/>
                    <a:pt x="1566" y="82"/>
                  </a:cubicBezTo>
                  <a:cubicBezTo>
                    <a:pt x="1566" y="82"/>
                    <a:pt x="1566" y="82"/>
                    <a:pt x="1565" y="82"/>
                  </a:cubicBezTo>
                  <a:moveTo>
                    <a:pt x="1573" y="125"/>
                  </a:moveTo>
                  <a:cubicBezTo>
                    <a:pt x="1574" y="131"/>
                    <a:pt x="1574" y="138"/>
                    <a:pt x="1574" y="144"/>
                  </a:cubicBezTo>
                  <a:cubicBezTo>
                    <a:pt x="1574" y="151"/>
                    <a:pt x="1573" y="159"/>
                    <a:pt x="1573" y="166"/>
                  </a:cubicBezTo>
                  <a:cubicBezTo>
                    <a:pt x="1573" y="167"/>
                    <a:pt x="1573" y="167"/>
                    <a:pt x="1574" y="167"/>
                  </a:cubicBezTo>
                  <a:cubicBezTo>
                    <a:pt x="1574" y="159"/>
                    <a:pt x="1575" y="151"/>
                    <a:pt x="1575" y="144"/>
                  </a:cubicBezTo>
                  <a:cubicBezTo>
                    <a:pt x="1575" y="138"/>
                    <a:pt x="1575" y="131"/>
                    <a:pt x="1574" y="125"/>
                  </a:cubicBezTo>
                  <a:cubicBezTo>
                    <a:pt x="1574" y="125"/>
                    <a:pt x="1573" y="125"/>
                    <a:pt x="1573" y="125"/>
                  </a:cubicBezTo>
                  <a:moveTo>
                    <a:pt x="1573" y="167"/>
                  </a:moveTo>
                  <a:cubicBezTo>
                    <a:pt x="1572" y="180"/>
                    <a:pt x="1569" y="193"/>
                    <a:pt x="1567" y="205"/>
                  </a:cubicBezTo>
                  <a:cubicBezTo>
                    <a:pt x="1567" y="205"/>
                    <a:pt x="1567" y="206"/>
                    <a:pt x="1568" y="206"/>
                  </a:cubicBezTo>
                  <a:cubicBezTo>
                    <a:pt x="1570" y="193"/>
                    <a:pt x="1573" y="180"/>
                    <a:pt x="1574" y="168"/>
                  </a:cubicBezTo>
                  <a:cubicBezTo>
                    <a:pt x="1573" y="168"/>
                    <a:pt x="1573" y="168"/>
                    <a:pt x="1573" y="167"/>
                  </a:cubicBezTo>
                  <a:moveTo>
                    <a:pt x="1566" y="206"/>
                  </a:moveTo>
                  <a:cubicBezTo>
                    <a:pt x="1564" y="218"/>
                    <a:pt x="1560" y="230"/>
                    <a:pt x="1556" y="241"/>
                  </a:cubicBezTo>
                  <a:cubicBezTo>
                    <a:pt x="1556" y="242"/>
                    <a:pt x="1557" y="242"/>
                    <a:pt x="1557" y="242"/>
                  </a:cubicBezTo>
                  <a:cubicBezTo>
                    <a:pt x="1561" y="230"/>
                    <a:pt x="1565" y="218"/>
                    <a:pt x="1567" y="207"/>
                  </a:cubicBezTo>
                  <a:cubicBezTo>
                    <a:pt x="1567" y="207"/>
                    <a:pt x="1567" y="206"/>
                    <a:pt x="1566" y="206"/>
                  </a:cubicBezTo>
                  <a:moveTo>
                    <a:pt x="1556" y="242"/>
                  </a:moveTo>
                  <a:cubicBezTo>
                    <a:pt x="1551" y="256"/>
                    <a:pt x="1545" y="270"/>
                    <a:pt x="1539" y="284"/>
                  </a:cubicBezTo>
                  <a:cubicBezTo>
                    <a:pt x="1539" y="284"/>
                    <a:pt x="1539" y="284"/>
                    <a:pt x="1539" y="285"/>
                  </a:cubicBezTo>
                  <a:cubicBezTo>
                    <a:pt x="1546" y="271"/>
                    <a:pt x="1552" y="257"/>
                    <a:pt x="1557" y="243"/>
                  </a:cubicBezTo>
                  <a:cubicBezTo>
                    <a:pt x="1556" y="243"/>
                    <a:pt x="1556" y="243"/>
                    <a:pt x="1556" y="242"/>
                  </a:cubicBezTo>
                  <a:moveTo>
                    <a:pt x="943" y="268"/>
                  </a:moveTo>
                  <a:cubicBezTo>
                    <a:pt x="942" y="268"/>
                    <a:pt x="941" y="268"/>
                    <a:pt x="940" y="268"/>
                  </a:cubicBezTo>
                  <a:cubicBezTo>
                    <a:pt x="939" y="269"/>
                    <a:pt x="938" y="269"/>
                    <a:pt x="937" y="269"/>
                  </a:cubicBezTo>
                  <a:cubicBezTo>
                    <a:pt x="939" y="269"/>
                    <a:pt x="941" y="269"/>
                    <a:pt x="943" y="269"/>
                  </a:cubicBezTo>
                  <a:cubicBezTo>
                    <a:pt x="951" y="269"/>
                    <a:pt x="958" y="270"/>
                    <a:pt x="966" y="271"/>
                  </a:cubicBezTo>
                  <a:cubicBezTo>
                    <a:pt x="966" y="270"/>
                    <a:pt x="966" y="270"/>
                    <a:pt x="967" y="270"/>
                  </a:cubicBezTo>
                  <a:cubicBezTo>
                    <a:pt x="959" y="269"/>
                    <a:pt x="951" y="268"/>
                    <a:pt x="943" y="268"/>
                  </a:cubicBezTo>
                  <a:moveTo>
                    <a:pt x="937" y="268"/>
                  </a:moveTo>
                  <a:cubicBezTo>
                    <a:pt x="919" y="269"/>
                    <a:pt x="899" y="272"/>
                    <a:pt x="881" y="278"/>
                  </a:cubicBezTo>
                  <a:cubicBezTo>
                    <a:pt x="880" y="278"/>
                    <a:pt x="879" y="279"/>
                    <a:pt x="878" y="279"/>
                  </a:cubicBezTo>
                  <a:cubicBezTo>
                    <a:pt x="870" y="282"/>
                    <a:pt x="863" y="284"/>
                    <a:pt x="856" y="288"/>
                  </a:cubicBezTo>
                  <a:cubicBezTo>
                    <a:pt x="855" y="288"/>
                    <a:pt x="855" y="288"/>
                    <a:pt x="854" y="289"/>
                  </a:cubicBezTo>
                  <a:cubicBezTo>
                    <a:pt x="846" y="293"/>
                    <a:pt x="839" y="297"/>
                    <a:pt x="832" y="302"/>
                  </a:cubicBezTo>
                  <a:cubicBezTo>
                    <a:pt x="832" y="302"/>
                    <a:pt x="832" y="302"/>
                    <a:pt x="831" y="303"/>
                  </a:cubicBezTo>
                  <a:cubicBezTo>
                    <a:pt x="823" y="309"/>
                    <a:pt x="816" y="315"/>
                    <a:pt x="811" y="323"/>
                  </a:cubicBezTo>
                  <a:cubicBezTo>
                    <a:pt x="810" y="323"/>
                    <a:pt x="810" y="323"/>
                    <a:pt x="810" y="323"/>
                  </a:cubicBezTo>
                  <a:cubicBezTo>
                    <a:pt x="802" y="334"/>
                    <a:pt x="797" y="345"/>
                    <a:pt x="794" y="358"/>
                  </a:cubicBezTo>
                  <a:cubicBezTo>
                    <a:pt x="794" y="358"/>
                    <a:pt x="794" y="359"/>
                    <a:pt x="794" y="359"/>
                  </a:cubicBezTo>
                  <a:cubicBezTo>
                    <a:pt x="794" y="363"/>
                    <a:pt x="793" y="367"/>
                    <a:pt x="793" y="371"/>
                  </a:cubicBezTo>
                  <a:cubicBezTo>
                    <a:pt x="793" y="375"/>
                    <a:pt x="793" y="378"/>
                    <a:pt x="794" y="382"/>
                  </a:cubicBezTo>
                  <a:cubicBezTo>
                    <a:pt x="794" y="386"/>
                    <a:pt x="795" y="390"/>
                    <a:pt x="795" y="394"/>
                  </a:cubicBezTo>
                  <a:cubicBezTo>
                    <a:pt x="795" y="394"/>
                    <a:pt x="795" y="395"/>
                    <a:pt x="795" y="395"/>
                  </a:cubicBezTo>
                  <a:cubicBezTo>
                    <a:pt x="795" y="397"/>
                    <a:pt x="795" y="399"/>
                    <a:pt x="795" y="401"/>
                  </a:cubicBezTo>
                  <a:cubicBezTo>
                    <a:pt x="795" y="410"/>
                    <a:pt x="794" y="419"/>
                    <a:pt x="793" y="428"/>
                  </a:cubicBezTo>
                  <a:cubicBezTo>
                    <a:pt x="793" y="428"/>
                    <a:pt x="793" y="429"/>
                    <a:pt x="793" y="429"/>
                  </a:cubicBezTo>
                  <a:cubicBezTo>
                    <a:pt x="791" y="437"/>
                    <a:pt x="789" y="445"/>
                    <a:pt x="787" y="453"/>
                  </a:cubicBezTo>
                  <a:cubicBezTo>
                    <a:pt x="787" y="453"/>
                    <a:pt x="787" y="453"/>
                    <a:pt x="787" y="454"/>
                  </a:cubicBezTo>
                  <a:cubicBezTo>
                    <a:pt x="786" y="456"/>
                    <a:pt x="785" y="458"/>
                    <a:pt x="785" y="460"/>
                  </a:cubicBezTo>
                  <a:cubicBezTo>
                    <a:pt x="785" y="459"/>
                    <a:pt x="785" y="459"/>
                    <a:pt x="786" y="459"/>
                  </a:cubicBezTo>
                  <a:cubicBezTo>
                    <a:pt x="786" y="457"/>
                    <a:pt x="787" y="456"/>
                    <a:pt x="787" y="454"/>
                  </a:cubicBezTo>
                  <a:cubicBezTo>
                    <a:pt x="788" y="454"/>
                    <a:pt x="788" y="454"/>
                    <a:pt x="788" y="453"/>
                  </a:cubicBezTo>
                  <a:cubicBezTo>
                    <a:pt x="790" y="445"/>
                    <a:pt x="792" y="437"/>
                    <a:pt x="794" y="429"/>
                  </a:cubicBezTo>
                  <a:cubicBezTo>
                    <a:pt x="794" y="429"/>
                    <a:pt x="794" y="429"/>
                    <a:pt x="794" y="428"/>
                  </a:cubicBezTo>
                  <a:cubicBezTo>
                    <a:pt x="795" y="419"/>
                    <a:pt x="796" y="410"/>
                    <a:pt x="796" y="401"/>
                  </a:cubicBezTo>
                  <a:cubicBezTo>
                    <a:pt x="796" y="399"/>
                    <a:pt x="796" y="397"/>
                    <a:pt x="796" y="396"/>
                  </a:cubicBezTo>
                  <a:cubicBezTo>
                    <a:pt x="796" y="395"/>
                    <a:pt x="796" y="395"/>
                    <a:pt x="796" y="394"/>
                  </a:cubicBezTo>
                  <a:cubicBezTo>
                    <a:pt x="796" y="390"/>
                    <a:pt x="795" y="386"/>
                    <a:pt x="795" y="382"/>
                  </a:cubicBezTo>
                  <a:cubicBezTo>
                    <a:pt x="794" y="378"/>
                    <a:pt x="794" y="375"/>
                    <a:pt x="794" y="371"/>
                  </a:cubicBezTo>
                  <a:cubicBezTo>
                    <a:pt x="794" y="367"/>
                    <a:pt x="795" y="363"/>
                    <a:pt x="795" y="359"/>
                  </a:cubicBezTo>
                  <a:cubicBezTo>
                    <a:pt x="795" y="359"/>
                    <a:pt x="795" y="359"/>
                    <a:pt x="795" y="358"/>
                  </a:cubicBezTo>
                  <a:cubicBezTo>
                    <a:pt x="798" y="346"/>
                    <a:pt x="803" y="334"/>
                    <a:pt x="811" y="324"/>
                  </a:cubicBezTo>
                  <a:cubicBezTo>
                    <a:pt x="811" y="324"/>
                    <a:pt x="811" y="323"/>
                    <a:pt x="812" y="323"/>
                  </a:cubicBezTo>
                  <a:cubicBezTo>
                    <a:pt x="817" y="316"/>
                    <a:pt x="824" y="309"/>
                    <a:pt x="833" y="303"/>
                  </a:cubicBezTo>
                  <a:cubicBezTo>
                    <a:pt x="833" y="303"/>
                    <a:pt x="833" y="302"/>
                    <a:pt x="834" y="302"/>
                  </a:cubicBezTo>
                  <a:cubicBezTo>
                    <a:pt x="837" y="300"/>
                    <a:pt x="840" y="298"/>
                    <a:pt x="844" y="295"/>
                  </a:cubicBezTo>
                  <a:cubicBezTo>
                    <a:pt x="848" y="293"/>
                    <a:pt x="852" y="291"/>
                    <a:pt x="856" y="289"/>
                  </a:cubicBezTo>
                  <a:cubicBezTo>
                    <a:pt x="857" y="289"/>
                    <a:pt x="857" y="288"/>
                    <a:pt x="858" y="288"/>
                  </a:cubicBezTo>
                  <a:cubicBezTo>
                    <a:pt x="865" y="285"/>
                    <a:pt x="873" y="281"/>
                    <a:pt x="881" y="279"/>
                  </a:cubicBezTo>
                  <a:cubicBezTo>
                    <a:pt x="882" y="279"/>
                    <a:pt x="883" y="278"/>
                    <a:pt x="885" y="278"/>
                  </a:cubicBezTo>
                  <a:cubicBezTo>
                    <a:pt x="901" y="273"/>
                    <a:pt x="918" y="270"/>
                    <a:pt x="934" y="269"/>
                  </a:cubicBezTo>
                  <a:cubicBezTo>
                    <a:pt x="935" y="269"/>
                    <a:pt x="936" y="269"/>
                    <a:pt x="937" y="268"/>
                  </a:cubicBezTo>
                  <a:moveTo>
                    <a:pt x="968" y="270"/>
                  </a:moveTo>
                  <a:cubicBezTo>
                    <a:pt x="968" y="270"/>
                    <a:pt x="968" y="271"/>
                    <a:pt x="967" y="271"/>
                  </a:cubicBezTo>
                  <a:cubicBezTo>
                    <a:pt x="978" y="273"/>
                    <a:pt x="988" y="275"/>
                    <a:pt x="996" y="280"/>
                  </a:cubicBezTo>
                  <a:cubicBezTo>
                    <a:pt x="997" y="279"/>
                    <a:pt x="997" y="279"/>
                    <a:pt x="997" y="279"/>
                  </a:cubicBezTo>
                  <a:cubicBezTo>
                    <a:pt x="989" y="275"/>
                    <a:pt x="979" y="272"/>
                    <a:pt x="968" y="270"/>
                  </a:cubicBezTo>
                  <a:moveTo>
                    <a:pt x="1215" y="277"/>
                  </a:moveTo>
                  <a:cubicBezTo>
                    <a:pt x="1215" y="278"/>
                    <a:pt x="1214" y="278"/>
                    <a:pt x="1213" y="279"/>
                  </a:cubicBezTo>
                  <a:cubicBezTo>
                    <a:pt x="1214" y="279"/>
                    <a:pt x="1214" y="279"/>
                    <a:pt x="1215" y="279"/>
                  </a:cubicBezTo>
                  <a:cubicBezTo>
                    <a:pt x="1215" y="278"/>
                    <a:pt x="1215" y="278"/>
                    <a:pt x="1215" y="277"/>
                  </a:cubicBezTo>
                  <a:moveTo>
                    <a:pt x="998" y="279"/>
                  </a:moveTo>
                  <a:cubicBezTo>
                    <a:pt x="998" y="280"/>
                    <a:pt x="998" y="280"/>
                    <a:pt x="997" y="280"/>
                  </a:cubicBezTo>
                  <a:cubicBezTo>
                    <a:pt x="1003" y="283"/>
                    <a:pt x="1009" y="287"/>
                    <a:pt x="1013" y="291"/>
                  </a:cubicBezTo>
                  <a:cubicBezTo>
                    <a:pt x="1013" y="291"/>
                    <a:pt x="1013" y="291"/>
                    <a:pt x="1014" y="291"/>
                  </a:cubicBezTo>
                  <a:cubicBezTo>
                    <a:pt x="1009" y="286"/>
                    <a:pt x="1004" y="282"/>
                    <a:pt x="998" y="279"/>
                  </a:cubicBezTo>
                  <a:moveTo>
                    <a:pt x="1214" y="280"/>
                  </a:moveTo>
                  <a:cubicBezTo>
                    <a:pt x="1213" y="280"/>
                    <a:pt x="1213" y="280"/>
                    <a:pt x="1212" y="280"/>
                  </a:cubicBezTo>
                  <a:cubicBezTo>
                    <a:pt x="1206" y="288"/>
                    <a:pt x="1200" y="297"/>
                    <a:pt x="1194" y="305"/>
                  </a:cubicBezTo>
                  <a:cubicBezTo>
                    <a:pt x="1195" y="305"/>
                    <a:pt x="1195" y="305"/>
                    <a:pt x="1195" y="305"/>
                  </a:cubicBezTo>
                  <a:cubicBezTo>
                    <a:pt x="1201" y="296"/>
                    <a:pt x="1208" y="288"/>
                    <a:pt x="1214" y="280"/>
                  </a:cubicBezTo>
                  <a:moveTo>
                    <a:pt x="1538" y="285"/>
                  </a:moveTo>
                  <a:cubicBezTo>
                    <a:pt x="1531" y="300"/>
                    <a:pt x="1522" y="316"/>
                    <a:pt x="1513" y="331"/>
                  </a:cubicBezTo>
                  <a:cubicBezTo>
                    <a:pt x="1513" y="331"/>
                    <a:pt x="1513" y="331"/>
                    <a:pt x="1514" y="331"/>
                  </a:cubicBezTo>
                  <a:cubicBezTo>
                    <a:pt x="1523" y="316"/>
                    <a:pt x="1532" y="301"/>
                    <a:pt x="1539" y="285"/>
                  </a:cubicBezTo>
                  <a:cubicBezTo>
                    <a:pt x="1539" y="285"/>
                    <a:pt x="1538" y="285"/>
                    <a:pt x="1538" y="285"/>
                  </a:cubicBezTo>
                  <a:moveTo>
                    <a:pt x="1014" y="292"/>
                  </a:moveTo>
                  <a:cubicBezTo>
                    <a:pt x="1014" y="292"/>
                    <a:pt x="1014" y="292"/>
                    <a:pt x="1013" y="292"/>
                  </a:cubicBezTo>
                  <a:cubicBezTo>
                    <a:pt x="1018" y="298"/>
                    <a:pt x="1021" y="304"/>
                    <a:pt x="1022" y="311"/>
                  </a:cubicBezTo>
                  <a:cubicBezTo>
                    <a:pt x="1023" y="311"/>
                    <a:pt x="1023" y="311"/>
                    <a:pt x="1023" y="311"/>
                  </a:cubicBezTo>
                  <a:cubicBezTo>
                    <a:pt x="1022" y="303"/>
                    <a:pt x="1019" y="297"/>
                    <a:pt x="1014" y="292"/>
                  </a:cubicBezTo>
                  <a:moveTo>
                    <a:pt x="1195" y="306"/>
                  </a:moveTo>
                  <a:cubicBezTo>
                    <a:pt x="1194" y="306"/>
                    <a:pt x="1194" y="306"/>
                    <a:pt x="1193" y="306"/>
                  </a:cubicBezTo>
                  <a:cubicBezTo>
                    <a:pt x="1186" y="316"/>
                    <a:pt x="1178" y="327"/>
                    <a:pt x="1170" y="337"/>
                  </a:cubicBezTo>
                  <a:cubicBezTo>
                    <a:pt x="1170" y="337"/>
                    <a:pt x="1171" y="337"/>
                    <a:pt x="1171" y="337"/>
                  </a:cubicBezTo>
                  <a:cubicBezTo>
                    <a:pt x="1179" y="327"/>
                    <a:pt x="1187" y="316"/>
                    <a:pt x="1195" y="306"/>
                  </a:cubicBezTo>
                  <a:moveTo>
                    <a:pt x="1024" y="312"/>
                  </a:moveTo>
                  <a:cubicBezTo>
                    <a:pt x="1023" y="312"/>
                    <a:pt x="1023" y="312"/>
                    <a:pt x="1023" y="312"/>
                  </a:cubicBezTo>
                  <a:cubicBezTo>
                    <a:pt x="1023" y="314"/>
                    <a:pt x="1023" y="316"/>
                    <a:pt x="1023" y="318"/>
                  </a:cubicBezTo>
                  <a:cubicBezTo>
                    <a:pt x="1023" y="329"/>
                    <a:pt x="1019" y="343"/>
                    <a:pt x="1008" y="359"/>
                  </a:cubicBezTo>
                  <a:cubicBezTo>
                    <a:pt x="1009" y="359"/>
                    <a:pt x="1009" y="359"/>
                    <a:pt x="1010" y="358"/>
                  </a:cubicBezTo>
                  <a:cubicBezTo>
                    <a:pt x="1020" y="343"/>
                    <a:pt x="1024" y="329"/>
                    <a:pt x="1024" y="318"/>
                  </a:cubicBezTo>
                  <a:cubicBezTo>
                    <a:pt x="1024" y="316"/>
                    <a:pt x="1024" y="314"/>
                    <a:pt x="1024" y="312"/>
                  </a:cubicBezTo>
                  <a:moveTo>
                    <a:pt x="1512" y="332"/>
                  </a:moveTo>
                  <a:cubicBezTo>
                    <a:pt x="1503" y="347"/>
                    <a:pt x="1492" y="363"/>
                    <a:pt x="1480" y="379"/>
                  </a:cubicBezTo>
                  <a:cubicBezTo>
                    <a:pt x="1480" y="379"/>
                    <a:pt x="1481" y="379"/>
                    <a:pt x="1481" y="379"/>
                  </a:cubicBezTo>
                  <a:cubicBezTo>
                    <a:pt x="1493" y="364"/>
                    <a:pt x="1503" y="348"/>
                    <a:pt x="1513" y="332"/>
                  </a:cubicBezTo>
                  <a:cubicBezTo>
                    <a:pt x="1513" y="332"/>
                    <a:pt x="1513" y="332"/>
                    <a:pt x="1512" y="332"/>
                  </a:cubicBezTo>
                  <a:moveTo>
                    <a:pt x="1169" y="338"/>
                  </a:moveTo>
                  <a:cubicBezTo>
                    <a:pt x="1163" y="347"/>
                    <a:pt x="1156" y="356"/>
                    <a:pt x="1149" y="365"/>
                  </a:cubicBezTo>
                  <a:cubicBezTo>
                    <a:pt x="1150" y="365"/>
                    <a:pt x="1150" y="365"/>
                    <a:pt x="1151" y="365"/>
                  </a:cubicBezTo>
                  <a:cubicBezTo>
                    <a:pt x="1157" y="356"/>
                    <a:pt x="1164" y="347"/>
                    <a:pt x="1171" y="338"/>
                  </a:cubicBezTo>
                  <a:cubicBezTo>
                    <a:pt x="1170" y="338"/>
                    <a:pt x="1170" y="338"/>
                    <a:pt x="1169" y="338"/>
                  </a:cubicBezTo>
                  <a:moveTo>
                    <a:pt x="1009" y="360"/>
                  </a:moveTo>
                  <a:cubicBezTo>
                    <a:pt x="1008" y="360"/>
                    <a:pt x="1008" y="361"/>
                    <a:pt x="1007" y="361"/>
                  </a:cubicBezTo>
                  <a:cubicBezTo>
                    <a:pt x="1007" y="361"/>
                    <a:pt x="1007" y="362"/>
                    <a:pt x="1006" y="362"/>
                  </a:cubicBezTo>
                  <a:cubicBezTo>
                    <a:pt x="1007" y="362"/>
                    <a:pt x="1008" y="362"/>
                    <a:pt x="1008" y="361"/>
                  </a:cubicBezTo>
                  <a:cubicBezTo>
                    <a:pt x="1008" y="361"/>
                    <a:pt x="1008" y="361"/>
                    <a:pt x="1008" y="361"/>
                  </a:cubicBezTo>
                  <a:cubicBezTo>
                    <a:pt x="1009" y="361"/>
                    <a:pt x="1009" y="360"/>
                    <a:pt x="1009" y="360"/>
                  </a:cubicBezTo>
                  <a:moveTo>
                    <a:pt x="1007" y="363"/>
                  </a:moveTo>
                  <a:cubicBezTo>
                    <a:pt x="1006" y="364"/>
                    <a:pt x="1006" y="364"/>
                    <a:pt x="1005" y="364"/>
                  </a:cubicBezTo>
                  <a:cubicBezTo>
                    <a:pt x="1002" y="369"/>
                    <a:pt x="999" y="374"/>
                    <a:pt x="996" y="379"/>
                  </a:cubicBezTo>
                  <a:cubicBezTo>
                    <a:pt x="997" y="379"/>
                    <a:pt x="997" y="379"/>
                    <a:pt x="998" y="379"/>
                  </a:cubicBezTo>
                  <a:cubicBezTo>
                    <a:pt x="1000" y="374"/>
                    <a:pt x="1004" y="368"/>
                    <a:pt x="1007" y="363"/>
                  </a:cubicBezTo>
                  <a:moveTo>
                    <a:pt x="1149" y="366"/>
                  </a:moveTo>
                  <a:cubicBezTo>
                    <a:pt x="1140" y="376"/>
                    <a:pt x="1132" y="387"/>
                    <a:pt x="1124" y="396"/>
                  </a:cubicBezTo>
                  <a:cubicBezTo>
                    <a:pt x="1125" y="396"/>
                    <a:pt x="1125" y="396"/>
                    <a:pt x="1126" y="396"/>
                  </a:cubicBezTo>
                  <a:cubicBezTo>
                    <a:pt x="1133" y="387"/>
                    <a:pt x="1142" y="377"/>
                    <a:pt x="1150" y="366"/>
                  </a:cubicBezTo>
                  <a:cubicBezTo>
                    <a:pt x="1149" y="366"/>
                    <a:pt x="1149" y="366"/>
                    <a:pt x="1149" y="366"/>
                  </a:cubicBezTo>
                  <a:moveTo>
                    <a:pt x="1479" y="379"/>
                  </a:moveTo>
                  <a:cubicBezTo>
                    <a:pt x="1467" y="395"/>
                    <a:pt x="1454" y="412"/>
                    <a:pt x="1439" y="427"/>
                  </a:cubicBezTo>
                  <a:cubicBezTo>
                    <a:pt x="1440" y="428"/>
                    <a:pt x="1440" y="428"/>
                    <a:pt x="1440" y="428"/>
                  </a:cubicBezTo>
                  <a:cubicBezTo>
                    <a:pt x="1454" y="412"/>
                    <a:pt x="1468" y="396"/>
                    <a:pt x="1480" y="380"/>
                  </a:cubicBezTo>
                  <a:cubicBezTo>
                    <a:pt x="1480" y="380"/>
                    <a:pt x="1480" y="380"/>
                    <a:pt x="1479" y="379"/>
                  </a:cubicBezTo>
                  <a:moveTo>
                    <a:pt x="997" y="380"/>
                  </a:moveTo>
                  <a:cubicBezTo>
                    <a:pt x="996" y="380"/>
                    <a:pt x="996" y="380"/>
                    <a:pt x="996" y="380"/>
                  </a:cubicBezTo>
                  <a:cubicBezTo>
                    <a:pt x="992" y="387"/>
                    <a:pt x="988" y="393"/>
                    <a:pt x="985" y="399"/>
                  </a:cubicBezTo>
                  <a:cubicBezTo>
                    <a:pt x="986" y="399"/>
                    <a:pt x="986" y="399"/>
                    <a:pt x="986" y="399"/>
                  </a:cubicBezTo>
                  <a:cubicBezTo>
                    <a:pt x="989" y="393"/>
                    <a:pt x="993" y="387"/>
                    <a:pt x="997" y="380"/>
                  </a:cubicBezTo>
                  <a:moveTo>
                    <a:pt x="1124" y="397"/>
                  </a:moveTo>
                  <a:cubicBezTo>
                    <a:pt x="1120" y="402"/>
                    <a:pt x="1117" y="406"/>
                    <a:pt x="1113" y="410"/>
                  </a:cubicBezTo>
                  <a:cubicBezTo>
                    <a:pt x="1114" y="410"/>
                    <a:pt x="1114" y="410"/>
                    <a:pt x="1114" y="410"/>
                  </a:cubicBezTo>
                  <a:cubicBezTo>
                    <a:pt x="1118" y="406"/>
                    <a:pt x="1121" y="402"/>
                    <a:pt x="1125" y="397"/>
                  </a:cubicBezTo>
                  <a:cubicBezTo>
                    <a:pt x="1124" y="397"/>
                    <a:pt x="1124" y="397"/>
                    <a:pt x="1124" y="397"/>
                  </a:cubicBezTo>
                  <a:moveTo>
                    <a:pt x="985" y="400"/>
                  </a:moveTo>
                  <a:cubicBezTo>
                    <a:pt x="985" y="400"/>
                    <a:pt x="985" y="400"/>
                    <a:pt x="985" y="400"/>
                  </a:cubicBezTo>
                  <a:cubicBezTo>
                    <a:pt x="985" y="400"/>
                    <a:pt x="985" y="400"/>
                    <a:pt x="985" y="401"/>
                  </a:cubicBezTo>
                  <a:cubicBezTo>
                    <a:pt x="985" y="400"/>
                    <a:pt x="985" y="400"/>
                    <a:pt x="985" y="400"/>
                  </a:cubicBezTo>
                  <a:moveTo>
                    <a:pt x="985" y="401"/>
                  </a:moveTo>
                  <a:cubicBezTo>
                    <a:pt x="985" y="402"/>
                    <a:pt x="984" y="402"/>
                    <a:pt x="984" y="402"/>
                  </a:cubicBezTo>
                  <a:cubicBezTo>
                    <a:pt x="980" y="411"/>
                    <a:pt x="977" y="419"/>
                    <a:pt x="975" y="426"/>
                  </a:cubicBezTo>
                  <a:cubicBezTo>
                    <a:pt x="975" y="426"/>
                    <a:pt x="975" y="426"/>
                    <a:pt x="976" y="426"/>
                  </a:cubicBezTo>
                  <a:cubicBezTo>
                    <a:pt x="978" y="419"/>
                    <a:pt x="981" y="410"/>
                    <a:pt x="985" y="401"/>
                  </a:cubicBezTo>
                  <a:moveTo>
                    <a:pt x="1113" y="410"/>
                  </a:moveTo>
                  <a:cubicBezTo>
                    <a:pt x="1111" y="413"/>
                    <a:pt x="1109" y="415"/>
                    <a:pt x="1107" y="417"/>
                  </a:cubicBezTo>
                  <a:cubicBezTo>
                    <a:pt x="1107" y="418"/>
                    <a:pt x="1106" y="419"/>
                    <a:pt x="1106" y="420"/>
                  </a:cubicBezTo>
                  <a:cubicBezTo>
                    <a:pt x="1108" y="417"/>
                    <a:pt x="1111" y="414"/>
                    <a:pt x="1114" y="411"/>
                  </a:cubicBezTo>
                  <a:cubicBezTo>
                    <a:pt x="1113" y="411"/>
                    <a:pt x="1113" y="410"/>
                    <a:pt x="1113" y="410"/>
                  </a:cubicBezTo>
                  <a:moveTo>
                    <a:pt x="1105" y="419"/>
                  </a:moveTo>
                  <a:cubicBezTo>
                    <a:pt x="1103" y="421"/>
                    <a:pt x="1101" y="423"/>
                    <a:pt x="1100" y="425"/>
                  </a:cubicBezTo>
                  <a:cubicBezTo>
                    <a:pt x="1100" y="425"/>
                    <a:pt x="1100" y="425"/>
                    <a:pt x="1100" y="425"/>
                  </a:cubicBezTo>
                  <a:cubicBezTo>
                    <a:pt x="1100" y="426"/>
                    <a:pt x="1100" y="426"/>
                    <a:pt x="1100" y="426"/>
                  </a:cubicBezTo>
                  <a:cubicBezTo>
                    <a:pt x="1101" y="425"/>
                    <a:pt x="1103" y="423"/>
                    <a:pt x="1104" y="422"/>
                  </a:cubicBezTo>
                  <a:cubicBezTo>
                    <a:pt x="1104" y="421"/>
                    <a:pt x="1105" y="420"/>
                    <a:pt x="1105" y="419"/>
                  </a:cubicBezTo>
                  <a:moveTo>
                    <a:pt x="1099" y="426"/>
                  </a:moveTo>
                  <a:cubicBezTo>
                    <a:pt x="1099" y="426"/>
                    <a:pt x="1098" y="427"/>
                    <a:pt x="1098" y="427"/>
                  </a:cubicBezTo>
                  <a:cubicBezTo>
                    <a:pt x="1097" y="428"/>
                    <a:pt x="1097" y="429"/>
                    <a:pt x="1096" y="429"/>
                  </a:cubicBezTo>
                  <a:cubicBezTo>
                    <a:pt x="1096" y="429"/>
                    <a:pt x="1097" y="429"/>
                    <a:pt x="1097" y="429"/>
                  </a:cubicBezTo>
                  <a:cubicBezTo>
                    <a:pt x="1098" y="429"/>
                    <a:pt x="1098" y="428"/>
                    <a:pt x="1099" y="428"/>
                  </a:cubicBezTo>
                  <a:cubicBezTo>
                    <a:pt x="1099" y="427"/>
                    <a:pt x="1099" y="427"/>
                    <a:pt x="1100" y="427"/>
                  </a:cubicBezTo>
                  <a:cubicBezTo>
                    <a:pt x="1099" y="427"/>
                    <a:pt x="1099" y="426"/>
                    <a:pt x="1099" y="426"/>
                  </a:cubicBezTo>
                  <a:moveTo>
                    <a:pt x="975" y="427"/>
                  </a:moveTo>
                  <a:cubicBezTo>
                    <a:pt x="975" y="427"/>
                    <a:pt x="975" y="427"/>
                    <a:pt x="974" y="427"/>
                  </a:cubicBezTo>
                  <a:cubicBezTo>
                    <a:pt x="974" y="428"/>
                    <a:pt x="974" y="429"/>
                    <a:pt x="974" y="429"/>
                  </a:cubicBezTo>
                  <a:cubicBezTo>
                    <a:pt x="974" y="429"/>
                    <a:pt x="975" y="429"/>
                    <a:pt x="975" y="428"/>
                  </a:cubicBezTo>
                  <a:cubicBezTo>
                    <a:pt x="975" y="428"/>
                    <a:pt x="975" y="428"/>
                    <a:pt x="975" y="427"/>
                  </a:cubicBezTo>
                  <a:moveTo>
                    <a:pt x="1439" y="428"/>
                  </a:moveTo>
                  <a:cubicBezTo>
                    <a:pt x="1425" y="444"/>
                    <a:pt x="1409" y="459"/>
                    <a:pt x="1393" y="474"/>
                  </a:cubicBezTo>
                  <a:cubicBezTo>
                    <a:pt x="1394" y="475"/>
                    <a:pt x="1394" y="475"/>
                    <a:pt x="1394" y="475"/>
                  </a:cubicBezTo>
                  <a:cubicBezTo>
                    <a:pt x="1410" y="460"/>
                    <a:pt x="1425" y="445"/>
                    <a:pt x="1439" y="429"/>
                  </a:cubicBezTo>
                  <a:cubicBezTo>
                    <a:pt x="1439" y="429"/>
                    <a:pt x="1439" y="428"/>
                    <a:pt x="1439" y="428"/>
                  </a:cubicBezTo>
                  <a:moveTo>
                    <a:pt x="975" y="430"/>
                  </a:moveTo>
                  <a:cubicBezTo>
                    <a:pt x="974" y="430"/>
                    <a:pt x="974" y="430"/>
                    <a:pt x="973" y="431"/>
                  </a:cubicBezTo>
                  <a:cubicBezTo>
                    <a:pt x="972" y="438"/>
                    <a:pt x="971" y="444"/>
                    <a:pt x="971" y="450"/>
                  </a:cubicBezTo>
                  <a:cubicBezTo>
                    <a:pt x="971" y="450"/>
                    <a:pt x="971" y="451"/>
                    <a:pt x="971" y="451"/>
                  </a:cubicBezTo>
                  <a:cubicBezTo>
                    <a:pt x="971" y="451"/>
                    <a:pt x="972" y="451"/>
                    <a:pt x="972" y="451"/>
                  </a:cubicBezTo>
                  <a:cubicBezTo>
                    <a:pt x="972" y="450"/>
                    <a:pt x="972" y="450"/>
                    <a:pt x="972" y="450"/>
                  </a:cubicBezTo>
                  <a:cubicBezTo>
                    <a:pt x="972" y="444"/>
                    <a:pt x="973" y="437"/>
                    <a:pt x="975" y="430"/>
                  </a:cubicBezTo>
                  <a:moveTo>
                    <a:pt x="1095" y="430"/>
                  </a:moveTo>
                  <a:cubicBezTo>
                    <a:pt x="1093" y="432"/>
                    <a:pt x="1091" y="435"/>
                    <a:pt x="1089" y="437"/>
                  </a:cubicBezTo>
                  <a:cubicBezTo>
                    <a:pt x="1089" y="437"/>
                    <a:pt x="1089" y="437"/>
                    <a:pt x="1089" y="437"/>
                  </a:cubicBezTo>
                  <a:cubicBezTo>
                    <a:pt x="1089" y="437"/>
                    <a:pt x="1089" y="437"/>
                    <a:pt x="1090" y="437"/>
                  </a:cubicBezTo>
                  <a:cubicBezTo>
                    <a:pt x="1092" y="435"/>
                    <a:pt x="1094" y="433"/>
                    <a:pt x="1096" y="430"/>
                  </a:cubicBezTo>
                  <a:cubicBezTo>
                    <a:pt x="1096" y="430"/>
                    <a:pt x="1096" y="430"/>
                    <a:pt x="1095" y="430"/>
                  </a:cubicBezTo>
                  <a:moveTo>
                    <a:pt x="1087" y="438"/>
                  </a:moveTo>
                  <a:cubicBezTo>
                    <a:pt x="1086" y="440"/>
                    <a:pt x="1084" y="441"/>
                    <a:pt x="1082" y="443"/>
                  </a:cubicBezTo>
                  <a:cubicBezTo>
                    <a:pt x="1082" y="444"/>
                    <a:pt x="1082" y="444"/>
                    <a:pt x="1082" y="445"/>
                  </a:cubicBezTo>
                  <a:cubicBezTo>
                    <a:pt x="1084" y="443"/>
                    <a:pt x="1086" y="441"/>
                    <a:pt x="1088" y="439"/>
                  </a:cubicBezTo>
                  <a:cubicBezTo>
                    <a:pt x="1088" y="439"/>
                    <a:pt x="1088" y="438"/>
                    <a:pt x="1088" y="438"/>
                  </a:cubicBezTo>
                  <a:cubicBezTo>
                    <a:pt x="1088" y="438"/>
                    <a:pt x="1088" y="438"/>
                    <a:pt x="1087" y="438"/>
                  </a:cubicBezTo>
                  <a:moveTo>
                    <a:pt x="1081" y="444"/>
                  </a:moveTo>
                  <a:cubicBezTo>
                    <a:pt x="1081" y="445"/>
                    <a:pt x="1080" y="445"/>
                    <a:pt x="1080" y="446"/>
                  </a:cubicBezTo>
                  <a:cubicBezTo>
                    <a:pt x="1079" y="446"/>
                    <a:pt x="1079" y="447"/>
                    <a:pt x="1079" y="448"/>
                  </a:cubicBezTo>
                  <a:cubicBezTo>
                    <a:pt x="1080" y="447"/>
                    <a:pt x="1080" y="446"/>
                    <a:pt x="1081" y="446"/>
                  </a:cubicBezTo>
                  <a:cubicBezTo>
                    <a:pt x="1081" y="445"/>
                    <a:pt x="1081" y="445"/>
                    <a:pt x="1081" y="444"/>
                  </a:cubicBezTo>
                  <a:moveTo>
                    <a:pt x="1078" y="447"/>
                  </a:moveTo>
                  <a:cubicBezTo>
                    <a:pt x="1077" y="448"/>
                    <a:pt x="1077" y="448"/>
                    <a:pt x="1076" y="449"/>
                  </a:cubicBezTo>
                  <a:cubicBezTo>
                    <a:pt x="1076" y="449"/>
                    <a:pt x="1075" y="450"/>
                    <a:pt x="1075" y="450"/>
                  </a:cubicBezTo>
                  <a:cubicBezTo>
                    <a:pt x="1075" y="450"/>
                    <a:pt x="1075" y="451"/>
                    <a:pt x="1075" y="451"/>
                  </a:cubicBezTo>
                  <a:cubicBezTo>
                    <a:pt x="1075" y="451"/>
                    <a:pt x="1076" y="450"/>
                    <a:pt x="1077" y="450"/>
                  </a:cubicBezTo>
                  <a:cubicBezTo>
                    <a:pt x="1077" y="449"/>
                    <a:pt x="1077" y="449"/>
                    <a:pt x="1078" y="449"/>
                  </a:cubicBezTo>
                  <a:cubicBezTo>
                    <a:pt x="1078" y="448"/>
                    <a:pt x="1078" y="448"/>
                    <a:pt x="1078" y="447"/>
                  </a:cubicBezTo>
                  <a:moveTo>
                    <a:pt x="1074" y="451"/>
                  </a:moveTo>
                  <a:cubicBezTo>
                    <a:pt x="1071" y="453"/>
                    <a:pt x="1069" y="455"/>
                    <a:pt x="1066" y="457"/>
                  </a:cubicBezTo>
                  <a:cubicBezTo>
                    <a:pt x="1067" y="457"/>
                    <a:pt x="1068" y="456"/>
                    <a:pt x="1069" y="456"/>
                  </a:cubicBezTo>
                  <a:cubicBezTo>
                    <a:pt x="1070" y="455"/>
                    <a:pt x="1072" y="454"/>
                    <a:pt x="1074" y="452"/>
                  </a:cubicBezTo>
                  <a:cubicBezTo>
                    <a:pt x="1074" y="452"/>
                    <a:pt x="1074" y="451"/>
                    <a:pt x="1074" y="451"/>
                  </a:cubicBezTo>
                  <a:moveTo>
                    <a:pt x="972" y="452"/>
                  </a:moveTo>
                  <a:cubicBezTo>
                    <a:pt x="972" y="452"/>
                    <a:pt x="971" y="452"/>
                    <a:pt x="971" y="452"/>
                  </a:cubicBezTo>
                  <a:cubicBezTo>
                    <a:pt x="971" y="453"/>
                    <a:pt x="971" y="453"/>
                    <a:pt x="971" y="454"/>
                  </a:cubicBezTo>
                  <a:cubicBezTo>
                    <a:pt x="971" y="454"/>
                    <a:pt x="971" y="455"/>
                    <a:pt x="971" y="455"/>
                  </a:cubicBezTo>
                  <a:cubicBezTo>
                    <a:pt x="971" y="456"/>
                    <a:pt x="971" y="457"/>
                    <a:pt x="972" y="458"/>
                  </a:cubicBezTo>
                  <a:cubicBezTo>
                    <a:pt x="972" y="458"/>
                    <a:pt x="972" y="458"/>
                    <a:pt x="973" y="458"/>
                  </a:cubicBezTo>
                  <a:cubicBezTo>
                    <a:pt x="972" y="457"/>
                    <a:pt x="972" y="456"/>
                    <a:pt x="972" y="454"/>
                  </a:cubicBezTo>
                  <a:cubicBezTo>
                    <a:pt x="972" y="454"/>
                    <a:pt x="972" y="453"/>
                    <a:pt x="972" y="453"/>
                  </a:cubicBezTo>
                  <a:cubicBezTo>
                    <a:pt x="972" y="452"/>
                    <a:pt x="972" y="452"/>
                    <a:pt x="972" y="452"/>
                  </a:cubicBezTo>
                  <a:moveTo>
                    <a:pt x="1067" y="458"/>
                  </a:moveTo>
                  <a:cubicBezTo>
                    <a:pt x="1066" y="458"/>
                    <a:pt x="1065" y="458"/>
                    <a:pt x="1064" y="458"/>
                  </a:cubicBezTo>
                  <a:cubicBezTo>
                    <a:pt x="1064" y="459"/>
                    <a:pt x="1063" y="459"/>
                    <a:pt x="1063" y="460"/>
                  </a:cubicBezTo>
                  <a:cubicBezTo>
                    <a:pt x="1063" y="460"/>
                    <a:pt x="1063" y="460"/>
                    <a:pt x="1063" y="461"/>
                  </a:cubicBezTo>
                  <a:cubicBezTo>
                    <a:pt x="1064" y="460"/>
                    <a:pt x="1065" y="459"/>
                    <a:pt x="1067" y="458"/>
                  </a:cubicBezTo>
                  <a:moveTo>
                    <a:pt x="972" y="459"/>
                  </a:moveTo>
                  <a:cubicBezTo>
                    <a:pt x="972" y="460"/>
                    <a:pt x="972" y="460"/>
                    <a:pt x="972" y="461"/>
                  </a:cubicBezTo>
                  <a:cubicBezTo>
                    <a:pt x="972" y="460"/>
                    <a:pt x="972" y="460"/>
                    <a:pt x="973" y="459"/>
                  </a:cubicBezTo>
                  <a:cubicBezTo>
                    <a:pt x="972" y="459"/>
                    <a:pt x="972" y="459"/>
                    <a:pt x="972" y="459"/>
                  </a:cubicBezTo>
                  <a:moveTo>
                    <a:pt x="1062" y="460"/>
                  </a:moveTo>
                  <a:cubicBezTo>
                    <a:pt x="1059" y="462"/>
                    <a:pt x="1055" y="464"/>
                    <a:pt x="1052" y="466"/>
                  </a:cubicBezTo>
                  <a:cubicBezTo>
                    <a:pt x="1053" y="466"/>
                    <a:pt x="1053" y="466"/>
                    <a:pt x="1054" y="467"/>
                  </a:cubicBezTo>
                  <a:cubicBezTo>
                    <a:pt x="1057" y="465"/>
                    <a:pt x="1059" y="463"/>
                    <a:pt x="1062" y="461"/>
                  </a:cubicBezTo>
                  <a:cubicBezTo>
                    <a:pt x="1062" y="461"/>
                    <a:pt x="1062" y="460"/>
                    <a:pt x="1062" y="460"/>
                  </a:cubicBezTo>
                  <a:moveTo>
                    <a:pt x="785" y="460"/>
                  </a:moveTo>
                  <a:cubicBezTo>
                    <a:pt x="785" y="461"/>
                    <a:pt x="785" y="461"/>
                    <a:pt x="784" y="461"/>
                  </a:cubicBezTo>
                  <a:cubicBezTo>
                    <a:pt x="784" y="462"/>
                    <a:pt x="783" y="463"/>
                    <a:pt x="783" y="464"/>
                  </a:cubicBezTo>
                  <a:cubicBezTo>
                    <a:pt x="784" y="464"/>
                    <a:pt x="784" y="464"/>
                    <a:pt x="784" y="464"/>
                  </a:cubicBezTo>
                  <a:cubicBezTo>
                    <a:pt x="785" y="463"/>
                    <a:pt x="785" y="461"/>
                    <a:pt x="785" y="460"/>
                  </a:cubicBezTo>
                  <a:moveTo>
                    <a:pt x="973" y="461"/>
                  </a:moveTo>
                  <a:cubicBezTo>
                    <a:pt x="973" y="461"/>
                    <a:pt x="973" y="462"/>
                    <a:pt x="973" y="462"/>
                  </a:cubicBezTo>
                  <a:cubicBezTo>
                    <a:pt x="973" y="464"/>
                    <a:pt x="974" y="465"/>
                    <a:pt x="974" y="466"/>
                  </a:cubicBezTo>
                  <a:cubicBezTo>
                    <a:pt x="974" y="467"/>
                    <a:pt x="975" y="467"/>
                    <a:pt x="975" y="467"/>
                  </a:cubicBezTo>
                  <a:cubicBezTo>
                    <a:pt x="975" y="468"/>
                    <a:pt x="975" y="469"/>
                    <a:pt x="976" y="469"/>
                  </a:cubicBezTo>
                  <a:cubicBezTo>
                    <a:pt x="976" y="469"/>
                    <a:pt x="976" y="469"/>
                    <a:pt x="977" y="469"/>
                  </a:cubicBezTo>
                  <a:cubicBezTo>
                    <a:pt x="976" y="468"/>
                    <a:pt x="976" y="467"/>
                    <a:pt x="975" y="467"/>
                  </a:cubicBezTo>
                  <a:cubicBezTo>
                    <a:pt x="975" y="466"/>
                    <a:pt x="975" y="466"/>
                    <a:pt x="975" y="466"/>
                  </a:cubicBezTo>
                  <a:cubicBezTo>
                    <a:pt x="974" y="464"/>
                    <a:pt x="974" y="462"/>
                    <a:pt x="973" y="461"/>
                  </a:cubicBezTo>
                  <a:moveTo>
                    <a:pt x="784" y="465"/>
                  </a:moveTo>
                  <a:cubicBezTo>
                    <a:pt x="783" y="465"/>
                    <a:pt x="783" y="465"/>
                    <a:pt x="783" y="465"/>
                  </a:cubicBezTo>
                  <a:cubicBezTo>
                    <a:pt x="782" y="468"/>
                    <a:pt x="780" y="471"/>
                    <a:pt x="779" y="474"/>
                  </a:cubicBezTo>
                  <a:cubicBezTo>
                    <a:pt x="779" y="475"/>
                    <a:pt x="779" y="475"/>
                    <a:pt x="779" y="475"/>
                  </a:cubicBezTo>
                  <a:cubicBezTo>
                    <a:pt x="777" y="479"/>
                    <a:pt x="775" y="483"/>
                    <a:pt x="773" y="487"/>
                  </a:cubicBezTo>
                  <a:cubicBezTo>
                    <a:pt x="773" y="487"/>
                    <a:pt x="773" y="487"/>
                    <a:pt x="773" y="488"/>
                  </a:cubicBezTo>
                  <a:cubicBezTo>
                    <a:pt x="772" y="488"/>
                    <a:pt x="772" y="489"/>
                    <a:pt x="772" y="489"/>
                  </a:cubicBezTo>
                  <a:cubicBezTo>
                    <a:pt x="772" y="489"/>
                    <a:pt x="773" y="489"/>
                    <a:pt x="773" y="489"/>
                  </a:cubicBezTo>
                  <a:cubicBezTo>
                    <a:pt x="773" y="489"/>
                    <a:pt x="773" y="488"/>
                    <a:pt x="774" y="488"/>
                  </a:cubicBezTo>
                  <a:cubicBezTo>
                    <a:pt x="774" y="488"/>
                    <a:pt x="774" y="488"/>
                    <a:pt x="774" y="487"/>
                  </a:cubicBezTo>
                  <a:cubicBezTo>
                    <a:pt x="776" y="483"/>
                    <a:pt x="778" y="480"/>
                    <a:pt x="779" y="476"/>
                  </a:cubicBezTo>
                  <a:cubicBezTo>
                    <a:pt x="780" y="475"/>
                    <a:pt x="780" y="475"/>
                    <a:pt x="780" y="475"/>
                  </a:cubicBezTo>
                  <a:cubicBezTo>
                    <a:pt x="781" y="471"/>
                    <a:pt x="783" y="468"/>
                    <a:pt x="784" y="465"/>
                  </a:cubicBezTo>
                  <a:moveTo>
                    <a:pt x="1051" y="467"/>
                  </a:moveTo>
                  <a:cubicBezTo>
                    <a:pt x="1048" y="469"/>
                    <a:pt x="1045" y="470"/>
                    <a:pt x="1043" y="471"/>
                  </a:cubicBezTo>
                  <a:cubicBezTo>
                    <a:pt x="1043" y="472"/>
                    <a:pt x="1043" y="472"/>
                    <a:pt x="1044" y="472"/>
                  </a:cubicBezTo>
                  <a:cubicBezTo>
                    <a:pt x="1047" y="471"/>
                    <a:pt x="1049" y="469"/>
                    <a:pt x="1052" y="467"/>
                  </a:cubicBezTo>
                  <a:cubicBezTo>
                    <a:pt x="1052" y="467"/>
                    <a:pt x="1051" y="467"/>
                    <a:pt x="1051" y="467"/>
                  </a:cubicBezTo>
                  <a:moveTo>
                    <a:pt x="977" y="470"/>
                  </a:moveTo>
                  <a:cubicBezTo>
                    <a:pt x="977" y="470"/>
                    <a:pt x="977" y="470"/>
                    <a:pt x="976" y="470"/>
                  </a:cubicBezTo>
                  <a:cubicBezTo>
                    <a:pt x="979" y="474"/>
                    <a:pt x="983" y="477"/>
                    <a:pt x="987" y="479"/>
                  </a:cubicBezTo>
                  <a:cubicBezTo>
                    <a:pt x="988" y="479"/>
                    <a:pt x="988" y="479"/>
                    <a:pt x="988" y="480"/>
                  </a:cubicBezTo>
                  <a:cubicBezTo>
                    <a:pt x="993" y="482"/>
                    <a:pt x="998" y="483"/>
                    <a:pt x="1004" y="483"/>
                  </a:cubicBezTo>
                  <a:cubicBezTo>
                    <a:pt x="1004" y="483"/>
                    <a:pt x="1005" y="483"/>
                    <a:pt x="1005" y="483"/>
                  </a:cubicBezTo>
                  <a:cubicBezTo>
                    <a:pt x="1005" y="483"/>
                    <a:pt x="1006" y="483"/>
                    <a:pt x="1006" y="483"/>
                  </a:cubicBezTo>
                  <a:cubicBezTo>
                    <a:pt x="1008" y="482"/>
                    <a:pt x="1010" y="482"/>
                    <a:pt x="1013" y="482"/>
                  </a:cubicBezTo>
                  <a:cubicBezTo>
                    <a:pt x="1013" y="482"/>
                    <a:pt x="1014" y="482"/>
                    <a:pt x="1015" y="482"/>
                  </a:cubicBezTo>
                  <a:cubicBezTo>
                    <a:pt x="1015" y="482"/>
                    <a:pt x="1016" y="482"/>
                    <a:pt x="1016" y="481"/>
                  </a:cubicBezTo>
                  <a:cubicBezTo>
                    <a:pt x="1018" y="481"/>
                    <a:pt x="1020" y="481"/>
                    <a:pt x="1022" y="480"/>
                  </a:cubicBezTo>
                  <a:cubicBezTo>
                    <a:pt x="1023" y="480"/>
                    <a:pt x="1024" y="480"/>
                    <a:pt x="1025" y="479"/>
                  </a:cubicBezTo>
                  <a:cubicBezTo>
                    <a:pt x="1025" y="479"/>
                    <a:pt x="1026" y="479"/>
                    <a:pt x="1026" y="479"/>
                  </a:cubicBezTo>
                  <a:cubicBezTo>
                    <a:pt x="1026" y="479"/>
                    <a:pt x="1026" y="478"/>
                    <a:pt x="1026" y="478"/>
                  </a:cubicBezTo>
                  <a:cubicBezTo>
                    <a:pt x="1026" y="478"/>
                    <a:pt x="1025" y="478"/>
                    <a:pt x="1025" y="478"/>
                  </a:cubicBezTo>
                  <a:cubicBezTo>
                    <a:pt x="1022" y="479"/>
                    <a:pt x="1019" y="480"/>
                    <a:pt x="1017" y="480"/>
                  </a:cubicBezTo>
                  <a:cubicBezTo>
                    <a:pt x="1016" y="480"/>
                    <a:pt x="1016" y="481"/>
                    <a:pt x="1015" y="481"/>
                  </a:cubicBezTo>
                  <a:cubicBezTo>
                    <a:pt x="1015" y="481"/>
                    <a:pt x="1014" y="481"/>
                    <a:pt x="1014" y="481"/>
                  </a:cubicBezTo>
                  <a:cubicBezTo>
                    <a:pt x="1011" y="481"/>
                    <a:pt x="1009" y="481"/>
                    <a:pt x="1007" y="481"/>
                  </a:cubicBezTo>
                  <a:cubicBezTo>
                    <a:pt x="1007" y="482"/>
                    <a:pt x="1006" y="482"/>
                    <a:pt x="1006" y="482"/>
                  </a:cubicBezTo>
                  <a:cubicBezTo>
                    <a:pt x="1005" y="482"/>
                    <a:pt x="1005" y="482"/>
                    <a:pt x="1004" y="482"/>
                  </a:cubicBezTo>
                  <a:cubicBezTo>
                    <a:pt x="999" y="482"/>
                    <a:pt x="993" y="481"/>
                    <a:pt x="989" y="479"/>
                  </a:cubicBezTo>
                  <a:cubicBezTo>
                    <a:pt x="989" y="479"/>
                    <a:pt x="988" y="479"/>
                    <a:pt x="988" y="478"/>
                  </a:cubicBezTo>
                  <a:cubicBezTo>
                    <a:pt x="984" y="477"/>
                    <a:pt x="980" y="474"/>
                    <a:pt x="977" y="470"/>
                  </a:cubicBezTo>
                  <a:moveTo>
                    <a:pt x="1042" y="472"/>
                  </a:moveTo>
                  <a:cubicBezTo>
                    <a:pt x="1037" y="474"/>
                    <a:pt x="1032" y="476"/>
                    <a:pt x="1028" y="478"/>
                  </a:cubicBezTo>
                  <a:cubicBezTo>
                    <a:pt x="1028" y="478"/>
                    <a:pt x="1027" y="478"/>
                    <a:pt x="1027" y="478"/>
                  </a:cubicBezTo>
                  <a:cubicBezTo>
                    <a:pt x="1027" y="478"/>
                    <a:pt x="1027" y="478"/>
                    <a:pt x="1027" y="479"/>
                  </a:cubicBezTo>
                  <a:cubicBezTo>
                    <a:pt x="1032" y="477"/>
                    <a:pt x="1037" y="475"/>
                    <a:pt x="1043" y="473"/>
                  </a:cubicBezTo>
                  <a:cubicBezTo>
                    <a:pt x="1042" y="472"/>
                    <a:pt x="1042" y="472"/>
                    <a:pt x="1042" y="472"/>
                  </a:cubicBezTo>
                  <a:moveTo>
                    <a:pt x="1393" y="475"/>
                  </a:moveTo>
                  <a:cubicBezTo>
                    <a:pt x="1373" y="493"/>
                    <a:pt x="1353" y="511"/>
                    <a:pt x="1331" y="528"/>
                  </a:cubicBezTo>
                  <a:cubicBezTo>
                    <a:pt x="1331" y="528"/>
                    <a:pt x="1331" y="529"/>
                    <a:pt x="1331" y="529"/>
                  </a:cubicBezTo>
                  <a:cubicBezTo>
                    <a:pt x="1352" y="512"/>
                    <a:pt x="1373" y="495"/>
                    <a:pt x="1393" y="476"/>
                  </a:cubicBezTo>
                  <a:cubicBezTo>
                    <a:pt x="1393" y="476"/>
                    <a:pt x="1393" y="475"/>
                    <a:pt x="1393" y="475"/>
                  </a:cubicBezTo>
                  <a:moveTo>
                    <a:pt x="773" y="490"/>
                  </a:moveTo>
                  <a:cubicBezTo>
                    <a:pt x="772" y="490"/>
                    <a:pt x="772" y="490"/>
                    <a:pt x="772" y="490"/>
                  </a:cubicBezTo>
                  <a:cubicBezTo>
                    <a:pt x="771" y="490"/>
                    <a:pt x="771" y="491"/>
                    <a:pt x="771" y="491"/>
                  </a:cubicBezTo>
                  <a:cubicBezTo>
                    <a:pt x="771" y="491"/>
                    <a:pt x="771" y="491"/>
                    <a:pt x="771" y="492"/>
                  </a:cubicBezTo>
                  <a:cubicBezTo>
                    <a:pt x="770" y="494"/>
                    <a:pt x="769" y="496"/>
                    <a:pt x="767" y="498"/>
                  </a:cubicBezTo>
                  <a:cubicBezTo>
                    <a:pt x="767" y="498"/>
                    <a:pt x="767" y="498"/>
                    <a:pt x="767" y="499"/>
                  </a:cubicBezTo>
                  <a:cubicBezTo>
                    <a:pt x="766" y="500"/>
                    <a:pt x="765" y="502"/>
                    <a:pt x="764" y="503"/>
                  </a:cubicBezTo>
                  <a:cubicBezTo>
                    <a:pt x="764" y="504"/>
                    <a:pt x="764" y="504"/>
                    <a:pt x="764" y="504"/>
                  </a:cubicBezTo>
                  <a:cubicBezTo>
                    <a:pt x="763" y="506"/>
                    <a:pt x="762" y="507"/>
                    <a:pt x="761" y="509"/>
                  </a:cubicBezTo>
                  <a:cubicBezTo>
                    <a:pt x="761" y="509"/>
                    <a:pt x="760" y="510"/>
                    <a:pt x="760" y="510"/>
                  </a:cubicBezTo>
                  <a:cubicBezTo>
                    <a:pt x="759" y="512"/>
                    <a:pt x="757" y="514"/>
                    <a:pt x="756" y="517"/>
                  </a:cubicBezTo>
                  <a:cubicBezTo>
                    <a:pt x="756" y="517"/>
                    <a:pt x="757" y="517"/>
                    <a:pt x="757" y="517"/>
                  </a:cubicBezTo>
                  <a:cubicBezTo>
                    <a:pt x="759" y="514"/>
                    <a:pt x="760" y="512"/>
                    <a:pt x="761" y="510"/>
                  </a:cubicBezTo>
                  <a:cubicBezTo>
                    <a:pt x="761" y="510"/>
                    <a:pt x="761" y="510"/>
                    <a:pt x="762" y="510"/>
                  </a:cubicBezTo>
                  <a:cubicBezTo>
                    <a:pt x="763" y="508"/>
                    <a:pt x="764" y="506"/>
                    <a:pt x="764" y="505"/>
                  </a:cubicBezTo>
                  <a:cubicBezTo>
                    <a:pt x="765" y="505"/>
                    <a:pt x="765" y="504"/>
                    <a:pt x="765" y="504"/>
                  </a:cubicBezTo>
                  <a:cubicBezTo>
                    <a:pt x="766" y="502"/>
                    <a:pt x="767" y="501"/>
                    <a:pt x="768" y="499"/>
                  </a:cubicBezTo>
                  <a:cubicBezTo>
                    <a:pt x="768" y="499"/>
                    <a:pt x="768" y="498"/>
                    <a:pt x="768" y="498"/>
                  </a:cubicBezTo>
                  <a:cubicBezTo>
                    <a:pt x="769" y="496"/>
                    <a:pt x="771" y="494"/>
                    <a:pt x="772" y="492"/>
                  </a:cubicBezTo>
                  <a:cubicBezTo>
                    <a:pt x="772" y="492"/>
                    <a:pt x="772" y="492"/>
                    <a:pt x="772" y="491"/>
                  </a:cubicBezTo>
                  <a:cubicBezTo>
                    <a:pt x="772" y="491"/>
                    <a:pt x="772" y="490"/>
                    <a:pt x="773" y="490"/>
                  </a:cubicBezTo>
                  <a:moveTo>
                    <a:pt x="757" y="518"/>
                  </a:moveTo>
                  <a:cubicBezTo>
                    <a:pt x="756" y="518"/>
                    <a:pt x="756" y="518"/>
                    <a:pt x="755" y="518"/>
                  </a:cubicBezTo>
                  <a:cubicBezTo>
                    <a:pt x="755" y="518"/>
                    <a:pt x="754" y="519"/>
                    <a:pt x="754" y="519"/>
                  </a:cubicBezTo>
                  <a:cubicBezTo>
                    <a:pt x="754" y="520"/>
                    <a:pt x="754" y="520"/>
                    <a:pt x="753" y="520"/>
                  </a:cubicBezTo>
                  <a:cubicBezTo>
                    <a:pt x="749" y="526"/>
                    <a:pt x="745" y="533"/>
                    <a:pt x="740" y="538"/>
                  </a:cubicBezTo>
                  <a:cubicBezTo>
                    <a:pt x="740" y="539"/>
                    <a:pt x="740" y="539"/>
                    <a:pt x="739" y="539"/>
                  </a:cubicBezTo>
                  <a:cubicBezTo>
                    <a:pt x="735" y="545"/>
                    <a:pt x="730" y="551"/>
                    <a:pt x="725" y="556"/>
                  </a:cubicBezTo>
                  <a:cubicBezTo>
                    <a:pt x="725" y="557"/>
                    <a:pt x="724" y="557"/>
                    <a:pt x="724" y="557"/>
                  </a:cubicBezTo>
                  <a:cubicBezTo>
                    <a:pt x="719" y="563"/>
                    <a:pt x="714" y="568"/>
                    <a:pt x="708" y="573"/>
                  </a:cubicBezTo>
                  <a:cubicBezTo>
                    <a:pt x="708" y="574"/>
                    <a:pt x="708" y="574"/>
                    <a:pt x="708" y="574"/>
                  </a:cubicBezTo>
                  <a:cubicBezTo>
                    <a:pt x="704" y="578"/>
                    <a:pt x="700" y="582"/>
                    <a:pt x="695" y="586"/>
                  </a:cubicBezTo>
                  <a:cubicBezTo>
                    <a:pt x="695" y="586"/>
                    <a:pt x="695" y="586"/>
                    <a:pt x="695" y="587"/>
                  </a:cubicBezTo>
                  <a:cubicBezTo>
                    <a:pt x="700" y="583"/>
                    <a:pt x="704" y="579"/>
                    <a:pt x="709" y="575"/>
                  </a:cubicBezTo>
                  <a:cubicBezTo>
                    <a:pt x="709" y="575"/>
                    <a:pt x="709" y="574"/>
                    <a:pt x="709" y="574"/>
                  </a:cubicBezTo>
                  <a:cubicBezTo>
                    <a:pt x="715" y="569"/>
                    <a:pt x="720" y="563"/>
                    <a:pt x="725" y="558"/>
                  </a:cubicBezTo>
                  <a:cubicBezTo>
                    <a:pt x="725" y="557"/>
                    <a:pt x="725" y="557"/>
                    <a:pt x="726" y="557"/>
                  </a:cubicBezTo>
                  <a:cubicBezTo>
                    <a:pt x="731" y="551"/>
                    <a:pt x="736" y="546"/>
                    <a:pt x="740" y="540"/>
                  </a:cubicBezTo>
                  <a:cubicBezTo>
                    <a:pt x="740" y="540"/>
                    <a:pt x="741" y="539"/>
                    <a:pt x="741" y="539"/>
                  </a:cubicBezTo>
                  <a:cubicBezTo>
                    <a:pt x="746" y="533"/>
                    <a:pt x="750" y="527"/>
                    <a:pt x="754" y="521"/>
                  </a:cubicBezTo>
                  <a:cubicBezTo>
                    <a:pt x="755" y="520"/>
                    <a:pt x="755" y="520"/>
                    <a:pt x="755" y="520"/>
                  </a:cubicBezTo>
                  <a:cubicBezTo>
                    <a:pt x="755" y="519"/>
                    <a:pt x="756" y="518"/>
                    <a:pt x="757" y="518"/>
                  </a:cubicBezTo>
                  <a:moveTo>
                    <a:pt x="1330" y="529"/>
                  </a:moveTo>
                  <a:cubicBezTo>
                    <a:pt x="1309" y="545"/>
                    <a:pt x="1287" y="561"/>
                    <a:pt x="1264" y="576"/>
                  </a:cubicBezTo>
                  <a:cubicBezTo>
                    <a:pt x="1264" y="577"/>
                    <a:pt x="1264" y="577"/>
                    <a:pt x="1263" y="578"/>
                  </a:cubicBezTo>
                  <a:cubicBezTo>
                    <a:pt x="1286" y="563"/>
                    <a:pt x="1308" y="547"/>
                    <a:pt x="1330" y="530"/>
                  </a:cubicBezTo>
                  <a:cubicBezTo>
                    <a:pt x="1330" y="530"/>
                    <a:pt x="1330" y="529"/>
                    <a:pt x="1330" y="529"/>
                  </a:cubicBezTo>
                  <a:moveTo>
                    <a:pt x="1263" y="577"/>
                  </a:moveTo>
                  <a:cubicBezTo>
                    <a:pt x="1242" y="591"/>
                    <a:pt x="1220" y="604"/>
                    <a:pt x="1198" y="617"/>
                  </a:cubicBezTo>
                  <a:cubicBezTo>
                    <a:pt x="1197" y="617"/>
                    <a:pt x="1197" y="618"/>
                    <a:pt x="1197" y="618"/>
                  </a:cubicBezTo>
                  <a:cubicBezTo>
                    <a:pt x="1219" y="606"/>
                    <a:pt x="1241" y="593"/>
                    <a:pt x="1262" y="579"/>
                  </a:cubicBezTo>
                  <a:cubicBezTo>
                    <a:pt x="1262" y="578"/>
                    <a:pt x="1262" y="578"/>
                    <a:pt x="1263" y="577"/>
                  </a:cubicBezTo>
                  <a:moveTo>
                    <a:pt x="694" y="586"/>
                  </a:moveTo>
                  <a:cubicBezTo>
                    <a:pt x="675" y="604"/>
                    <a:pt x="653" y="620"/>
                    <a:pt x="630" y="634"/>
                  </a:cubicBezTo>
                  <a:cubicBezTo>
                    <a:pt x="630" y="634"/>
                    <a:pt x="630" y="634"/>
                    <a:pt x="630" y="635"/>
                  </a:cubicBezTo>
                  <a:cubicBezTo>
                    <a:pt x="653" y="621"/>
                    <a:pt x="675" y="605"/>
                    <a:pt x="694" y="588"/>
                  </a:cubicBezTo>
                  <a:cubicBezTo>
                    <a:pt x="694" y="587"/>
                    <a:pt x="694" y="587"/>
                    <a:pt x="694" y="586"/>
                  </a:cubicBezTo>
                  <a:moveTo>
                    <a:pt x="1196" y="618"/>
                  </a:moveTo>
                  <a:cubicBezTo>
                    <a:pt x="1175" y="629"/>
                    <a:pt x="1153" y="641"/>
                    <a:pt x="1131" y="651"/>
                  </a:cubicBezTo>
                  <a:cubicBezTo>
                    <a:pt x="1131" y="651"/>
                    <a:pt x="1130" y="652"/>
                    <a:pt x="1130" y="652"/>
                  </a:cubicBezTo>
                  <a:cubicBezTo>
                    <a:pt x="1152" y="642"/>
                    <a:pt x="1174" y="631"/>
                    <a:pt x="1195" y="619"/>
                  </a:cubicBezTo>
                  <a:cubicBezTo>
                    <a:pt x="1196" y="619"/>
                    <a:pt x="1196" y="618"/>
                    <a:pt x="1196" y="618"/>
                  </a:cubicBezTo>
                  <a:moveTo>
                    <a:pt x="629" y="634"/>
                  </a:moveTo>
                  <a:cubicBezTo>
                    <a:pt x="609" y="646"/>
                    <a:pt x="587" y="656"/>
                    <a:pt x="565" y="665"/>
                  </a:cubicBezTo>
                  <a:cubicBezTo>
                    <a:pt x="565" y="665"/>
                    <a:pt x="565" y="665"/>
                    <a:pt x="566" y="665"/>
                  </a:cubicBezTo>
                  <a:cubicBezTo>
                    <a:pt x="587" y="657"/>
                    <a:pt x="609" y="647"/>
                    <a:pt x="629" y="635"/>
                  </a:cubicBezTo>
                  <a:cubicBezTo>
                    <a:pt x="629" y="635"/>
                    <a:pt x="629" y="634"/>
                    <a:pt x="629" y="634"/>
                  </a:cubicBezTo>
                  <a:moveTo>
                    <a:pt x="1129" y="652"/>
                  </a:moveTo>
                  <a:cubicBezTo>
                    <a:pt x="1109" y="661"/>
                    <a:pt x="1089" y="670"/>
                    <a:pt x="1068" y="678"/>
                  </a:cubicBezTo>
                  <a:cubicBezTo>
                    <a:pt x="1068" y="678"/>
                    <a:pt x="1068" y="678"/>
                    <a:pt x="1068" y="679"/>
                  </a:cubicBezTo>
                  <a:cubicBezTo>
                    <a:pt x="1088" y="671"/>
                    <a:pt x="1108" y="662"/>
                    <a:pt x="1128" y="653"/>
                  </a:cubicBezTo>
                  <a:cubicBezTo>
                    <a:pt x="1129" y="653"/>
                    <a:pt x="1129" y="652"/>
                    <a:pt x="1129" y="652"/>
                  </a:cubicBezTo>
                  <a:moveTo>
                    <a:pt x="564" y="665"/>
                  </a:moveTo>
                  <a:cubicBezTo>
                    <a:pt x="556" y="668"/>
                    <a:pt x="548" y="671"/>
                    <a:pt x="540" y="673"/>
                  </a:cubicBezTo>
                  <a:cubicBezTo>
                    <a:pt x="542" y="673"/>
                    <a:pt x="543" y="673"/>
                    <a:pt x="544" y="673"/>
                  </a:cubicBezTo>
                  <a:cubicBezTo>
                    <a:pt x="551" y="671"/>
                    <a:pt x="558" y="668"/>
                    <a:pt x="565" y="666"/>
                  </a:cubicBezTo>
                  <a:cubicBezTo>
                    <a:pt x="565" y="666"/>
                    <a:pt x="564" y="665"/>
                    <a:pt x="564" y="665"/>
                  </a:cubicBezTo>
                  <a:moveTo>
                    <a:pt x="537" y="674"/>
                  </a:moveTo>
                  <a:cubicBezTo>
                    <a:pt x="532" y="675"/>
                    <a:pt x="527" y="677"/>
                    <a:pt x="522" y="678"/>
                  </a:cubicBezTo>
                  <a:cubicBezTo>
                    <a:pt x="524" y="678"/>
                    <a:pt x="525" y="678"/>
                    <a:pt x="527" y="678"/>
                  </a:cubicBezTo>
                  <a:cubicBezTo>
                    <a:pt x="531" y="677"/>
                    <a:pt x="536" y="675"/>
                    <a:pt x="541" y="674"/>
                  </a:cubicBezTo>
                  <a:cubicBezTo>
                    <a:pt x="540" y="674"/>
                    <a:pt x="538" y="674"/>
                    <a:pt x="537" y="674"/>
                  </a:cubicBezTo>
                  <a:moveTo>
                    <a:pt x="1067" y="678"/>
                  </a:moveTo>
                  <a:cubicBezTo>
                    <a:pt x="1050" y="685"/>
                    <a:pt x="1033" y="691"/>
                    <a:pt x="1016" y="696"/>
                  </a:cubicBezTo>
                  <a:cubicBezTo>
                    <a:pt x="992" y="704"/>
                    <a:pt x="961" y="715"/>
                    <a:pt x="928" y="729"/>
                  </a:cubicBezTo>
                  <a:cubicBezTo>
                    <a:pt x="927" y="729"/>
                    <a:pt x="926" y="729"/>
                    <a:pt x="926" y="730"/>
                  </a:cubicBezTo>
                  <a:cubicBezTo>
                    <a:pt x="915" y="734"/>
                    <a:pt x="904" y="738"/>
                    <a:pt x="893" y="743"/>
                  </a:cubicBezTo>
                  <a:cubicBezTo>
                    <a:pt x="891" y="744"/>
                    <a:pt x="889" y="744"/>
                    <a:pt x="887" y="745"/>
                  </a:cubicBezTo>
                  <a:cubicBezTo>
                    <a:pt x="880" y="748"/>
                    <a:pt x="872" y="751"/>
                    <a:pt x="865" y="754"/>
                  </a:cubicBezTo>
                  <a:cubicBezTo>
                    <a:pt x="863" y="755"/>
                    <a:pt x="862" y="755"/>
                    <a:pt x="860" y="756"/>
                  </a:cubicBezTo>
                  <a:cubicBezTo>
                    <a:pt x="842" y="763"/>
                    <a:pt x="823" y="771"/>
                    <a:pt x="804" y="778"/>
                  </a:cubicBezTo>
                  <a:cubicBezTo>
                    <a:pt x="803" y="779"/>
                    <a:pt x="801" y="779"/>
                    <a:pt x="800" y="780"/>
                  </a:cubicBezTo>
                  <a:cubicBezTo>
                    <a:pt x="798" y="781"/>
                    <a:pt x="796" y="781"/>
                    <a:pt x="794" y="782"/>
                  </a:cubicBezTo>
                  <a:cubicBezTo>
                    <a:pt x="793" y="782"/>
                    <a:pt x="793" y="783"/>
                    <a:pt x="792" y="783"/>
                  </a:cubicBezTo>
                  <a:cubicBezTo>
                    <a:pt x="773" y="790"/>
                    <a:pt x="754" y="797"/>
                    <a:pt x="736" y="804"/>
                  </a:cubicBezTo>
                  <a:cubicBezTo>
                    <a:pt x="735" y="804"/>
                    <a:pt x="735" y="804"/>
                    <a:pt x="734" y="804"/>
                  </a:cubicBezTo>
                  <a:cubicBezTo>
                    <a:pt x="734" y="805"/>
                    <a:pt x="733" y="805"/>
                    <a:pt x="733" y="805"/>
                  </a:cubicBezTo>
                  <a:cubicBezTo>
                    <a:pt x="730" y="806"/>
                    <a:pt x="726" y="807"/>
                    <a:pt x="723" y="808"/>
                  </a:cubicBezTo>
                  <a:cubicBezTo>
                    <a:pt x="718" y="810"/>
                    <a:pt x="713" y="812"/>
                    <a:pt x="708" y="814"/>
                  </a:cubicBezTo>
                  <a:cubicBezTo>
                    <a:pt x="707" y="814"/>
                    <a:pt x="707" y="814"/>
                    <a:pt x="707" y="814"/>
                  </a:cubicBezTo>
                  <a:cubicBezTo>
                    <a:pt x="701" y="816"/>
                    <a:pt x="695" y="818"/>
                    <a:pt x="689" y="820"/>
                  </a:cubicBezTo>
                  <a:cubicBezTo>
                    <a:pt x="689" y="820"/>
                    <a:pt x="688" y="820"/>
                    <a:pt x="688" y="820"/>
                  </a:cubicBezTo>
                  <a:cubicBezTo>
                    <a:pt x="679" y="823"/>
                    <a:pt x="670" y="825"/>
                    <a:pt x="661" y="828"/>
                  </a:cubicBezTo>
                  <a:cubicBezTo>
                    <a:pt x="661" y="828"/>
                    <a:pt x="661" y="828"/>
                    <a:pt x="660" y="828"/>
                  </a:cubicBezTo>
                  <a:cubicBezTo>
                    <a:pt x="651" y="830"/>
                    <a:pt x="642" y="832"/>
                    <a:pt x="634" y="834"/>
                  </a:cubicBezTo>
                  <a:cubicBezTo>
                    <a:pt x="634" y="834"/>
                    <a:pt x="633" y="834"/>
                    <a:pt x="633" y="834"/>
                  </a:cubicBezTo>
                  <a:cubicBezTo>
                    <a:pt x="624" y="836"/>
                    <a:pt x="615" y="837"/>
                    <a:pt x="607" y="838"/>
                  </a:cubicBezTo>
                  <a:cubicBezTo>
                    <a:pt x="607" y="838"/>
                    <a:pt x="606" y="838"/>
                    <a:pt x="606" y="838"/>
                  </a:cubicBezTo>
                  <a:cubicBezTo>
                    <a:pt x="602" y="839"/>
                    <a:pt x="597" y="839"/>
                    <a:pt x="593" y="839"/>
                  </a:cubicBezTo>
                  <a:cubicBezTo>
                    <a:pt x="590" y="839"/>
                    <a:pt x="586" y="839"/>
                    <a:pt x="583" y="838"/>
                  </a:cubicBezTo>
                  <a:cubicBezTo>
                    <a:pt x="582" y="838"/>
                    <a:pt x="582" y="838"/>
                    <a:pt x="582" y="838"/>
                  </a:cubicBezTo>
                  <a:cubicBezTo>
                    <a:pt x="580" y="838"/>
                    <a:pt x="578" y="838"/>
                    <a:pt x="577" y="837"/>
                  </a:cubicBezTo>
                  <a:cubicBezTo>
                    <a:pt x="577" y="838"/>
                    <a:pt x="577" y="838"/>
                    <a:pt x="577" y="838"/>
                  </a:cubicBezTo>
                  <a:cubicBezTo>
                    <a:pt x="576" y="838"/>
                    <a:pt x="576" y="838"/>
                    <a:pt x="576" y="838"/>
                  </a:cubicBezTo>
                  <a:cubicBezTo>
                    <a:pt x="578" y="839"/>
                    <a:pt x="580" y="839"/>
                    <a:pt x="582" y="839"/>
                  </a:cubicBezTo>
                  <a:cubicBezTo>
                    <a:pt x="582" y="839"/>
                    <a:pt x="582" y="839"/>
                    <a:pt x="583" y="839"/>
                  </a:cubicBezTo>
                  <a:cubicBezTo>
                    <a:pt x="586" y="840"/>
                    <a:pt x="589" y="840"/>
                    <a:pt x="593" y="840"/>
                  </a:cubicBezTo>
                  <a:cubicBezTo>
                    <a:pt x="597" y="840"/>
                    <a:pt x="602" y="840"/>
                    <a:pt x="606" y="839"/>
                  </a:cubicBezTo>
                  <a:cubicBezTo>
                    <a:pt x="606" y="839"/>
                    <a:pt x="607" y="839"/>
                    <a:pt x="607" y="839"/>
                  </a:cubicBezTo>
                  <a:cubicBezTo>
                    <a:pt x="615" y="838"/>
                    <a:pt x="624" y="837"/>
                    <a:pt x="633" y="835"/>
                  </a:cubicBezTo>
                  <a:cubicBezTo>
                    <a:pt x="633" y="835"/>
                    <a:pt x="634" y="835"/>
                    <a:pt x="634" y="835"/>
                  </a:cubicBezTo>
                  <a:cubicBezTo>
                    <a:pt x="642" y="833"/>
                    <a:pt x="651" y="831"/>
                    <a:pt x="660" y="829"/>
                  </a:cubicBezTo>
                  <a:cubicBezTo>
                    <a:pt x="661" y="829"/>
                    <a:pt x="661" y="829"/>
                    <a:pt x="661" y="829"/>
                  </a:cubicBezTo>
                  <a:cubicBezTo>
                    <a:pt x="670" y="826"/>
                    <a:pt x="679" y="824"/>
                    <a:pt x="688" y="821"/>
                  </a:cubicBezTo>
                  <a:cubicBezTo>
                    <a:pt x="689" y="821"/>
                    <a:pt x="689" y="821"/>
                    <a:pt x="689" y="820"/>
                  </a:cubicBezTo>
                  <a:cubicBezTo>
                    <a:pt x="695" y="819"/>
                    <a:pt x="701" y="817"/>
                    <a:pt x="707" y="815"/>
                  </a:cubicBezTo>
                  <a:cubicBezTo>
                    <a:pt x="707" y="815"/>
                    <a:pt x="708" y="815"/>
                    <a:pt x="708" y="814"/>
                  </a:cubicBezTo>
                  <a:cubicBezTo>
                    <a:pt x="709" y="814"/>
                    <a:pt x="710" y="814"/>
                    <a:pt x="711" y="813"/>
                  </a:cubicBezTo>
                  <a:cubicBezTo>
                    <a:pt x="715" y="812"/>
                    <a:pt x="719" y="811"/>
                    <a:pt x="723" y="809"/>
                  </a:cubicBezTo>
                  <a:cubicBezTo>
                    <a:pt x="727" y="808"/>
                    <a:pt x="731" y="807"/>
                    <a:pt x="735" y="805"/>
                  </a:cubicBezTo>
                  <a:cubicBezTo>
                    <a:pt x="736" y="805"/>
                    <a:pt x="736" y="805"/>
                    <a:pt x="737" y="805"/>
                  </a:cubicBezTo>
                  <a:cubicBezTo>
                    <a:pt x="754" y="798"/>
                    <a:pt x="772" y="792"/>
                    <a:pt x="790" y="785"/>
                  </a:cubicBezTo>
                  <a:cubicBezTo>
                    <a:pt x="791" y="784"/>
                    <a:pt x="792" y="784"/>
                    <a:pt x="792" y="784"/>
                  </a:cubicBezTo>
                  <a:cubicBezTo>
                    <a:pt x="795" y="783"/>
                    <a:pt x="798" y="782"/>
                    <a:pt x="800" y="781"/>
                  </a:cubicBezTo>
                  <a:cubicBezTo>
                    <a:pt x="801" y="781"/>
                    <a:pt x="802" y="780"/>
                    <a:pt x="803" y="780"/>
                  </a:cubicBezTo>
                  <a:cubicBezTo>
                    <a:pt x="803" y="780"/>
                    <a:pt x="804" y="780"/>
                    <a:pt x="804" y="779"/>
                  </a:cubicBezTo>
                  <a:cubicBezTo>
                    <a:pt x="806" y="779"/>
                    <a:pt x="807" y="778"/>
                    <a:pt x="809" y="778"/>
                  </a:cubicBezTo>
                  <a:cubicBezTo>
                    <a:pt x="824" y="772"/>
                    <a:pt x="839" y="766"/>
                    <a:pt x="854" y="759"/>
                  </a:cubicBezTo>
                  <a:cubicBezTo>
                    <a:pt x="856" y="759"/>
                    <a:pt x="858" y="758"/>
                    <a:pt x="860" y="757"/>
                  </a:cubicBezTo>
                  <a:cubicBezTo>
                    <a:pt x="867" y="754"/>
                    <a:pt x="875" y="751"/>
                    <a:pt x="882" y="748"/>
                  </a:cubicBezTo>
                  <a:cubicBezTo>
                    <a:pt x="883" y="748"/>
                    <a:pt x="885" y="747"/>
                    <a:pt x="887" y="746"/>
                  </a:cubicBezTo>
                  <a:cubicBezTo>
                    <a:pt x="901" y="740"/>
                    <a:pt x="915" y="735"/>
                    <a:pt x="928" y="730"/>
                  </a:cubicBezTo>
                  <a:cubicBezTo>
                    <a:pt x="929" y="729"/>
                    <a:pt x="929" y="729"/>
                    <a:pt x="930" y="729"/>
                  </a:cubicBezTo>
                  <a:cubicBezTo>
                    <a:pt x="963" y="716"/>
                    <a:pt x="992" y="705"/>
                    <a:pt x="1016" y="697"/>
                  </a:cubicBezTo>
                  <a:cubicBezTo>
                    <a:pt x="1033" y="692"/>
                    <a:pt x="1049" y="686"/>
                    <a:pt x="1066" y="680"/>
                  </a:cubicBezTo>
                  <a:cubicBezTo>
                    <a:pt x="1066" y="679"/>
                    <a:pt x="1067" y="679"/>
                    <a:pt x="1067" y="678"/>
                  </a:cubicBezTo>
                  <a:moveTo>
                    <a:pt x="522" y="679"/>
                  </a:moveTo>
                  <a:cubicBezTo>
                    <a:pt x="521" y="679"/>
                    <a:pt x="519" y="679"/>
                    <a:pt x="518" y="679"/>
                  </a:cubicBezTo>
                  <a:cubicBezTo>
                    <a:pt x="517" y="679"/>
                    <a:pt x="515" y="679"/>
                    <a:pt x="514" y="680"/>
                  </a:cubicBezTo>
                  <a:cubicBezTo>
                    <a:pt x="514" y="680"/>
                    <a:pt x="513" y="680"/>
                    <a:pt x="513" y="680"/>
                  </a:cubicBezTo>
                  <a:cubicBezTo>
                    <a:pt x="513" y="680"/>
                    <a:pt x="512" y="680"/>
                    <a:pt x="511" y="680"/>
                  </a:cubicBezTo>
                  <a:cubicBezTo>
                    <a:pt x="511" y="680"/>
                    <a:pt x="511" y="680"/>
                    <a:pt x="510" y="680"/>
                  </a:cubicBezTo>
                  <a:cubicBezTo>
                    <a:pt x="510" y="680"/>
                    <a:pt x="510" y="680"/>
                    <a:pt x="510" y="680"/>
                  </a:cubicBezTo>
                  <a:cubicBezTo>
                    <a:pt x="509" y="681"/>
                    <a:pt x="509" y="681"/>
                    <a:pt x="509" y="681"/>
                  </a:cubicBezTo>
                  <a:cubicBezTo>
                    <a:pt x="507" y="681"/>
                    <a:pt x="505" y="681"/>
                    <a:pt x="503" y="682"/>
                  </a:cubicBezTo>
                  <a:cubicBezTo>
                    <a:pt x="503" y="682"/>
                    <a:pt x="503" y="682"/>
                    <a:pt x="503" y="682"/>
                  </a:cubicBezTo>
                  <a:cubicBezTo>
                    <a:pt x="506" y="682"/>
                    <a:pt x="509" y="681"/>
                    <a:pt x="512" y="681"/>
                  </a:cubicBezTo>
                  <a:cubicBezTo>
                    <a:pt x="512" y="681"/>
                    <a:pt x="512" y="681"/>
                    <a:pt x="513" y="681"/>
                  </a:cubicBezTo>
                  <a:cubicBezTo>
                    <a:pt x="513" y="681"/>
                    <a:pt x="514" y="681"/>
                    <a:pt x="514" y="681"/>
                  </a:cubicBezTo>
                  <a:cubicBezTo>
                    <a:pt x="517" y="680"/>
                    <a:pt x="520" y="679"/>
                    <a:pt x="522" y="679"/>
                  </a:cubicBezTo>
                  <a:moveTo>
                    <a:pt x="503" y="683"/>
                  </a:moveTo>
                  <a:cubicBezTo>
                    <a:pt x="501" y="683"/>
                    <a:pt x="499" y="683"/>
                    <a:pt x="498" y="683"/>
                  </a:cubicBezTo>
                  <a:cubicBezTo>
                    <a:pt x="497" y="683"/>
                    <a:pt x="497" y="683"/>
                    <a:pt x="497" y="683"/>
                  </a:cubicBezTo>
                  <a:cubicBezTo>
                    <a:pt x="497" y="683"/>
                    <a:pt x="497" y="684"/>
                    <a:pt x="497" y="684"/>
                  </a:cubicBezTo>
                  <a:cubicBezTo>
                    <a:pt x="499" y="683"/>
                    <a:pt x="501" y="683"/>
                    <a:pt x="502" y="683"/>
                  </a:cubicBezTo>
                  <a:cubicBezTo>
                    <a:pt x="503" y="683"/>
                    <a:pt x="503" y="683"/>
                    <a:pt x="503" y="683"/>
                  </a:cubicBezTo>
                  <a:moveTo>
                    <a:pt x="495" y="683"/>
                  </a:moveTo>
                  <a:cubicBezTo>
                    <a:pt x="495" y="683"/>
                    <a:pt x="495" y="683"/>
                    <a:pt x="495" y="683"/>
                  </a:cubicBezTo>
                  <a:cubicBezTo>
                    <a:pt x="491" y="684"/>
                    <a:pt x="488" y="684"/>
                    <a:pt x="485" y="684"/>
                  </a:cubicBezTo>
                  <a:cubicBezTo>
                    <a:pt x="484" y="684"/>
                    <a:pt x="484" y="684"/>
                    <a:pt x="484" y="685"/>
                  </a:cubicBezTo>
                  <a:cubicBezTo>
                    <a:pt x="480" y="685"/>
                    <a:pt x="475" y="685"/>
                    <a:pt x="471" y="686"/>
                  </a:cubicBezTo>
                  <a:cubicBezTo>
                    <a:pt x="470" y="686"/>
                    <a:pt x="469" y="686"/>
                    <a:pt x="468" y="686"/>
                  </a:cubicBezTo>
                  <a:cubicBezTo>
                    <a:pt x="466" y="686"/>
                    <a:pt x="465" y="686"/>
                    <a:pt x="463" y="686"/>
                  </a:cubicBezTo>
                  <a:cubicBezTo>
                    <a:pt x="462" y="686"/>
                    <a:pt x="462" y="686"/>
                    <a:pt x="462" y="686"/>
                  </a:cubicBezTo>
                  <a:cubicBezTo>
                    <a:pt x="459" y="686"/>
                    <a:pt x="455" y="687"/>
                    <a:pt x="451" y="687"/>
                  </a:cubicBezTo>
                  <a:cubicBezTo>
                    <a:pt x="451" y="687"/>
                    <a:pt x="451" y="687"/>
                    <a:pt x="450" y="687"/>
                  </a:cubicBezTo>
                  <a:cubicBezTo>
                    <a:pt x="448" y="687"/>
                    <a:pt x="445" y="687"/>
                    <a:pt x="442" y="687"/>
                  </a:cubicBezTo>
                  <a:cubicBezTo>
                    <a:pt x="440" y="687"/>
                    <a:pt x="438" y="687"/>
                    <a:pt x="436" y="687"/>
                  </a:cubicBezTo>
                  <a:cubicBezTo>
                    <a:pt x="435" y="687"/>
                    <a:pt x="435" y="687"/>
                    <a:pt x="435" y="687"/>
                  </a:cubicBezTo>
                  <a:cubicBezTo>
                    <a:pt x="430" y="688"/>
                    <a:pt x="424" y="688"/>
                    <a:pt x="418" y="688"/>
                  </a:cubicBezTo>
                  <a:cubicBezTo>
                    <a:pt x="417" y="688"/>
                    <a:pt x="417" y="688"/>
                    <a:pt x="417" y="688"/>
                  </a:cubicBezTo>
                  <a:cubicBezTo>
                    <a:pt x="413" y="688"/>
                    <a:pt x="409" y="688"/>
                    <a:pt x="406" y="688"/>
                  </a:cubicBezTo>
                  <a:cubicBezTo>
                    <a:pt x="406" y="688"/>
                    <a:pt x="405" y="689"/>
                    <a:pt x="405" y="689"/>
                  </a:cubicBezTo>
                  <a:cubicBezTo>
                    <a:pt x="403" y="689"/>
                    <a:pt x="402" y="689"/>
                    <a:pt x="400" y="689"/>
                  </a:cubicBezTo>
                  <a:cubicBezTo>
                    <a:pt x="399" y="689"/>
                    <a:pt x="398" y="689"/>
                    <a:pt x="398" y="689"/>
                  </a:cubicBezTo>
                  <a:cubicBezTo>
                    <a:pt x="397" y="689"/>
                    <a:pt x="397" y="689"/>
                    <a:pt x="396" y="689"/>
                  </a:cubicBezTo>
                  <a:cubicBezTo>
                    <a:pt x="390" y="689"/>
                    <a:pt x="383" y="689"/>
                    <a:pt x="375" y="690"/>
                  </a:cubicBezTo>
                  <a:cubicBezTo>
                    <a:pt x="375" y="690"/>
                    <a:pt x="375" y="690"/>
                    <a:pt x="374" y="690"/>
                  </a:cubicBezTo>
                  <a:cubicBezTo>
                    <a:pt x="371" y="690"/>
                    <a:pt x="368" y="690"/>
                    <a:pt x="365" y="690"/>
                  </a:cubicBezTo>
                  <a:cubicBezTo>
                    <a:pt x="363" y="690"/>
                    <a:pt x="362" y="690"/>
                    <a:pt x="360" y="690"/>
                  </a:cubicBezTo>
                  <a:cubicBezTo>
                    <a:pt x="307" y="692"/>
                    <a:pt x="247" y="695"/>
                    <a:pt x="191" y="701"/>
                  </a:cubicBezTo>
                  <a:cubicBezTo>
                    <a:pt x="134" y="706"/>
                    <a:pt x="83" y="714"/>
                    <a:pt x="47" y="726"/>
                  </a:cubicBezTo>
                  <a:cubicBezTo>
                    <a:pt x="47" y="727"/>
                    <a:pt x="46" y="727"/>
                    <a:pt x="46" y="727"/>
                  </a:cubicBezTo>
                  <a:cubicBezTo>
                    <a:pt x="45" y="727"/>
                    <a:pt x="45" y="727"/>
                    <a:pt x="44" y="728"/>
                  </a:cubicBezTo>
                  <a:cubicBezTo>
                    <a:pt x="44" y="728"/>
                    <a:pt x="43" y="728"/>
                    <a:pt x="43" y="728"/>
                  </a:cubicBezTo>
                  <a:cubicBezTo>
                    <a:pt x="42" y="728"/>
                    <a:pt x="42" y="728"/>
                    <a:pt x="41" y="729"/>
                  </a:cubicBezTo>
                  <a:cubicBezTo>
                    <a:pt x="41" y="729"/>
                    <a:pt x="41" y="729"/>
                    <a:pt x="40" y="729"/>
                  </a:cubicBezTo>
                  <a:cubicBezTo>
                    <a:pt x="40" y="729"/>
                    <a:pt x="39" y="729"/>
                    <a:pt x="39" y="729"/>
                  </a:cubicBezTo>
                  <a:cubicBezTo>
                    <a:pt x="39" y="730"/>
                    <a:pt x="38" y="730"/>
                    <a:pt x="38" y="730"/>
                  </a:cubicBezTo>
                  <a:cubicBezTo>
                    <a:pt x="38" y="730"/>
                    <a:pt x="37" y="730"/>
                    <a:pt x="37" y="730"/>
                  </a:cubicBezTo>
                  <a:cubicBezTo>
                    <a:pt x="37" y="730"/>
                    <a:pt x="36" y="731"/>
                    <a:pt x="36" y="731"/>
                  </a:cubicBezTo>
                  <a:cubicBezTo>
                    <a:pt x="35" y="731"/>
                    <a:pt x="33" y="732"/>
                    <a:pt x="32" y="732"/>
                  </a:cubicBezTo>
                  <a:cubicBezTo>
                    <a:pt x="32" y="733"/>
                    <a:pt x="31" y="733"/>
                    <a:pt x="31" y="733"/>
                  </a:cubicBezTo>
                  <a:cubicBezTo>
                    <a:pt x="31" y="733"/>
                    <a:pt x="31" y="733"/>
                    <a:pt x="31" y="733"/>
                  </a:cubicBezTo>
                  <a:cubicBezTo>
                    <a:pt x="31" y="733"/>
                    <a:pt x="30" y="733"/>
                    <a:pt x="30" y="733"/>
                  </a:cubicBezTo>
                  <a:cubicBezTo>
                    <a:pt x="27" y="735"/>
                    <a:pt x="24" y="737"/>
                    <a:pt x="21" y="738"/>
                  </a:cubicBezTo>
                  <a:cubicBezTo>
                    <a:pt x="21" y="738"/>
                    <a:pt x="21" y="739"/>
                    <a:pt x="21" y="739"/>
                  </a:cubicBezTo>
                  <a:cubicBezTo>
                    <a:pt x="21" y="739"/>
                    <a:pt x="21" y="739"/>
                    <a:pt x="21" y="739"/>
                  </a:cubicBezTo>
                  <a:cubicBezTo>
                    <a:pt x="21" y="739"/>
                    <a:pt x="21" y="739"/>
                    <a:pt x="22" y="739"/>
                  </a:cubicBezTo>
                  <a:cubicBezTo>
                    <a:pt x="24" y="737"/>
                    <a:pt x="28" y="736"/>
                    <a:pt x="31" y="734"/>
                  </a:cubicBezTo>
                  <a:cubicBezTo>
                    <a:pt x="31" y="734"/>
                    <a:pt x="32" y="734"/>
                    <a:pt x="32" y="734"/>
                  </a:cubicBezTo>
                  <a:cubicBezTo>
                    <a:pt x="32" y="733"/>
                    <a:pt x="32" y="733"/>
                    <a:pt x="32" y="733"/>
                  </a:cubicBezTo>
                  <a:cubicBezTo>
                    <a:pt x="33" y="733"/>
                    <a:pt x="33" y="733"/>
                    <a:pt x="33" y="733"/>
                  </a:cubicBezTo>
                  <a:cubicBezTo>
                    <a:pt x="35" y="732"/>
                    <a:pt x="36" y="732"/>
                    <a:pt x="37" y="731"/>
                  </a:cubicBezTo>
                  <a:cubicBezTo>
                    <a:pt x="37" y="731"/>
                    <a:pt x="38" y="731"/>
                    <a:pt x="38" y="731"/>
                  </a:cubicBezTo>
                  <a:cubicBezTo>
                    <a:pt x="38" y="731"/>
                    <a:pt x="39" y="731"/>
                    <a:pt x="39" y="731"/>
                  </a:cubicBezTo>
                  <a:cubicBezTo>
                    <a:pt x="39" y="730"/>
                    <a:pt x="40" y="730"/>
                    <a:pt x="40" y="730"/>
                  </a:cubicBezTo>
                  <a:cubicBezTo>
                    <a:pt x="40" y="730"/>
                    <a:pt x="41" y="730"/>
                    <a:pt x="41" y="730"/>
                  </a:cubicBezTo>
                  <a:cubicBezTo>
                    <a:pt x="42" y="730"/>
                    <a:pt x="42" y="729"/>
                    <a:pt x="42" y="729"/>
                  </a:cubicBezTo>
                  <a:cubicBezTo>
                    <a:pt x="43" y="729"/>
                    <a:pt x="43" y="729"/>
                    <a:pt x="44" y="729"/>
                  </a:cubicBezTo>
                  <a:cubicBezTo>
                    <a:pt x="44" y="729"/>
                    <a:pt x="45" y="728"/>
                    <a:pt x="45" y="728"/>
                  </a:cubicBezTo>
                  <a:cubicBezTo>
                    <a:pt x="46" y="728"/>
                    <a:pt x="46" y="728"/>
                    <a:pt x="47" y="728"/>
                  </a:cubicBezTo>
                  <a:cubicBezTo>
                    <a:pt x="47" y="727"/>
                    <a:pt x="48" y="727"/>
                    <a:pt x="48" y="727"/>
                  </a:cubicBezTo>
                  <a:cubicBezTo>
                    <a:pt x="83" y="715"/>
                    <a:pt x="135" y="707"/>
                    <a:pt x="191" y="702"/>
                  </a:cubicBezTo>
                  <a:cubicBezTo>
                    <a:pt x="245" y="696"/>
                    <a:pt x="303" y="694"/>
                    <a:pt x="355" y="691"/>
                  </a:cubicBezTo>
                  <a:cubicBezTo>
                    <a:pt x="356" y="691"/>
                    <a:pt x="358" y="691"/>
                    <a:pt x="360" y="691"/>
                  </a:cubicBezTo>
                  <a:cubicBezTo>
                    <a:pt x="365" y="691"/>
                    <a:pt x="370" y="691"/>
                    <a:pt x="375" y="691"/>
                  </a:cubicBezTo>
                  <a:cubicBezTo>
                    <a:pt x="375" y="691"/>
                    <a:pt x="376" y="691"/>
                    <a:pt x="376" y="691"/>
                  </a:cubicBezTo>
                  <a:cubicBezTo>
                    <a:pt x="382" y="690"/>
                    <a:pt x="388" y="690"/>
                    <a:pt x="394" y="690"/>
                  </a:cubicBezTo>
                  <a:cubicBezTo>
                    <a:pt x="396" y="690"/>
                    <a:pt x="398" y="690"/>
                    <a:pt x="400" y="690"/>
                  </a:cubicBezTo>
                  <a:cubicBezTo>
                    <a:pt x="400" y="690"/>
                    <a:pt x="401" y="690"/>
                    <a:pt x="401" y="690"/>
                  </a:cubicBezTo>
                  <a:cubicBezTo>
                    <a:pt x="402" y="690"/>
                    <a:pt x="403" y="690"/>
                    <a:pt x="404" y="690"/>
                  </a:cubicBezTo>
                  <a:cubicBezTo>
                    <a:pt x="408" y="689"/>
                    <a:pt x="413" y="689"/>
                    <a:pt x="417" y="689"/>
                  </a:cubicBezTo>
                  <a:cubicBezTo>
                    <a:pt x="417" y="689"/>
                    <a:pt x="418" y="689"/>
                    <a:pt x="418" y="689"/>
                  </a:cubicBezTo>
                  <a:cubicBezTo>
                    <a:pt x="422" y="689"/>
                    <a:pt x="425" y="689"/>
                    <a:pt x="429" y="689"/>
                  </a:cubicBezTo>
                  <a:cubicBezTo>
                    <a:pt x="431" y="689"/>
                    <a:pt x="434" y="688"/>
                    <a:pt x="436" y="688"/>
                  </a:cubicBezTo>
                  <a:cubicBezTo>
                    <a:pt x="436" y="688"/>
                    <a:pt x="436" y="688"/>
                    <a:pt x="436" y="688"/>
                  </a:cubicBezTo>
                  <a:cubicBezTo>
                    <a:pt x="441" y="688"/>
                    <a:pt x="446" y="688"/>
                    <a:pt x="450" y="688"/>
                  </a:cubicBezTo>
                  <a:cubicBezTo>
                    <a:pt x="451" y="688"/>
                    <a:pt x="451" y="688"/>
                    <a:pt x="451" y="688"/>
                  </a:cubicBezTo>
                  <a:cubicBezTo>
                    <a:pt x="452" y="688"/>
                    <a:pt x="452" y="688"/>
                    <a:pt x="453" y="688"/>
                  </a:cubicBezTo>
                  <a:cubicBezTo>
                    <a:pt x="456" y="687"/>
                    <a:pt x="460" y="687"/>
                    <a:pt x="463" y="687"/>
                  </a:cubicBezTo>
                  <a:cubicBezTo>
                    <a:pt x="464" y="687"/>
                    <a:pt x="465" y="687"/>
                    <a:pt x="466" y="687"/>
                  </a:cubicBezTo>
                  <a:cubicBezTo>
                    <a:pt x="467" y="687"/>
                    <a:pt x="467" y="687"/>
                    <a:pt x="467" y="687"/>
                  </a:cubicBezTo>
                  <a:cubicBezTo>
                    <a:pt x="468" y="687"/>
                    <a:pt x="468" y="687"/>
                    <a:pt x="468" y="687"/>
                  </a:cubicBezTo>
                  <a:cubicBezTo>
                    <a:pt x="473" y="687"/>
                    <a:pt x="479" y="686"/>
                    <a:pt x="484" y="685"/>
                  </a:cubicBezTo>
                  <a:cubicBezTo>
                    <a:pt x="484" y="685"/>
                    <a:pt x="484" y="685"/>
                    <a:pt x="485" y="685"/>
                  </a:cubicBezTo>
                  <a:cubicBezTo>
                    <a:pt x="488" y="685"/>
                    <a:pt x="491" y="685"/>
                    <a:pt x="495" y="684"/>
                  </a:cubicBezTo>
                  <a:cubicBezTo>
                    <a:pt x="495" y="684"/>
                    <a:pt x="495" y="684"/>
                    <a:pt x="496" y="684"/>
                  </a:cubicBezTo>
                  <a:cubicBezTo>
                    <a:pt x="496" y="684"/>
                    <a:pt x="496" y="683"/>
                    <a:pt x="495" y="683"/>
                  </a:cubicBezTo>
                  <a:moveTo>
                    <a:pt x="20" y="739"/>
                  </a:moveTo>
                  <a:cubicBezTo>
                    <a:pt x="20" y="739"/>
                    <a:pt x="20" y="739"/>
                    <a:pt x="20" y="739"/>
                  </a:cubicBezTo>
                  <a:cubicBezTo>
                    <a:pt x="18" y="740"/>
                    <a:pt x="17" y="741"/>
                    <a:pt x="15" y="742"/>
                  </a:cubicBezTo>
                  <a:cubicBezTo>
                    <a:pt x="15" y="742"/>
                    <a:pt x="15" y="743"/>
                    <a:pt x="15" y="743"/>
                  </a:cubicBezTo>
                  <a:cubicBezTo>
                    <a:pt x="17" y="742"/>
                    <a:pt x="18" y="741"/>
                    <a:pt x="20" y="740"/>
                  </a:cubicBezTo>
                  <a:cubicBezTo>
                    <a:pt x="20" y="740"/>
                    <a:pt x="20" y="739"/>
                    <a:pt x="20" y="739"/>
                  </a:cubicBezTo>
                  <a:cubicBezTo>
                    <a:pt x="20" y="739"/>
                    <a:pt x="20" y="739"/>
                    <a:pt x="20" y="739"/>
                  </a:cubicBezTo>
                  <a:moveTo>
                    <a:pt x="14" y="743"/>
                  </a:moveTo>
                  <a:cubicBezTo>
                    <a:pt x="13" y="743"/>
                    <a:pt x="13" y="744"/>
                    <a:pt x="12" y="745"/>
                  </a:cubicBezTo>
                  <a:cubicBezTo>
                    <a:pt x="11" y="745"/>
                    <a:pt x="11" y="746"/>
                    <a:pt x="10" y="747"/>
                  </a:cubicBezTo>
                  <a:cubicBezTo>
                    <a:pt x="11" y="746"/>
                    <a:pt x="13" y="745"/>
                    <a:pt x="14" y="744"/>
                  </a:cubicBezTo>
                  <a:cubicBezTo>
                    <a:pt x="14" y="744"/>
                    <a:pt x="14" y="743"/>
                    <a:pt x="14" y="743"/>
                  </a:cubicBezTo>
                  <a:moveTo>
                    <a:pt x="10" y="746"/>
                  </a:moveTo>
                  <a:cubicBezTo>
                    <a:pt x="9" y="747"/>
                    <a:pt x="8" y="748"/>
                    <a:pt x="7" y="749"/>
                  </a:cubicBezTo>
                  <a:cubicBezTo>
                    <a:pt x="7" y="749"/>
                    <a:pt x="6" y="750"/>
                    <a:pt x="6" y="750"/>
                  </a:cubicBezTo>
                  <a:cubicBezTo>
                    <a:pt x="5" y="751"/>
                    <a:pt x="4" y="752"/>
                    <a:pt x="4" y="753"/>
                  </a:cubicBezTo>
                  <a:cubicBezTo>
                    <a:pt x="4" y="754"/>
                    <a:pt x="4" y="754"/>
                    <a:pt x="4" y="754"/>
                  </a:cubicBezTo>
                  <a:cubicBezTo>
                    <a:pt x="3" y="754"/>
                    <a:pt x="3" y="755"/>
                    <a:pt x="2" y="756"/>
                  </a:cubicBezTo>
                  <a:cubicBezTo>
                    <a:pt x="2" y="756"/>
                    <a:pt x="2" y="756"/>
                    <a:pt x="2" y="756"/>
                  </a:cubicBezTo>
                  <a:cubicBezTo>
                    <a:pt x="2" y="757"/>
                    <a:pt x="2" y="757"/>
                    <a:pt x="1" y="758"/>
                  </a:cubicBezTo>
                  <a:cubicBezTo>
                    <a:pt x="1" y="758"/>
                    <a:pt x="1" y="758"/>
                    <a:pt x="1" y="759"/>
                  </a:cubicBezTo>
                  <a:cubicBezTo>
                    <a:pt x="1" y="759"/>
                    <a:pt x="1" y="759"/>
                    <a:pt x="1" y="759"/>
                  </a:cubicBezTo>
                  <a:cubicBezTo>
                    <a:pt x="0" y="760"/>
                    <a:pt x="0" y="762"/>
                    <a:pt x="0" y="763"/>
                  </a:cubicBezTo>
                  <a:cubicBezTo>
                    <a:pt x="0" y="763"/>
                    <a:pt x="0" y="764"/>
                    <a:pt x="0" y="764"/>
                  </a:cubicBezTo>
                  <a:cubicBezTo>
                    <a:pt x="0" y="765"/>
                    <a:pt x="0" y="766"/>
                    <a:pt x="0" y="767"/>
                  </a:cubicBezTo>
                  <a:cubicBezTo>
                    <a:pt x="0" y="767"/>
                    <a:pt x="0" y="768"/>
                    <a:pt x="0" y="769"/>
                  </a:cubicBezTo>
                  <a:cubicBezTo>
                    <a:pt x="0" y="769"/>
                    <a:pt x="0" y="769"/>
                    <a:pt x="0" y="770"/>
                  </a:cubicBezTo>
                  <a:cubicBezTo>
                    <a:pt x="0" y="771"/>
                    <a:pt x="0" y="772"/>
                    <a:pt x="0" y="773"/>
                  </a:cubicBezTo>
                  <a:cubicBezTo>
                    <a:pt x="0" y="773"/>
                    <a:pt x="0" y="773"/>
                    <a:pt x="1" y="774"/>
                  </a:cubicBezTo>
                  <a:cubicBezTo>
                    <a:pt x="2" y="778"/>
                    <a:pt x="3" y="782"/>
                    <a:pt x="6" y="786"/>
                  </a:cubicBezTo>
                  <a:cubicBezTo>
                    <a:pt x="6" y="786"/>
                    <a:pt x="7" y="786"/>
                    <a:pt x="7" y="787"/>
                  </a:cubicBezTo>
                  <a:cubicBezTo>
                    <a:pt x="7" y="787"/>
                    <a:pt x="8" y="788"/>
                    <a:pt x="8" y="788"/>
                  </a:cubicBezTo>
                  <a:cubicBezTo>
                    <a:pt x="9" y="790"/>
                    <a:pt x="10" y="791"/>
                    <a:pt x="12" y="793"/>
                  </a:cubicBezTo>
                  <a:cubicBezTo>
                    <a:pt x="12" y="793"/>
                    <a:pt x="13" y="794"/>
                    <a:pt x="13" y="794"/>
                  </a:cubicBezTo>
                  <a:cubicBezTo>
                    <a:pt x="15" y="797"/>
                    <a:pt x="18" y="799"/>
                    <a:pt x="20" y="801"/>
                  </a:cubicBezTo>
                  <a:cubicBezTo>
                    <a:pt x="21" y="802"/>
                    <a:pt x="22" y="803"/>
                    <a:pt x="22" y="803"/>
                  </a:cubicBezTo>
                  <a:cubicBezTo>
                    <a:pt x="23" y="804"/>
                    <a:pt x="24" y="805"/>
                    <a:pt x="25" y="805"/>
                  </a:cubicBezTo>
                  <a:cubicBezTo>
                    <a:pt x="29" y="809"/>
                    <a:pt x="33" y="812"/>
                    <a:pt x="39" y="816"/>
                  </a:cubicBezTo>
                  <a:cubicBezTo>
                    <a:pt x="38" y="815"/>
                    <a:pt x="38" y="815"/>
                    <a:pt x="38" y="814"/>
                  </a:cubicBezTo>
                  <a:cubicBezTo>
                    <a:pt x="34" y="812"/>
                    <a:pt x="31" y="809"/>
                    <a:pt x="28" y="807"/>
                  </a:cubicBezTo>
                  <a:cubicBezTo>
                    <a:pt x="27" y="806"/>
                    <a:pt x="26" y="805"/>
                    <a:pt x="26" y="805"/>
                  </a:cubicBezTo>
                  <a:cubicBezTo>
                    <a:pt x="25" y="804"/>
                    <a:pt x="24" y="803"/>
                    <a:pt x="23" y="802"/>
                  </a:cubicBezTo>
                  <a:cubicBezTo>
                    <a:pt x="20" y="800"/>
                    <a:pt x="18" y="798"/>
                    <a:pt x="16" y="795"/>
                  </a:cubicBezTo>
                  <a:cubicBezTo>
                    <a:pt x="15" y="795"/>
                    <a:pt x="14" y="794"/>
                    <a:pt x="14" y="794"/>
                  </a:cubicBezTo>
                  <a:cubicBezTo>
                    <a:pt x="12" y="792"/>
                    <a:pt x="11" y="790"/>
                    <a:pt x="10" y="789"/>
                  </a:cubicBezTo>
                  <a:cubicBezTo>
                    <a:pt x="9" y="788"/>
                    <a:pt x="9" y="788"/>
                    <a:pt x="9" y="787"/>
                  </a:cubicBezTo>
                  <a:cubicBezTo>
                    <a:pt x="8" y="787"/>
                    <a:pt x="8" y="787"/>
                    <a:pt x="8" y="786"/>
                  </a:cubicBezTo>
                  <a:cubicBezTo>
                    <a:pt x="8" y="786"/>
                    <a:pt x="7" y="786"/>
                    <a:pt x="7" y="785"/>
                  </a:cubicBezTo>
                  <a:cubicBezTo>
                    <a:pt x="5" y="781"/>
                    <a:pt x="3" y="778"/>
                    <a:pt x="2" y="774"/>
                  </a:cubicBezTo>
                  <a:cubicBezTo>
                    <a:pt x="2" y="774"/>
                    <a:pt x="1" y="773"/>
                    <a:pt x="1" y="773"/>
                  </a:cubicBezTo>
                  <a:cubicBezTo>
                    <a:pt x="1" y="772"/>
                    <a:pt x="1" y="771"/>
                    <a:pt x="1" y="770"/>
                  </a:cubicBezTo>
                  <a:cubicBezTo>
                    <a:pt x="1" y="770"/>
                    <a:pt x="1" y="770"/>
                    <a:pt x="1" y="769"/>
                  </a:cubicBezTo>
                  <a:cubicBezTo>
                    <a:pt x="1" y="768"/>
                    <a:pt x="1" y="768"/>
                    <a:pt x="1" y="767"/>
                  </a:cubicBezTo>
                  <a:cubicBezTo>
                    <a:pt x="1" y="766"/>
                    <a:pt x="1" y="765"/>
                    <a:pt x="1" y="764"/>
                  </a:cubicBezTo>
                  <a:cubicBezTo>
                    <a:pt x="1" y="764"/>
                    <a:pt x="1" y="764"/>
                    <a:pt x="1" y="763"/>
                  </a:cubicBezTo>
                  <a:cubicBezTo>
                    <a:pt x="1" y="762"/>
                    <a:pt x="1" y="760"/>
                    <a:pt x="2" y="759"/>
                  </a:cubicBezTo>
                  <a:cubicBezTo>
                    <a:pt x="2" y="759"/>
                    <a:pt x="2" y="758"/>
                    <a:pt x="2" y="758"/>
                  </a:cubicBezTo>
                  <a:cubicBezTo>
                    <a:pt x="2" y="758"/>
                    <a:pt x="3" y="757"/>
                    <a:pt x="3" y="757"/>
                  </a:cubicBezTo>
                  <a:cubicBezTo>
                    <a:pt x="3" y="756"/>
                    <a:pt x="3" y="756"/>
                    <a:pt x="4" y="755"/>
                  </a:cubicBezTo>
                  <a:cubicBezTo>
                    <a:pt x="4" y="755"/>
                    <a:pt x="4" y="755"/>
                    <a:pt x="4" y="755"/>
                  </a:cubicBezTo>
                  <a:cubicBezTo>
                    <a:pt x="4" y="755"/>
                    <a:pt x="4" y="754"/>
                    <a:pt x="4" y="754"/>
                  </a:cubicBezTo>
                  <a:cubicBezTo>
                    <a:pt x="5" y="753"/>
                    <a:pt x="5" y="752"/>
                    <a:pt x="6" y="752"/>
                  </a:cubicBezTo>
                  <a:cubicBezTo>
                    <a:pt x="6" y="751"/>
                    <a:pt x="7" y="751"/>
                    <a:pt x="7" y="750"/>
                  </a:cubicBezTo>
                  <a:cubicBezTo>
                    <a:pt x="7" y="750"/>
                    <a:pt x="8" y="750"/>
                    <a:pt x="8" y="750"/>
                  </a:cubicBezTo>
                  <a:cubicBezTo>
                    <a:pt x="8" y="749"/>
                    <a:pt x="8" y="749"/>
                    <a:pt x="8" y="749"/>
                  </a:cubicBezTo>
                  <a:cubicBezTo>
                    <a:pt x="9" y="748"/>
                    <a:pt x="9" y="747"/>
                    <a:pt x="10" y="746"/>
                  </a:cubicBezTo>
                  <a:moveTo>
                    <a:pt x="39" y="815"/>
                  </a:moveTo>
                  <a:cubicBezTo>
                    <a:pt x="39" y="816"/>
                    <a:pt x="40" y="816"/>
                    <a:pt x="40" y="817"/>
                  </a:cubicBezTo>
                  <a:cubicBezTo>
                    <a:pt x="42" y="818"/>
                    <a:pt x="44" y="820"/>
                    <a:pt x="46" y="821"/>
                  </a:cubicBezTo>
                  <a:cubicBezTo>
                    <a:pt x="47" y="821"/>
                    <a:pt x="47" y="821"/>
                    <a:pt x="47" y="822"/>
                  </a:cubicBezTo>
                  <a:cubicBezTo>
                    <a:pt x="50" y="823"/>
                    <a:pt x="52" y="825"/>
                    <a:pt x="55" y="827"/>
                  </a:cubicBezTo>
                  <a:cubicBezTo>
                    <a:pt x="55" y="826"/>
                    <a:pt x="56" y="826"/>
                    <a:pt x="56" y="826"/>
                  </a:cubicBezTo>
                  <a:cubicBezTo>
                    <a:pt x="53" y="824"/>
                    <a:pt x="51" y="823"/>
                    <a:pt x="48" y="821"/>
                  </a:cubicBezTo>
                  <a:cubicBezTo>
                    <a:pt x="48" y="821"/>
                    <a:pt x="48" y="821"/>
                    <a:pt x="47" y="821"/>
                  </a:cubicBezTo>
                  <a:cubicBezTo>
                    <a:pt x="45" y="819"/>
                    <a:pt x="42" y="817"/>
                    <a:pt x="39" y="815"/>
                  </a:cubicBezTo>
                  <a:moveTo>
                    <a:pt x="57" y="826"/>
                  </a:moveTo>
                  <a:cubicBezTo>
                    <a:pt x="56" y="827"/>
                    <a:pt x="56" y="827"/>
                    <a:pt x="56" y="827"/>
                  </a:cubicBezTo>
                  <a:cubicBezTo>
                    <a:pt x="58" y="829"/>
                    <a:pt x="61" y="830"/>
                    <a:pt x="64" y="832"/>
                  </a:cubicBezTo>
                  <a:cubicBezTo>
                    <a:pt x="65" y="833"/>
                    <a:pt x="67" y="834"/>
                    <a:pt x="68" y="834"/>
                  </a:cubicBezTo>
                  <a:cubicBezTo>
                    <a:pt x="72" y="836"/>
                    <a:pt x="76" y="839"/>
                    <a:pt x="80" y="841"/>
                  </a:cubicBezTo>
                  <a:cubicBezTo>
                    <a:pt x="81" y="841"/>
                    <a:pt x="81" y="840"/>
                    <a:pt x="81" y="840"/>
                  </a:cubicBezTo>
                  <a:cubicBezTo>
                    <a:pt x="78" y="839"/>
                    <a:pt x="76" y="837"/>
                    <a:pt x="73" y="836"/>
                  </a:cubicBezTo>
                  <a:cubicBezTo>
                    <a:pt x="72" y="835"/>
                    <a:pt x="70" y="834"/>
                    <a:pt x="69" y="833"/>
                  </a:cubicBezTo>
                  <a:cubicBezTo>
                    <a:pt x="64" y="831"/>
                    <a:pt x="60" y="829"/>
                    <a:pt x="57" y="826"/>
                  </a:cubicBezTo>
                  <a:moveTo>
                    <a:pt x="572" y="837"/>
                  </a:moveTo>
                  <a:cubicBezTo>
                    <a:pt x="571" y="837"/>
                    <a:pt x="570" y="837"/>
                    <a:pt x="569" y="837"/>
                  </a:cubicBezTo>
                  <a:cubicBezTo>
                    <a:pt x="568" y="838"/>
                    <a:pt x="567" y="839"/>
                    <a:pt x="567" y="840"/>
                  </a:cubicBezTo>
                  <a:cubicBezTo>
                    <a:pt x="567" y="840"/>
                    <a:pt x="567" y="840"/>
                    <a:pt x="567" y="841"/>
                  </a:cubicBezTo>
                  <a:cubicBezTo>
                    <a:pt x="568" y="843"/>
                    <a:pt x="570" y="848"/>
                    <a:pt x="575" y="854"/>
                  </a:cubicBezTo>
                  <a:cubicBezTo>
                    <a:pt x="575" y="854"/>
                    <a:pt x="575" y="854"/>
                    <a:pt x="575" y="855"/>
                  </a:cubicBezTo>
                  <a:cubicBezTo>
                    <a:pt x="577" y="856"/>
                    <a:pt x="578" y="858"/>
                    <a:pt x="579" y="859"/>
                  </a:cubicBezTo>
                  <a:cubicBezTo>
                    <a:pt x="579" y="860"/>
                    <a:pt x="580" y="860"/>
                    <a:pt x="580" y="860"/>
                  </a:cubicBezTo>
                  <a:cubicBezTo>
                    <a:pt x="585" y="867"/>
                    <a:pt x="592" y="874"/>
                    <a:pt x="599" y="882"/>
                  </a:cubicBezTo>
                  <a:cubicBezTo>
                    <a:pt x="600" y="882"/>
                    <a:pt x="600" y="883"/>
                    <a:pt x="600" y="883"/>
                  </a:cubicBezTo>
                  <a:cubicBezTo>
                    <a:pt x="606" y="890"/>
                    <a:pt x="613" y="897"/>
                    <a:pt x="619" y="904"/>
                  </a:cubicBezTo>
                  <a:cubicBezTo>
                    <a:pt x="620" y="905"/>
                    <a:pt x="620" y="905"/>
                    <a:pt x="620" y="905"/>
                  </a:cubicBezTo>
                  <a:cubicBezTo>
                    <a:pt x="627" y="913"/>
                    <a:pt x="634" y="921"/>
                    <a:pt x="641" y="929"/>
                  </a:cubicBezTo>
                  <a:cubicBezTo>
                    <a:pt x="641" y="929"/>
                    <a:pt x="641" y="930"/>
                    <a:pt x="641" y="930"/>
                  </a:cubicBezTo>
                  <a:cubicBezTo>
                    <a:pt x="645" y="934"/>
                    <a:pt x="648" y="938"/>
                    <a:pt x="651" y="942"/>
                  </a:cubicBezTo>
                  <a:cubicBezTo>
                    <a:pt x="651" y="942"/>
                    <a:pt x="651" y="942"/>
                    <a:pt x="651" y="943"/>
                  </a:cubicBezTo>
                  <a:cubicBezTo>
                    <a:pt x="654" y="947"/>
                    <a:pt x="657" y="951"/>
                    <a:pt x="660" y="955"/>
                  </a:cubicBezTo>
                  <a:cubicBezTo>
                    <a:pt x="660" y="955"/>
                    <a:pt x="660" y="955"/>
                    <a:pt x="660" y="956"/>
                  </a:cubicBezTo>
                  <a:cubicBezTo>
                    <a:pt x="664" y="961"/>
                    <a:pt x="667" y="966"/>
                    <a:pt x="669" y="970"/>
                  </a:cubicBezTo>
                  <a:cubicBezTo>
                    <a:pt x="669" y="971"/>
                    <a:pt x="669" y="971"/>
                    <a:pt x="669" y="971"/>
                  </a:cubicBezTo>
                  <a:cubicBezTo>
                    <a:pt x="673" y="979"/>
                    <a:pt x="675" y="986"/>
                    <a:pt x="675" y="992"/>
                  </a:cubicBezTo>
                  <a:cubicBezTo>
                    <a:pt x="675" y="992"/>
                    <a:pt x="675" y="992"/>
                    <a:pt x="675" y="993"/>
                  </a:cubicBezTo>
                  <a:cubicBezTo>
                    <a:pt x="675" y="993"/>
                    <a:pt x="675" y="993"/>
                    <a:pt x="676" y="993"/>
                  </a:cubicBezTo>
                  <a:cubicBezTo>
                    <a:pt x="676" y="992"/>
                    <a:pt x="676" y="992"/>
                    <a:pt x="676" y="992"/>
                  </a:cubicBezTo>
                  <a:cubicBezTo>
                    <a:pt x="676" y="985"/>
                    <a:pt x="674" y="978"/>
                    <a:pt x="670" y="971"/>
                  </a:cubicBezTo>
                  <a:cubicBezTo>
                    <a:pt x="670" y="971"/>
                    <a:pt x="670" y="970"/>
                    <a:pt x="670" y="970"/>
                  </a:cubicBezTo>
                  <a:cubicBezTo>
                    <a:pt x="667" y="965"/>
                    <a:pt x="665" y="960"/>
                    <a:pt x="661" y="955"/>
                  </a:cubicBezTo>
                  <a:cubicBezTo>
                    <a:pt x="661" y="955"/>
                    <a:pt x="661" y="954"/>
                    <a:pt x="661" y="954"/>
                  </a:cubicBezTo>
                  <a:cubicBezTo>
                    <a:pt x="658" y="950"/>
                    <a:pt x="655" y="946"/>
                    <a:pt x="652" y="942"/>
                  </a:cubicBezTo>
                  <a:cubicBezTo>
                    <a:pt x="652" y="942"/>
                    <a:pt x="652" y="942"/>
                    <a:pt x="652" y="941"/>
                  </a:cubicBezTo>
                  <a:cubicBezTo>
                    <a:pt x="649" y="937"/>
                    <a:pt x="646" y="933"/>
                    <a:pt x="642" y="929"/>
                  </a:cubicBezTo>
                  <a:cubicBezTo>
                    <a:pt x="642" y="929"/>
                    <a:pt x="642" y="929"/>
                    <a:pt x="642" y="928"/>
                  </a:cubicBezTo>
                  <a:cubicBezTo>
                    <a:pt x="635" y="921"/>
                    <a:pt x="628" y="913"/>
                    <a:pt x="621" y="905"/>
                  </a:cubicBezTo>
                  <a:cubicBezTo>
                    <a:pt x="621" y="905"/>
                    <a:pt x="621" y="904"/>
                    <a:pt x="621" y="904"/>
                  </a:cubicBezTo>
                  <a:cubicBezTo>
                    <a:pt x="614" y="897"/>
                    <a:pt x="607" y="889"/>
                    <a:pt x="601" y="883"/>
                  </a:cubicBezTo>
                  <a:cubicBezTo>
                    <a:pt x="601" y="882"/>
                    <a:pt x="601" y="882"/>
                    <a:pt x="600" y="882"/>
                  </a:cubicBezTo>
                  <a:cubicBezTo>
                    <a:pt x="593" y="873"/>
                    <a:pt x="586" y="865"/>
                    <a:pt x="580" y="859"/>
                  </a:cubicBezTo>
                  <a:cubicBezTo>
                    <a:pt x="580" y="859"/>
                    <a:pt x="579" y="858"/>
                    <a:pt x="579" y="858"/>
                  </a:cubicBezTo>
                  <a:cubicBezTo>
                    <a:pt x="578" y="857"/>
                    <a:pt x="577" y="856"/>
                    <a:pt x="576" y="854"/>
                  </a:cubicBezTo>
                  <a:cubicBezTo>
                    <a:pt x="576" y="854"/>
                    <a:pt x="576" y="854"/>
                    <a:pt x="576" y="854"/>
                  </a:cubicBezTo>
                  <a:cubicBezTo>
                    <a:pt x="571" y="848"/>
                    <a:pt x="568" y="843"/>
                    <a:pt x="568" y="840"/>
                  </a:cubicBezTo>
                  <a:cubicBezTo>
                    <a:pt x="568" y="839"/>
                    <a:pt x="569" y="838"/>
                    <a:pt x="572" y="838"/>
                  </a:cubicBezTo>
                  <a:cubicBezTo>
                    <a:pt x="573" y="838"/>
                    <a:pt x="575" y="838"/>
                    <a:pt x="576" y="838"/>
                  </a:cubicBezTo>
                  <a:cubicBezTo>
                    <a:pt x="577" y="838"/>
                    <a:pt x="577" y="838"/>
                    <a:pt x="577" y="838"/>
                  </a:cubicBezTo>
                  <a:cubicBezTo>
                    <a:pt x="577" y="837"/>
                    <a:pt x="577" y="837"/>
                    <a:pt x="577" y="837"/>
                  </a:cubicBezTo>
                  <a:cubicBezTo>
                    <a:pt x="575" y="837"/>
                    <a:pt x="573" y="837"/>
                    <a:pt x="572" y="837"/>
                  </a:cubicBezTo>
                  <a:moveTo>
                    <a:pt x="82" y="841"/>
                  </a:moveTo>
                  <a:cubicBezTo>
                    <a:pt x="82" y="841"/>
                    <a:pt x="81" y="841"/>
                    <a:pt x="81" y="841"/>
                  </a:cubicBezTo>
                  <a:cubicBezTo>
                    <a:pt x="86" y="844"/>
                    <a:pt x="91" y="847"/>
                    <a:pt x="96" y="849"/>
                  </a:cubicBezTo>
                  <a:cubicBezTo>
                    <a:pt x="97" y="849"/>
                    <a:pt x="97" y="850"/>
                    <a:pt x="98" y="850"/>
                  </a:cubicBezTo>
                  <a:cubicBezTo>
                    <a:pt x="100" y="851"/>
                    <a:pt x="103" y="853"/>
                    <a:pt x="106" y="854"/>
                  </a:cubicBezTo>
                  <a:cubicBezTo>
                    <a:pt x="107" y="854"/>
                    <a:pt x="107" y="854"/>
                    <a:pt x="108" y="854"/>
                  </a:cubicBezTo>
                  <a:cubicBezTo>
                    <a:pt x="105" y="852"/>
                    <a:pt x="102" y="851"/>
                    <a:pt x="99" y="849"/>
                  </a:cubicBezTo>
                  <a:cubicBezTo>
                    <a:pt x="98" y="849"/>
                    <a:pt x="98" y="849"/>
                    <a:pt x="98" y="849"/>
                  </a:cubicBezTo>
                  <a:cubicBezTo>
                    <a:pt x="92" y="846"/>
                    <a:pt x="87" y="843"/>
                    <a:pt x="82" y="841"/>
                  </a:cubicBezTo>
                  <a:moveTo>
                    <a:pt x="109" y="854"/>
                  </a:moveTo>
                  <a:cubicBezTo>
                    <a:pt x="108" y="854"/>
                    <a:pt x="108" y="855"/>
                    <a:pt x="107" y="855"/>
                  </a:cubicBezTo>
                  <a:cubicBezTo>
                    <a:pt x="112" y="857"/>
                    <a:pt x="117" y="859"/>
                    <a:pt x="122" y="862"/>
                  </a:cubicBezTo>
                  <a:cubicBezTo>
                    <a:pt x="118" y="860"/>
                    <a:pt x="114" y="857"/>
                    <a:pt x="111" y="855"/>
                  </a:cubicBezTo>
                  <a:cubicBezTo>
                    <a:pt x="110" y="855"/>
                    <a:pt x="109" y="854"/>
                    <a:pt x="109" y="854"/>
                  </a:cubicBezTo>
                  <a:moveTo>
                    <a:pt x="123" y="861"/>
                  </a:moveTo>
                  <a:cubicBezTo>
                    <a:pt x="126" y="863"/>
                    <a:pt x="129" y="864"/>
                    <a:pt x="132" y="866"/>
                  </a:cubicBezTo>
                  <a:cubicBezTo>
                    <a:pt x="133" y="866"/>
                    <a:pt x="133" y="866"/>
                    <a:pt x="133" y="866"/>
                  </a:cubicBezTo>
                  <a:cubicBezTo>
                    <a:pt x="130" y="864"/>
                    <a:pt x="126" y="862"/>
                    <a:pt x="123" y="861"/>
                  </a:cubicBezTo>
                  <a:moveTo>
                    <a:pt x="134" y="866"/>
                  </a:moveTo>
                  <a:cubicBezTo>
                    <a:pt x="134" y="866"/>
                    <a:pt x="134" y="866"/>
                    <a:pt x="133" y="867"/>
                  </a:cubicBezTo>
                  <a:cubicBezTo>
                    <a:pt x="134" y="867"/>
                    <a:pt x="135" y="867"/>
                    <a:pt x="136" y="868"/>
                  </a:cubicBezTo>
                  <a:cubicBezTo>
                    <a:pt x="137" y="868"/>
                    <a:pt x="139" y="869"/>
                    <a:pt x="141" y="870"/>
                  </a:cubicBezTo>
                  <a:cubicBezTo>
                    <a:pt x="141" y="870"/>
                    <a:pt x="141" y="870"/>
                    <a:pt x="142" y="871"/>
                  </a:cubicBezTo>
                  <a:cubicBezTo>
                    <a:pt x="146" y="872"/>
                    <a:pt x="151" y="874"/>
                    <a:pt x="156" y="876"/>
                  </a:cubicBezTo>
                  <a:cubicBezTo>
                    <a:pt x="156" y="877"/>
                    <a:pt x="156" y="877"/>
                    <a:pt x="156" y="877"/>
                  </a:cubicBezTo>
                  <a:cubicBezTo>
                    <a:pt x="157" y="877"/>
                    <a:pt x="157" y="876"/>
                    <a:pt x="158" y="876"/>
                  </a:cubicBezTo>
                  <a:cubicBezTo>
                    <a:pt x="158" y="876"/>
                    <a:pt x="157" y="876"/>
                    <a:pt x="157" y="876"/>
                  </a:cubicBezTo>
                  <a:cubicBezTo>
                    <a:pt x="157" y="876"/>
                    <a:pt x="157" y="876"/>
                    <a:pt x="156" y="876"/>
                  </a:cubicBezTo>
                  <a:cubicBezTo>
                    <a:pt x="155" y="875"/>
                    <a:pt x="154" y="875"/>
                    <a:pt x="153" y="874"/>
                  </a:cubicBezTo>
                  <a:cubicBezTo>
                    <a:pt x="149" y="873"/>
                    <a:pt x="146" y="871"/>
                    <a:pt x="143" y="870"/>
                  </a:cubicBezTo>
                  <a:cubicBezTo>
                    <a:pt x="143" y="870"/>
                    <a:pt x="142" y="870"/>
                    <a:pt x="142" y="869"/>
                  </a:cubicBezTo>
                  <a:cubicBezTo>
                    <a:pt x="139" y="868"/>
                    <a:pt x="137" y="867"/>
                    <a:pt x="134" y="866"/>
                  </a:cubicBezTo>
                  <a:moveTo>
                    <a:pt x="160" y="877"/>
                  </a:moveTo>
                  <a:cubicBezTo>
                    <a:pt x="160" y="877"/>
                    <a:pt x="159" y="878"/>
                    <a:pt x="159" y="878"/>
                  </a:cubicBezTo>
                  <a:cubicBezTo>
                    <a:pt x="159" y="878"/>
                    <a:pt x="160" y="878"/>
                    <a:pt x="160" y="878"/>
                  </a:cubicBezTo>
                  <a:cubicBezTo>
                    <a:pt x="161" y="879"/>
                    <a:pt x="161" y="879"/>
                    <a:pt x="161" y="879"/>
                  </a:cubicBezTo>
                  <a:cubicBezTo>
                    <a:pt x="162" y="879"/>
                    <a:pt x="163" y="880"/>
                    <a:pt x="164" y="880"/>
                  </a:cubicBezTo>
                  <a:cubicBezTo>
                    <a:pt x="165" y="880"/>
                    <a:pt x="165" y="881"/>
                    <a:pt x="166" y="881"/>
                  </a:cubicBezTo>
                  <a:cubicBezTo>
                    <a:pt x="167" y="881"/>
                    <a:pt x="168" y="882"/>
                    <a:pt x="169" y="882"/>
                  </a:cubicBezTo>
                  <a:cubicBezTo>
                    <a:pt x="169" y="882"/>
                    <a:pt x="169" y="882"/>
                    <a:pt x="169" y="882"/>
                  </a:cubicBezTo>
                  <a:cubicBezTo>
                    <a:pt x="170" y="882"/>
                    <a:pt x="170" y="883"/>
                    <a:pt x="171" y="883"/>
                  </a:cubicBezTo>
                  <a:cubicBezTo>
                    <a:pt x="171" y="883"/>
                    <a:pt x="172" y="883"/>
                    <a:pt x="172" y="882"/>
                  </a:cubicBezTo>
                  <a:cubicBezTo>
                    <a:pt x="171" y="882"/>
                    <a:pt x="171" y="882"/>
                    <a:pt x="170" y="881"/>
                  </a:cubicBezTo>
                  <a:cubicBezTo>
                    <a:pt x="169" y="881"/>
                    <a:pt x="168" y="881"/>
                    <a:pt x="167" y="880"/>
                  </a:cubicBezTo>
                  <a:cubicBezTo>
                    <a:pt x="166" y="880"/>
                    <a:pt x="165" y="880"/>
                    <a:pt x="165" y="879"/>
                  </a:cubicBezTo>
                  <a:cubicBezTo>
                    <a:pt x="164" y="879"/>
                    <a:pt x="163" y="879"/>
                    <a:pt x="163" y="878"/>
                  </a:cubicBezTo>
                  <a:cubicBezTo>
                    <a:pt x="162" y="878"/>
                    <a:pt x="161" y="878"/>
                    <a:pt x="161" y="878"/>
                  </a:cubicBezTo>
                  <a:cubicBezTo>
                    <a:pt x="161" y="878"/>
                    <a:pt x="160" y="877"/>
                    <a:pt x="160" y="877"/>
                  </a:cubicBezTo>
                  <a:moveTo>
                    <a:pt x="173" y="883"/>
                  </a:moveTo>
                  <a:cubicBezTo>
                    <a:pt x="173" y="883"/>
                    <a:pt x="173" y="883"/>
                    <a:pt x="172" y="883"/>
                  </a:cubicBezTo>
                  <a:cubicBezTo>
                    <a:pt x="174" y="884"/>
                    <a:pt x="177" y="885"/>
                    <a:pt x="179" y="886"/>
                  </a:cubicBezTo>
                  <a:cubicBezTo>
                    <a:pt x="179" y="886"/>
                    <a:pt x="179" y="886"/>
                    <a:pt x="179" y="886"/>
                  </a:cubicBezTo>
                  <a:cubicBezTo>
                    <a:pt x="180" y="886"/>
                    <a:pt x="180" y="886"/>
                    <a:pt x="181" y="886"/>
                  </a:cubicBezTo>
                  <a:cubicBezTo>
                    <a:pt x="180" y="886"/>
                    <a:pt x="180" y="886"/>
                    <a:pt x="180" y="885"/>
                  </a:cubicBezTo>
                  <a:cubicBezTo>
                    <a:pt x="179" y="885"/>
                    <a:pt x="179" y="885"/>
                    <a:pt x="178" y="885"/>
                  </a:cubicBezTo>
                  <a:cubicBezTo>
                    <a:pt x="176" y="884"/>
                    <a:pt x="175" y="884"/>
                    <a:pt x="173" y="883"/>
                  </a:cubicBezTo>
                  <a:moveTo>
                    <a:pt x="182" y="886"/>
                  </a:moveTo>
                  <a:cubicBezTo>
                    <a:pt x="182" y="887"/>
                    <a:pt x="181" y="887"/>
                    <a:pt x="181" y="887"/>
                  </a:cubicBezTo>
                  <a:cubicBezTo>
                    <a:pt x="181" y="887"/>
                    <a:pt x="181" y="887"/>
                    <a:pt x="181" y="887"/>
                  </a:cubicBezTo>
                  <a:cubicBezTo>
                    <a:pt x="181" y="887"/>
                    <a:pt x="182" y="887"/>
                    <a:pt x="182" y="888"/>
                  </a:cubicBezTo>
                  <a:cubicBezTo>
                    <a:pt x="183" y="888"/>
                    <a:pt x="183" y="888"/>
                    <a:pt x="184" y="888"/>
                  </a:cubicBezTo>
                  <a:cubicBezTo>
                    <a:pt x="184" y="888"/>
                    <a:pt x="184" y="888"/>
                    <a:pt x="184" y="888"/>
                  </a:cubicBezTo>
                  <a:cubicBezTo>
                    <a:pt x="185" y="888"/>
                    <a:pt x="185" y="888"/>
                    <a:pt x="186" y="888"/>
                  </a:cubicBezTo>
                  <a:cubicBezTo>
                    <a:pt x="185" y="888"/>
                    <a:pt x="185" y="888"/>
                    <a:pt x="185" y="888"/>
                  </a:cubicBezTo>
                  <a:cubicBezTo>
                    <a:pt x="184" y="887"/>
                    <a:pt x="184" y="887"/>
                    <a:pt x="184" y="887"/>
                  </a:cubicBezTo>
                  <a:cubicBezTo>
                    <a:pt x="183" y="887"/>
                    <a:pt x="183" y="887"/>
                    <a:pt x="182" y="886"/>
                  </a:cubicBezTo>
                  <a:moveTo>
                    <a:pt x="187" y="888"/>
                  </a:moveTo>
                  <a:cubicBezTo>
                    <a:pt x="186" y="889"/>
                    <a:pt x="186" y="889"/>
                    <a:pt x="186" y="889"/>
                  </a:cubicBezTo>
                  <a:cubicBezTo>
                    <a:pt x="186" y="889"/>
                    <a:pt x="187" y="889"/>
                    <a:pt x="188" y="890"/>
                  </a:cubicBezTo>
                  <a:cubicBezTo>
                    <a:pt x="189" y="890"/>
                    <a:pt x="191" y="891"/>
                    <a:pt x="193" y="892"/>
                  </a:cubicBezTo>
                  <a:cubicBezTo>
                    <a:pt x="194" y="892"/>
                    <a:pt x="196" y="893"/>
                    <a:pt x="198" y="894"/>
                  </a:cubicBezTo>
                  <a:cubicBezTo>
                    <a:pt x="199" y="894"/>
                    <a:pt x="199" y="894"/>
                    <a:pt x="200" y="893"/>
                  </a:cubicBezTo>
                  <a:cubicBezTo>
                    <a:pt x="199" y="893"/>
                    <a:pt x="198" y="893"/>
                    <a:pt x="198" y="893"/>
                  </a:cubicBezTo>
                  <a:cubicBezTo>
                    <a:pt x="196" y="892"/>
                    <a:pt x="194" y="891"/>
                    <a:pt x="193" y="891"/>
                  </a:cubicBezTo>
                  <a:cubicBezTo>
                    <a:pt x="192" y="890"/>
                    <a:pt x="191" y="890"/>
                    <a:pt x="191" y="890"/>
                  </a:cubicBezTo>
                  <a:cubicBezTo>
                    <a:pt x="190" y="890"/>
                    <a:pt x="189" y="889"/>
                    <a:pt x="189" y="889"/>
                  </a:cubicBezTo>
                  <a:cubicBezTo>
                    <a:pt x="188" y="889"/>
                    <a:pt x="187" y="889"/>
                    <a:pt x="187" y="888"/>
                  </a:cubicBezTo>
                  <a:moveTo>
                    <a:pt x="201" y="894"/>
                  </a:moveTo>
                  <a:cubicBezTo>
                    <a:pt x="200" y="894"/>
                    <a:pt x="200" y="894"/>
                    <a:pt x="200" y="894"/>
                  </a:cubicBezTo>
                  <a:cubicBezTo>
                    <a:pt x="200" y="895"/>
                    <a:pt x="201" y="895"/>
                    <a:pt x="201" y="895"/>
                  </a:cubicBezTo>
                  <a:cubicBezTo>
                    <a:pt x="202" y="895"/>
                    <a:pt x="202" y="895"/>
                    <a:pt x="203" y="895"/>
                  </a:cubicBezTo>
                  <a:cubicBezTo>
                    <a:pt x="202" y="894"/>
                    <a:pt x="202" y="894"/>
                    <a:pt x="201" y="894"/>
                  </a:cubicBezTo>
                  <a:cubicBezTo>
                    <a:pt x="201" y="894"/>
                    <a:pt x="201" y="894"/>
                    <a:pt x="201" y="894"/>
                  </a:cubicBezTo>
                  <a:moveTo>
                    <a:pt x="204" y="895"/>
                  </a:moveTo>
                  <a:cubicBezTo>
                    <a:pt x="204" y="895"/>
                    <a:pt x="203" y="896"/>
                    <a:pt x="203" y="896"/>
                  </a:cubicBezTo>
                  <a:cubicBezTo>
                    <a:pt x="203" y="896"/>
                    <a:pt x="203" y="896"/>
                    <a:pt x="203" y="896"/>
                  </a:cubicBezTo>
                  <a:cubicBezTo>
                    <a:pt x="204" y="896"/>
                    <a:pt x="204" y="896"/>
                    <a:pt x="204" y="896"/>
                  </a:cubicBezTo>
                  <a:cubicBezTo>
                    <a:pt x="205" y="897"/>
                    <a:pt x="206" y="897"/>
                    <a:pt x="207" y="897"/>
                  </a:cubicBezTo>
                  <a:cubicBezTo>
                    <a:pt x="208" y="898"/>
                    <a:pt x="208" y="898"/>
                    <a:pt x="209" y="898"/>
                  </a:cubicBezTo>
                  <a:cubicBezTo>
                    <a:pt x="209" y="898"/>
                    <a:pt x="209" y="898"/>
                    <a:pt x="209" y="898"/>
                  </a:cubicBezTo>
                  <a:cubicBezTo>
                    <a:pt x="210" y="898"/>
                    <a:pt x="210" y="898"/>
                    <a:pt x="210" y="898"/>
                  </a:cubicBezTo>
                  <a:cubicBezTo>
                    <a:pt x="210" y="898"/>
                    <a:pt x="210" y="898"/>
                    <a:pt x="210" y="897"/>
                  </a:cubicBezTo>
                  <a:cubicBezTo>
                    <a:pt x="210" y="897"/>
                    <a:pt x="210" y="897"/>
                    <a:pt x="209" y="897"/>
                  </a:cubicBezTo>
                  <a:cubicBezTo>
                    <a:pt x="209" y="897"/>
                    <a:pt x="208" y="897"/>
                    <a:pt x="207" y="896"/>
                  </a:cubicBezTo>
                  <a:cubicBezTo>
                    <a:pt x="206" y="896"/>
                    <a:pt x="205" y="896"/>
                    <a:pt x="204" y="895"/>
                  </a:cubicBezTo>
                  <a:moveTo>
                    <a:pt x="212" y="898"/>
                  </a:moveTo>
                  <a:cubicBezTo>
                    <a:pt x="211" y="898"/>
                    <a:pt x="211" y="899"/>
                    <a:pt x="210" y="899"/>
                  </a:cubicBezTo>
                  <a:cubicBezTo>
                    <a:pt x="211" y="899"/>
                    <a:pt x="211" y="899"/>
                    <a:pt x="211" y="899"/>
                  </a:cubicBezTo>
                  <a:cubicBezTo>
                    <a:pt x="211" y="899"/>
                    <a:pt x="211" y="899"/>
                    <a:pt x="211" y="899"/>
                  </a:cubicBezTo>
                  <a:cubicBezTo>
                    <a:pt x="212" y="899"/>
                    <a:pt x="212" y="899"/>
                    <a:pt x="213" y="900"/>
                  </a:cubicBezTo>
                  <a:cubicBezTo>
                    <a:pt x="213" y="900"/>
                    <a:pt x="214" y="900"/>
                    <a:pt x="214" y="900"/>
                  </a:cubicBezTo>
                  <a:cubicBezTo>
                    <a:pt x="216" y="901"/>
                    <a:pt x="217" y="901"/>
                    <a:pt x="219" y="902"/>
                  </a:cubicBezTo>
                  <a:cubicBezTo>
                    <a:pt x="219" y="902"/>
                    <a:pt x="219" y="901"/>
                    <a:pt x="220" y="901"/>
                  </a:cubicBezTo>
                  <a:cubicBezTo>
                    <a:pt x="219" y="901"/>
                    <a:pt x="218" y="901"/>
                    <a:pt x="217" y="900"/>
                  </a:cubicBezTo>
                  <a:cubicBezTo>
                    <a:pt x="216" y="900"/>
                    <a:pt x="216" y="900"/>
                    <a:pt x="215" y="899"/>
                  </a:cubicBezTo>
                  <a:cubicBezTo>
                    <a:pt x="214" y="899"/>
                    <a:pt x="213" y="899"/>
                    <a:pt x="212" y="898"/>
                  </a:cubicBezTo>
                  <a:moveTo>
                    <a:pt x="221" y="902"/>
                  </a:moveTo>
                  <a:cubicBezTo>
                    <a:pt x="221" y="902"/>
                    <a:pt x="220" y="902"/>
                    <a:pt x="220" y="902"/>
                  </a:cubicBezTo>
                  <a:cubicBezTo>
                    <a:pt x="221" y="903"/>
                    <a:pt x="221" y="903"/>
                    <a:pt x="222" y="903"/>
                  </a:cubicBezTo>
                  <a:cubicBezTo>
                    <a:pt x="223" y="903"/>
                    <a:pt x="223" y="903"/>
                    <a:pt x="223" y="903"/>
                  </a:cubicBezTo>
                  <a:cubicBezTo>
                    <a:pt x="223" y="903"/>
                    <a:pt x="223" y="902"/>
                    <a:pt x="223" y="902"/>
                  </a:cubicBezTo>
                  <a:cubicBezTo>
                    <a:pt x="222" y="902"/>
                    <a:pt x="222" y="902"/>
                    <a:pt x="221" y="902"/>
                  </a:cubicBezTo>
                  <a:moveTo>
                    <a:pt x="225" y="903"/>
                  </a:moveTo>
                  <a:cubicBezTo>
                    <a:pt x="224" y="903"/>
                    <a:pt x="224" y="904"/>
                    <a:pt x="224" y="904"/>
                  </a:cubicBezTo>
                  <a:cubicBezTo>
                    <a:pt x="224" y="904"/>
                    <a:pt x="224" y="904"/>
                    <a:pt x="225" y="904"/>
                  </a:cubicBezTo>
                  <a:cubicBezTo>
                    <a:pt x="225" y="904"/>
                    <a:pt x="226" y="905"/>
                    <a:pt x="226" y="905"/>
                  </a:cubicBezTo>
                  <a:cubicBezTo>
                    <a:pt x="227" y="905"/>
                    <a:pt x="227" y="905"/>
                    <a:pt x="228" y="905"/>
                  </a:cubicBezTo>
                  <a:cubicBezTo>
                    <a:pt x="228" y="905"/>
                    <a:pt x="228" y="905"/>
                    <a:pt x="228" y="906"/>
                  </a:cubicBezTo>
                  <a:cubicBezTo>
                    <a:pt x="229" y="905"/>
                    <a:pt x="229" y="905"/>
                    <a:pt x="230" y="905"/>
                  </a:cubicBezTo>
                  <a:cubicBezTo>
                    <a:pt x="228" y="904"/>
                    <a:pt x="226" y="904"/>
                    <a:pt x="225" y="903"/>
                  </a:cubicBezTo>
                  <a:moveTo>
                    <a:pt x="231" y="906"/>
                  </a:moveTo>
                  <a:cubicBezTo>
                    <a:pt x="230" y="906"/>
                    <a:pt x="230" y="906"/>
                    <a:pt x="230" y="906"/>
                  </a:cubicBezTo>
                  <a:cubicBezTo>
                    <a:pt x="231" y="907"/>
                    <a:pt x="232" y="907"/>
                    <a:pt x="233" y="907"/>
                  </a:cubicBezTo>
                  <a:cubicBezTo>
                    <a:pt x="234" y="908"/>
                    <a:pt x="234" y="908"/>
                    <a:pt x="234" y="908"/>
                  </a:cubicBezTo>
                  <a:cubicBezTo>
                    <a:pt x="235" y="908"/>
                    <a:pt x="235" y="908"/>
                    <a:pt x="236" y="908"/>
                  </a:cubicBezTo>
                  <a:cubicBezTo>
                    <a:pt x="236" y="908"/>
                    <a:pt x="237" y="908"/>
                    <a:pt x="237" y="908"/>
                  </a:cubicBezTo>
                  <a:cubicBezTo>
                    <a:pt x="236" y="908"/>
                    <a:pt x="236" y="907"/>
                    <a:pt x="235" y="907"/>
                  </a:cubicBezTo>
                  <a:cubicBezTo>
                    <a:pt x="235" y="907"/>
                    <a:pt x="235" y="907"/>
                    <a:pt x="234" y="907"/>
                  </a:cubicBezTo>
                  <a:cubicBezTo>
                    <a:pt x="233" y="906"/>
                    <a:pt x="232" y="906"/>
                    <a:pt x="231" y="906"/>
                  </a:cubicBezTo>
                  <a:moveTo>
                    <a:pt x="238" y="908"/>
                  </a:moveTo>
                  <a:cubicBezTo>
                    <a:pt x="238" y="909"/>
                    <a:pt x="238" y="909"/>
                    <a:pt x="237" y="909"/>
                  </a:cubicBezTo>
                  <a:cubicBezTo>
                    <a:pt x="238" y="909"/>
                    <a:pt x="239" y="910"/>
                    <a:pt x="240" y="910"/>
                  </a:cubicBezTo>
                  <a:cubicBezTo>
                    <a:pt x="240" y="910"/>
                    <a:pt x="241" y="910"/>
                    <a:pt x="241" y="910"/>
                  </a:cubicBezTo>
                  <a:cubicBezTo>
                    <a:pt x="241" y="910"/>
                    <a:pt x="241" y="910"/>
                    <a:pt x="242" y="911"/>
                  </a:cubicBezTo>
                  <a:cubicBezTo>
                    <a:pt x="242" y="910"/>
                    <a:pt x="243" y="910"/>
                    <a:pt x="243" y="910"/>
                  </a:cubicBezTo>
                  <a:cubicBezTo>
                    <a:pt x="243" y="910"/>
                    <a:pt x="242" y="910"/>
                    <a:pt x="242" y="910"/>
                  </a:cubicBezTo>
                  <a:cubicBezTo>
                    <a:pt x="242" y="910"/>
                    <a:pt x="241" y="909"/>
                    <a:pt x="241" y="909"/>
                  </a:cubicBezTo>
                  <a:cubicBezTo>
                    <a:pt x="240" y="909"/>
                    <a:pt x="239" y="909"/>
                    <a:pt x="238" y="908"/>
                  </a:cubicBezTo>
                  <a:moveTo>
                    <a:pt x="244" y="911"/>
                  </a:moveTo>
                  <a:cubicBezTo>
                    <a:pt x="244" y="911"/>
                    <a:pt x="244" y="911"/>
                    <a:pt x="243" y="911"/>
                  </a:cubicBezTo>
                  <a:cubicBezTo>
                    <a:pt x="244" y="911"/>
                    <a:pt x="245" y="912"/>
                    <a:pt x="246" y="912"/>
                  </a:cubicBezTo>
                  <a:cubicBezTo>
                    <a:pt x="246" y="912"/>
                    <a:pt x="247" y="912"/>
                    <a:pt x="247" y="912"/>
                  </a:cubicBezTo>
                  <a:cubicBezTo>
                    <a:pt x="246" y="911"/>
                    <a:pt x="245" y="911"/>
                    <a:pt x="244" y="911"/>
                  </a:cubicBezTo>
                  <a:moveTo>
                    <a:pt x="249" y="912"/>
                  </a:moveTo>
                  <a:cubicBezTo>
                    <a:pt x="248" y="912"/>
                    <a:pt x="248" y="913"/>
                    <a:pt x="247" y="913"/>
                  </a:cubicBezTo>
                  <a:cubicBezTo>
                    <a:pt x="250" y="914"/>
                    <a:pt x="253" y="915"/>
                    <a:pt x="255" y="916"/>
                  </a:cubicBezTo>
                  <a:cubicBezTo>
                    <a:pt x="256" y="916"/>
                    <a:pt x="257" y="916"/>
                    <a:pt x="258" y="917"/>
                  </a:cubicBezTo>
                  <a:cubicBezTo>
                    <a:pt x="268" y="920"/>
                    <a:pt x="279" y="924"/>
                    <a:pt x="290" y="928"/>
                  </a:cubicBezTo>
                  <a:cubicBezTo>
                    <a:pt x="292" y="929"/>
                    <a:pt x="294" y="930"/>
                    <a:pt x="297" y="931"/>
                  </a:cubicBezTo>
                  <a:cubicBezTo>
                    <a:pt x="298" y="931"/>
                    <a:pt x="299" y="931"/>
                    <a:pt x="300" y="932"/>
                  </a:cubicBezTo>
                  <a:cubicBezTo>
                    <a:pt x="301" y="932"/>
                    <a:pt x="301" y="932"/>
                    <a:pt x="301" y="932"/>
                  </a:cubicBezTo>
                  <a:cubicBezTo>
                    <a:pt x="301" y="932"/>
                    <a:pt x="302" y="932"/>
                    <a:pt x="302" y="932"/>
                  </a:cubicBezTo>
                  <a:cubicBezTo>
                    <a:pt x="306" y="934"/>
                    <a:pt x="310" y="935"/>
                    <a:pt x="314" y="936"/>
                  </a:cubicBezTo>
                  <a:cubicBezTo>
                    <a:pt x="314" y="937"/>
                    <a:pt x="315" y="937"/>
                    <a:pt x="315" y="937"/>
                  </a:cubicBezTo>
                  <a:cubicBezTo>
                    <a:pt x="331" y="942"/>
                    <a:pt x="346" y="948"/>
                    <a:pt x="361" y="953"/>
                  </a:cubicBezTo>
                  <a:cubicBezTo>
                    <a:pt x="353" y="950"/>
                    <a:pt x="345" y="947"/>
                    <a:pt x="337" y="944"/>
                  </a:cubicBezTo>
                  <a:cubicBezTo>
                    <a:pt x="332" y="942"/>
                    <a:pt x="327" y="940"/>
                    <a:pt x="323" y="938"/>
                  </a:cubicBezTo>
                  <a:cubicBezTo>
                    <a:pt x="323" y="938"/>
                    <a:pt x="322" y="938"/>
                    <a:pt x="322" y="938"/>
                  </a:cubicBezTo>
                  <a:cubicBezTo>
                    <a:pt x="316" y="936"/>
                    <a:pt x="309" y="934"/>
                    <a:pt x="302" y="931"/>
                  </a:cubicBezTo>
                  <a:cubicBezTo>
                    <a:pt x="298" y="930"/>
                    <a:pt x="294" y="929"/>
                    <a:pt x="290" y="927"/>
                  </a:cubicBezTo>
                  <a:cubicBezTo>
                    <a:pt x="288" y="926"/>
                    <a:pt x="286" y="926"/>
                    <a:pt x="284" y="925"/>
                  </a:cubicBezTo>
                  <a:cubicBezTo>
                    <a:pt x="284" y="925"/>
                    <a:pt x="283" y="925"/>
                    <a:pt x="283" y="925"/>
                  </a:cubicBezTo>
                  <a:cubicBezTo>
                    <a:pt x="278" y="923"/>
                    <a:pt x="274" y="921"/>
                    <a:pt x="270" y="920"/>
                  </a:cubicBezTo>
                  <a:cubicBezTo>
                    <a:pt x="265" y="918"/>
                    <a:pt x="260" y="916"/>
                    <a:pt x="255" y="915"/>
                  </a:cubicBezTo>
                  <a:cubicBezTo>
                    <a:pt x="253" y="914"/>
                    <a:pt x="251" y="913"/>
                    <a:pt x="249" y="912"/>
                  </a:cubicBezTo>
                  <a:cubicBezTo>
                    <a:pt x="249" y="912"/>
                    <a:pt x="249" y="912"/>
                    <a:pt x="249" y="912"/>
                  </a:cubicBezTo>
                  <a:moveTo>
                    <a:pt x="361" y="952"/>
                  </a:moveTo>
                  <a:cubicBezTo>
                    <a:pt x="373" y="956"/>
                    <a:pt x="384" y="960"/>
                    <a:pt x="395" y="963"/>
                  </a:cubicBezTo>
                  <a:cubicBezTo>
                    <a:pt x="389" y="961"/>
                    <a:pt x="383" y="959"/>
                    <a:pt x="376" y="956"/>
                  </a:cubicBezTo>
                  <a:cubicBezTo>
                    <a:pt x="376" y="956"/>
                    <a:pt x="375" y="956"/>
                    <a:pt x="375" y="956"/>
                  </a:cubicBezTo>
                  <a:cubicBezTo>
                    <a:pt x="374" y="956"/>
                    <a:pt x="373" y="955"/>
                    <a:pt x="372" y="955"/>
                  </a:cubicBezTo>
                  <a:cubicBezTo>
                    <a:pt x="368" y="954"/>
                    <a:pt x="365" y="953"/>
                    <a:pt x="361" y="952"/>
                  </a:cubicBezTo>
                  <a:moveTo>
                    <a:pt x="396" y="963"/>
                  </a:moveTo>
                  <a:cubicBezTo>
                    <a:pt x="402" y="965"/>
                    <a:pt x="408" y="967"/>
                    <a:pt x="414" y="970"/>
                  </a:cubicBezTo>
                  <a:cubicBezTo>
                    <a:pt x="418" y="971"/>
                    <a:pt x="422" y="972"/>
                    <a:pt x="426" y="973"/>
                  </a:cubicBezTo>
                  <a:cubicBezTo>
                    <a:pt x="426" y="973"/>
                    <a:pt x="427" y="973"/>
                    <a:pt x="427" y="974"/>
                  </a:cubicBezTo>
                  <a:cubicBezTo>
                    <a:pt x="428" y="974"/>
                    <a:pt x="429" y="974"/>
                    <a:pt x="429" y="974"/>
                  </a:cubicBezTo>
                  <a:cubicBezTo>
                    <a:pt x="425" y="973"/>
                    <a:pt x="421" y="971"/>
                    <a:pt x="417" y="969"/>
                  </a:cubicBezTo>
                  <a:cubicBezTo>
                    <a:pt x="415" y="969"/>
                    <a:pt x="414" y="969"/>
                    <a:pt x="413" y="968"/>
                  </a:cubicBezTo>
                  <a:cubicBezTo>
                    <a:pt x="413" y="968"/>
                    <a:pt x="412" y="968"/>
                    <a:pt x="411" y="968"/>
                  </a:cubicBezTo>
                  <a:cubicBezTo>
                    <a:pt x="410" y="967"/>
                    <a:pt x="409" y="967"/>
                    <a:pt x="408" y="967"/>
                  </a:cubicBezTo>
                  <a:cubicBezTo>
                    <a:pt x="406" y="966"/>
                    <a:pt x="403" y="965"/>
                    <a:pt x="400" y="964"/>
                  </a:cubicBezTo>
                  <a:cubicBezTo>
                    <a:pt x="399" y="964"/>
                    <a:pt x="399" y="964"/>
                    <a:pt x="398" y="963"/>
                  </a:cubicBezTo>
                  <a:cubicBezTo>
                    <a:pt x="397" y="963"/>
                    <a:pt x="397" y="963"/>
                    <a:pt x="396" y="963"/>
                  </a:cubicBezTo>
                  <a:cubicBezTo>
                    <a:pt x="396" y="963"/>
                    <a:pt x="396" y="963"/>
                    <a:pt x="396" y="963"/>
                  </a:cubicBezTo>
                  <a:moveTo>
                    <a:pt x="430" y="973"/>
                  </a:moveTo>
                  <a:cubicBezTo>
                    <a:pt x="434" y="975"/>
                    <a:pt x="438" y="977"/>
                    <a:pt x="442" y="978"/>
                  </a:cubicBezTo>
                  <a:cubicBezTo>
                    <a:pt x="446" y="979"/>
                    <a:pt x="450" y="980"/>
                    <a:pt x="453" y="982"/>
                  </a:cubicBezTo>
                  <a:cubicBezTo>
                    <a:pt x="454" y="982"/>
                    <a:pt x="454" y="982"/>
                    <a:pt x="455" y="982"/>
                  </a:cubicBezTo>
                  <a:cubicBezTo>
                    <a:pt x="469" y="986"/>
                    <a:pt x="482" y="990"/>
                    <a:pt x="495" y="993"/>
                  </a:cubicBezTo>
                  <a:cubicBezTo>
                    <a:pt x="495" y="993"/>
                    <a:pt x="495" y="993"/>
                    <a:pt x="496" y="993"/>
                  </a:cubicBezTo>
                  <a:cubicBezTo>
                    <a:pt x="499" y="994"/>
                    <a:pt x="503" y="995"/>
                    <a:pt x="507" y="996"/>
                  </a:cubicBezTo>
                  <a:cubicBezTo>
                    <a:pt x="507" y="996"/>
                    <a:pt x="507" y="996"/>
                    <a:pt x="508" y="997"/>
                  </a:cubicBezTo>
                  <a:cubicBezTo>
                    <a:pt x="519" y="999"/>
                    <a:pt x="530" y="1002"/>
                    <a:pt x="540" y="1004"/>
                  </a:cubicBezTo>
                  <a:cubicBezTo>
                    <a:pt x="541" y="1004"/>
                    <a:pt x="541" y="1004"/>
                    <a:pt x="542" y="1004"/>
                  </a:cubicBezTo>
                  <a:cubicBezTo>
                    <a:pt x="531" y="1001"/>
                    <a:pt x="520" y="999"/>
                    <a:pt x="507" y="995"/>
                  </a:cubicBezTo>
                  <a:cubicBezTo>
                    <a:pt x="507" y="995"/>
                    <a:pt x="506" y="995"/>
                    <a:pt x="506" y="995"/>
                  </a:cubicBezTo>
                  <a:cubicBezTo>
                    <a:pt x="503" y="994"/>
                    <a:pt x="500" y="993"/>
                    <a:pt x="496" y="993"/>
                  </a:cubicBezTo>
                  <a:cubicBezTo>
                    <a:pt x="496" y="992"/>
                    <a:pt x="496" y="992"/>
                    <a:pt x="495" y="992"/>
                  </a:cubicBezTo>
                  <a:cubicBezTo>
                    <a:pt x="483" y="989"/>
                    <a:pt x="470" y="985"/>
                    <a:pt x="455" y="981"/>
                  </a:cubicBezTo>
                  <a:cubicBezTo>
                    <a:pt x="455" y="981"/>
                    <a:pt x="455" y="981"/>
                    <a:pt x="454" y="981"/>
                  </a:cubicBezTo>
                  <a:cubicBezTo>
                    <a:pt x="446" y="978"/>
                    <a:pt x="438" y="976"/>
                    <a:pt x="430" y="973"/>
                  </a:cubicBezTo>
                  <a:moveTo>
                    <a:pt x="675" y="994"/>
                  </a:moveTo>
                  <a:cubicBezTo>
                    <a:pt x="675" y="994"/>
                    <a:pt x="675" y="994"/>
                    <a:pt x="674" y="994"/>
                  </a:cubicBezTo>
                  <a:cubicBezTo>
                    <a:pt x="674" y="995"/>
                    <a:pt x="674" y="996"/>
                    <a:pt x="674" y="997"/>
                  </a:cubicBezTo>
                  <a:cubicBezTo>
                    <a:pt x="674" y="997"/>
                    <a:pt x="675" y="997"/>
                    <a:pt x="675" y="997"/>
                  </a:cubicBezTo>
                  <a:cubicBezTo>
                    <a:pt x="675" y="997"/>
                    <a:pt x="675" y="996"/>
                    <a:pt x="675" y="995"/>
                  </a:cubicBezTo>
                  <a:cubicBezTo>
                    <a:pt x="675" y="995"/>
                    <a:pt x="675" y="994"/>
                    <a:pt x="676" y="994"/>
                  </a:cubicBezTo>
                  <a:cubicBezTo>
                    <a:pt x="676" y="994"/>
                    <a:pt x="676" y="994"/>
                    <a:pt x="676" y="994"/>
                  </a:cubicBezTo>
                  <a:cubicBezTo>
                    <a:pt x="675" y="994"/>
                    <a:pt x="675" y="994"/>
                    <a:pt x="675" y="994"/>
                  </a:cubicBezTo>
                  <a:moveTo>
                    <a:pt x="674" y="998"/>
                  </a:moveTo>
                  <a:cubicBezTo>
                    <a:pt x="673" y="999"/>
                    <a:pt x="673" y="999"/>
                    <a:pt x="673" y="999"/>
                  </a:cubicBezTo>
                  <a:cubicBezTo>
                    <a:pt x="673" y="1001"/>
                    <a:pt x="672" y="1003"/>
                    <a:pt x="671" y="1004"/>
                  </a:cubicBezTo>
                  <a:cubicBezTo>
                    <a:pt x="671" y="1004"/>
                    <a:pt x="672" y="1004"/>
                    <a:pt x="672" y="1004"/>
                  </a:cubicBezTo>
                  <a:cubicBezTo>
                    <a:pt x="673" y="1002"/>
                    <a:pt x="674" y="1001"/>
                    <a:pt x="674" y="999"/>
                  </a:cubicBezTo>
                  <a:cubicBezTo>
                    <a:pt x="675" y="999"/>
                    <a:pt x="675" y="999"/>
                    <a:pt x="675" y="998"/>
                  </a:cubicBezTo>
                  <a:cubicBezTo>
                    <a:pt x="674" y="998"/>
                    <a:pt x="674" y="998"/>
                    <a:pt x="674" y="998"/>
                  </a:cubicBezTo>
                  <a:moveTo>
                    <a:pt x="544" y="1004"/>
                  </a:moveTo>
                  <a:cubicBezTo>
                    <a:pt x="544" y="1004"/>
                    <a:pt x="543" y="1005"/>
                    <a:pt x="542" y="1005"/>
                  </a:cubicBezTo>
                  <a:cubicBezTo>
                    <a:pt x="548" y="1006"/>
                    <a:pt x="554" y="1007"/>
                    <a:pt x="559" y="1008"/>
                  </a:cubicBezTo>
                  <a:cubicBezTo>
                    <a:pt x="559" y="1009"/>
                    <a:pt x="560" y="1009"/>
                    <a:pt x="560" y="1009"/>
                  </a:cubicBezTo>
                  <a:cubicBezTo>
                    <a:pt x="561" y="1009"/>
                    <a:pt x="561" y="1009"/>
                    <a:pt x="561" y="1009"/>
                  </a:cubicBezTo>
                  <a:cubicBezTo>
                    <a:pt x="562" y="1009"/>
                    <a:pt x="562" y="1009"/>
                    <a:pt x="563" y="1009"/>
                  </a:cubicBezTo>
                  <a:cubicBezTo>
                    <a:pt x="564" y="1009"/>
                    <a:pt x="565" y="1010"/>
                    <a:pt x="567" y="1010"/>
                  </a:cubicBezTo>
                  <a:cubicBezTo>
                    <a:pt x="568" y="1010"/>
                    <a:pt x="568" y="1010"/>
                    <a:pt x="569" y="1009"/>
                  </a:cubicBezTo>
                  <a:cubicBezTo>
                    <a:pt x="568" y="1009"/>
                    <a:pt x="566" y="1009"/>
                    <a:pt x="564" y="1008"/>
                  </a:cubicBezTo>
                  <a:cubicBezTo>
                    <a:pt x="564" y="1008"/>
                    <a:pt x="563" y="1008"/>
                    <a:pt x="563" y="1008"/>
                  </a:cubicBezTo>
                  <a:cubicBezTo>
                    <a:pt x="562" y="1008"/>
                    <a:pt x="561" y="1008"/>
                    <a:pt x="560" y="1008"/>
                  </a:cubicBezTo>
                  <a:cubicBezTo>
                    <a:pt x="559" y="1007"/>
                    <a:pt x="559" y="1007"/>
                    <a:pt x="558" y="1007"/>
                  </a:cubicBezTo>
                  <a:cubicBezTo>
                    <a:pt x="554" y="1006"/>
                    <a:pt x="549" y="1005"/>
                    <a:pt x="544" y="1004"/>
                  </a:cubicBezTo>
                  <a:moveTo>
                    <a:pt x="671" y="1005"/>
                  </a:moveTo>
                  <a:cubicBezTo>
                    <a:pt x="671" y="1005"/>
                    <a:pt x="670" y="1005"/>
                    <a:pt x="670" y="1005"/>
                  </a:cubicBezTo>
                  <a:cubicBezTo>
                    <a:pt x="664" y="1011"/>
                    <a:pt x="653" y="1015"/>
                    <a:pt x="634" y="1016"/>
                  </a:cubicBezTo>
                  <a:cubicBezTo>
                    <a:pt x="633" y="1016"/>
                    <a:pt x="632" y="1016"/>
                    <a:pt x="631" y="1016"/>
                  </a:cubicBezTo>
                  <a:cubicBezTo>
                    <a:pt x="630" y="1016"/>
                    <a:pt x="630" y="1016"/>
                    <a:pt x="629" y="1016"/>
                  </a:cubicBezTo>
                  <a:cubicBezTo>
                    <a:pt x="628" y="1016"/>
                    <a:pt x="627" y="1016"/>
                    <a:pt x="626" y="1016"/>
                  </a:cubicBezTo>
                  <a:cubicBezTo>
                    <a:pt x="626" y="1016"/>
                    <a:pt x="626" y="1016"/>
                    <a:pt x="625" y="1016"/>
                  </a:cubicBezTo>
                  <a:cubicBezTo>
                    <a:pt x="618" y="1016"/>
                    <a:pt x="610" y="1015"/>
                    <a:pt x="601" y="1014"/>
                  </a:cubicBezTo>
                  <a:cubicBezTo>
                    <a:pt x="600" y="1014"/>
                    <a:pt x="599" y="1015"/>
                    <a:pt x="598" y="1015"/>
                  </a:cubicBezTo>
                  <a:cubicBezTo>
                    <a:pt x="609" y="1016"/>
                    <a:pt x="618" y="1017"/>
                    <a:pt x="626" y="1017"/>
                  </a:cubicBezTo>
                  <a:cubicBezTo>
                    <a:pt x="627" y="1017"/>
                    <a:pt x="627" y="1017"/>
                    <a:pt x="627" y="1017"/>
                  </a:cubicBezTo>
                  <a:cubicBezTo>
                    <a:pt x="628" y="1017"/>
                    <a:pt x="628" y="1017"/>
                    <a:pt x="629" y="1017"/>
                  </a:cubicBezTo>
                  <a:cubicBezTo>
                    <a:pt x="629" y="1017"/>
                    <a:pt x="629" y="1017"/>
                    <a:pt x="629" y="1017"/>
                  </a:cubicBezTo>
                  <a:cubicBezTo>
                    <a:pt x="630" y="1017"/>
                    <a:pt x="631" y="1017"/>
                    <a:pt x="631" y="1017"/>
                  </a:cubicBezTo>
                  <a:cubicBezTo>
                    <a:pt x="652" y="1017"/>
                    <a:pt x="665" y="1012"/>
                    <a:pt x="671" y="1005"/>
                  </a:cubicBezTo>
                  <a:moveTo>
                    <a:pt x="572" y="1010"/>
                  </a:moveTo>
                  <a:cubicBezTo>
                    <a:pt x="571" y="1010"/>
                    <a:pt x="570" y="1010"/>
                    <a:pt x="569" y="1010"/>
                  </a:cubicBezTo>
                  <a:cubicBezTo>
                    <a:pt x="575" y="1011"/>
                    <a:pt x="580" y="1012"/>
                    <a:pt x="586" y="1013"/>
                  </a:cubicBezTo>
                  <a:cubicBezTo>
                    <a:pt x="586" y="1013"/>
                    <a:pt x="587" y="1013"/>
                    <a:pt x="587" y="1013"/>
                  </a:cubicBezTo>
                  <a:cubicBezTo>
                    <a:pt x="590" y="1014"/>
                    <a:pt x="593" y="1014"/>
                    <a:pt x="595" y="1015"/>
                  </a:cubicBezTo>
                  <a:cubicBezTo>
                    <a:pt x="596" y="1014"/>
                    <a:pt x="597" y="1014"/>
                    <a:pt x="598" y="1014"/>
                  </a:cubicBezTo>
                  <a:cubicBezTo>
                    <a:pt x="595" y="1014"/>
                    <a:pt x="592" y="1013"/>
                    <a:pt x="589" y="1013"/>
                  </a:cubicBezTo>
                  <a:cubicBezTo>
                    <a:pt x="588" y="1013"/>
                    <a:pt x="588" y="1012"/>
                    <a:pt x="587" y="1012"/>
                  </a:cubicBezTo>
                  <a:cubicBezTo>
                    <a:pt x="582" y="1012"/>
                    <a:pt x="577" y="1011"/>
                    <a:pt x="572" y="1010"/>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52" name="Freeform 81"/>
            <p:cNvSpPr>
              <a:spLocks noEditPoints="1"/>
            </p:cNvSpPr>
            <p:nvPr userDrawn="1"/>
          </p:nvSpPr>
          <p:spPr bwMode="auto">
            <a:xfrm>
              <a:off x="1887" y="3182"/>
              <a:ext cx="3409" cy="2274"/>
            </a:xfrm>
            <a:custGeom>
              <a:avLst/>
              <a:gdLst>
                <a:gd name="T0" fmla="*/ 2147483646 w 1682"/>
                <a:gd name="T1" fmla="*/ 2147483646 h 1121"/>
                <a:gd name="T2" fmla="*/ 2147483646 w 1682"/>
                <a:gd name="T3" fmla="*/ 2147483646 h 1121"/>
                <a:gd name="T4" fmla="*/ 2147483646 w 1682"/>
                <a:gd name="T5" fmla="*/ 2147483646 h 1121"/>
                <a:gd name="T6" fmla="*/ 2147483646 w 1682"/>
                <a:gd name="T7" fmla="*/ 2147483646 h 1121"/>
                <a:gd name="T8" fmla="*/ 2147483646 w 1682"/>
                <a:gd name="T9" fmla="*/ 2147483646 h 1121"/>
                <a:gd name="T10" fmla="*/ 2147483646 w 1682"/>
                <a:gd name="T11" fmla="*/ 2147483646 h 1121"/>
                <a:gd name="T12" fmla="*/ 2147483646 w 1682"/>
                <a:gd name="T13" fmla="*/ 2147483646 h 1121"/>
                <a:gd name="T14" fmla="*/ 2147483646 w 1682"/>
                <a:gd name="T15" fmla="*/ 2147483646 h 1121"/>
                <a:gd name="T16" fmla="*/ 2147483646 w 1682"/>
                <a:gd name="T17" fmla="*/ 2147483646 h 1121"/>
                <a:gd name="T18" fmla="*/ 2147483646 w 1682"/>
                <a:gd name="T19" fmla="*/ 2147483646 h 1121"/>
                <a:gd name="T20" fmla="*/ 2147483646 w 1682"/>
                <a:gd name="T21" fmla="*/ 2147483646 h 1121"/>
                <a:gd name="T22" fmla="*/ 2147483646 w 1682"/>
                <a:gd name="T23" fmla="*/ 2147483646 h 1121"/>
                <a:gd name="T24" fmla="*/ 2147483646 w 1682"/>
                <a:gd name="T25" fmla="*/ 2147483646 h 1121"/>
                <a:gd name="T26" fmla="*/ 2147483646 w 1682"/>
                <a:gd name="T27" fmla="*/ 2147483646 h 1121"/>
                <a:gd name="T28" fmla="*/ 2147483646 w 1682"/>
                <a:gd name="T29" fmla="*/ 2147483646 h 1121"/>
                <a:gd name="T30" fmla="*/ 2147483646 w 1682"/>
                <a:gd name="T31" fmla="*/ 2147483646 h 1121"/>
                <a:gd name="T32" fmla="*/ 2147483646 w 1682"/>
                <a:gd name="T33" fmla="*/ 2147483646 h 1121"/>
                <a:gd name="T34" fmla="*/ 2147483646 w 1682"/>
                <a:gd name="T35" fmla="*/ 2147483646 h 1121"/>
                <a:gd name="T36" fmla="*/ 2147483646 w 1682"/>
                <a:gd name="T37" fmla="*/ 2147483646 h 1121"/>
                <a:gd name="T38" fmla="*/ 2147483646 w 1682"/>
                <a:gd name="T39" fmla="*/ 2147483646 h 1121"/>
                <a:gd name="T40" fmla="*/ 2147483646 w 1682"/>
                <a:gd name="T41" fmla="*/ 2147483646 h 1121"/>
                <a:gd name="T42" fmla="*/ 2147483646 w 1682"/>
                <a:gd name="T43" fmla="*/ 2147483646 h 1121"/>
                <a:gd name="T44" fmla="*/ 2147483646 w 1682"/>
                <a:gd name="T45" fmla="*/ 2147483646 h 1121"/>
                <a:gd name="T46" fmla="*/ 2147483646 w 1682"/>
                <a:gd name="T47" fmla="*/ 2147483646 h 1121"/>
                <a:gd name="T48" fmla="*/ 2147483646 w 1682"/>
                <a:gd name="T49" fmla="*/ 2147483646 h 1121"/>
                <a:gd name="T50" fmla="*/ 2147483646 w 1682"/>
                <a:gd name="T51" fmla="*/ 2147483646 h 1121"/>
                <a:gd name="T52" fmla="*/ 2147483646 w 1682"/>
                <a:gd name="T53" fmla="*/ 2147483646 h 1121"/>
                <a:gd name="T54" fmla="*/ 2147483646 w 1682"/>
                <a:gd name="T55" fmla="*/ 2147483646 h 1121"/>
                <a:gd name="T56" fmla="*/ 2147483646 w 1682"/>
                <a:gd name="T57" fmla="*/ 2147483646 h 1121"/>
                <a:gd name="T58" fmla="*/ 2147483646 w 1682"/>
                <a:gd name="T59" fmla="*/ 2147483646 h 1121"/>
                <a:gd name="T60" fmla="*/ 2147483646 w 1682"/>
                <a:gd name="T61" fmla="*/ 2147483646 h 1121"/>
                <a:gd name="T62" fmla="*/ 2147483646 w 1682"/>
                <a:gd name="T63" fmla="*/ 2147483646 h 1121"/>
                <a:gd name="T64" fmla="*/ 2147483646 w 1682"/>
                <a:gd name="T65" fmla="*/ 2147483646 h 1121"/>
                <a:gd name="T66" fmla="*/ 2147483646 w 1682"/>
                <a:gd name="T67" fmla="*/ 2147483646 h 1121"/>
                <a:gd name="T68" fmla="*/ 2147483646 w 1682"/>
                <a:gd name="T69" fmla="*/ 2147483646 h 1121"/>
                <a:gd name="T70" fmla="*/ 2147483646 w 1682"/>
                <a:gd name="T71" fmla="*/ 2147483646 h 1121"/>
                <a:gd name="T72" fmla="*/ 2147483646 w 1682"/>
                <a:gd name="T73" fmla="*/ 2147483646 h 1121"/>
                <a:gd name="T74" fmla="*/ 2147483646 w 1682"/>
                <a:gd name="T75" fmla="*/ 2147483646 h 1121"/>
                <a:gd name="T76" fmla="*/ 2147483646 w 1682"/>
                <a:gd name="T77" fmla="*/ 2147483646 h 1121"/>
                <a:gd name="T78" fmla="*/ 2147483646 w 1682"/>
                <a:gd name="T79" fmla="*/ 2147483646 h 1121"/>
                <a:gd name="T80" fmla="*/ 2147483646 w 1682"/>
                <a:gd name="T81" fmla="*/ 2147483646 h 1121"/>
                <a:gd name="T82" fmla="*/ 2147483646 w 1682"/>
                <a:gd name="T83" fmla="*/ 2147483646 h 1121"/>
                <a:gd name="T84" fmla="*/ 2147483646 w 1682"/>
                <a:gd name="T85" fmla="*/ 2147483646 h 1121"/>
                <a:gd name="T86" fmla="*/ 2147483646 w 1682"/>
                <a:gd name="T87" fmla="*/ 2147483646 h 1121"/>
                <a:gd name="T88" fmla="*/ 2147483646 w 1682"/>
                <a:gd name="T89" fmla="*/ 2147483646 h 1121"/>
                <a:gd name="T90" fmla="*/ 2147483646 w 1682"/>
                <a:gd name="T91" fmla="*/ 2147483646 h 1121"/>
                <a:gd name="T92" fmla="*/ 2147483646 w 1682"/>
                <a:gd name="T93" fmla="*/ 2147483646 h 1121"/>
                <a:gd name="T94" fmla="*/ 2147483646 w 1682"/>
                <a:gd name="T95" fmla="*/ 2147483646 h 1121"/>
                <a:gd name="T96" fmla="*/ 2147483646 w 1682"/>
                <a:gd name="T97" fmla="*/ 2147483646 h 1121"/>
                <a:gd name="T98" fmla="*/ 2147483646 w 1682"/>
                <a:gd name="T99" fmla="*/ 2147483646 h 1121"/>
                <a:gd name="T100" fmla="*/ 2147483646 w 1682"/>
                <a:gd name="T101" fmla="*/ 2147483646 h 1121"/>
                <a:gd name="T102" fmla="*/ 2147483646 w 1682"/>
                <a:gd name="T103" fmla="*/ 2147483646 h 1121"/>
                <a:gd name="T104" fmla="*/ 2147483646 w 1682"/>
                <a:gd name="T105" fmla="*/ 2147483646 h 1121"/>
                <a:gd name="T106" fmla="*/ 2147483646 w 1682"/>
                <a:gd name="T107" fmla="*/ 2147483646 h 1121"/>
                <a:gd name="T108" fmla="*/ 2147483646 w 1682"/>
                <a:gd name="T109" fmla="*/ 2147483646 h 1121"/>
                <a:gd name="T110" fmla="*/ 2147483646 w 1682"/>
                <a:gd name="T111" fmla="*/ 2147483646 h 1121"/>
                <a:gd name="T112" fmla="*/ 2147483646 w 1682"/>
                <a:gd name="T113" fmla="*/ 2147483646 h 1121"/>
                <a:gd name="T114" fmla="*/ 2147483646 w 1682"/>
                <a:gd name="T115" fmla="*/ 2147483646 h 1121"/>
                <a:gd name="T116" fmla="*/ 2147483646 w 1682"/>
                <a:gd name="T117" fmla="*/ 2147483646 h 1121"/>
                <a:gd name="T118" fmla="*/ 2147483646 w 1682"/>
                <a:gd name="T119" fmla="*/ 2147483646 h 1121"/>
                <a:gd name="T120" fmla="*/ 2147483646 w 1682"/>
                <a:gd name="T121" fmla="*/ 2147483646 h 11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682" h="1121">
                  <a:moveTo>
                    <a:pt x="1575" y="0"/>
                  </a:moveTo>
                  <a:cubicBezTo>
                    <a:pt x="1563" y="0"/>
                    <a:pt x="1550" y="3"/>
                    <a:pt x="1537" y="8"/>
                  </a:cubicBezTo>
                  <a:cubicBezTo>
                    <a:pt x="1537" y="8"/>
                    <a:pt x="1536" y="9"/>
                    <a:pt x="1535" y="10"/>
                  </a:cubicBezTo>
                  <a:cubicBezTo>
                    <a:pt x="1549" y="4"/>
                    <a:pt x="1562" y="1"/>
                    <a:pt x="1575" y="1"/>
                  </a:cubicBezTo>
                  <a:cubicBezTo>
                    <a:pt x="1585" y="1"/>
                    <a:pt x="1594" y="3"/>
                    <a:pt x="1603" y="6"/>
                  </a:cubicBezTo>
                  <a:cubicBezTo>
                    <a:pt x="1603" y="6"/>
                    <a:pt x="1604" y="6"/>
                    <a:pt x="1604" y="6"/>
                  </a:cubicBezTo>
                  <a:cubicBezTo>
                    <a:pt x="1595" y="2"/>
                    <a:pt x="1585" y="0"/>
                    <a:pt x="1575" y="0"/>
                  </a:cubicBezTo>
                  <a:moveTo>
                    <a:pt x="1606" y="6"/>
                  </a:moveTo>
                  <a:cubicBezTo>
                    <a:pt x="1605" y="7"/>
                    <a:pt x="1605" y="7"/>
                    <a:pt x="1604" y="7"/>
                  </a:cubicBezTo>
                  <a:cubicBezTo>
                    <a:pt x="1618" y="13"/>
                    <a:pt x="1631" y="24"/>
                    <a:pt x="1644" y="41"/>
                  </a:cubicBezTo>
                  <a:cubicBezTo>
                    <a:pt x="1644" y="41"/>
                    <a:pt x="1644" y="41"/>
                    <a:pt x="1645" y="41"/>
                  </a:cubicBezTo>
                  <a:cubicBezTo>
                    <a:pt x="1633" y="24"/>
                    <a:pt x="1620" y="13"/>
                    <a:pt x="1606" y="6"/>
                  </a:cubicBezTo>
                  <a:moveTo>
                    <a:pt x="1534" y="9"/>
                  </a:moveTo>
                  <a:cubicBezTo>
                    <a:pt x="1528" y="12"/>
                    <a:pt x="1522" y="15"/>
                    <a:pt x="1515" y="19"/>
                  </a:cubicBezTo>
                  <a:cubicBezTo>
                    <a:pt x="1514" y="19"/>
                    <a:pt x="1514" y="20"/>
                    <a:pt x="1513" y="21"/>
                  </a:cubicBezTo>
                  <a:cubicBezTo>
                    <a:pt x="1519" y="17"/>
                    <a:pt x="1526" y="14"/>
                    <a:pt x="1532" y="11"/>
                  </a:cubicBezTo>
                  <a:cubicBezTo>
                    <a:pt x="1533" y="10"/>
                    <a:pt x="1534" y="10"/>
                    <a:pt x="1534" y="9"/>
                  </a:cubicBezTo>
                  <a:moveTo>
                    <a:pt x="1512" y="20"/>
                  </a:moveTo>
                  <a:cubicBezTo>
                    <a:pt x="1508" y="23"/>
                    <a:pt x="1504" y="25"/>
                    <a:pt x="1500" y="28"/>
                  </a:cubicBezTo>
                  <a:cubicBezTo>
                    <a:pt x="1500" y="29"/>
                    <a:pt x="1499" y="29"/>
                    <a:pt x="1498" y="30"/>
                  </a:cubicBezTo>
                  <a:cubicBezTo>
                    <a:pt x="1502" y="28"/>
                    <a:pt x="1506" y="25"/>
                    <a:pt x="1510" y="23"/>
                  </a:cubicBezTo>
                  <a:cubicBezTo>
                    <a:pt x="1510" y="22"/>
                    <a:pt x="1511" y="21"/>
                    <a:pt x="1512" y="20"/>
                  </a:cubicBezTo>
                  <a:moveTo>
                    <a:pt x="1497" y="30"/>
                  </a:moveTo>
                  <a:cubicBezTo>
                    <a:pt x="1491" y="34"/>
                    <a:pt x="1485" y="39"/>
                    <a:pt x="1479" y="44"/>
                  </a:cubicBezTo>
                  <a:cubicBezTo>
                    <a:pt x="1477" y="46"/>
                    <a:pt x="1475" y="47"/>
                    <a:pt x="1474" y="49"/>
                  </a:cubicBezTo>
                  <a:cubicBezTo>
                    <a:pt x="1481" y="43"/>
                    <a:pt x="1488" y="38"/>
                    <a:pt x="1495" y="33"/>
                  </a:cubicBezTo>
                  <a:cubicBezTo>
                    <a:pt x="1496" y="32"/>
                    <a:pt x="1496" y="31"/>
                    <a:pt x="1497" y="30"/>
                  </a:cubicBezTo>
                  <a:moveTo>
                    <a:pt x="1644" y="42"/>
                  </a:moveTo>
                  <a:cubicBezTo>
                    <a:pt x="1645" y="43"/>
                    <a:pt x="1646" y="45"/>
                    <a:pt x="1647" y="46"/>
                  </a:cubicBezTo>
                  <a:cubicBezTo>
                    <a:pt x="1658" y="62"/>
                    <a:pt x="1666" y="79"/>
                    <a:pt x="1671" y="97"/>
                  </a:cubicBezTo>
                  <a:cubicBezTo>
                    <a:pt x="1672" y="97"/>
                    <a:pt x="1672" y="97"/>
                    <a:pt x="1673" y="98"/>
                  </a:cubicBezTo>
                  <a:cubicBezTo>
                    <a:pt x="1667" y="79"/>
                    <a:pt x="1659" y="62"/>
                    <a:pt x="1648" y="45"/>
                  </a:cubicBezTo>
                  <a:cubicBezTo>
                    <a:pt x="1647" y="44"/>
                    <a:pt x="1646" y="43"/>
                    <a:pt x="1646" y="42"/>
                  </a:cubicBezTo>
                  <a:cubicBezTo>
                    <a:pt x="1645" y="42"/>
                    <a:pt x="1645" y="42"/>
                    <a:pt x="1644" y="42"/>
                  </a:cubicBezTo>
                  <a:moveTo>
                    <a:pt x="1473" y="49"/>
                  </a:moveTo>
                  <a:cubicBezTo>
                    <a:pt x="1454" y="64"/>
                    <a:pt x="1434" y="83"/>
                    <a:pt x="1415" y="105"/>
                  </a:cubicBezTo>
                  <a:cubicBezTo>
                    <a:pt x="1413" y="106"/>
                    <a:pt x="1412" y="108"/>
                    <a:pt x="1411" y="109"/>
                  </a:cubicBezTo>
                  <a:cubicBezTo>
                    <a:pt x="1399" y="122"/>
                    <a:pt x="1387" y="135"/>
                    <a:pt x="1376" y="149"/>
                  </a:cubicBezTo>
                  <a:cubicBezTo>
                    <a:pt x="1375" y="150"/>
                    <a:pt x="1375" y="150"/>
                    <a:pt x="1375" y="151"/>
                  </a:cubicBezTo>
                  <a:cubicBezTo>
                    <a:pt x="1357" y="173"/>
                    <a:pt x="1339" y="195"/>
                    <a:pt x="1321" y="219"/>
                  </a:cubicBezTo>
                  <a:cubicBezTo>
                    <a:pt x="1321" y="219"/>
                    <a:pt x="1321" y="219"/>
                    <a:pt x="1321" y="220"/>
                  </a:cubicBezTo>
                  <a:cubicBezTo>
                    <a:pt x="1293" y="257"/>
                    <a:pt x="1265" y="296"/>
                    <a:pt x="1240" y="332"/>
                  </a:cubicBezTo>
                  <a:cubicBezTo>
                    <a:pt x="1240" y="332"/>
                    <a:pt x="1241" y="331"/>
                    <a:pt x="1241" y="331"/>
                  </a:cubicBezTo>
                  <a:cubicBezTo>
                    <a:pt x="1267" y="295"/>
                    <a:pt x="1294" y="257"/>
                    <a:pt x="1321" y="220"/>
                  </a:cubicBezTo>
                  <a:cubicBezTo>
                    <a:pt x="1322" y="220"/>
                    <a:pt x="1322" y="220"/>
                    <a:pt x="1322" y="219"/>
                  </a:cubicBezTo>
                  <a:cubicBezTo>
                    <a:pt x="1340" y="196"/>
                    <a:pt x="1358" y="172"/>
                    <a:pt x="1377" y="150"/>
                  </a:cubicBezTo>
                  <a:cubicBezTo>
                    <a:pt x="1377" y="149"/>
                    <a:pt x="1378" y="149"/>
                    <a:pt x="1378" y="148"/>
                  </a:cubicBezTo>
                  <a:cubicBezTo>
                    <a:pt x="1391" y="133"/>
                    <a:pt x="1403" y="119"/>
                    <a:pt x="1416" y="105"/>
                  </a:cubicBezTo>
                  <a:cubicBezTo>
                    <a:pt x="1417" y="104"/>
                    <a:pt x="1418" y="102"/>
                    <a:pt x="1419" y="101"/>
                  </a:cubicBezTo>
                  <a:cubicBezTo>
                    <a:pt x="1436" y="84"/>
                    <a:pt x="1452" y="68"/>
                    <a:pt x="1468" y="54"/>
                  </a:cubicBezTo>
                  <a:cubicBezTo>
                    <a:pt x="1469" y="52"/>
                    <a:pt x="1471" y="50"/>
                    <a:pt x="1473" y="49"/>
                  </a:cubicBezTo>
                  <a:moveTo>
                    <a:pt x="1672" y="98"/>
                  </a:moveTo>
                  <a:cubicBezTo>
                    <a:pt x="1677" y="116"/>
                    <a:pt x="1680" y="134"/>
                    <a:pt x="1681" y="153"/>
                  </a:cubicBezTo>
                  <a:cubicBezTo>
                    <a:pt x="1681" y="153"/>
                    <a:pt x="1682" y="153"/>
                    <a:pt x="1682" y="153"/>
                  </a:cubicBezTo>
                  <a:cubicBezTo>
                    <a:pt x="1681" y="135"/>
                    <a:pt x="1678" y="116"/>
                    <a:pt x="1673" y="99"/>
                  </a:cubicBezTo>
                  <a:cubicBezTo>
                    <a:pt x="1673" y="99"/>
                    <a:pt x="1672" y="98"/>
                    <a:pt x="1672" y="98"/>
                  </a:cubicBezTo>
                  <a:moveTo>
                    <a:pt x="1681" y="154"/>
                  </a:moveTo>
                  <a:cubicBezTo>
                    <a:pt x="1681" y="157"/>
                    <a:pt x="1681" y="160"/>
                    <a:pt x="1681" y="162"/>
                  </a:cubicBezTo>
                  <a:cubicBezTo>
                    <a:pt x="1681" y="175"/>
                    <a:pt x="1680" y="188"/>
                    <a:pt x="1678" y="201"/>
                  </a:cubicBezTo>
                  <a:cubicBezTo>
                    <a:pt x="1679" y="201"/>
                    <a:pt x="1679" y="201"/>
                    <a:pt x="1679" y="201"/>
                  </a:cubicBezTo>
                  <a:cubicBezTo>
                    <a:pt x="1681" y="188"/>
                    <a:pt x="1682" y="175"/>
                    <a:pt x="1682" y="162"/>
                  </a:cubicBezTo>
                  <a:cubicBezTo>
                    <a:pt x="1682" y="160"/>
                    <a:pt x="1682" y="157"/>
                    <a:pt x="1682" y="155"/>
                  </a:cubicBezTo>
                  <a:cubicBezTo>
                    <a:pt x="1682" y="154"/>
                    <a:pt x="1681" y="154"/>
                    <a:pt x="1681" y="154"/>
                  </a:cubicBezTo>
                  <a:moveTo>
                    <a:pt x="1678" y="202"/>
                  </a:moveTo>
                  <a:cubicBezTo>
                    <a:pt x="1676" y="215"/>
                    <a:pt x="1673" y="229"/>
                    <a:pt x="1669" y="243"/>
                  </a:cubicBezTo>
                  <a:cubicBezTo>
                    <a:pt x="1669" y="243"/>
                    <a:pt x="1669" y="243"/>
                    <a:pt x="1670" y="244"/>
                  </a:cubicBezTo>
                  <a:cubicBezTo>
                    <a:pt x="1674" y="230"/>
                    <a:pt x="1677" y="216"/>
                    <a:pt x="1679" y="202"/>
                  </a:cubicBezTo>
                  <a:cubicBezTo>
                    <a:pt x="1679" y="202"/>
                    <a:pt x="1678" y="202"/>
                    <a:pt x="1678" y="202"/>
                  </a:cubicBezTo>
                  <a:moveTo>
                    <a:pt x="1669" y="244"/>
                  </a:moveTo>
                  <a:cubicBezTo>
                    <a:pt x="1665" y="256"/>
                    <a:pt x="1660" y="269"/>
                    <a:pt x="1655" y="281"/>
                  </a:cubicBezTo>
                  <a:cubicBezTo>
                    <a:pt x="1656" y="281"/>
                    <a:pt x="1656" y="282"/>
                    <a:pt x="1656" y="282"/>
                  </a:cubicBezTo>
                  <a:cubicBezTo>
                    <a:pt x="1661" y="269"/>
                    <a:pt x="1666" y="257"/>
                    <a:pt x="1669" y="245"/>
                  </a:cubicBezTo>
                  <a:cubicBezTo>
                    <a:pt x="1669" y="244"/>
                    <a:pt x="1669" y="244"/>
                    <a:pt x="1669" y="244"/>
                  </a:cubicBezTo>
                  <a:moveTo>
                    <a:pt x="1655" y="282"/>
                  </a:moveTo>
                  <a:cubicBezTo>
                    <a:pt x="1650" y="293"/>
                    <a:pt x="1645" y="305"/>
                    <a:pt x="1639" y="316"/>
                  </a:cubicBezTo>
                  <a:cubicBezTo>
                    <a:pt x="1639" y="316"/>
                    <a:pt x="1640" y="316"/>
                    <a:pt x="1640" y="317"/>
                  </a:cubicBezTo>
                  <a:cubicBezTo>
                    <a:pt x="1646" y="305"/>
                    <a:pt x="1651" y="294"/>
                    <a:pt x="1656" y="283"/>
                  </a:cubicBezTo>
                  <a:cubicBezTo>
                    <a:pt x="1655" y="282"/>
                    <a:pt x="1655" y="282"/>
                    <a:pt x="1655" y="282"/>
                  </a:cubicBezTo>
                  <a:moveTo>
                    <a:pt x="1639" y="317"/>
                  </a:moveTo>
                  <a:cubicBezTo>
                    <a:pt x="1633" y="327"/>
                    <a:pt x="1627" y="338"/>
                    <a:pt x="1621" y="348"/>
                  </a:cubicBezTo>
                  <a:cubicBezTo>
                    <a:pt x="1621" y="348"/>
                    <a:pt x="1621" y="349"/>
                    <a:pt x="1622" y="349"/>
                  </a:cubicBezTo>
                  <a:cubicBezTo>
                    <a:pt x="1628" y="338"/>
                    <a:pt x="1634" y="328"/>
                    <a:pt x="1639" y="317"/>
                  </a:cubicBezTo>
                  <a:cubicBezTo>
                    <a:pt x="1639" y="317"/>
                    <a:pt x="1639" y="317"/>
                    <a:pt x="1639" y="317"/>
                  </a:cubicBezTo>
                  <a:moveTo>
                    <a:pt x="990" y="329"/>
                  </a:moveTo>
                  <a:cubicBezTo>
                    <a:pt x="989" y="329"/>
                    <a:pt x="988" y="329"/>
                    <a:pt x="987" y="329"/>
                  </a:cubicBezTo>
                  <a:cubicBezTo>
                    <a:pt x="987" y="330"/>
                    <a:pt x="986" y="330"/>
                    <a:pt x="985" y="330"/>
                  </a:cubicBezTo>
                  <a:cubicBezTo>
                    <a:pt x="987" y="330"/>
                    <a:pt x="988" y="330"/>
                    <a:pt x="990" y="330"/>
                  </a:cubicBezTo>
                  <a:cubicBezTo>
                    <a:pt x="998" y="330"/>
                    <a:pt x="1005" y="331"/>
                    <a:pt x="1012" y="332"/>
                  </a:cubicBezTo>
                  <a:cubicBezTo>
                    <a:pt x="1013" y="332"/>
                    <a:pt x="1013" y="332"/>
                    <a:pt x="1013" y="332"/>
                  </a:cubicBezTo>
                  <a:cubicBezTo>
                    <a:pt x="1006" y="330"/>
                    <a:pt x="998" y="329"/>
                    <a:pt x="990" y="329"/>
                  </a:cubicBezTo>
                  <a:moveTo>
                    <a:pt x="985" y="329"/>
                  </a:moveTo>
                  <a:cubicBezTo>
                    <a:pt x="967" y="330"/>
                    <a:pt x="948" y="334"/>
                    <a:pt x="930" y="340"/>
                  </a:cubicBezTo>
                  <a:cubicBezTo>
                    <a:pt x="929" y="341"/>
                    <a:pt x="928" y="341"/>
                    <a:pt x="927" y="341"/>
                  </a:cubicBezTo>
                  <a:cubicBezTo>
                    <a:pt x="919" y="344"/>
                    <a:pt x="912" y="348"/>
                    <a:pt x="905" y="351"/>
                  </a:cubicBezTo>
                  <a:cubicBezTo>
                    <a:pt x="904" y="352"/>
                    <a:pt x="904" y="352"/>
                    <a:pt x="903" y="352"/>
                  </a:cubicBezTo>
                  <a:cubicBezTo>
                    <a:pt x="896" y="356"/>
                    <a:pt x="889" y="361"/>
                    <a:pt x="882" y="366"/>
                  </a:cubicBezTo>
                  <a:cubicBezTo>
                    <a:pt x="882" y="367"/>
                    <a:pt x="881" y="367"/>
                    <a:pt x="881" y="367"/>
                  </a:cubicBezTo>
                  <a:cubicBezTo>
                    <a:pt x="873" y="373"/>
                    <a:pt x="867" y="380"/>
                    <a:pt x="861" y="387"/>
                  </a:cubicBezTo>
                  <a:cubicBezTo>
                    <a:pt x="861" y="387"/>
                    <a:pt x="860" y="387"/>
                    <a:pt x="860" y="388"/>
                  </a:cubicBezTo>
                  <a:cubicBezTo>
                    <a:pt x="852" y="398"/>
                    <a:pt x="846" y="409"/>
                    <a:pt x="843" y="421"/>
                  </a:cubicBezTo>
                  <a:cubicBezTo>
                    <a:pt x="843" y="422"/>
                    <a:pt x="843" y="422"/>
                    <a:pt x="843" y="422"/>
                  </a:cubicBezTo>
                  <a:cubicBezTo>
                    <a:pt x="841" y="429"/>
                    <a:pt x="840" y="436"/>
                    <a:pt x="840" y="443"/>
                  </a:cubicBezTo>
                  <a:cubicBezTo>
                    <a:pt x="840" y="445"/>
                    <a:pt x="840" y="448"/>
                    <a:pt x="841" y="450"/>
                  </a:cubicBezTo>
                  <a:cubicBezTo>
                    <a:pt x="841" y="454"/>
                    <a:pt x="841" y="458"/>
                    <a:pt x="841" y="462"/>
                  </a:cubicBezTo>
                  <a:cubicBezTo>
                    <a:pt x="841" y="473"/>
                    <a:pt x="840" y="484"/>
                    <a:pt x="838" y="495"/>
                  </a:cubicBezTo>
                  <a:cubicBezTo>
                    <a:pt x="837" y="495"/>
                    <a:pt x="837" y="496"/>
                    <a:pt x="837" y="497"/>
                  </a:cubicBezTo>
                  <a:cubicBezTo>
                    <a:pt x="837" y="498"/>
                    <a:pt x="836" y="500"/>
                    <a:pt x="836" y="501"/>
                  </a:cubicBezTo>
                  <a:cubicBezTo>
                    <a:pt x="836" y="502"/>
                    <a:pt x="836" y="502"/>
                    <a:pt x="836" y="503"/>
                  </a:cubicBezTo>
                  <a:cubicBezTo>
                    <a:pt x="835" y="506"/>
                    <a:pt x="834" y="510"/>
                    <a:pt x="832" y="513"/>
                  </a:cubicBezTo>
                  <a:cubicBezTo>
                    <a:pt x="833" y="513"/>
                    <a:pt x="833" y="513"/>
                    <a:pt x="834" y="512"/>
                  </a:cubicBezTo>
                  <a:cubicBezTo>
                    <a:pt x="835" y="510"/>
                    <a:pt x="836" y="507"/>
                    <a:pt x="836" y="504"/>
                  </a:cubicBezTo>
                  <a:cubicBezTo>
                    <a:pt x="836" y="503"/>
                    <a:pt x="837" y="503"/>
                    <a:pt x="837" y="502"/>
                  </a:cubicBezTo>
                  <a:cubicBezTo>
                    <a:pt x="837" y="500"/>
                    <a:pt x="838" y="498"/>
                    <a:pt x="838" y="495"/>
                  </a:cubicBezTo>
                  <a:cubicBezTo>
                    <a:pt x="839" y="494"/>
                    <a:pt x="839" y="494"/>
                    <a:pt x="839" y="493"/>
                  </a:cubicBezTo>
                  <a:cubicBezTo>
                    <a:pt x="841" y="483"/>
                    <a:pt x="842" y="472"/>
                    <a:pt x="842" y="462"/>
                  </a:cubicBezTo>
                  <a:cubicBezTo>
                    <a:pt x="842" y="458"/>
                    <a:pt x="842" y="454"/>
                    <a:pt x="842" y="450"/>
                  </a:cubicBezTo>
                  <a:cubicBezTo>
                    <a:pt x="841" y="448"/>
                    <a:pt x="841" y="445"/>
                    <a:pt x="841" y="443"/>
                  </a:cubicBezTo>
                  <a:cubicBezTo>
                    <a:pt x="841" y="436"/>
                    <a:pt x="842" y="429"/>
                    <a:pt x="844" y="423"/>
                  </a:cubicBezTo>
                  <a:cubicBezTo>
                    <a:pt x="844" y="423"/>
                    <a:pt x="844" y="422"/>
                    <a:pt x="844" y="422"/>
                  </a:cubicBezTo>
                  <a:cubicBezTo>
                    <a:pt x="847" y="410"/>
                    <a:pt x="853" y="398"/>
                    <a:pt x="861" y="388"/>
                  </a:cubicBezTo>
                  <a:cubicBezTo>
                    <a:pt x="861" y="388"/>
                    <a:pt x="862" y="388"/>
                    <a:pt x="862" y="387"/>
                  </a:cubicBezTo>
                  <a:cubicBezTo>
                    <a:pt x="868" y="380"/>
                    <a:pt x="874" y="373"/>
                    <a:pt x="882" y="367"/>
                  </a:cubicBezTo>
                  <a:cubicBezTo>
                    <a:pt x="882" y="367"/>
                    <a:pt x="883" y="367"/>
                    <a:pt x="883" y="367"/>
                  </a:cubicBezTo>
                  <a:cubicBezTo>
                    <a:pt x="886" y="364"/>
                    <a:pt x="889" y="362"/>
                    <a:pt x="892" y="360"/>
                  </a:cubicBezTo>
                  <a:cubicBezTo>
                    <a:pt x="896" y="357"/>
                    <a:pt x="901" y="355"/>
                    <a:pt x="905" y="352"/>
                  </a:cubicBezTo>
                  <a:cubicBezTo>
                    <a:pt x="906" y="352"/>
                    <a:pt x="906" y="352"/>
                    <a:pt x="907" y="352"/>
                  </a:cubicBezTo>
                  <a:cubicBezTo>
                    <a:pt x="914" y="348"/>
                    <a:pt x="922" y="344"/>
                    <a:pt x="930" y="341"/>
                  </a:cubicBezTo>
                  <a:cubicBezTo>
                    <a:pt x="931" y="341"/>
                    <a:pt x="932" y="341"/>
                    <a:pt x="933" y="340"/>
                  </a:cubicBezTo>
                  <a:cubicBezTo>
                    <a:pt x="950" y="335"/>
                    <a:pt x="966" y="331"/>
                    <a:pt x="982" y="330"/>
                  </a:cubicBezTo>
                  <a:cubicBezTo>
                    <a:pt x="983" y="330"/>
                    <a:pt x="984" y="330"/>
                    <a:pt x="985" y="329"/>
                  </a:cubicBezTo>
                  <a:moveTo>
                    <a:pt x="1015" y="332"/>
                  </a:moveTo>
                  <a:cubicBezTo>
                    <a:pt x="1014" y="332"/>
                    <a:pt x="1014" y="332"/>
                    <a:pt x="1014" y="333"/>
                  </a:cubicBezTo>
                  <a:cubicBezTo>
                    <a:pt x="1024" y="335"/>
                    <a:pt x="1033" y="339"/>
                    <a:pt x="1040" y="345"/>
                  </a:cubicBezTo>
                  <a:cubicBezTo>
                    <a:pt x="1040" y="345"/>
                    <a:pt x="1040" y="345"/>
                    <a:pt x="1041" y="345"/>
                  </a:cubicBezTo>
                  <a:cubicBezTo>
                    <a:pt x="1034" y="339"/>
                    <a:pt x="1025" y="334"/>
                    <a:pt x="1015" y="332"/>
                  </a:cubicBezTo>
                  <a:moveTo>
                    <a:pt x="1240" y="333"/>
                  </a:moveTo>
                  <a:cubicBezTo>
                    <a:pt x="1240" y="333"/>
                    <a:pt x="1239" y="333"/>
                    <a:pt x="1239" y="333"/>
                  </a:cubicBezTo>
                  <a:cubicBezTo>
                    <a:pt x="1236" y="337"/>
                    <a:pt x="1234" y="340"/>
                    <a:pt x="1232" y="343"/>
                  </a:cubicBezTo>
                  <a:cubicBezTo>
                    <a:pt x="1232" y="343"/>
                    <a:pt x="1231" y="344"/>
                    <a:pt x="1231" y="344"/>
                  </a:cubicBezTo>
                  <a:cubicBezTo>
                    <a:pt x="1230" y="345"/>
                    <a:pt x="1230" y="346"/>
                    <a:pt x="1229" y="347"/>
                  </a:cubicBezTo>
                  <a:cubicBezTo>
                    <a:pt x="1229" y="347"/>
                    <a:pt x="1230" y="347"/>
                    <a:pt x="1230" y="347"/>
                  </a:cubicBezTo>
                  <a:cubicBezTo>
                    <a:pt x="1230" y="347"/>
                    <a:pt x="1231" y="347"/>
                    <a:pt x="1231" y="346"/>
                  </a:cubicBezTo>
                  <a:cubicBezTo>
                    <a:pt x="1231" y="346"/>
                    <a:pt x="1232" y="345"/>
                    <a:pt x="1232" y="345"/>
                  </a:cubicBezTo>
                  <a:cubicBezTo>
                    <a:pt x="1235" y="341"/>
                    <a:pt x="1238" y="337"/>
                    <a:pt x="1240" y="333"/>
                  </a:cubicBezTo>
                  <a:moveTo>
                    <a:pt x="1042" y="345"/>
                  </a:moveTo>
                  <a:cubicBezTo>
                    <a:pt x="1041" y="345"/>
                    <a:pt x="1041" y="346"/>
                    <a:pt x="1041" y="346"/>
                  </a:cubicBezTo>
                  <a:cubicBezTo>
                    <a:pt x="1047" y="352"/>
                    <a:pt x="1051" y="360"/>
                    <a:pt x="1051" y="370"/>
                  </a:cubicBezTo>
                  <a:cubicBezTo>
                    <a:pt x="1052" y="370"/>
                    <a:pt x="1052" y="370"/>
                    <a:pt x="1052" y="370"/>
                  </a:cubicBezTo>
                  <a:cubicBezTo>
                    <a:pt x="1052" y="360"/>
                    <a:pt x="1048" y="352"/>
                    <a:pt x="1042" y="345"/>
                  </a:cubicBezTo>
                  <a:moveTo>
                    <a:pt x="1229" y="348"/>
                  </a:moveTo>
                  <a:cubicBezTo>
                    <a:pt x="1229" y="348"/>
                    <a:pt x="1229" y="348"/>
                    <a:pt x="1228" y="348"/>
                  </a:cubicBezTo>
                  <a:cubicBezTo>
                    <a:pt x="1226" y="351"/>
                    <a:pt x="1224" y="354"/>
                    <a:pt x="1223" y="356"/>
                  </a:cubicBezTo>
                  <a:cubicBezTo>
                    <a:pt x="1224" y="355"/>
                    <a:pt x="1226" y="353"/>
                    <a:pt x="1227" y="352"/>
                  </a:cubicBezTo>
                  <a:cubicBezTo>
                    <a:pt x="1228" y="350"/>
                    <a:pt x="1229" y="349"/>
                    <a:pt x="1229" y="348"/>
                  </a:cubicBezTo>
                  <a:moveTo>
                    <a:pt x="1620" y="349"/>
                  </a:moveTo>
                  <a:cubicBezTo>
                    <a:pt x="1612" y="363"/>
                    <a:pt x="1602" y="378"/>
                    <a:pt x="1592" y="392"/>
                  </a:cubicBezTo>
                  <a:cubicBezTo>
                    <a:pt x="1592" y="392"/>
                    <a:pt x="1592" y="392"/>
                    <a:pt x="1593" y="392"/>
                  </a:cubicBezTo>
                  <a:cubicBezTo>
                    <a:pt x="1603" y="378"/>
                    <a:pt x="1612" y="364"/>
                    <a:pt x="1621" y="350"/>
                  </a:cubicBezTo>
                  <a:cubicBezTo>
                    <a:pt x="1621" y="350"/>
                    <a:pt x="1621" y="349"/>
                    <a:pt x="1620" y="349"/>
                  </a:cubicBezTo>
                  <a:moveTo>
                    <a:pt x="1223" y="357"/>
                  </a:moveTo>
                  <a:cubicBezTo>
                    <a:pt x="1222" y="359"/>
                    <a:pt x="1220" y="360"/>
                    <a:pt x="1218" y="362"/>
                  </a:cubicBezTo>
                  <a:cubicBezTo>
                    <a:pt x="1215" y="367"/>
                    <a:pt x="1211" y="372"/>
                    <a:pt x="1208" y="377"/>
                  </a:cubicBezTo>
                  <a:cubicBezTo>
                    <a:pt x="1208" y="377"/>
                    <a:pt x="1209" y="377"/>
                    <a:pt x="1209" y="377"/>
                  </a:cubicBezTo>
                  <a:cubicBezTo>
                    <a:pt x="1214" y="370"/>
                    <a:pt x="1219" y="364"/>
                    <a:pt x="1223" y="357"/>
                  </a:cubicBezTo>
                  <a:moveTo>
                    <a:pt x="1053" y="371"/>
                  </a:moveTo>
                  <a:cubicBezTo>
                    <a:pt x="1052" y="371"/>
                    <a:pt x="1052" y="371"/>
                    <a:pt x="1052" y="371"/>
                  </a:cubicBezTo>
                  <a:cubicBezTo>
                    <a:pt x="1052" y="372"/>
                    <a:pt x="1052" y="372"/>
                    <a:pt x="1052" y="372"/>
                  </a:cubicBezTo>
                  <a:cubicBezTo>
                    <a:pt x="1052" y="384"/>
                    <a:pt x="1047" y="398"/>
                    <a:pt x="1037" y="415"/>
                  </a:cubicBezTo>
                  <a:cubicBezTo>
                    <a:pt x="1036" y="417"/>
                    <a:pt x="1036" y="418"/>
                    <a:pt x="1035" y="419"/>
                  </a:cubicBezTo>
                  <a:cubicBezTo>
                    <a:pt x="1036" y="419"/>
                    <a:pt x="1036" y="419"/>
                    <a:pt x="1036" y="418"/>
                  </a:cubicBezTo>
                  <a:cubicBezTo>
                    <a:pt x="1037" y="418"/>
                    <a:pt x="1037" y="417"/>
                    <a:pt x="1038" y="416"/>
                  </a:cubicBezTo>
                  <a:cubicBezTo>
                    <a:pt x="1048" y="399"/>
                    <a:pt x="1053" y="384"/>
                    <a:pt x="1053" y="372"/>
                  </a:cubicBezTo>
                  <a:cubicBezTo>
                    <a:pt x="1053" y="372"/>
                    <a:pt x="1053" y="371"/>
                    <a:pt x="1053" y="371"/>
                  </a:cubicBezTo>
                  <a:moveTo>
                    <a:pt x="1207" y="378"/>
                  </a:moveTo>
                  <a:cubicBezTo>
                    <a:pt x="1199" y="389"/>
                    <a:pt x="1191" y="400"/>
                    <a:pt x="1184" y="411"/>
                  </a:cubicBezTo>
                  <a:cubicBezTo>
                    <a:pt x="1184" y="411"/>
                    <a:pt x="1184" y="411"/>
                    <a:pt x="1185" y="411"/>
                  </a:cubicBezTo>
                  <a:cubicBezTo>
                    <a:pt x="1192" y="401"/>
                    <a:pt x="1200" y="389"/>
                    <a:pt x="1208" y="378"/>
                  </a:cubicBezTo>
                  <a:cubicBezTo>
                    <a:pt x="1208" y="378"/>
                    <a:pt x="1208" y="378"/>
                    <a:pt x="1207" y="378"/>
                  </a:cubicBezTo>
                  <a:moveTo>
                    <a:pt x="1591" y="392"/>
                  </a:moveTo>
                  <a:cubicBezTo>
                    <a:pt x="1579" y="409"/>
                    <a:pt x="1566" y="425"/>
                    <a:pt x="1552" y="442"/>
                  </a:cubicBezTo>
                  <a:cubicBezTo>
                    <a:pt x="1552" y="442"/>
                    <a:pt x="1552" y="442"/>
                    <a:pt x="1553" y="443"/>
                  </a:cubicBezTo>
                  <a:cubicBezTo>
                    <a:pt x="1567" y="426"/>
                    <a:pt x="1580" y="410"/>
                    <a:pt x="1592" y="393"/>
                  </a:cubicBezTo>
                  <a:cubicBezTo>
                    <a:pt x="1592" y="393"/>
                    <a:pt x="1592" y="393"/>
                    <a:pt x="1591" y="392"/>
                  </a:cubicBezTo>
                  <a:moveTo>
                    <a:pt x="1183" y="412"/>
                  </a:moveTo>
                  <a:cubicBezTo>
                    <a:pt x="1180" y="416"/>
                    <a:pt x="1178" y="419"/>
                    <a:pt x="1175" y="423"/>
                  </a:cubicBezTo>
                  <a:cubicBezTo>
                    <a:pt x="1174" y="425"/>
                    <a:pt x="1172" y="427"/>
                    <a:pt x="1171" y="430"/>
                  </a:cubicBezTo>
                  <a:cubicBezTo>
                    <a:pt x="1175" y="424"/>
                    <a:pt x="1180" y="418"/>
                    <a:pt x="1184" y="412"/>
                  </a:cubicBezTo>
                  <a:cubicBezTo>
                    <a:pt x="1184" y="412"/>
                    <a:pt x="1183" y="412"/>
                    <a:pt x="1183" y="412"/>
                  </a:cubicBezTo>
                  <a:moveTo>
                    <a:pt x="1036" y="420"/>
                  </a:moveTo>
                  <a:cubicBezTo>
                    <a:pt x="1036" y="420"/>
                    <a:pt x="1035" y="420"/>
                    <a:pt x="1035" y="420"/>
                  </a:cubicBezTo>
                  <a:cubicBezTo>
                    <a:pt x="1035" y="420"/>
                    <a:pt x="1036" y="420"/>
                    <a:pt x="1036" y="420"/>
                  </a:cubicBezTo>
                  <a:cubicBezTo>
                    <a:pt x="1036" y="420"/>
                    <a:pt x="1036" y="420"/>
                    <a:pt x="1036" y="420"/>
                  </a:cubicBezTo>
                  <a:moveTo>
                    <a:pt x="1035" y="421"/>
                  </a:moveTo>
                  <a:cubicBezTo>
                    <a:pt x="1035" y="421"/>
                    <a:pt x="1034" y="421"/>
                    <a:pt x="1034" y="421"/>
                  </a:cubicBezTo>
                  <a:cubicBezTo>
                    <a:pt x="1031" y="426"/>
                    <a:pt x="1029" y="430"/>
                    <a:pt x="1027" y="434"/>
                  </a:cubicBezTo>
                  <a:cubicBezTo>
                    <a:pt x="1027" y="433"/>
                    <a:pt x="1028" y="433"/>
                    <a:pt x="1029" y="432"/>
                  </a:cubicBezTo>
                  <a:cubicBezTo>
                    <a:pt x="1031" y="428"/>
                    <a:pt x="1033" y="425"/>
                    <a:pt x="1035" y="421"/>
                  </a:cubicBezTo>
                  <a:moveTo>
                    <a:pt x="1170" y="429"/>
                  </a:moveTo>
                  <a:cubicBezTo>
                    <a:pt x="1168" y="432"/>
                    <a:pt x="1166" y="435"/>
                    <a:pt x="1164" y="437"/>
                  </a:cubicBezTo>
                  <a:cubicBezTo>
                    <a:pt x="1165" y="437"/>
                    <a:pt x="1165" y="437"/>
                    <a:pt x="1166" y="437"/>
                  </a:cubicBezTo>
                  <a:cubicBezTo>
                    <a:pt x="1166" y="437"/>
                    <a:pt x="1166" y="436"/>
                    <a:pt x="1167" y="435"/>
                  </a:cubicBezTo>
                  <a:cubicBezTo>
                    <a:pt x="1168" y="433"/>
                    <a:pt x="1169" y="431"/>
                    <a:pt x="1170" y="429"/>
                  </a:cubicBezTo>
                  <a:moveTo>
                    <a:pt x="1028" y="435"/>
                  </a:moveTo>
                  <a:cubicBezTo>
                    <a:pt x="1027" y="435"/>
                    <a:pt x="1026" y="436"/>
                    <a:pt x="1025" y="437"/>
                  </a:cubicBezTo>
                  <a:cubicBezTo>
                    <a:pt x="1024" y="439"/>
                    <a:pt x="1023" y="442"/>
                    <a:pt x="1022" y="444"/>
                  </a:cubicBezTo>
                  <a:cubicBezTo>
                    <a:pt x="1022" y="444"/>
                    <a:pt x="1023" y="444"/>
                    <a:pt x="1023" y="444"/>
                  </a:cubicBezTo>
                  <a:cubicBezTo>
                    <a:pt x="1024" y="441"/>
                    <a:pt x="1026" y="438"/>
                    <a:pt x="1028" y="435"/>
                  </a:cubicBezTo>
                  <a:moveTo>
                    <a:pt x="1164" y="438"/>
                  </a:moveTo>
                  <a:cubicBezTo>
                    <a:pt x="1155" y="450"/>
                    <a:pt x="1147" y="460"/>
                    <a:pt x="1139" y="470"/>
                  </a:cubicBezTo>
                  <a:cubicBezTo>
                    <a:pt x="1139" y="470"/>
                    <a:pt x="1140" y="470"/>
                    <a:pt x="1140" y="470"/>
                  </a:cubicBezTo>
                  <a:cubicBezTo>
                    <a:pt x="1148" y="460"/>
                    <a:pt x="1156" y="450"/>
                    <a:pt x="1165" y="438"/>
                  </a:cubicBezTo>
                  <a:cubicBezTo>
                    <a:pt x="1164" y="438"/>
                    <a:pt x="1164" y="438"/>
                    <a:pt x="1164" y="438"/>
                  </a:cubicBezTo>
                  <a:moveTo>
                    <a:pt x="1551" y="442"/>
                  </a:moveTo>
                  <a:cubicBezTo>
                    <a:pt x="1536" y="459"/>
                    <a:pt x="1521" y="476"/>
                    <a:pt x="1504" y="493"/>
                  </a:cubicBezTo>
                  <a:cubicBezTo>
                    <a:pt x="1504" y="493"/>
                    <a:pt x="1504" y="493"/>
                    <a:pt x="1504" y="494"/>
                  </a:cubicBezTo>
                  <a:cubicBezTo>
                    <a:pt x="1521" y="477"/>
                    <a:pt x="1537" y="460"/>
                    <a:pt x="1552" y="443"/>
                  </a:cubicBezTo>
                  <a:cubicBezTo>
                    <a:pt x="1552" y="443"/>
                    <a:pt x="1551" y="443"/>
                    <a:pt x="1551" y="442"/>
                  </a:cubicBezTo>
                  <a:moveTo>
                    <a:pt x="1022" y="445"/>
                  </a:moveTo>
                  <a:cubicBezTo>
                    <a:pt x="1022" y="445"/>
                    <a:pt x="1022" y="445"/>
                    <a:pt x="1021" y="445"/>
                  </a:cubicBezTo>
                  <a:cubicBezTo>
                    <a:pt x="1020" y="448"/>
                    <a:pt x="1019" y="451"/>
                    <a:pt x="1018" y="454"/>
                  </a:cubicBezTo>
                  <a:cubicBezTo>
                    <a:pt x="1018" y="454"/>
                    <a:pt x="1018" y="453"/>
                    <a:pt x="1019" y="453"/>
                  </a:cubicBezTo>
                  <a:cubicBezTo>
                    <a:pt x="1020" y="451"/>
                    <a:pt x="1021" y="448"/>
                    <a:pt x="1022" y="445"/>
                  </a:cubicBezTo>
                  <a:moveTo>
                    <a:pt x="1018" y="454"/>
                  </a:moveTo>
                  <a:cubicBezTo>
                    <a:pt x="1018" y="455"/>
                    <a:pt x="1018" y="455"/>
                    <a:pt x="1017" y="455"/>
                  </a:cubicBezTo>
                  <a:cubicBezTo>
                    <a:pt x="1016" y="459"/>
                    <a:pt x="1014" y="463"/>
                    <a:pt x="1013" y="466"/>
                  </a:cubicBezTo>
                  <a:cubicBezTo>
                    <a:pt x="1013" y="467"/>
                    <a:pt x="1012" y="468"/>
                    <a:pt x="1012" y="469"/>
                  </a:cubicBezTo>
                  <a:cubicBezTo>
                    <a:pt x="1012" y="469"/>
                    <a:pt x="1012" y="469"/>
                    <a:pt x="1012" y="469"/>
                  </a:cubicBezTo>
                  <a:cubicBezTo>
                    <a:pt x="1012" y="469"/>
                    <a:pt x="1013" y="469"/>
                    <a:pt x="1013" y="469"/>
                  </a:cubicBezTo>
                  <a:cubicBezTo>
                    <a:pt x="1013" y="468"/>
                    <a:pt x="1014" y="467"/>
                    <a:pt x="1014" y="467"/>
                  </a:cubicBezTo>
                  <a:cubicBezTo>
                    <a:pt x="1014" y="466"/>
                    <a:pt x="1014" y="465"/>
                    <a:pt x="1015" y="464"/>
                  </a:cubicBezTo>
                  <a:cubicBezTo>
                    <a:pt x="1016" y="461"/>
                    <a:pt x="1017" y="458"/>
                    <a:pt x="1018" y="454"/>
                  </a:cubicBezTo>
                  <a:moveTo>
                    <a:pt x="1013" y="470"/>
                  </a:moveTo>
                  <a:cubicBezTo>
                    <a:pt x="1012" y="470"/>
                    <a:pt x="1012" y="470"/>
                    <a:pt x="1012" y="470"/>
                  </a:cubicBezTo>
                  <a:cubicBezTo>
                    <a:pt x="1010" y="474"/>
                    <a:pt x="1009" y="478"/>
                    <a:pt x="1009" y="482"/>
                  </a:cubicBezTo>
                  <a:cubicBezTo>
                    <a:pt x="1009" y="482"/>
                    <a:pt x="1009" y="482"/>
                    <a:pt x="1010" y="482"/>
                  </a:cubicBezTo>
                  <a:cubicBezTo>
                    <a:pt x="1010" y="478"/>
                    <a:pt x="1012" y="474"/>
                    <a:pt x="1013" y="470"/>
                  </a:cubicBezTo>
                  <a:moveTo>
                    <a:pt x="1138" y="471"/>
                  </a:moveTo>
                  <a:cubicBezTo>
                    <a:pt x="1133" y="477"/>
                    <a:pt x="1128" y="482"/>
                    <a:pt x="1124" y="487"/>
                  </a:cubicBezTo>
                  <a:cubicBezTo>
                    <a:pt x="1124" y="487"/>
                    <a:pt x="1124" y="488"/>
                    <a:pt x="1125" y="488"/>
                  </a:cubicBezTo>
                  <a:cubicBezTo>
                    <a:pt x="1129" y="483"/>
                    <a:pt x="1134" y="477"/>
                    <a:pt x="1139" y="471"/>
                  </a:cubicBezTo>
                  <a:cubicBezTo>
                    <a:pt x="1139" y="471"/>
                    <a:pt x="1138" y="471"/>
                    <a:pt x="1138" y="471"/>
                  </a:cubicBezTo>
                  <a:moveTo>
                    <a:pt x="1010" y="483"/>
                  </a:moveTo>
                  <a:cubicBezTo>
                    <a:pt x="1009" y="483"/>
                    <a:pt x="1009" y="483"/>
                    <a:pt x="1008" y="483"/>
                  </a:cubicBezTo>
                  <a:cubicBezTo>
                    <a:pt x="1008" y="485"/>
                    <a:pt x="1008" y="487"/>
                    <a:pt x="1008" y="488"/>
                  </a:cubicBezTo>
                  <a:cubicBezTo>
                    <a:pt x="1008" y="489"/>
                    <a:pt x="1008" y="490"/>
                    <a:pt x="1008" y="490"/>
                  </a:cubicBezTo>
                  <a:cubicBezTo>
                    <a:pt x="1007" y="493"/>
                    <a:pt x="1007" y="495"/>
                    <a:pt x="1007" y="497"/>
                  </a:cubicBezTo>
                  <a:cubicBezTo>
                    <a:pt x="1007" y="497"/>
                    <a:pt x="1007" y="497"/>
                    <a:pt x="1007" y="497"/>
                  </a:cubicBezTo>
                  <a:cubicBezTo>
                    <a:pt x="1007" y="497"/>
                    <a:pt x="1007" y="497"/>
                    <a:pt x="1007" y="497"/>
                  </a:cubicBezTo>
                  <a:cubicBezTo>
                    <a:pt x="1008" y="497"/>
                    <a:pt x="1008" y="497"/>
                    <a:pt x="1008" y="497"/>
                  </a:cubicBezTo>
                  <a:cubicBezTo>
                    <a:pt x="1008" y="497"/>
                    <a:pt x="1008" y="497"/>
                    <a:pt x="1008" y="497"/>
                  </a:cubicBezTo>
                  <a:cubicBezTo>
                    <a:pt x="1008" y="494"/>
                    <a:pt x="1008" y="492"/>
                    <a:pt x="1009" y="489"/>
                  </a:cubicBezTo>
                  <a:cubicBezTo>
                    <a:pt x="1009" y="488"/>
                    <a:pt x="1009" y="487"/>
                    <a:pt x="1009" y="487"/>
                  </a:cubicBezTo>
                  <a:cubicBezTo>
                    <a:pt x="1009" y="486"/>
                    <a:pt x="1009" y="484"/>
                    <a:pt x="1010" y="483"/>
                  </a:cubicBezTo>
                  <a:moveTo>
                    <a:pt x="1123" y="488"/>
                  </a:moveTo>
                  <a:cubicBezTo>
                    <a:pt x="1122" y="489"/>
                    <a:pt x="1122" y="489"/>
                    <a:pt x="1122" y="489"/>
                  </a:cubicBezTo>
                  <a:cubicBezTo>
                    <a:pt x="1117" y="494"/>
                    <a:pt x="1112" y="499"/>
                    <a:pt x="1107" y="503"/>
                  </a:cubicBezTo>
                  <a:cubicBezTo>
                    <a:pt x="1107" y="503"/>
                    <a:pt x="1108" y="503"/>
                    <a:pt x="1108" y="504"/>
                  </a:cubicBezTo>
                  <a:cubicBezTo>
                    <a:pt x="1113" y="499"/>
                    <a:pt x="1118" y="495"/>
                    <a:pt x="1122" y="490"/>
                  </a:cubicBezTo>
                  <a:cubicBezTo>
                    <a:pt x="1123" y="490"/>
                    <a:pt x="1123" y="489"/>
                    <a:pt x="1124" y="488"/>
                  </a:cubicBezTo>
                  <a:cubicBezTo>
                    <a:pt x="1124" y="488"/>
                    <a:pt x="1123" y="488"/>
                    <a:pt x="1123" y="488"/>
                  </a:cubicBezTo>
                  <a:moveTo>
                    <a:pt x="1503" y="493"/>
                  </a:moveTo>
                  <a:cubicBezTo>
                    <a:pt x="1486" y="511"/>
                    <a:pt x="1467" y="528"/>
                    <a:pt x="1447" y="544"/>
                  </a:cubicBezTo>
                  <a:cubicBezTo>
                    <a:pt x="1447" y="545"/>
                    <a:pt x="1447" y="545"/>
                    <a:pt x="1447" y="545"/>
                  </a:cubicBezTo>
                  <a:cubicBezTo>
                    <a:pt x="1467" y="529"/>
                    <a:pt x="1486" y="512"/>
                    <a:pt x="1504" y="494"/>
                  </a:cubicBezTo>
                  <a:cubicBezTo>
                    <a:pt x="1503" y="494"/>
                    <a:pt x="1503" y="494"/>
                    <a:pt x="1503" y="493"/>
                  </a:cubicBezTo>
                  <a:moveTo>
                    <a:pt x="1008" y="498"/>
                  </a:moveTo>
                  <a:cubicBezTo>
                    <a:pt x="1007" y="498"/>
                    <a:pt x="1007" y="498"/>
                    <a:pt x="1007" y="498"/>
                  </a:cubicBezTo>
                  <a:cubicBezTo>
                    <a:pt x="1007" y="498"/>
                    <a:pt x="1007" y="498"/>
                    <a:pt x="1007" y="498"/>
                  </a:cubicBezTo>
                  <a:cubicBezTo>
                    <a:pt x="1007" y="502"/>
                    <a:pt x="1008" y="505"/>
                    <a:pt x="1008" y="507"/>
                  </a:cubicBezTo>
                  <a:cubicBezTo>
                    <a:pt x="1009" y="507"/>
                    <a:pt x="1009" y="507"/>
                    <a:pt x="1009" y="507"/>
                  </a:cubicBezTo>
                  <a:cubicBezTo>
                    <a:pt x="1009" y="505"/>
                    <a:pt x="1008" y="502"/>
                    <a:pt x="1008" y="498"/>
                  </a:cubicBezTo>
                  <a:cubicBezTo>
                    <a:pt x="1008" y="498"/>
                    <a:pt x="1008" y="498"/>
                    <a:pt x="1008" y="498"/>
                  </a:cubicBezTo>
                  <a:moveTo>
                    <a:pt x="1106" y="504"/>
                  </a:moveTo>
                  <a:cubicBezTo>
                    <a:pt x="1105" y="505"/>
                    <a:pt x="1103" y="506"/>
                    <a:pt x="1102" y="507"/>
                  </a:cubicBezTo>
                  <a:cubicBezTo>
                    <a:pt x="1102" y="507"/>
                    <a:pt x="1102" y="507"/>
                    <a:pt x="1102" y="507"/>
                  </a:cubicBezTo>
                  <a:cubicBezTo>
                    <a:pt x="1103" y="507"/>
                    <a:pt x="1104" y="507"/>
                    <a:pt x="1104" y="507"/>
                  </a:cubicBezTo>
                  <a:cubicBezTo>
                    <a:pt x="1105" y="506"/>
                    <a:pt x="1106" y="505"/>
                    <a:pt x="1107" y="504"/>
                  </a:cubicBezTo>
                  <a:cubicBezTo>
                    <a:pt x="1107" y="504"/>
                    <a:pt x="1106" y="504"/>
                    <a:pt x="1106" y="504"/>
                  </a:cubicBezTo>
                  <a:moveTo>
                    <a:pt x="1009" y="508"/>
                  </a:moveTo>
                  <a:cubicBezTo>
                    <a:pt x="1009" y="508"/>
                    <a:pt x="1009" y="508"/>
                    <a:pt x="1008" y="508"/>
                  </a:cubicBezTo>
                  <a:cubicBezTo>
                    <a:pt x="1009" y="511"/>
                    <a:pt x="1010" y="514"/>
                    <a:pt x="1011" y="517"/>
                  </a:cubicBezTo>
                  <a:cubicBezTo>
                    <a:pt x="1012" y="517"/>
                    <a:pt x="1012" y="517"/>
                    <a:pt x="1012" y="518"/>
                  </a:cubicBezTo>
                  <a:cubicBezTo>
                    <a:pt x="1014" y="521"/>
                    <a:pt x="1017" y="524"/>
                    <a:pt x="1020" y="527"/>
                  </a:cubicBezTo>
                  <a:cubicBezTo>
                    <a:pt x="1021" y="527"/>
                    <a:pt x="1021" y="527"/>
                    <a:pt x="1021" y="527"/>
                  </a:cubicBezTo>
                  <a:cubicBezTo>
                    <a:pt x="1022" y="528"/>
                    <a:pt x="1023" y="528"/>
                    <a:pt x="1024" y="529"/>
                  </a:cubicBezTo>
                  <a:cubicBezTo>
                    <a:pt x="1024" y="529"/>
                    <a:pt x="1024" y="529"/>
                    <a:pt x="1025" y="529"/>
                  </a:cubicBezTo>
                  <a:cubicBezTo>
                    <a:pt x="1025" y="529"/>
                    <a:pt x="1025" y="529"/>
                    <a:pt x="1026" y="529"/>
                  </a:cubicBezTo>
                  <a:cubicBezTo>
                    <a:pt x="1026" y="529"/>
                    <a:pt x="1026" y="529"/>
                    <a:pt x="1026" y="528"/>
                  </a:cubicBezTo>
                  <a:cubicBezTo>
                    <a:pt x="1026" y="528"/>
                    <a:pt x="1026" y="528"/>
                    <a:pt x="1025" y="528"/>
                  </a:cubicBezTo>
                  <a:cubicBezTo>
                    <a:pt x="1025" y="528"/>
                    <a:pt x="1025" y="528"/>
                    <a:pt x="1024" y="528"/>
                  </a:cubicBezTo>
                  <a:cubicBezTo>
                    <a:pt x="1023" y="527"/>
                    <a:pt x="1023" y="527"/>
                    <a:pt x="1022" y="526"/>
                  </a:cubicBezTo>
                  <a:cubicBezTo>
                    <a:pt x="1021" y="526"/>
                    <a:pt x="1021" y="526"/>
                    <a:pt x="1021" y="526"/>
                  </a:cubicBezTo>
                  <a:cubicBezTo>
                    <a:pt x="1018" y="523"/>
                    <a:pt x="1015" y="521"/>
                    <a:pt x="1013" y="517"/>
                  </a:cubicBezTo>
                  <a:cubicBezTo>
                    <a:pt x="1012" y="516"/>
                    <a:pt x="1012" y="516"/>
                    <a:pt x="1012" y="516"/>
                  </a:cubicBezTo>
                  <a:cubicBezTo>
                    <a:pt x="1011" y="514"/>
                    <a:pt x="1010" y="511"/>
                    <a:pt x="1009" y="508"/>
                  </a:cubicBezTo>
                  <a:moveTo>
                    <a:pt x="1102" y="508"/>
                  </a:moveTo>
                  <a:cubicBezTo>
                    <a:pt x="1101" y="508"/>
                    <a:pt x="1101" y="509"/>
                    <a:pt x="1100" y="509"/>
                  </a:cubicBezTo>
                  <a:cubicBezTo>
                    <a:pt x="1097" y="511"/>
                    <a:pt x="1093" y="513"/>
                    <a:pt x="1090" y="516"/>
                  </a:cubicBezTo>
                  <a:cubicBezTo>
                    <a:pt x="1090" y="516"/>
                    <a:pt x="1089" y="517"/>
                    <a:pt x="1089" y="517"/>
                  </a:cubicBezTo>
                  <a:cubicBezTo>
                    <a:pt x="1094" y="514"/>
                    <a:pt x="1098" y="512"/>
                    <a:pt x="1102" y="508"/>
                  </a:cubicBezTo>
                  <a:cubicBezTo>
                    <a:pt x="1102" y="508"/>
                    <a:pt x="1102" y="508"/>
                    <a:pt x="1102" y="508"/>
                  </a:cubicBezTo>
                  <a:moveTo>
                    <a:pt x="833" y="514"/>
                  </a:moveTo>
                  <a:cubicBezTo>
                    <a:pt x="833" y="514"/>
                    <a:pt x="833" y="514"/>
                    <a:pt x="832" y="514"/>
                  </a:cubicBezTo>
                  <a:cubicBezTo>
                    <a:pt x="832" y="515"/>
                    <a:pt x="832" y="515"/>
                    <a:pt x="832" y="515"/>
                  </a:cubicBezTo>
                  <a:cubicBezTo>
                    <a:pt x="831" y="518"/>
                    <a:pt x="829" y="522"/>
                    <a:pt x="828" y="526"/>
                  </a:cubicBezTo>
                  <a:cubicBezTo>
                    <a:pt x="828" y="526"/>
                    <a:pt x="828" y="526"/>
                    <a:pt x="827" y="527"/>
                  </a:cubicBezTo>
                  <a:cubicBezTo>
                    <a:pt x="827" y="528"/>
                    <a:pt x="826" y="529"/>
                    <a:pt x="826" y="531"/>
                  </a:cubicBezTo>
                  <a:cubicBezTo>
                    <a:pt x="826" y="531"/>
                    <a:pt x="826" y="531"/>
                    <a:pt x="827" y="531"/>
                  </a:cubicBezTo>
                  <a:cubicBezTo>
                    <a:pt x="827" y="529"/>
                    <a:pt x="828" y="528"/>
                    <a:pt x="828" y="527"/>
                  </a:cubicBezTo>
                  <a:cubicBezTo>
                    <a:pt x="828" y="527"/>
                    <a:pt x="829" y="527"/>
                    <a:pt x="829" y="526"/>
                  </a:cubicBezTo>
                  <a:cubicBezTo>
                    <a:pt x="830" y="522"/>
                    <a:pt x="832" y="518"/>
                    <a:pt x="833" y="514"/>
                  </a:cubicBezTo>
                  <a:moveTo>
                    <a:pt x="1088" y="516"/>
                  </a:moveTo>
                  <a:cubicBezTo>
                    <a:pt x="1087" y="517"/>
                    <a:pt x="1086" y="518"/>
                    <a:pt x="1085" y="518"/>
                  </a:cubicBezTo>
                  <a:cubicBezTo>
                    <a:pt x="1085" y="519"/>
                    <a:pt x="1085" y="519"/>
                    <a:pt x="1086" y="519"/>
                  </a:cubicBezTo>
                  <a:cubicBezTo>
                    <a:pt x="1086" y="519"/>
                    <a:pt x="1087" y="518"/>
                    <a:pt x="1088" y="518"/>
                  </a:cubicBezTo>
                  <a:cubicBezTo>
                    <a:pt x="1088" y="517"/>
                    <a:pt x="1088" y="517"/>
                    <a:pt x="1088" y="516"/>
                  </a:cubicBezTo>
                  <a:moveTo>
                    <a:pt x="1084" y="519"/>
                  </a:moveTo>
                  <a:cubicBezTo>
                    <a:pt x="1084" y="519"/>
                    <a:pt x="1084" y="519"/>
                    <a:pt x="1084" y="519"/>
                  </a:cubicBezTo>
                  <a:cubicBezTo>
                    <a:pt x="1083" y="519"/>
                    <a:pt x="1083" y="520"/>
                    <a:pt x="1082" y="520"/>
                  </a:cubicBezTo>
                  <a:cubicBezTo>
                    <a:pt x="1080" y="521"/>
                    <a:pt x="1077" y="523"/>
                    <a:pt x="1074" y="524"/>
                  </a:cubicBezTo>
                  <a:cubicBezTo>
                    <a:pt x="1074" y="524"/>
                    <a:pt x="1074" y="524"/>
                    <a:pt x="1074" y="525"/>
                  </a:cubicBezTo>
                  <a:cubicBezTo>
                    <a:pt x="1077" y="524"/>
                    <a:pt x="1079" y="523"/>
                    <a:pt x="1082" y="521"/>
                  </a:cubicBezTo>
                  <a:cubicBezTo>
                    <a:pt x="1082" y="521"/>
                    <a:pt x="1082" y="521"/>
                    <a:pt x="1083" y="521"/>
                  </a:cubicBezTo>
                  <a:cubicBezTo>
                    <a:pt x="1084" y="520"/>
                    <a:pt x="1084" y="520"/>
                    <a:pt x="1085" y="520"/>
                  </a:cubicBezTo>
                  <a:cubicBezTo>
                    <a:pt x="1085" y="519"/>
                    <a:pt x="1084" y="519"/>
                    <a:pt x="1084" y="519"/>
                  </a:cubicBezTo>
                  <a:moveTo>
                    <a:pt x="1073" y="524"/>
                  </a:moveTo>
                  <a:cubicBezTo>
                    <a:pt x="1072" y="524"/>
                    <a:pt x="1071" y="525"/>
                    <a:pt x="1070" y="525"/>
                  </a:cubicBezTo>
                  <a:cubicBezTo>
                    <a:pt x="1070" y="526"/>
                    <a:pt x="1070" y="526"/>
                    <a:pt x="1070" y="526"/>
                  </a:cubicBezTo>
                  <a:cubicBezTo>
                    <a:pt x="1071" y="526"/>
                    <a:pt x="1072" y="526"/>
                    <a:pt x="1073" y="525"/>
                  </a:cubicBezTo>
                  <a:cubicBezTo>
                    <a:pt x="1073" y="525"/>
                    <a:pt x="1073" y="524"/>
                    <a:pt x="1073" y="524"/>
                  </a:cubicBezTo>
                  <a:moveTo>
                    <a:pt x="1069" y="526"/>
                  </a:moveTo>
                  <a:cubicBezTo>
                    <a:pt x="1069" y="526"/>
                    <a:pt x="1068" y="526"/>
                    <a:pt x="1067" y="526"/>
                  </a:cubicBezTo>
                  <a:cubicBezTo>
                    <a:pt x="1067" y="527"/>
                    <a:pt x="1067" y="527"/>
                    <a:pt x="1067" y="528"/>
                  </a:cubicBezTo>
                  <a:cubicBezTo>
                    <a:pt x="1068" y="527"/>
                    <a:pt x="1068" y="527"/>
                    <a:pt x="1069" y="527"/>
                  </a:cubicBezTo>
                  <a:cubicBezTo>
                    <a:pt x="1069" y="526"/>
                    <a:pt x="1069" y="526"/>
                    <a:pt x="1069" y="526"/>
                  </a:cubicBezTo>
                  <a:moveTo>
                    <a:pt x="1066" y="527"/>
                  </a:moveTo>
                  <a:cubicBezTo>
                    <a:pt x="1065" y="527"/>
                    <a:pt x="1063" y="528"/>
                    <a:pt x="1062" y="528"/>
                  </a:cubicBezTo>
                  <a:cubicBezTo>
                    <a:pt x="1061" y="528"/>
                    <a:pt x="1060" y="529"/>
                    <a:pt x="1059" y="529"/>
                  </a:cubicBezTo>
                  <a:cubicBezTo>
                    <a:pt x="1058" y="529"/>
                    <a:pt x="1057" y="530"/>
                    <a:pt x="1055" y="530"/>
                  </a:cubicBezTo>
                  <a:cubicBezTo>
                    <a:pt x="1055" y="530"/>
                    <a:pt x="1056" y="530"/>
                    <a:pt x="1056" y="531"/>
                  </a:cubicBezTo>
                  <a:cubicBezTo>
                    <a:pt x="1056" y="531"/>
                    <a:pt x="1057" y="531"/>
                    <a:pt x="1057" y="530"/>
                  </a:cubicBezTo>
                  <a:cubicBezTo>
                    <a:pt x="1058" y="530"/>
                    <a:pt x="1059" y="530"/>
                    <a:pt x="1060" y="530"/>
                  </a:cubicBezTo>
                  <a:cubicBezTo>
                    <a:pt x="1062" y="529"/>
                    <a:pt x="1064" y="529"/>
                    <a:pt x="1066" y="528"/>
                  </a:cubicBezTo>
                  <a:cubicBezTo>
                    <a:pt x="1066" y="528"/>
                    <a:pt x="1066" y="527"/>
                    <a:pt x="1066" y="527"/>
                  </a:cubicBezTo>
                  <a:moveTo>
                    <a:pt x="1027" y="529"/>
                  </a:moveTo>
                  <a:cubicBezTo>
                    <a:pt x="1027" y="529"/>
                    <a:pt x="1027" y="529"/>
                    <a:pt x="1027" y="530"/>
                  </a:cubicBezTo>
                  <a:cubicBezTo>
                    <a:pt x="1030" y="531"/>
                    <a:pt x="1035" y="532"/>
                    <a:pt x="1039" y="532"/>
                  </a:cubicBezTo>
                  <a:cubicBezTo>
                    <a:pt x="1039" y="532"/>
                    <a:pt x="1040" y="532"/>
                    <a:pt x="1040" y="532"/>
                  </a:cubicBezTo>
                  <a:cubicBezTo>
                    <a:pt x="1041" y="532"/>
                    <a:pt x="1041" y="532"/>
                    <a:pt x="1042" y="532"/>
                  </a:cubicBezTo>
                  <a:cubicBezTo>
                    <a:pt x="1046" y="532"/>
                    <a:pt x="1050" y="532"/>
                    <a:pt x="1055" y="531"/>
                  </a:cubicBezTo>
                  <a:cubicBezTo>
                    <a:pt x="1055" y="531"/>
                    <a:pt x="1054" y="530"/>
                    <a:pt x="1054" y="530"/>
                  </a:cubicBezTo>
                  <a:cubicBezTo>
                    <a:pt x="1050" y="531"/>
                    <a:pt x="1046" y="531"/>
                    <a:pt x="1042" y="531"/>
                  </a:cubicBezTo>
                  <a:cubicBezTo>
                    <a:pt x="1042" y="531"/>
                    <a:pt x="1041" y="531"/>
                    <a:pt x="1041" y="531"/>
                  </a:cubicBezTo>
                  <a:cubicBezTo>
                    <a:pt x="1041" y="531"/>
                    <a:pt x="1041" y="531"/>
                    <a:pt x="1040" y="531"/>
                  </a:cubicBezTo>
                  <a:cubicBezTo>
                    <a:pt x="1035" y="531"/>
                    <a:pt x="1031" y="530"/>
                    <a:pt x="1027" y="529"/>
                  </a:cubicBezTo>
                  <a:moveTo>
                    <a:pt x="826" y="532"/>
                  </a:moveTo>
                  <a:cubicBezTo>
                    <a:pt x="826" y="532"/>
                    <a:pt x="826" y="532"/>
                    <a:pt x="825" y="532"/>
                  </a:cubicBezTo>
                  <a:cubicBezTo>
                    <a:pt x="823" y="536"/>
                    <a:pt x="821" y="541"/>
                    <a:pt x="819" y="546"/>
                  </a:cubicBezTo>
                  <a:cubicBezTo>
                    <a:pt x="818" y="546"/>
                    <a:pt x="818" y="546"/>
                    <a:pt x="818" y="547"/>
                  </a:cubicBezTo>
                  <a:cubicBezTo>
                    <a:pt x="816" y="551"/>
                    <a:pt x="814" y="555"/>
                    <a:pt x="811" y="559"/>
                  </a:cubicBezTo>
                  <a:cubicBezTo>
                    <a:pt x="812" y="559"/>
                    <a:pt x="812" y="559"/>
                    <a:pt x="812" y="559"/>
                  </a:cubicBezTo>
                  <a:cubicBezTo>
                    <a:pt x="815" y="555"/>
                    <a:pt x="817" y="551"/>
                    <a:pt x="819" y="547"/>
                  </a:cubicBezTo>
                  <a:cubicBezTo>
                    <a:pt x="819" y="547"/>
                    <a:pt x="819" y="547"/>
                    <a:pt x="819" y="546"/>
                  </a:cubicBezTo>
                  <a:cubicBezTo>
                    <a:pt x="822" y="541"/>
                    <a:pt x="824" y="537"/>
                    <a:pt x="826" y="532"/>
                  </a:cubicBezTo>
                  <a:moveTo>
                    <a:pt x="1446" y="545"/>
                  </a:moveTo>
                  <a:cubicBezTo>
                    <a:pt x="1425" y="563"/>
                    <a:pt x="1403" y="580"/>
                    <a:pt x="1380" y="597"/>
                  </a:cubicBezTo>
                  <a:cubicBezTo>
                    <a:pt x="1380" y="597"/>
                    <a:pt x="1380" y="598"/>
                    <a:pt x="1379" y="598"/>
                  </a:cubicBezTo>
                  <a:cubicBezTo>
                    <a:pt x="1403" y="582"/>
                    <a:pt x="1425" y="564"/>
                    <a:pt x="1446" y="546"/>
                  </a:cubicBezTo>
                  <a:cubicBezTo>
                    <a:pt x="1446" y="546"/>
                    <a:pt x="1446" y="545"/>
                    <a:pt x="1446" y="545"/>
                  </a:cubicBezTo>
                  <a:moveTo>
                    <a:pt x="812" y="560"/>
                  </a:moveTo>
                  <a:cubicBezTo>
                    <a:pt x="812" y="560"/>
                    <a:pt x="811" y="560"/>
                    <a:pt x="811" y="560"/>
                  </a:cubicBezTo>
                  <a:cubicBezTo>
                    <a:pt x="810" y="561"/>
                    <a:pt x="809" y="563"/>
                    <a:pt x="808" y="564"/>
                  </a:cubicBezTo>
                  <a:cubicBezTo>
                    <a:pt x="808" y="565"/>
                    <a:pt x="808" y="565"/>
                    <a:pt x="808" y="565"/>
                  </a:cubicBezTo>
                  <a:cubicBezTo>
                    <a:pt x="805" y="569"/>
                    <a:pt x="803" y="572"/>
                    <a:pt x="801" y="576"/>
                  </a:cubicBezTo>
                  <a:cubicBezTo>
                    <a:pt x="800" y="576"/>
                    <a:pt x="800" y="576"/>
                    <a:pt x="800" y="577"/>
                  </a:cubicBezTo>
                  <a:cubicBezTo>
                    <a:pt x="799" y="578"/>
                    <a:pt x="799" y="579"/>
                    <a:pt x="798" y="580"/>
                  </a:cubicBezTo>
                  <a:cubicBezTo>
                    <a:pt x="798" y="580"/>
                    <a:pt x="797" y="580"/>
                    <a:pt x="797" y="581"/>
                  </a:cubicBezTo>
                  <a:cubicBezTo>
                    <a:pt x="796" y="583"/>
                    <a:pt x="794" y="585"/>
                    <a:pt x="792" y="587"/>
                  </a:cubicBezTo>
                  <a:cubicBezTo>
                    <a:pt x="793" y="587"/>
                    <a:pt x="793" y="587"/>
                    <a:pt x="794" y="587"/>
                  </a:cubicBezTo>
                  <a:cubicBezTo>
                    <a:pt x="795" y="585"/>
                    <a:pt x="797" y="583"/>
                    <a:pt x="798" y="581"/>
                  </a:cubicBezTo>
                  <a:cubicBezTo>
                    <a:pt x="798" y="581"/>
                    <a:pt x="798" y="581"/>
                    <a:pt x="799" y="580"/>
                  </a:cubicBezTo>
                  <a:cubicBezTo>
                    <a:pt x="799" y="579"/>
                    <a:pt x="800" y="578"/>
                    <a:pt x="801" y="577"/>
                  </a:cubicBezTo>
                  <a:cubicBezTo>
                    <a:pt x="801" y="577"/>
                    <a:pt x="801" y="576"/>
                    <a:pt x="802" y="576"/>
                  </a:cubicBezTo>
                  <a:cubicBezTo>
                    <a:pt x="804" y="573"/>
                    <a:pt x="806" y="569"/>
                    <a:pt x="808" y="566"/>
                  </a:cubicBezTo>
                  <a:cubicBezTo>
                    <a:pt x="809" y="565"/>
                    <a:pt x="809" y="565"/>
                    <a:pt x="809" y="565"/>
                  </a:cubicBezTo>
                  <a:cubicBezTo>
                    <a:pt x="810" y="563"/>
                    <a:pt x="811" y="562"/>
                    <a:pt x="812" y="560"/>
                  </a:cubicBezTo>
                  <a:moveTo>
                    <a:pt x="793" y="588"/>
                  </a:moveTo>
                  <a:cubicBezTo>
                    <a:pt x="793" y="588"/>
                    <a:pt x="792" y="588"/>
                    <a:pt x="792" y="588"/>
                  </a:cubicBezTo>
                  <a:cubicBezTo>
                    <a:pt x="790" y="590"/>
                    <a:pt x="789" y="592"/>
                    <a:pt x="788" y="594"/>
                  </a:cubicBezTo>
                  <a:cubicBezTo>
                    <a:pt x="787" y="594"/>
                    <a:pt x="787" y="594"/>
                    <a:pt x="787" y="594"/>
                  </a:cubicBezTo>
                  <a:cubicBezTo>
                    <a:pt x="786" y="596"/>
                    <a:pt x="784" y="598"/>
                    <a:pt x="783" y="600"/>
                  </a:cubicBezTo>
                  <a:cubicBezTo>
                    <a:pt x="783" y="600"/>
                    <a:pt x="782" y="600"/>
                    <a:pt x="782" y="600"/>
                  </a:cubicBezTo>
                  <a:cubicBezTo>
                    <a:pt x="780" y="603"/>
                    <a:pt x="777" y="607"/>
                    <a:pt x="774" y="610"/>
                  </a:cubicBezTo>
                  <a:cubicBezTo>
                    <a:pt x="774" y="610"/>
                    <a:pt x="774" y="610"/>
                    <a:pt x="774" y="610"/>
                  </a:cubicBezTo>
                  <a:cubicBezTo>
                    <a:pt x="771" y="614"/>
                    <a:pt x="768" y="617"/>
                    <a:pt x="764" y="620"/>
                  </a:cubicBezTo>
                  <a:cubicBezTo>
                    <a:pt x="764" y="621"/>
                    <a:pt x="764" y="621"/>
                    <a:pt x="764" y="621"/>
                  </a:cubicBezTo>
                  <a:cubicBezTo>
                    <a:pt x="762" y="623"/>
                    <a:pt x="760" y="625"/>
                    <a:pt x="758" y="627"/>
                  </a:cubicBezTo>
                  <a:cubicBezTo>
                    <a:pt x="758" y="628"/>
                    <a:pt x="758" y="628"/>
                    <a:pt x="758" y="629"/>
                  </a:cubicBezTo>
                  <a:cubicBezTo>
                    <a:pt x="758" y="629"/>
                    <a:pt x="758" y="629"/>
                    <a:pt x="758" y="628"/>
                  </a:cubicBezTo>
                  <a:cubicBezTo>
                    <a:pt x="758" y="628"/>
                    <a:pt x="758" y="628"/>
                    <a:pt x="759" y="628"/>
                  </a:cubicBezTo>
                  <a:cubicBezTo>
                    <a:pt x="760" y="626"/>
                    <a:pt x="762" y="624"/>
                    <a:pt x="764" y="622"/>
                  </a:cubicBezTo>
                  <a:cubicBezTo>
                    <a:pt x="764" y="622"/>
                    <a:pt x="765" y="622"/>
                    <a:pt x="765" y="621"/>
                  </a:cubicBezTo>
                  <a:cubicBezTo>
                    <a:pt x="768" y="618"/>
                    <a:pt x="771" y="615"/>
                    <a:pt x="774" y="611"/>
                  </a:cubicBezTo>
                  <a:cubicBezTo>
                    <a:pt x="775" y="611"/>
                    <a:pt x="775" y="611"/>
                    <a:pt x="775" y="610"/>
                  </a:cubicBezTo>
                  <a:cubicBezTo>
                    <a:pt x="778" y="607"/>
                    <a:pt x="780" y="604"/>
                    <a:pt x="783" y="601"/>
                  </a:cubicBezTo>
                  <a:cubicBezTo>
                    <a:pt x="783" y="601"/>
                    <a:pt x="783" y="600"/>
                    <a:pt x="784" y="600"/>
                  </a:cubicBezTo>
                  <a:cubicBezTo>
                    <a:pt x="785" y="598"/>
                    <a:pt x="786" y="597"/>
                    <a:pt x="788" y="595"/>
                  </a:cubicBezTo>
                  <a:cubicBezTo>
                    <a:pt x="788" y="595"/>
                    <a:pt x="788" y="594"/>
                    <a:pt x="788" y="594"/>
                  </a:cubicBezTo>
                  <a:cubicBezTo>
                    <a:pt x="790" y="592"/>
                    <a:pt x="791" y="590"/>
                    <a:pt x="793" y="589"/>
                  </a:cubicBezTo>
                  <a:cubicBezTo>
                    <a:pt x="793" y="588"/>
                    <a:pt x="793" y="588"/>
                    <a:pt x="793" y="588"/>
                  </a:cubicBezTo>
                  <a:moveTo>
                    <a:pt x="1379" y="598"/>
                  </a:moveTo>
                  <a:cubicBezTo>
                    <a:pt x="1356" y="614"/>
                    <a:pt x="1333" y="629"/>
                    <a:pt x="1310" y="643"/>
                  </a:cubicBezTo>
                  <a:cubicBezTo>
                    <a:pt x="1309" y="644"/>
                    <a:pt x="1309" y="644"/>
                    <a:pt x="1309" y="645"/>
                  </a:cubicBezTo>
                  <a:cubicBezTo>
                    <a:pt x="1333" y="631"/>
                    <a:pt x="1356" y="615"/>
                    <a:pt x="1378" y="599"/>
                  </a:cubicBezTo>
                  <a:cubicBezTo>
                    <a:pt x="1378" y="599"/>
                    <a:pt x="1378" y="598"/>
                    <a:pt x="1379" y="598"/>
                  </a:cubicBezTo>
                  <a:moveTo>
                    <a:pt x="757" y="628"/>
                  </a:moveTo>
                  <a:cubicBezTo>
                    <a:pt x="752" y="633"/>
                    <a:pt x="746" y="639"/>
                    <a:pt x="741" y="644"/>
                  </a:cubicBezTo>
                  <a:cubicBezTo>
                    <a:pt x="740" y="644"/>
                    <a:pt x="740" y="644"/>
                    <a:pt x="740" y="644"/>
                  </a:cubicBezTo>
                  <a:cubicBezTo>
                    <a:pt x="736" y="647"/>
                    <a:pt x="733" y="650"/>
                    <a:pt x="730" y="653"/>
                  </a:cubicBezTo>
                  <a:cubicBezTo>
                    <a:pt x="729" y="653"/>
                    <a:pt x="729" y="654"/>
                    <a:pt x="729" y="654"/>
                  </a:cubicBezTo>
                  <a:cubicBezTo>
                    <a:pt x="727" y="656"/>
                    <a:pt x="724" y="657"/>
                    <a:pt x="722" y="659"/>
                  </a:cubicBezTo>
                  <a:cubicBezTo>
                    <a:pt x="722" y="659"/>
                    <a:pt x="722" y="660"/>
                    <a:pt x="721" y="660"/>
                  </a:cubicBezTo>
                  <a:cubicBezTo>
                    <a:pt x="711" y="668"/>
                    <a:pt x="700" y="676"/>
                    <a:pt x="689" y="684"/>
                  </a:cubicBezTo>
                  <a:cubicBezTo>
                    <a:pt x="689" y="684"/>
                    <a:pt x="689" y="684"/>
                    <a:pt x="689" y="685"/>
                  </a:cubicBezTo>
                  <a:cubicBezTo>
                    <a:pt x="701" y="677"/>
                    <a:pt x="712" y="669"/>
                    <a:pt x="722" y="661"/>
                  </a:cubicBezTo>
                  <a:cubicBezTo>
                    <a:pt x="723" y="660"/>
                    <a:pt x="723" y="660"/>
                    <a:pt x="723" y="660"/>
                  </a:cubicBezTo>
                  <a:cubicBezTo>
                    <a:pt x="725" y="658"/>
                    <a:pt x="727" y="657"/>
                    <a:pt x="729" y="655"/>
                  </a:cubicBezTo>
                  <a:cubicBezTo>
                    <a:pt x="729" y="655"/>
                    <a:pt x="729" y="655"/>
                    <a:pt x="730" y="654"/>
                  </a:cubicBezTo>
                  <a:cubicBezTo>
                    <a:pt x="733" y="651"/>
                    <a:pt x="737" y="648"/>
                    <a:pt x="741" y="645"/>
                  </a:cubicBezTo>
                  <a:cubicBezTo>
                    <a:pt x="741" y="645"/>
                    <a:pt x="741" y="644"/>
                    <a:pt x="741" y="644"/>
                  </a:cubicBezTo>
                  <a:cubicBezTo>
                    <a:pt x="747" y="640"/>
                    <a:pt x="752" y="635"/>
                    <a:pt x="757" y="630"/>
                  </a:cubicBezTo>
                  <a:cubicBezTo>
                    <a:pt x="757" y="629"/>
                    <a:pt x="757" y="629"/>
                    <a:pt x="757" y="628"/>
                  </a:cubicBezTo>
                  <a:moveTo>
                    <a:pt x="1308" y="644"/>
                  </a:moveTo>
                  <a:cubicBezTo>
                    <a:pt x="1286" y="658"/>
                    <a:pt x="1263" y="671"/>
                    <a:pt x="1240" y="683"/>
                  </a:cubicBezTo>
                  <a:cubicBezTo>
                    <a:pt x="1240" y="683"/>
                    <a:pt x="1240" y="684"/>
                    <a:pt x="1239" y="684"/>
                  </a:cubicBezTo>
                  <a:cubicBezTo>
                    <a:pt x="1262" y="672"/>
                    <a:pt x="1285" y="659"/>
                    <a:pt x="1307" y="646"/>
                  </a:cubicBezTo>
                  <a:cubicBezTo>
                    <a:pt x="1307" y="645"/>
                    <a:pt x="1308" y="645"/>
                    <a:pt x="1308" y="644"/>
                  </a:cubicBezTo>
                  <a:moveTo>
                    <a:pt x="1239" y="683"/>
                  </a:moveTo>
                  <a:cubicBezTo>
                    <a:pt x="1218" y="694"/>
                    <a:pt x="1197" y="704"/>
                    <a:pt x="1176" y="714"/>
                  </a:cubicBezTo>
                  <a:cubicBezTo>
                    <a:pt x="1175" y="714"/>
                    <a:pt x="1175" y="715"/>
                    <a:pt x="1175" y="715"/>
                  </a:cubicBezTo>
                  <a:cubicBezTo>
                    <a:pt x="1196" y="706"/>
                    <a:pt x="1217" y="696"/>
                    <a:pt x="1238" y="685"/>
                  </a:cubicBezTo>
                  <a:cubicBezTo>
                    <a:pt x="1238" y="685"/>
                    <a:pt x="1238" y="684"/>
                    <a:pt x="1239" y="683"/>
                  </a:cubicBezTo>
                  <a:moveTo>
                    <a:pt x="688" y="684"/>
                  </a:moveTo>
                  <a:cubicBezTo>
                    <a:pt x="668" y="698"/>
                    <a:pt x="647" y="709"/>
                    <a:pt x="626" y="719"/>
                  </a:cubicBezTo>
                  <a:cubicBezTo>
                    <a:pt x="626" y="720"/>
                    <a:pt x="626" y="720"/>
                    <a:pt x="626" y="720"/>
                  </a:cubicBezTo>
                  <a:cubicBezTo>
                    <a:pt x="648" y="710"/>
                    <a:pt x="668" y="699"/>
                    <a:pt x="688" y="685"/>
                  </a:cubicBezTo>
                  <a:cubicBezTo>
                    <a:pt x="688" y="685"/>
                    <a:pt x="688" y="685"/>
                    <a:pt x="688" y="684"/>
                  </a:cubicBezTo>
                  <a:moveTo>
                    <a:pt x="1174" y="714"/>
                  </a:moveTo>
                  <a:cubicBezTo>
                    <a:pt x="1154" y="723"/>
                    <a:pt x="1134" y="731"/>
                    <a:pt x="1114" y="739"/>
                  </a:cubicBezTo>
                  <a:cubicBezTo>
                    <a:pt x="1113" y="739"/>
                    <a:pt x="1113" y="740"/>
                    <a:pt x="1112" y="740"/>
                  </a:cubicBezTo>
                  <a:cubicBezTo>
                    <a:pt x="1133" y="733"/>
                    <a:pt x="1153" y="725"/>
                    <a:pt x="1173" y="716"/>
                  </a:cubicBezTo>
                  <a:cubicBezTo>
                    <a:pt x="1173" y="715"/>
                    <a:pt x="1174" y="715"/>
                    <a:pt x="1174" y="714"/>
                  </a:cubicBezTo>
                  <a:moveTo>
                    <a:pt x="625" y="720"/>
                  </a:moveTo>
                  <a:cubicBezTo>
                    <a:pt x="604" y="729"/>
                    <a:pt x="582" y="737"/>
                    <a:pt x="561" y="743"/>
                  </a:cubicBezTo>
                  <a:cubicBezTo>
                    <a:pt x="561" y="743"/>
                    <a:pt x="561" y="744"/>
                    <a:pt x="561" y="744"/>
                  </a:cubicBezTo>
                  <a:cubicBezTo>
                    <a:pt x="583" y="738"/>
                    <a:pt x="604" y="730"/>
                    <a:pt x="625" y="721"/>
                  </a:cubicBezTo>
                  <a:cubicBezTo>
                    <a:pt x="625" y="720"/>
                    <a:pt x="625" y="720"/>
                    <a:pt x="625" y="720"/>
                  </a:cubicBezTo>
                  <a:moveTo>
                    <a:pt x="1112" y="739"/>
                  </a:moveTo>
                  <a:cubicBezTo>
                    <a:pt x="1100" y="743"/>
                    <a:pt x="1089" y="747"/>
                    <a:pt x="1077" y="751"/>
                  </a:cubicBezTo>
                  <a:cubicBezTo>
                    <a:pt x="1070" y="753"/>
                    <a:pt x="1063" y="756"/>
                    <a:pt x="1055" y="759"/>
                  </a:cubicBezTo>
                  <a:cubicBezTo>
                    <a:pt x="1055" y="759"/>
                    <a:pt x="1055" y="760"/>
                    <a:pt x="1054" y="760"/>
                  </a:cubicBezTo>
                  <a:cubicBezTo>
                    <a:pt x="1062" y="757"/>
                    <a:pt x="1070" y="755"/>
                    <a:pt x="1078" y="752"/>
                  </a:cubicBezTo>
                  <a:cubicBezTo>
                    <a:pt x="1089" y="749"/>
                    <a:pt x="1100" y="745"/>
                    <a:pt x="1111" y="741"/>
                  </a:cubicBezTo>
                  <a:cubicBezTo>
                    <a:pt x="1111" y="740"/>
                    <a:pt x="1111" y="740"/>
                    <a:pt x="1112" y="739"/>
                  </a:cubicBezTo>
                  <a:moveTo>
                    <a:pt x="560" y="743"/>
                  </a:moveTo>
                  <a:cubicBezTo>
                    <a:pt x="558" y="744"/>
                    <a:pt x="556" y="744"/>
                    <a:pt x="554" y="745"/>
                  </a:cubicBezTo>
                  <a:cubicBezTo>
                    <a:pt x="555" y="745"/>
                    <a:pt x="557" y="745"/>
                    <a:pt x="558" y="745"/>
                  </a:cubicBezTo>
                  <a:cubicBezTo>
                    <a:pt x="559" y="745"/>
                    <a:pt x="559" y="744"/>
                    <a:pt x="560" y="744"/>
                  </a:cubicBezTo>
                  <a:cubicBezTo>
                    <a:pt x="560" y="744"/>
                    <a:pt x="560" y="744"/>
                    <a:pt x="560" y="743"/>
                  </a:cubicBezTo>
                  <a:moveTo>
                    <a:pt x="554" y="746"/>
                  </a:moveTo>
                  <a:cubicBezTo>
                    <a:pt x="552" y="746"/>
                    <a:pt x="551" y="746"/>
                    <a:pt x="549" y="746"/>
                  </a:cubicBezTo>
                  <a:cubicBezTo>
                    <a:pt x="544" y="747"/>
                    <a:pt x="539" y="748"/>
                    <a:pt x="535" y="749"/>
                  </a:cubicBezTo>
                  <a:cubicBezTo>
                    <a:pt x="537" y="749"/>
                    <a:pt x="540" y="749"/>
                    <a:pt x="543" y="748"/>
                  </a:cubicBezTo>
                  <a:cubicBezTo>
                    <a:pt x="547" y="748"/>
                    <a:pt x="550" y="747"/>
                    <a:pt x="554" y="746"/>
                  </a:cubicBezTo>
                  <a:moveTo>
                    <a:pt x="535" y="750"/>
                  </a:moveTo>
                  <a:cubicBezTo>
                    <a:pt x="532" y="750"/>
                    <a:pt x="529" y="750"/>
                    <a:pt x="526" y="750"/>
                  </a:cubicBezTo>
                  <a:cubicBezTo>
                    <a:pt x="520" y="751"/>
                    <a:pt x="513" y="752"/>
                    <a:pt x="507" y="753"/>
                  </a:cubicBezTo>
                  <a:cubicBezTo>
                    <a:pt x="507" y="753"/>
                    <a:pt x="506" y="753"/>
                    <a:pt x="506" y="753"/>
                  </a:cubicBezTo>
                  <a:cubicBezTo>
                    <a:pt x="505" y="753"/>
                    <a:pt x="505" y="753"/>
                    <a:pt x="505" y="753"/>
                  </a:cubicBezTo>
                  <a:cubicBezTo>
                    <a:pt x="502" y="753"/>
                    <a:pt x="499" y="754"/>
                    <a:pt x="496" y="754"/>
                  </a:cubicBezTo>
                  <a:cubicBezTo>
                    <a:pt x="496" y="754"/>
                    <a:pt x="496" y="754"/>
                    <a:pt x="495" y="754"/>
                  </a:cubicBezTo>
                  <a:cubicBezTo>
                    <a:pt x="494" y="754"/>
                    <a:pt x="492" y="754"/>
                    <a:pt x="491" y="754"/>
                  </a:cubicBezTo>
                  <a:cubicBezTo>
                    <a:pt x="491" y="754"/>
                    <a:pt x="490" y="754"/>
                    <a:pt x="490" y="754"/>
                  </a:cubicBezTo>
                  <a:cubicBezTo>
                    <a:pt x="490" y="754"/>
                    <a:pt x="489" y="754"/>
                    <a:pt x="489" y="754"/>
                  </a:cubicBezTo>
                  <a:cubicBezTo>
                    <a:pt x="489" y="754"/>
                    <a:pt x="489" y="755"/>
                    <a:pt x="490" y="755"/>
                  </a:cubicBezTo>
                  <a:cubicBezTo>
                    <a:pt x="490" y="755"/>
                    <a:pt x="490" y="755"/>
                    <a:pt x="491" y="755"/>
                  </a:cubicBezTo>
                  <a:cubicBezTo>
                    <a:pt x="492" y="755"/>
                    <a:pt x="494" y="755"/>
                    <a:pt x="496" y="755"/>
                  </a:cubicBezTo>
                  <a:cubicBezTo>
                    <a:pt x="496" y="755"/>
                    <a:pt x="496" y="755"/>
                    <a:pt x="496" y="755"/>
                  </a:cubicBezTo>
                  <a:cubicBezTo>
                    <a:pt x="498" y="755"/>
                    <a:pt x="500" y="755"/>
                    <a:pt x="501" y="754"/>
                  </a:cubicBezTo>
                  <a:cubicBezTo>
                    <a:pt x="501" y="754"/>
                    <a:pt x="502" y="754"/>
                    <a:pt x="502" y="754"/>
                  </a:cubicBezTo>
                  <a:cubicBezTo>
                    <a:pt x="503" y="754"/>
                    <a:pt x="503" y="754"/>
                    <a:pt x="503" y="754"/>
                  </a:cubicBezTo>
                  <a:cubicBezTo>
                    <a:pt x="504" y="754"/>
                    <a:pt x="504" y="754"/>
                    <a:pt x="504" y="754"/>
                  </a:cubicBezTo>
                  <a:cubicBezTo>
                    <a:pt x="505" y="754"/>
                    <a:pt x="505" y="754"/>
                    <a:pt x="506" y="754"/>
                  </a:cubicBezTo>
                  <a:cubicBezTo>
                    <a:pt x="506" y="754"/>
                    <a:pt x="506" y="754"/>
                    <a:pt x="507" y="754"/>
                  </a:cubicBezTo>
                  <a:cubicBezTo>
                    <a:pt x="516" y="753"/>
                    <a:pt x="525" y="752"/>
                    <a:pt x="535" y="750"/>
                  </a:cubicBezTo>
                  <a:moveTo>
                    <a:pt x="488" y="754"/>
                  </a:moveTo>
                  <a:cubicBezTo>
                    <a:pt x="485" y="754"/>
                    <a:pt x="482" y="754"/>
                    <a:pt x="479" y="754"/>
                  </a:cubicBezTo>
                  <a:cubicBezTo>
                    <a:pt x="478" y="754"/>
                    <a:pt x="476" y="754"/>
                    <a:pt x="475" y="754"/>
                  </a:cubicBezTo>
                  <a:cubicBezTo>
                    <a:pt x="470" y="755"/>
                    <a:pt x="465" y="755"/>
                    <a:pt x="460" y="755"/>
                  </a:cubicBezTo>
                  <a:cubicBezTo>
                    <a:pt x="460" y="755"/>
                    <a:pt x="460" y="755"/>
                    <a:pt x="460" y="755"/>
                  </a:cubicBezTo>
                  <a:cubicBezTo>
                    <a:pt x="460" y="755"/>
                    <a:pt x="459" y="755"/>
                    <a:pt x="459" y="755"/>
                  </a:cubicBezTo>
                  <a:cubicBezTo>
                    <a:pt x="456" y="755"/>
                    <a:pt x="454" y="755"/>
                    <a:pt x="451" y="755"/>
                  </a:cubicBezTo>
                  <a:cubicBezTo>
                    <a:pt x="450" y="755"/>
                    <a:pt x="449" y="755"/>
                    <a:pt x="447" y="755"/>
                  </a:cubicBezTo>
                  <a:cubicBezTo>
                    <a:pt x="446" y="755"/>
                    <a:pt x="445" y="755"/>
                    <a:pt x="444" y="755"/>
                  </a:cubicBezTo>
                  <a:cubicBezTo>
                    <a:pt x="444" y="755"/>
                    <a:pt x="443" y="755"/>
                    <a:pt x="443" y="755"/>
                  </a:cubicBezTo>
                  <a:cubicBezTo>
                    <a:pt x="438" y="755"/>
                    <a:pt x="433" y="755"/>
                    <a:pt x="428" y="755"/>
                  </a:cubicBezTo>
                  <a:cubicBezTo>
                    <a:pt x="428" y="755"/>
                    <a:pt x="428" y="755"/>
                    <a:pt x="427" y="755"/>
                  </a:cubicBezTo>
                  <a:cubicBezTo>
                    <a:pt x="424" y="755"/>
                    <a:pt x="420" y="756"/>
                    <a:pt x="417" y="756"/>
                  </a:cubicBezTo>
                  <a:cubicBezTo>
                    <a:pt x="415" y="756"/>
                    <a:pt x="414" y="756"/>
                    <a:pt x="413" y="756"/>
                  </a:cubicBezTo>
                  <a:cubicBezTo>
                    <a:pt x="412" y="756"/>
                    <a:pt x="410" y="756"/>
                    <a:pt x="409" y="756"/>
                  </a:cubicBezTo>
                  <a:cubicBezTo>
                    <a:pt x="409" y="756"/>
                    <a:pt x="409" y="756"/>
                    <a:pt x="408" y="756"/>
                  </a:cubicBezTo>
                  <a:cubicBezTo>
                    <a:pt x="408" y="756"/>
                    <a:pt x="408" y="756"/>
                    <a:pt x="407" y="756"/>
                  </a:cubicBezTo>
                  <a:cubicBezTo>
                    <a:pt x="407" y="756"/>
                    <a:pt x="406" y="756"/>
                    <a:pt x="405" y="756"/>
                  </a:cubicBezTo>
                  <a:cubicBezTo>
                    <a:pt x="400" y="756"/>
                    <a:pt x="394" y="756"/>
                    <a:pt x="388" y="756"/>
                  </a:cubicBezTo>
                  <a:cubicBezTo>
                    <a:pt x="388" y="756"/>
                    <a:pt x="387" y="756"/>
                    <a:pt x="387" y="756"/>
                  </a:cubicBezTo>
                  <a:cubicBezTo>
                    <a:pt x="384" y="756"/>
                    <a:pt x="381" y="756"/>
                    <a:pt x="377" y="756"/>
                  </a:cubicBezTo>
                  <a:cubicBezTo>
                    <a:pt x="376" y="756"/>
                    <a:pt x="375" y="756"/>
                    <a:pt x="374" y="756"/>
                  </a:cubicBezTo>
                  <a:cubicBezTo>
                    <a:pt x="371" y="756"/>
                    <a:pt x="368" y="756"/>
                    <a:pt x="365" y="757"/>
                  </a:cubicBezTo>
                  <a:cubicBezTo>
                    <a:pt x="365" y="757"/>
                    <a:pt x="364" y="757"/>
                    <a:pt x="364" y="757"/>
                  </a:cubicBezTo>
                  <a:cubicBezTo>
                    <a:pt x="313" y="758"/>
                    <a:pt x="255" y="760"/>
                    <a:pt x="201" y="764"/>
                  </a:cubicBezTo>
                  <a:cubicBezTo>
                    <a:pt x="133" y="769"/>
                    <a:pt x="71" y="778"/>
                    <a:pt x="34" y="794"/>
                  </a:cubicBezTo>
                  <a:cubicBezTo>
                    <a:pt x="33" y="794"/>
                    <a:pt x="33" y="795"/>
                    <a:pt x="33" y="795"/>
                  </a:cubicBezTo>
                  <a:cubicBezTo>
                    <a:pt x="32" y="795"/>
                    <a:pt x="32" y="795"/>
                    <a:pt x="31" y="795"/>
                  </a:cubicBezTo>
                  <a:cubicBezTo>
                    <a:pt x="31" y="796"/>
                    <a:pt x="30" y="796"/>
                    <a:pt x="30" y="796"/>
                  </a:cubicBezTo>
                  <a:cubicBezTo>
                    <a:pt x="30" y="796"/>
                    <a:pt x="29" y="796"/>
                    <a:pt x="29" y="797"/>
                  </a:cubicBezTo>
                  <a:cubicBezTo>
                    <a:pt x="28" y="797"/>
                    <a:pt x="28" y="797"/>
                    <a:pt x="28" y="797"/>
                  </a:cubicBezTo>
                  <a:cubicBezTo>
                    <a:pt x="27" y="797"/>
                    <a:pt x="27" y="797"/>
                    <a:pt x="27" y="798"/>
                  </a:cubicBezTo>
                  <a:cubicBezTo>
                    <a:pt x="26" y="798"/>
                    <a:pt x="26" y="798"/>
                    <a:pt x="26" y="798"/>
                  </a:cubicBezTo>
                  <a:cubicBezTo>
                    <a:pt x="25" y="798"/>
                    <a:pt x="25" y="799"/>
                    <a:pt x="24" y="799"/>
                  </a:cubicBezTo>
                  <a:cubicBezTo>
                    <a:pt x="24" y="799"/>
                    <a:pt x="24" y="799"/>
                    <a:pt x="23" y="799"/>
                  </a:cubicBezTo>
                  <a:cubicBezTo>
                    <a:pt x="22" y="800"/>
                    <a:pt x="21" y="801"/>
                    <a:pt x="19" y="802"/>
                  </a:cubicBezTo>
                  <a:cubicBezTo>
                    <a:pt x="19" y="802"/>
                    <a:pt x="18" y="802"/>
                    <a:pt x="18" y="803"/>
                  </a:cubicBezTo>
                  <a:cubicBezTo>
                    <a:pt x="17" y="803"/>
                    <a:pt x="16" y="804"/>
                    <a:pt x="15" y="805"/>
                  </a:cubicBezTo>
                  <a:cubicBezTo>
                    <a:pt x="14" y="806"/>
                    <a:pt x="14" y="806"/>
                    <a:pt x="14" y="807"/>
                  </a:cubicBezTo>
                  <a:cubicBezTo>
                    <a:pt x="16" y="805"/>
                    <a:pt x="17" y="804"/>
                    <a:pt x="19" y="803"/>
                  </a:cubicBezTo>
                  <a:cubicBezTo>
                    <a:pt x="19" y="803"/>
                    <a:pt x="20" y="803"/>
                    <a:pt x="20" y="802"/>
                  </a:cubicBezTo>
                  <a:cubicBezTo>
                    <a:pt x="22" y="801"/>
                    <a:pt x="23" y="801"/>
                    <a:pt x="24" y="800"/>
                  </a:cubicBezTo>
                  <a:cubicBezTo>
                    <a:pt x="25" y="800"/>
                    <a:pt x="25" y="800"/>
                    <a:pt x="25" y="799"/>
                  </a:cubicBezTo>
                  <a:cubicBezTo>
                    <a:pt x="26" y="799"/>
                    <a:pt x="26" y="799"/>
                    <a:pt x="27" y="799"/>
                  </a:cubicBezTo>
                  <a:cubicBezTo>
                    <a:pt x="27" y="799"/>
                    <a:pt x="27" y="798"/>
                    <a:pt x="28" y="798"/>
                  </a:cubicBezTo>
                  <a:cubicBezTo>
                    <a:pt x="28" y="798"/>
                    <a:pt x="28" y="798"/>
                    <a:pt x="29" y="798"/>
                  </a:cubicBezTo>
                  <a:cubicBezTo>
                    <a:pt x="29" y="798"/>
                    <a:pt x="29" y="797"/>
                    <a:pt x="30" y="797"/>
                  </a:cubicBezTo>
                  <a:cubicBezTo>
                    <a:pt x="30" y="797"/>
                    <a:pt x="31" y="797"/>
                    <a:pt x="31" y="797"/>
                  </a:cubicBezTo>
                  <a:cubicBezTo>
                    <a:pt x="31" y="796"/>
                    <a:pt x="32" y="796"/>
                    <a:pt x="32" y="796"/>
                  </a:cubicBezTo>
                  <a:cubicBezTo>
                    <a:pt x="33" y="796"/>
                    <a:pt x="33" y="796"/>
                    <a:pt x="34" y="795"/>
                  </a:cubicBezTo>
                  <a:cubicBezTo>
                    <a:pt x="34" y="795"/>
                    <a:pt x="34" y="795"/>
                    <a:pt x="35" y="795"/>
                  </a:cubicBezTo>
                  <a:cubicBezTo>
                    <a:pt x="71" y="779"/>
                    <a:pt x="134" y="770"/>
                    <a:pt x="201" y="765"/>
                  </a:cubicBezTo>
                  <a:cubicBezTo>
                    <a:pt x="255" y="761"/>
                    <a:pt x="313" y="759"/>
                    <a:pt x="365" y="758"/>
                  </a:cubicBezTo>
                  <a:cubicBezTo>
                    <a:pt x="365" y="758"/>
                    <a:pt x="365" y="758"/>
                    <a:pt x="366" y="758"/>
                  </a:cubicBezTo>
                  <a:cubicBezTo>
                    <a:pt x="367" y="757"/>
                    <a:pt x="369" y="757"/>
                    <a:pt x="371" y="757"/>
                  </a:cubicBezTo>
                  <a:cubicBezTo>
                    <a:pt x="372" y="757"/>
                    <a:pt x="373" y="757"/>
                    <a:pt x="374" y="757"/>
                  </a:cubicBezTo>
                  <a:cubicBezTo>
                    <a:pt x="379" y="757"/>
                    <a:pt x="383" y="757"/>
                    <a:pt x="388" y="757"/>
                  </a:cubicBezTo>
                  <a:cubicBezTo>
                    <a:pt x="388" y="757"/>
                    <a:pt x="388" y="757"/>
                    <a:pt x="389" y="757"/>
                  </a:cubicBezTo>
                  <a:cubicBezTo>
                    <a:pt x="394" y="757"/>
                    <a:pt x="399" y="757"/>
                    <a:pt x="403" y="757"/>
                  </a:cubicBezTo>
                  <a:cubicBezTo>
                    <a:pt x="404" y="757"/>
                    <a:pt x="405" y="757"/>
                    <a:pt x="406" y="757"/>
                  </a:cubicBezTo>
                  <a:cubicBezTo>
                    <a:pt x="407" y="757"/>
                    <a:pt x="408" y="757"/>
                    <a:pt x="409" y="757"/>
                  </a:cubicBezTo>
                  <a:cubicBezTo>
                    <a:pt x="409" y="757"/>
                    <a:pt x="409" y="757"/>
                    <a:pt x="409" y="757"/>
                  </a:cubicBezTo>
                  <a:cubicBezTo>
                    <a:pt x="410" y="757"/>
                    <a:pt x="412" y="757"/>
                    <a:pt x="413" y="757"/>
                  </a:cubicBezTo>
                  <a:cubicBezTo>
                    <a:pt x="418" y="757"/>
                    <a:pt x="423" y="756"/>
                    <a:pt x="427" y="756"/>
                  </a:cubicBezTo>
                  <a:cubicBezTo>
                    <a:pt x="428" y="756"/>
                    <a:pt x="428" y="756"/>
                    <a:pt x="428" y="756"/>
                  </a:cubicBezTo>
                  <a:cubicBezTo>
                    <a:pt x="433" y="756"/>
                    <a:pt x="438" y="756"/>
                    <a:pt x="443" y="756"/>
                  </a:cubicBezTo>
                  <a:cubicBezTo>
                    <a:pt x="444" y="756"/>
                    <a:pt x="446" y="756"/>
                    <a:pt x="447" y="756"/>
                  </a:cubicBezTo>
                  <a:cubicBezTo>
                    <a:pt x="451" y="756"/>
                    <a:pt x="454" y="756"/>
                    <a:pt x="457" y="756"/>
                  </a:cubicBezTo>
                  <a:cubicBezTo>
                    <a:pt x="458" y="756"/>
                    <a:pt x="458" y="756"/>
                    <a:pt x="459" y="756"/>
                  </a:cubicBezTo>
                  <a:cubicBezTo>
                    <a:pt x="459" y="756"/>
                    <a:pt x="459" y="756"/>
                    <a:pt x="459" y="756"/>
                  </a:cubicBezTo>
                  <a:cubicBezTo>
                    <a:pt x="460" y="756"/>
                    <a:pt x="460" y="756"/>
                    <a:pt x="460" y="756"/>
                  </a:cubicBezTo>
                  <a:cubicBezTo>
                    <a:pt x="463" y="756"/>
                    <a:pt x="466" y="756"/>
                    <a:pt x="469" y="756"/>
                  </a:cubicBezTo>
                  <a:cubicBezTo>
                    <a:pt x="471" y="756"/>
                    <a:pt x="473" y="756"/>
                    <a:pt x="475" y="755"/>
                  </a:cubicBezTo>
                  <a:cubicBezTo>
                    <a:pt x="475" y="755"/>
                    <a:pt x="476" y="755"/>
                    <a:pt x="477" y="755"/>
                  </a:cubicBezTo>
                  <a:cubicBezTo>
                    <a:pt x="477" y="755"/>
                    <a:pt x="477" y="755"/>
                    <a:pt x="478" y="755"/>
                  </a:cubicBezTo>
                  <a:cubicBezTo>
                    <a:pt x="481" y="755"/>
                    <a:pt x="485" y="755"/>
                    <a:pt x="488" y="755"/>
                  </a:cubicBezTo>
                  <a:cubicBezTo>
                    <a:pt x="488" y="755"/>
                    <a:pt x="488" y="755"/>
                    <a:pt x="488" y="755"/>
                  </a:cubicBezTo>
                  <a:cubicBezTo>
                    <a:pt x="488" y="755"/>
                    <a:pt x="488" y="754"/>
                    <a:pt x="488" y="754"/>
                  </a:cubicBezTo>
                  <a:moveTo>
                    <a:pt x="1054" y="759"/>
                  </a:moveTo>
                  <a:cubicBezTo>
                    <a:pt x="1016" y="773"/>
                    <a:pt x="971" y="791"/>
                    <a:pt x="927" y="811"/>
                  </a:cubicBezTo>
                  <a:cubicBezTo>
                    <a:pt x="927" y="811"/>
                    <a:pt x="926" y="812"/>
                    <a:pt x="926" y="812"/>
                  </a:cubicBezTo>
                  <a:cubicBezTo>
                    <a:pt x="889" y="828"/>
                    <a:pt x="852" y="846"/>
                    <a:pt x="818" y="862"/>
                  </a:cubicBezTo>
                  <a:cubicBezTo>
                    <a:pt x="817" y="863"/>
                    <a:pt x="815" y="863"/>
                    <a:pt x="814" y="864"/>
                  </a:cubicBezTo>
                  <a:cubicBezTo>
                    <a:pt x="794" y="874"/>
                    <a:pt x="775" y="883"/>
                    <a:pt x="758" y="892"/>
                  </a:cubicBezTo>
                  <a:cubicBezTo>
                    <a:pt x="757" y="892"/>
                    <a:pt x="757" y="892"/>
                    <a:pt x="757" y="892"/>
                  </a:cubicBezTo>
                  <a:cubicBezTo>
                    <a:pt x="754" y="893"/>
                    <a:pt x="752" y="895"/>
                    <a:pt x="750" y="896"/>
                  </a:cubicBezTo>
                  <a:cubicBezTo>
                    <a:pt x="748" y="896"/>
                    <a:pt x="747" y="897"/>
                    <a:pt x="746" y="897"/>
                  </a:cubicBezTo>
                  <a:cubicBezTo>
                    <a:pt x="737" y="902"/>
                    <a:pt x="729" y="906"/>
                    <a:pt x="722" y="909"/>
                  </a:cubicBezTo>
                  <a:cubicBezTo>
                    <a:pt x="722" y="910"/>
                    <a:pt x="721" y="910"/>
                    <a:pt x="721" y="910"/>
                  </a:cubicBezTo>
                  <a:cubicBezTo>
                    <a:pt x="712" y="914"/>
                    <a:pt x="705" y="918"/>
                    <a:pt x="699" y="921"/>
                  </a:cubicBezTo>
                  <a:cubicBezTo>
                    <a:pt x="699" y="921"/>
                    <a:pt x="699" y="921"/>
                    <a:pt x="698" y="922"/>
                  </a:cubicBezTo>
                  <a:cubicBezTo>
                    <a:pt x="693" y="924"/>
                    <a:pt x="690" y="926"/>
                    <a:pt x="687" y="927"/>
                  </a:cubicBezTo>
                  <a:cubicBezTo>
                    <a:pt x="686" y="928"/>
                    <a:pt x="686" y="929"/>
                    <a:pt x="686" y="930"/>
                  </a:cubicBezTo>
                  <a:cubicBezTo>
                    <a:pt x="686" y="933"/>
                    <a:pt x="688" y="938"/>
                    <a:pt x="692" y="944"/>
                  </a:cubicBezTo>
                  <a:cubicBezTo>
                    <a:pt x="693" y="944"/>
                    <a:pt x="693" y="944"/>
                    <a:pt x="693" y="944"/>
                  </a:cubicBezTo>
                  <a:cubicBezTo>
                    <a:pt x="695" y="947"/>
                    <a:pt x="697" y="951"/>
                    <a:pt x="700" y="954"/>
                  </a:cubicBezTo>
                  <a:cubicBezTo>
                    <a:pt x="700" y="954"/>
                    <a:pt x="700" y="955"/>
                    <a:pt x="701" y="955"/>
                  </a:cubicBezTo>
                  <a:cubicBezTo>
                    <a:pt x="704" y="959"/>
                    <a:pt x="708" y="964"/>
                    <a:pt x="712" y="969"/>
                  </a:cubicBezTo>
                  <a:cubicBezTo>
                    <a:pt x="712" y="970"/>
                    <a:pt x="712" y="970"/>
                    <a:pt x="712" y="970"/>
                  </a:cubicBezTo>
                  <a:cubicBezTo>
                    <a:pt x="714" y="971"/>
                    <a:pt x="715" y="973"/>
                    <a:pt x="716" y="974"/>
                  </a:cubicBezTo>
                  <a:cubicBezTo>
                    <a:pt x="716" y="975"/>
                    <a:pt x="717" y="976"/>
                    <a:pt x="718" y="976"/>
                  </a:cubicBezTo>
                  <a:cubicBezTo>
                    <a:pt x="720" y="979"/>
                    <a:pt x="722" y="982"/>
                    <a:pt x="724" y="985"/>
                  </a:cubicBezTo>
                  <a:cubicBezTo>
                    <a:pt x="724" y="985"/>
                    <a:pt x="725" y="986"/>
                    <a:pt x="725" y="986"/>
                  </a:cubicBezTo>
                  <a:cubicBezTo>
                    <a:pt x="730" y="992"/>
                    <a:pt x="735" y="999"/>
                    <a:pt x="741" y="1006"/>
                  </a:cubicBezTo>
                  <a:cubicBezTo>
                    <a:pt x="741" y="1007"/>
                    <a:pt x="741" y="1007"/>
                    <a:pt x="741" y="1007"/>
                  </a:cubicBezTo>
                  <a:cubicBezTo>
                    <a:pt x="745" y="1012"/>
                    <a:pt x="749" y="1018"/>
                    <a:pt x="752" y="1023"/>
                  </a:cubicBezTo>
                  <a:cubicBezTo>
                    <a:pt x="753" y="1023"/>
                    <a:pt x="753" y="1024"/>
                    <a:pt x="753" y="1024"/>
                  </a:cubicBezTo>
                  <a:cubicBezTo>
                    <a:pt x="756" y="1028"/>
                    <a:pt x="758" y="1032"/>
                    <a:pt x="760" y="1036"/>
                  </a:cubicBezTo>
                  <a:cubicBezTo>
                    <a:pt x="761" y="1036"/>
                    <a:pt x="761" y="1036"/>
                    <a:pt x="761" y="1037"/>
                  </a:cubicBezTo>
                  <a:cubicBezTo>
                    <a:pt x="772" y="1055"/>
                    <a:pt x="779" y="1072"/>
                    <a:pt x="779" y="1086"/>
                  </a:cubicBezTo>
                  <a:cubicBezTo>
                    <a:pt x="779" y="1091"/>
                    <a:pt x="778" y="1095"/>
                    <a:pt x="776" y="1100"/>
                  </a:cubicBezTo>
                  <a:cubicBezTo>
                    <a:pt x="776" y="1100"/>
                    <a:pt x="777" y="1100"/>
                    <a:pt x="777" y="1100"/>
                  </a:cubicBezTo>
                  <a:cubicBezTo>
                    <a:pt x="779" y="1096"/>
                    <a:pt x="780" y="1091"/>
                    <a:pt x="780" y="1086"/>
                  </a:cubicBezTo>
                  <a:cubicBezTo>
                    <a:pt x="780" y="1072"/>
                    <a:pt x="773" y="1054"/>
                    <a:pt x="762" y="1036"/>
                  </a:cubicBezTo>
                  <a:cubicBezTo>
                    <a:pt x="762" y="1036"/>
                    <a:pt x="762" y="1036"/>
                    <a:pt x="761" y="1036"/>
                  </a:cubicBezTo>
                  <a:cubicBezTo>
                    <a:pt x="759" y="1032"/>
                    <a:pt x="757" y="1028"/>
                    <a:pt x="755" y="1025"/>
                  </a:cubicBezTo>
                  <a:cubicBezTo>
                    <a:pt x="754" y="1024"/>
                    <a:pt x="754" y="1024"/>
                    <a:pt x="754" y="1023"/>
                  </a:cubicBezTo>
                  <a:cubicBezTo>
                    <a:pt x="750" y="1018"/>
                    <a:pt x="746" y="1012"/>
                    <a:pt x="742" y="1007"/>
                  </a:cubicBezTo>
                  <a:cubicBezTo>
                    <a:pt x="742" y="1007"/>
                    <a:pt x="742" y="1006"/>
                    <a:pt x="742" y="1006"/>
                  </a:cubicBezTo>
                  <a:cubicBezTo>
                    <a:pt x="736" y="999"/>
                    <a:pt x="731" y="992"/>
                    <a:pt x="726" y="985"/>
                  </a:cubicBezTo>
                  <a:cubicBezTo>
                    <a:pt x="726" y="985"/>
                    <a:pt x="725" y="985"/>
                    <a:pt x="725" y="985"/>
                  </a:cubicBezTo>
                  <a:cubicBezTo>
                    <a:pt x="723" y="982"/>
                    <a:pt x="722" y="980"/>
                    <a:pt x="720" y="978"/>
                  </a:cubicBezTo>
                  <a:cubicBezTo>
                    <a:pt x="719" y="977"/>
                    <a:pt x="719" y="977"/>
                    <a:pt x="718" y="976"/>
                  </a:cubicBezTo>
                  <a:cubicBezTo>
                    <a:pt x="717" y="974"/>
                    <a:pt x="715" y="972"/>
                    <a:pt x="713" y="969"/>
                  </a:cubicBezTo>
                  <a:cubicBezTo>
                    <a:pt x="713" y="969"/>
                    <a:pt x="713" y="969"/>
                    <a:pt x="713" y="969"/>
                  </a:cubicBezTo>
                  <a:cubicBezTo>
                    <a:pt x="709" y="964"/>
                    <a:pt x="705" y="959"/>
                    <a:pt x="701" y="954"/>
                  </a:cubicBezTo>
                  <a:cubicBezTo>
                    <a:pt x="701" y="954"/>
                    <a:pt x="701" y="954"/>
                    <a:pt x="701" y="953"/>
                  </a:cubicBezTo>
                  <a:cubicBezTo>
                    <a:pt x="698" y="950"/>
                    <a:pt x="696" y="947"/>
                    <a:pt x="694" y="944"/>
                  </a:cubicBezTo>
                  <a:cubicBezTo>
                    <a:pt x="694" y="944"/>
                    <a:pt x="693" y="943"/>
                    <a:pt x="693" y="943"/>
                  </a:cubicBezTo>
                  <a:cubicBezTo>
                    <a:pt x="689" y="937"/>
                    <a:pt x="687" y="933"/>
                    <a:pt x="687" y="930"/>
                  </a:cubicBezTo>
                  <a:cubicBezTo>
                    <a:pt x="687" y="929"/>
                    <a:pt x="687" y="928"/>
                    <a:pt x="688" y="928"/>
                  </a:cubicBezTo>
                  <a:cubicBezTo>
                    <a:pt x="690" y="927"/>
                    <a:pt x="694" y="925"/>
                    <a:pt x="699" y="922"/>
                  </a:cubicBezTo>
                  <a:cubicBezTo>
                    <a:pt x="699" y="922"/>
                    <a:pt x="700" y="922"/>
                    <a:pt x="700" y="922"/>
                  </a:cubicBezTo>
                  <a:cubicBezTo>
                    <a:pt x="706" y="919"/>
                    <a:pt x="713" y="915"/>
                    <a:pt x="722" y="911"/>
                  </a:cubicBezTo>
                  <a:cubicBezTo>
                    <a:pt x="722" y="910"/>
                    <a:pt x="723" y="910"/>
                    <a:pt x="723" y="910"/>
                  </a:cubicBezTo>
                  <a:cubicBezTo>
                    <a:pt x="729" y="907"/>
                    <a:pt x="736" y="903"/>
                    <a:pt x="744" y="900"/>
                  </a:cubicBezTo>
                  <a:cubicBezTo>
                    <a:pt x="745" y="899"/>
                    <a:pt x="746" y="899"/>
                    <a:pt x="747" y="898"/>
                  </a:cubicBezTo>
                  <a:cubicBezTo>
                    <a:pt x="750" y="896"/>
                    <a:pt x="754" y="895"/>
                    <a:pt x="758" y="893"/>
                  </a:cubicBezTo>
                  <a:cubicBezTo>
                    <a:pt x="758" y="892"/>
                    <a:pt x="759" y="892"/>
                    <a:pt x="759" y="892"/>
                  </a:cubicBezTo>
                  <a:cubicBezTo>
                    <a:pt x="774" y="884"/>
                    <a:pt x="792" y="876"/>
                    <a:pt x="810" y="867"/>
                  </a:cubicBezTo>
                  <a:cubicBezTo>
                    <a:pt x="812" y="866"/>
                    <a:pt x="813" y="865"/>
                    <a:pt x="815" y="865"/>
                  </a:cubicBezTo>
                  <a:cubicBezTo>
                    <a:pt x="849" y="848"/>
                    <a:pt x="887" y="830"/>
                    <a:pt x="926" y="813"/>
                  </a:cubicBezTo>
                  <a:cubicBezTo>
                    <a:pt x="926" y="813"/>
                    <a:pt x="926" y="813"/>
                    <a:pt x="927" y="812"/>
                  </a:cubicBezTo>
                  <a:cubicBezTo>
                    <a:pt x="971" y="793"/>
                    <a:pt x="1015" y="774"/>
                    <a:pt x="1053" y="761"/>
                  </a:cubicBezTo>
                  <a:cubicBezTo>
                    <a:pt x="1053" y="760"/>
                    <a:pt x="1053" y="760"/>
                    <a:pt x="1054" y="759"/>
                  </a:cubicBezTo>
                  <a:moveTo>
                    <a:pt x="13" y="806"/>
                  </a:moveTo>
                  <a:cubicBezTo>
                    <a:pt x="12" y="807"/>
                    <a:pt x="12" y="807"/>
                    <a:pt x="11" y="808"/>
                  </a:cubicBezTo>
                  <a:cubicBezTo>
                    <a:pt x="10" y="809"/>
                    <a:pt x="10" y="810"/>
                    <a:pt x="9" y="811"/>
                  </a:cubicBezTo>
                  <a:cubicBezTo>
                    <a:pt x="10" y="810"/>
                    <a:pt x="10" y="810"/>
                    <a:pt x="10" y="810"/>
                  </a:cubicBezTo>
                  <a:cubicBezTo>
                    <a:pt x="11" y="810"/>
                    <a:pt x="11" y="809"/>
                    <a:pt x="11" y="809"/>
                  </a:cubicBezTo>
                  <a:cubicBezTo>
                    <a:pt x="12" y="809"/>
                    <a:pt x="12" y="808"/>
                    <a:pt x="13" y="807"/>
                  </a:cubicBezTo>
                  <a:cubicBezTo>
                    <a:pt x="13" y="807"/>
                    <a:pt x="13" y="806"/>
                    <a:pt x="13" y="806"/>
                  </a:cubicBezTo>
                  <a:moveTo>
                    <a:pt x="9" y="810"/>
                  </a:moveTo>
                  <a:cubicBezTo>
                    <a:pt x="6" y="813"/>
                    <a:pt x="4" y="816"/>
                    <a:pt x="3" y="818"/>
                  </a:cubicBezTo>
                  <a:cubicBezTo>
                    <a:pt x="2" y="819"/>
                    <a:pt x="2" y="820"/>
                    <a:pt x="1" y="821"/>
                  </a:cubicBezTo>
                  <a:cubicBezTo>
                    <a:pt x="1" y="821"/>
                    <a:pt x="1" y="822"/>
                    <a:pt x="1" y="822"/>
                  </a:cubicBezTo>
                  <a:cubicBezTo>
                    <a:pt x="1" y="822"/>
                    <a:pt x="1" y="822"/>
                    <a:pt x="1" y="822"/>
                  </a:cubicBezTo>
                  <a:cubicBezTo>
                    <a:pt x="1" y="823"/>
                    <a:pt x="1" y="823"/>
                    <a:pt x="1" y="824"/>
                  </a:cubicBezTo>
                  <a:cubicBezTo>
                    <a:pt x="0" y="824"/>
                    <a:pt x="0" y="825"/>
                    <a:pt x="0" y="825"/>
                  </a:cubicBezTo>
                  <a:cubicBezTo>
                    <a:pt x="0" y="826"/>
                    <a:pt x="0" y="826"/>
                    <a:pt x="0" y="826"/>
                  </a:cubicBezTo>
                  <a:cubicBezTo>
                    <a:pt x="0" y="827"/>
                    <a:pt x="0" y="827"/>
                    <a:pt x="0" y="827"/>
                  </a:cubicBezTo>
                  <a:cubicBezTo>
                    <a:pt x="0" y="827"/>
                    <a:pt x="0" y="827"/>
                    <a:pt x="0" y="827"/>
                  </a:cubicBezTo>
                  <a:cubicBezTo>
                    <a:pt x="0" y="827"/>
                    <a:pt x="0" y="828"/>
                    <a:pt x="0" y="828"/>
                  </a:cubicBezTo>
                  <a:cubicBezTo>
                    <a:pt x="0" y="828"/>
                    <a:pt x="0" y="829"/>
                    <a:pt x="0" y="829"/>
                  </a:cubicBezTo>
                  <a:cubicBezTo>
                    <a:pt x="0" y="829"/>
                    <a:pt x="0" y="830"/>
                    <a:pt x="0" y="830"/>
                  </a:cubicBezTo>
                  <a:cubicBezTo>
                    <a:pt x="0" y="833"/>
                    <a:pt x="0" y="836"/>
                    <a:pt x="1" y="839"/>
                  </a:cubicBezTo>
                  <a:cubicBezTo>
                    <a:pt x="1" y="839"/>
                    <a:pt x="1" y="840"/>
                    <a:pt x="2" y="840"/>
                  </a:cubicBezTo>
                  <a:cubicBezTo>
                    <a:pt x="2" y="842"/>
                    <a:pt x="3" y="844"/>
                    <a:pt x="4" y="846"/>
                  </a:cubicBezTo>
                  <a:cubicBezTo>
                    <a:pt x="5" y="847"/>
                    <a:pt x="5" y="847"/>
                    <a:pt x="5" y="848"/>
                  </a:cubicBezTo>
                  <a:cubicBezTo>
                    <a:pt x="6" y="849"/>
                    <a:pt x="6" y="849"/>
                    <a:pt x="7" y="850"/>
                  </a:cubicBezTo>
                  <a:cubicBezTo>
                    <a:pt x="7" y="851"/>
                    <a:pt x="8" y="851"/>
                    <a:pt x="8" y="852"/>
                  </a:cubicBezTo>
                  <a:cubicBezTo>
                    <a:pt x="8" y="853"/>
                    <a:pt x="9" y="853"/>
                    <a:pt x="9" y="854"/>
                  </a:cubicBezTo>
                  <a:cubicBezTo>
                    <a:pt x="10" y="854"/>
                    <a:pt x="10" y="854"/>
                    <a:pt x="10" y="855"/>
                  </a:cubicBezTo>
                  <a:cubicBezTo>
                    <a:pt x="14" y="859"/>
                    <a:pt x="18" y="864"/>
                    <a:pt x="24" y="870"/>
                  </a:cubicBezTo>
                  <a:cubicBezTo>
                    <a:pt x="25" y="870"/>
                    <a:pt x="26" y="871"/>
                    <a:pt x="27" y="872"/>
                  </a:cubicBezTo>
                  <a:cubicBezTo>
                    <a:pt x="28" y="873"/>
                    <a:pt x="29" y="873"/>
                    <a:pt x="29" y="874"/>
                  </a:cubicBezTo>
                  <a:cubicBezTo>
                    <a:pt x="29" y="873"/>
                    <a:pt x="29" y="873"/>
                    <a:pt x="29" y="873"/>
                  </a:cubicBezTo>
                  <a:cubicBezTo>
                    <a:pt x="29" y="872"/>
                    <a:pt x="28" y="872"/>
                    <a:pt x="28" y="871"/>
                  </a:cubicBezTo>
                  <a:cubicBezTo>
                    <a:pt x="21" y="865"/>
                    <a:pt x="15" y="860"/>
                    <a:pt x="11" y="854"/>
                  </a:cubicBezTo>
                  <a:cubicBezTo>
                    <a:pt x="11" y="854"/>
                    <a:pt x="11" y="854"/>
                    <a:pt x="10" y="854"/>
                  </a:cubicBezTo>
                  <a:cubicBezTo>
                    <a:pt x="10" y="853"/>
                    <a:pt x="10" y="853"/>
                    <a:pt x="10" y="853"/>
                  </a:cubicBezTo>
                  <a:cubicBezTo>
                    <a:pt x="9" y="852"/>
                    <a:pt x="9" y="852"/>
                    <a:pt x="9" y="851"/>
                  </a:cubicBezTo>
                  <a:cubicBezTo>
                    <a:pt x="8" y="850"/>
                    <a:pt x="7" y="849"/>
                    <a:pt x="7" y="848"/>
                  </a:cubicBezTo>
                  <a:cubicBezTo>
                    <a:pt x="6" y="848"/>
                    <a:pt x="6" y="847"/>
                    <a:pt x="6" y="847"/>
                  </a:cubicBezTo>
                  <a:cubicBezTo>
                    <a:pt x="5" y="845"/>
                    <a:pt x="4" y="843"/>
                    <a:pt x="3" y="841"/>
                  </a:cubicBezTo>
                  <a:cubicBezTo>
                    <a:pt x="3" y="840"/>
                    <a:pt x="2" y="840"/>
                    <a:pt x="2" y="839"/>
                  </a:cubicBezTo>
                  <a:cubicBezTo>
                    <a:pt x="1" y="836"/>
                    <a:pt x="1" y="833"/>
                    <a:pt x="1" y="830"/>
                  </a:cubicBezTo>
                  <a:cubicBezTo>
                    <a:pt x="1" y="830"/>
                    <a:pt x="1" y="829"/>
                    <a:pt x="1" y="829"/>
                  </a:cubicBezTo>
                  <a:cubicBezTo>
                    <a:pt x="1" y="828"/>
                    <a:pt x="1" y="828"/>
                    <a:pt x="1" y="828"/>
                  </a:cubicBezTo>
                  <a:cubicBezTo>
                    <a:pt x="1" y="828"/>
                    <a:pt x="1" y="828"/>
                    <a:pt x="1" y="828"/>
                  </a:cubicBezTo>
                  <a:cubicBezTo>
                    <a:pt x="1" y="827"/>
                    <a:pt x="1" y="827"/>
                    <a:pt x="1" y="827"/>
                  </a:cubicBezTo>
                  <a:cubicBezTo>
                    <a:pt x="1" y="826"/>
                    <a:pt x="1" y="826"/>
                    <a:pt x="1" y="826"/>
                  </a:cubicBezTo>
                  <a:cubicBezTo>
                    <a:pt x="1" y="826"/>
                    <a:pt x="1" y="825"/>
                    <a:pt x="1" y="825"/>
                  </a:cubicBezTo>
                  <a:cubicBezTo>
                    <a:pt x="1" y="824"/>
                    <a:pt x="2" y="824"/>
                    <a:pt x="2" y="823"/>
                  </a:cubicBezTo>
                  <a:cubicBezTo>
                    <a:pt x="2" y="823"/>
                    <a:pt x="2" y="823"/>
                    <a:pt x="2" y="823"/>
                  </a:cubicBezTo>
                  <a:cubicBezTo>
                    <a:pt x="2" y="822"/>
                    <a:pt x="2" y="822"/>
                    <a:pt x="2" y="821"/>
                  </a:cubicBezTo>
                  <a:cubicBezTo>
                    <a:pt x="3" y="821"/>
                    <a:pt x="3" y="820"/>
                    <a:pt x="3" y="819"/>
                  </a:cubicBezTo>
                  <a:cubicBezTo>
                    <a:pt x="4" y="818"/>
                    <a:pt x="4" y="817"/>
                    <a:pt x="5" y="817"/>
                  </a:cubicBezTo>
                  <a:cubicBezTo>
                    <a:pt x="6" y="815"/>
                    <a:pt x="7" y="814"/>
                    <a:pt x="8" y="812"/>
                  </a:cubicBezTo>
                  <a:cubicBezTo>
                    <a:pt x="8" y="812"/>
                    <a:pt x="8" y="811"/>
                    <a:pt x="9" y="810"/>
                  </a:cubicBezTo>
                  <a:moveTo>
                    <a:pt x="30" y="873"/>
                  </a:moveTo>
                  <a:cubicBezTo>
                    <a:pt x="30" y="874"/>
                    <a:pt x="30" y="874"/>
                    <a:pt x="30" y="875"/>
                  </a:cubicBezTo>
                  <a:cubicBezTo>
                    <a:pt x="31" y="875"/>
                    <a:pt x="32" y="876"/>
                    <a:pt x="34" y="877"/>
                  </a:cubicBezTo>
                  <a:cubicBezTo>
                    <a:pt x="35" y="878"/>
                    <a:pt x="36" y="879"/>
                    <a:pt x="37" y="880"/>
                  </a:cubicBezTo>
                  <a:cubicBezTo>
                    <a:pt x="39" y="882"/>
                    <a:pt x="42" y="883"/>
                    <a:pt x="44" y="885"/>
                  </a:cubicBezTo>
                  <a:cubicBezTo>
                    <a:pt x="43" y="884"/>
                    <a:pt x="41" y="882"/>
                    <a:pt x="40" y="881"/>
                  </a:cubicBezTo>
                  <a:cubicBezTo>
                    <a:pt x="39" y="880"/>
                    <a:pt x="38" y="880"/>
                    <a:pt x="38" y="879"/>
                  </a:cubicBezTo>
                  <a:cubicBezTo>
                    <a:pt x="35" y="877"/>
                    <a:pt x="33" y="875"/>
                    <a:pt x="31" y="874"/>
                  </a:cubicBezTo>
                  <a:cubicBezTo>
                    <a:pt x="31" y="874"/>
                    <a:pt x="30" y="873"/>
                    <a:pt x="30" y="873"/>
                  </a:cubicBezTo>
                  <a:moveTo>
                    <a:pt x="45" y="884"/>
                  </a:moveTo>
                  <a:cubicBezTo>
                    <a:pt x="46" y="886"/>
                    <a:pt x="48" y="888"/>
                    <a:pt x="50" y="889"/>
                  </a:cubicBezTo>
                  <a:cubicBezTo>
                    <a:pt x="50" y="889"/>
                    <a:pt x="51" y="889"/>
                    <a:pt x="51" y="890"/>
                  </a:cubicBezTo>
                  <a:cubicBezTo>
                    <a:pt x="51" y="890"/>
                    <a:pt x="52" y="890"/>
                    <a:pt x="52" y="891"/>
                  </a:cubicBezTo>
                  <a:cubicBezTo>
                    <a:pt x="53" y="891"/>
                    <a:pt x="54" y="892"/>
                    <a:pt x="55" y="892"/>
                  </a:cubicBezTo>
                  <a:cubicBezTo>
                    <a:pt x="55" y="892"/>
                    <a:pt x="56" y="892"/>
                    <a:pt x="56" y="892"/>
                  </a:cubicBezTo>
                  <a:cubicBezTo>
                    <a:pt x="54" y="891"/>
                    <a:pt x="53" y="890"/>
                    <a:pt x="52" y="889"/>
                  </a:cubicBezTo>
                  <a:cubicBezTo>
                    <a:pt x="51" y="889"/>
                    <a:pt x="51" y="889"/>
                    <a:pt x="51" y="888"/>
                  </a:cubicBezTo>
                  <a:cubicBezTo>
                    <a:pt x="49" y="887"/>
                    <a:pt x="47" y="886"/>
                    <a:pt x="45" y="884"/>
                  </a:cubicBezTo>
                  <a:moveTo>
                    <a:pt x="57" y="892"/>
                  </a:moveTo>
                  <a:cubicBezTo>
                    <a:pt x="56" y="892"/>
                    <a:pt x="56" y="893"/>
                    <a:pt x="56" y="893"/>
                  </a:cubicBezTo>
                  <a:cubicBezTo>
                    <a:pt x="57" y="893"/>
                    <a:pt x="58" y="894"/>
                    <a:pt x="59" y="895"/>
                  </a:cubicBezTo>
                  <a:cubicBezTo>
                    <a:pt x="59" y="895"/>
                    <a:pt x="60" y="896"/>
                    <a:pt x="61" y="896"/>
                  </a:cubicBezTo>
                  <a:cubicBezTo>
                    <a:pt x="64" y="898"/>
                    <a:pt x="67" y="900"/>
                    <a:pt x="70" y="902"/>
                  </a:cubicBezTo>
                  <a:cubicBezTo>
                    <a:pt x="74" y="904"/>
                    <a:pt x="77" y="906"/>
                    <a:pt x="81" y="908"/>
                  </a:cubicBezTo>
                  <a:cubicBezTo>
                    <a:pt x="82" y="908"/>
                    <a:pt x="82" y="908"/>
                    <a:pt x="82" y="908"/>
                  </a:cubicBezTo>
                  <a:cubicBezTo>
                    <a:pt x="78" y="905"/>
                    <a:pt x="74" y="903"/>
                    <a:pt x="71" y="901"/>
                  </a:cubicBezTo>
                  <a:cubicBezTo>
                    <a:pt x="69" y="900"/>
                    <a:pt x="68" y="899"/>
                    <a:pt x="67" y="899"/>
                  </a:cubicBezTo>
                  <a:cubicBezTo>
                    <a:pt x="64" y="897"/>
                    <a:pt x="62" y="895"/>
                    <a:pt x="59" y="894"/>
                  </a:cubicBezTo>
                  <a:cubicBezTo>
                    <a:pt x="58" y="893"/>
                    <a:pt x="57" y="893"/>
                    <a:pt x="57" y="892"/>
                  </a:cubicBezTo>
                  <a:moveTo>
                    <a:pt x="83" y="908"/>
                  </a:moveTo>
                  <a:cubicBezTo>
                    <a:pt x="83" y="908"/>
                    <a:pt x="82" y="909"/>
                    <a:pt x="82" y="909"/>
                  </a:cubicBezTo>
                  <a:cubicBezTo>
                    <a:pt x="86" y="911"/>
                    <a:pt x="89" y="913"/>
                    <a:pt x="93" y="915"/>
                  </a:cubicBezTo>
                  <a:cubicBezTo>
                    <a:pt x="94" y="915"/>
                    <a:pt x="95" y="916"/>
                    <a:pt x="97" y="917"/>
                  </a:cubicBezTo>
                  <a:cubicBezTo>
                    <a:pt x="97" y="917"/>
                    <a:pt x="98" y="917"/>
                    <a:pt x="98" y="918"/>
                  </a:cubicBezTo>
                  <a:cubicBezTo>
                    <a:pt x="99" y="918"/>
                    <a:pt x="99" y="918"/>
                    <a:pt x="100" y="918"/>
                  </a:cubicBezTo>
                  <a:cubicBezTo>
                    <a:pt x="102" y="920"/>
                    <a:pt x="105" y="921"/>
                    <a:pt x="107" y="922"/>
                  </a:cubicBezTo>
                  <a:cubicBezTo>
                    <a:pt x="108" y="922"/>
                    <a:pt x="108" y="922"/>
                    <a:pt x="109" y="922"/>
                  </a:cubicBezTo>
                  <a:cubicBezTo>
                    <a:pt x="106" y="920"/>
                    <a:pt x="104" y="919"/>
                    <a:pt x="101" y="918"/>
                  </a:cubicBezTo>
                  <a:cubicBezTo>
                    <a:pt x="100" y="917"/>
                    <a:pt x="99" y="917"/>
                    <a:pt x="97" y="916"/>
                  </a:cubicBezTo>
                  <a:cubicBezTo>
                    <a:pt x="92" y="913"/>
                    <a:pt x="88" y="911"/>
                    <a:pt x="83" y="908"/>
                  </a:cubicBezTo>
                  <a:moveTo>
                    <a:pt x="110" y="922"/>
                  </a:moveTo>
                  <a:cubicBezTo>
                    <a:pt x="109" y="923"/>
                    <a:pt x="109" y="923"/>
                    <a:pt x="109" y="923"/>
                  </a:cubicBezTo>
                  <a:cubicBezTo>
                    <a:pt x="111" y="924"/>
                    <a:pt x="114" y="926"/>
                    <a:pt x="117" y="927"/>
                  </a:cubicBezTo>
                  <a:cubicBezTo>
                    <a:pt x="120" y="929"/>
                    <a:pt x="123" y="930"/>
                    <a:pt x="127" y="932"/>
                  </a:cubicBezTo>
                  <a:cubicBezTo>
                    <a:pt x="129" y="933"/>
                    <a:pt x="131" y="934"/>
                    <a:pt x="133" y="935"/>
                  </a:cubicBezTo>
                  <a:cubicBezTo>
                    <a:pt x="133" y="935"/>
                    <a:pt x="133" y="934"/>
                    <a:pt x="134" y="934"/>
                  </a:cubicBezTo>
                  <a:cubicBezTo>
                    <a:pt x="128" y="932"/>
                    <a:pt x="123" y="929"/>
                    <a:pt x="118" y="926"/>
                  </a:cubicBezTo>
                  <a:cubicBezTo>
                    <a:pt x="115" y="925"/>
                    <a:pt x="112" y="924"/>
                    <a:pt x="110" y="922"/>
                  </a:cubicBezTo>
                  <a:moveTo>
                    <a:pt x="135" y="935"/>
                  </a:moveTo>
                  <a:cubicBezTo>
                    <a:pt x="135" y="935"/>
                    <a:pt x="134" y="935"/>
                    <a:pt x="134" y="935"/>
                  </a:cubicBezTo>
                  <a:cubicBezTo>
                    <a:pt x="136" y="936"/>
                    <a:pt x="139" y="938"/>
                    <a:pt x="141" y="939"/>
                  </a:cubicBezTo>
                  <a:cubicBezTo>
                    <a:pt x="143" y="940"/>
                    <a:pt x="145" y="941"/>
                    <a:pt x="148" y="942"/>
                  </a:cubicBezTo>
                  <a:cubicBezTo>
                    <a:pt x="148" y="942"/>
                    <a:pt x="149" y="942"/>
                    <a:pt x="149" y="943"/>
                  </a:cubicBezTo>
                  <a:cubicBezTo>
                    <a:pt x="149" y="943"/>
                    <a:pt x="150" y="943"/>
                    <a:pt x="150" y="943"/>
                  </a:cubicBezTo>
                  <a:cubicBezTo>
                    <a:pt x="150" y="943"/>
                    <a:pt x="150" y="943"/>
                    <a:pt x="150" y="943"/>
                  </a:cubicBezTo>
                  <a:cubicBezTo>
                    <a:pt x="150" y="943"/>
                    <a:pt x="151" y="943"/>
                    <a:pt x="151" y="943"/>
                  </a:cubicBezTo>
                  <a:cubicBezTo>
                    <a:pt x="151" y="943"/>
                    <a:pt x="151" y="943"/>
                    <a:pt x="151" y="943"/>
                  </a:cubicBezTo>
                  <a:cubicBezTo>
                    <a:pt x="153" y="944"/>
                    <a:pt x="155" y="945"/>
                    <a:pt x="156" y="946"/>
                  </a:cubicBezTo>
                  <a:cubicBezTo>
                    <a:pt x="157" y="946"/>
                    <a:pt x="157" y="946"/>
                    <a:pt x="158" y="945"/>
                  </a:cubicBezTo>
                  <a:cubicBezTo>
                    <a:pt x="155" y="944"/>
                    <a:pt x="153" y="943"/>
                    <a:pt x="151" y="942"/>
                  </a:cubicBezTo>
                  <a:cubicBezTo>
                    <a:pt x="151" y="942"/>
                    <a:pt x="150" y="942"/>
                    <a:pt x="150" y="942"/>
                  </a:cubicBezTo>
                  <a:cubicBezTo>
                    <a:pt x="150" y="942"/>
                    <a:pt x="150" y="942"/>
                    <a:pt x="149" y="941"/>
                  </a:cubicBezTo>
                  <a:cubicBezTo>
                    <a:pt x="148" y="941"/>
                    <a:pt x="147" y="941"/>
                    <a:pt x="147" y="940"/>
                  </a:cubicBezTo>
                  <a:cubicBezTo>
                    <a:pt x="146" y="940"/>
                    <a:pt x="145" y="939"/>
                    <a:pt x="144" y="939"/>
                  </a:cubicBezTo>
                  <a:cubicBezTo>
                    <a:pt x="143" y="939"/>
                    <a:pt x="143" y="938"/>
                    <a:pt x="142" y="938"/>
                  </a:cubicBezTo>
                  <a:cubicBezTo>
                    <a:pt x="142" y="938"/>
                    <a:pt x="142" y="938"/>
                    <a:pt x="142" y="938"/>
                  </a:cubicBezTo>
                  <a:cubicBezTo>
                    <a:pt x="140" y="937"/>
                    <a:pt x="137" y="936"/>
                    <a:pt x="135" y="935"/>
                  </a:cubicBezTo>
                  <a:moveTo>
                    <a:pt x="160" y="946"/>
                  </a:moveTo>
                  <a:cubicBezTo>
                    <a:pt x="160" y="947"/>
                    <a:pt x="159" y="947"/>
                    <a:pt x="159" y="947"/>
                  </a:cubicBezTo>
                  <a:cubicBezTo>
                    <a:pt x="159" y="947"/>
                    <a:pt x="160" y="947"/>
                    <a:pt x="160" y="948"/>
                  </a:cubicBezTo>
                  <a:cubicBezTo>
                    <a:pt x="161" y="948"/>
                    <a:pt x="161" y="948"/>
                    <a:pt x="162" y="948"/>
                  </a:cubicBezTo>
                  <a:cubicBezTo>
                    <a:pt x="163" y="949"/>
                    <a:pt x="165" y="950"/>
                    <a:pt x="166" y="950"/>
                  </a:cubicBezTo>
                  <a:cubicBezTo>
                    <a:pt x="167" y="951"/>
                    <a:pt x="167" y="951"/>
                    <a:pt x="168" y="951"/>
                  </a:cubicBezTo>
                  <a:cubicBezTo>
                    <a:pt x="169" y="951"/>
                    <a:pt x="170" y="952"/>
                    <a:pt x="170" y="952"/>
                  </a:cubicBezTo>
                  <a:cubicBezTo>
                    <a:pt x="171" y="952"/>
                    <a:pt x="171" y="952"/>
                    <a:pt x="172" y="952"/>
                  </a:cubicBezTo>
                  <a:cubicBezTo>
                    <a:pt x="171" y="951"/>
                    <a:pt x="171" y="951"/>
                    <a:pt x="170" y="951"/>
                  </a:cubicBezTo>
                  <a:cubicBezTo>
                    <a:pt x="169" y="950"/>
                    <a:pt x="168" y="950"/>
                    <a:pt x="167" y="950"/>
                  </a:cubicBezTo>
                  <a:cubicBezTo>
                    <a:pt x="166" y="949"/>
                    <a:pt x="166" y="949"/>
                    <a:pt x="165" y="949"/>
                  </a:cubicBezTo>
                  <a:cubicBezTo>
                    <a:pt x="164" y="948"/>
                    <a:pt x="162" y="948"/>
                    <a:pt x="161" y="947"/>
                  </a:cubicBezTo>
                  <a:cubicBezTo>
                    <a:pt x="161" y="947"/>
                    <a:pt x="160" y="947"/>
                    <a:pt x="160" y="946"/>
                  </a:cubicBezTo>
                  <a:moveTo>
                    <a:pt x="173" y="952"/>
                  </a:moveTo>
                  <a:cubicBezTo>
                    <a:pt x="172" y="952"/>
                    <a:pt x="172" y="952"/>
                    <a:pt x="172" y="953"/>
                  </a:cubicBezTo>
                  <a:cubicBezTo>
                    <a:pt x="172" y="953"/>
                    <a:pt x="173" y="953"/>
                    <a:pt x="173" y="953"/>
                  </a:cubicBezTo>
                  <a:cubicBezTo>
                    <a:pt x="174" y="954"/>
                    <a:pt x="175" y="954"/>
                    <a:pt x="176" y="955"/>
                  </a:cubicBezTo>
                  <a:cubicBezTo>
                    <a:pt x="177" y="955"/>
                    <a:pt x="178" y="955"/>
                    <a:pt x="179" y="956"/>
                  </a:cubicBezTo>
                  <a:cubicBezTo>
                    <a:pt x="179" y="956"/>
                    <a:pt x="180" y="956"/>
                    <a:pt x="180" y="955"/>
                  </a:cubicBezTo>
                  <a:cubicBezTo>
                    <a:pt x="178" y="954"/>
                    <a:pt x="176" y="953"/>
                    <a:pt x="174" y="953"/>
                  </a:cubicBezTo>
                  <a:cubicBezTo>
                    <a:pt x="173" y="952"/>
                    <a:pt x="173" y="952"/>
                    <a:pt x="173" y="952"/>
                  </a:cubicBezTo>
                  <a:moveTo>
                    <a:pt x="182" y="956"/>
                  </a:moveTo>
                  <a:cubicBezTo>
                    <a:pt x="181" y="956"/>
                    <a:pt x="181" y="956"/>
                    <a:pt x="180" y="956"/>
                  </a:cubicBezTo>
                  <a:cubicBezTo>
                    <a:pt x="181" y="957"/>
                    <a:pt x="181" y="957"/>
                    <a:pt x="181" y="957"/>
                  </a:cubicBezTo>
                  <a:cubicBezTo>
                    <a:pt x="182" y="957"/>
                    <a:pt x="182" y="957"/>
                    <a:pt x="182" y="957"/>
                  </a:cubicBezTo>
                  <a:cubicBezTo>
                    <a:pt x="183" y="957"/>
                    <a:pt x="183" y="958"/>
                    <a:pt x="183" y="958"/>
                  </a:cubicBezTo>
                  <a:cubicBezTo>
                    <a:pt x="184" y="958"/>
                    <a:pt x="184" y="957"/>
                    <a:pt x="185" y="957"/>
                  </a:cubicBezTo>
                  <a:cubicBezTo>
                    <a:pt x="184" y="957"/>
                    <a:pt x="184" y="957"/>
                    <a:pt x="183" y="957"/>
                  </a:cubicBezTo>
                  <a:cubicBezTo>
                    <a:pt x="183" y="957"/>
                    <a:pt x="183" y="956"/>
                    <a:pt x="182" y="956"/>
                  </a:cubicBezTo>
                  <a:cubicBezTo>
                    <a:pt x="182" y="956"/>
                    <a:pt x="182" y="956"/>
                    <a:pt x="182" y="956"/>
                  </a:cubicBezTo>
                  <a:moveTo>
                    <a:pt x="186" y="958"/>
                  </a:moveTo>
                  <a:cubicBezTo>
                    <a:pt x="185" y="958"/>
                    <a:pt x="185" y="958"/>
                    <a:pt x="185" y="958"/>
                  </a:cubicBezTo>
                  <a:cubicBezTo>
                    <a:pt x="186" y="959"/>
                    <a:pt x="187" y="959"/>
                    <a:pt x="189" y="960"/>
                  </a:cubicBezTo>
                  <a:cubicBezTo>
                    <a:pt x="189" y="960"/>
                    <a:pt x="190" y="961"/>
                    <a:pt x="191" y="961"/>
                  </a:cubicBezTo>
                  <a:cubicBezTo>
                    <a:pt x="192" y="962"/>
                    <a:pt x="194" y="962"/>
                    <a:pt x="195" y="963"/>
                  </a:cubicBezTo>
                  <a:cubicBezTo>
                    <a:pt x="196" y="963"/>
                    <a:pt x="196" y="963"/>
                    <a:pt x="197" y="964"/>
                  </a:cubicBezTo>
                  <a:cubicBezTo>
                    <a:pt x="197" y="963"/>
                    <a:pt x="198" y="963"/>
                    <a:pt x="198" y="963"/>
                  </a:cubicBezTo>
                  <a:cubicBezTo>
                    <a:pt x="197" y="963"/>
                    <a:pt x="196" y="962"/>
                    <a:pt x="196" y="962"/>
                  </a:cubicBezTo>
                  <a:cubicBezTo>
                    <a:pt x="195" y="962"/>
                    <a:pt x="194" y="961"/>
                    <a:pt x="193" y="961"/>
                  </a:cubicBezTo>
                  <a:cubicBezTo>
                    <a:pt x="192" y="960"/>
                    <a:pt x="191" y="960"/>
                    <a:pt x="189" y="959"/>
                  </a:cubicBezTo>
                  <a:cubicBezTo>
                    <a:pt x="189" y="959"/>
                    <a:pt x="188" y="959"/>
                    <a:pt x="187" y="958"/>
                  </a:cubicBezTo>
                  <a:cubicBezTo>
                    <a:pt x="187" y="958"/>
                    <a:pt x="186" y="958"/>
                    <a:pt x="186" y="958"/>
                  </a:cubicBezTo>
                  <a:moveTo>
                    <a:pt x="199" y="964"/>
                  </a:moveTo>
                  <a:cubicBezTo>
                    <a:pt x="199" y="964"/>
                    <a:pt x="198" y="964"/>
                    <a:pt x="198" y="964"/>
                  </a:cubicBezTo>
                  <a:cubicBezTo>
                    <a:pt x="199" y="964"/>
                    <a:pt x="199" y="965"/>
                    <a:pt x="200" y="965"/>
                  </a:cubicBezTo>
                  <a:cubicBezTo>
                    <a:pt x="200" y="965"/>
                    <a:pt x="201" y="965"/>
                    <a:pt x="201" y="964"/>
                  </a:cubicBezTo>
                  <a:cubicBezTo>
                    <a:pt x="201" y="964"/>
                    <a:pt x="200" y="964"/>
                    <a:pt x="200" y="964"/>
                  </a:cubicBezTo>
                  <a:cubicBezTo>
                    <a:pt x="200" y="964"/>
                    <a:pt x="199" y="964"/>
                    <a:pt x="199" y="964"/>
                  </a:cubicBezTo>
                  <a:moveTo>
                    <a:pt x="203" y="965"/>
                  </a:moveTo>
                  <a:cubicBezTo>
                    <a:pt x="202" y="965"/>
                    <a:pt x="202" y="965"/>
                    <a:pt x="201" y="966"/>
                  </a:cubicBezTo>
                  <a:cubicBezTo>
                    <a:pt x="201" y="966"/>
                    <a:pt x="201" y="966"/>
                    <a:pt x="201" y="966"/>
                  </a:cubicBezTo>
                  <a:cubicBezTo>
                    <a:pt x="202" y="966"/>
                    <a:pt x="202" y="966"/>
                    <a:pt x="202" y="966"/>
                  </a:cubicBezTo>
                  <a:cubicBezTo>
                    <a:pt x="204" y="966"/>
                    <a:pt x="205" y="967"/>
                    <a:pt x="206" y="968"/>
                  </a:cubicBezTo>
                  <a:cubicBezTo>
                    <a:pt x="207" y="968"/>
                    <a:pt x="207" y="968"/>
                    <a:pt x="207" y="968"/>
                  </a:cubicBezTo>
                  <a:cubicBezTo>
                    <a:pt x="207" y="968"/>
                    <a:pt x="207" y="968"/>
                    <a:pt x="207" y="968"/>
                  </a:cubicBezTo>
                  <a:cubicBezTo>
                    <a:pt x="208" y="968"/>
                    <a:pt x="208" y="968"/>
                    <a:pt x="209" y="967"/>
                  </a:cubicBezTo>
                  <a:cubicBezTo>
                    <a:pt x="208" y="967"/>
                    <a:pt x="207" y="967"/>
                    <a:pt x="207" y="967"/>
                  </a:cubicBezTo>
                  <a:cubicBezTo>
                    <a:pt x="206" y="966"/>
                    <a:pt x="206" y="966"/>
                    <a:pt x="206" y="966"/>
                  </a:cubicBezTo>
                  <a:cubicBezTo>
                    <a:pt x="205" y="966"/>
                    <a:pt x="205" y="966"/>
                    <a:pt x="205" y="966"/>
                  </a:cubicBezTo>
                  <a:cubicBezTo>
                    <a:pt x="204" y="966"/>
                    <a:pt x="204" y="966"/>
                    <a:pt x="204" y="965"/>
                  </a:cubicBezTo>
                  <a:cubicBezTo>
                    <a:pt x="203" y="965"/>
                    <a:pt x="203" y="965"/>
                    <a:pt x="203" y="965"/>
                  </a:cubicBezTo>
                  <a:moveTo>
                    <a:pt x="210" y="968"/>
                  </a:moveTo>
                  <a:cubicBezTo>
                    <a:pt x="209" y="968"/>
                    <a:pt x="209" y="968"/>
                    <a:pt x="209" y="969"/>
                  </a:cubicBezTo>
                  <a:cubicBezTo>
                    <a:pt x="209" y="969"/>
                    <a:pt x="209" y="969"/>
                    <a:pt x="209" y="969"/>
                  </a:cubicBezTo>
                  <a:cubicBezTo>
                    <a:pt x="209" y="969"/>
                    <a:pt x="210" y="969"/>
                    <a:pt x="210" y="969"/>
                  </a:cubicBezTo>
                  <a:cubicBezTo>
                    <a:pt x="210" y="969"/>
                    <a:pt x="210" y="969"/>
                    <a:pt x="210" y="969"/>
                  </a:cubicBezTo>
                  <a:cubicBezTo>
                    <a:pt x="212" y="970"/>
                    <a:pt x="214" y="971"/>
                    <a:pt x="216" y="971"/>
                  </a:cubicBezTo>
                  <a:cubicBezTo>
                    <a:pt x="216" y="972"/>
                    <a:pt x="216" y="972"/>
                    <a:pt x="216" y="972"/>
                  </a:cubicBezTo>
                  <a:cubicBezTo>
                    <a:pt x="217" y="972"/>
                    <a:pt x="217" y="971"/>
                    <a:pt x="218" y="971"/>
                  </a:cubicBezTo>
                  <a:cubicBezTo>
                    <a:pt x="215" y="970"/>
                    <a:pt x="213" y="969"/>
                    <a:pt x="211" y="969"/>
                  </a:cubicBezTo>
                  <a:cubicBezTo>
                    <a:pt x="211" y="969"/>
                    <a:pt x="211" y="969"/>
                    <a:pt x="211" y="968"/>
                  </a:cubicBezTo>
                  <a:cubicBezTo>
                    <a:pt x="211" y="968"/>
                    <a:pt x="211" y="968"/>
                    <a:pt x="211" y="968"/>
                  </a:cubicBezTo>
                  <a:cubicBezTo>
                    <a:pt x="210" y="968"/>
                    <a:pt x="210" y="968"/>
                    <a:pt x="210" y="968"/>
                  </a:cubicBezTo>
                  <a:moveTo>
                    <a:pt x="219" y="972"/>
                  </a:moveTo>
                  <a:cubicBezTo>
                    <a:pt x="219" y="972"/>
                    <a:pt x="218" y="972"/>
                    <a:pt x="218" y="972"/>
                  </a:cubicBezTo>
                  <a:cubicBezTo>
                    <a:pt x="218" y="973"/>
                    <a:pt x="219" y="973"/>
                    <a:pt x="219" y="973"/>
                  </a:cubicBezTo>
                  <a:cubicBezTo>
                    <a:pt x="220" y="973"/>
                    <a:pt x="220" y="973"/>
                    <a:pt x="220" y="973"/>
                  </a:cubicBezTo>
                  <a:cubicBezTo>
                    <a:pt x="220" y="973"/>
                    <a:pt x="221" y="973"/>
                    <a:pt x="221" y="973"/>
                  </a:cubicBezTo>
                  <a:cubicBezTo>
                    <a:pt x="221" y="972"/>
                    <a:pt x="220" y="972"/>
                    <a:pt x="219" y="972"/>
                  </a:cubicBezTo>
                  <a:cubicBezTo>
                    <a:pt x="219" y="972"/>
                    <a:pt x="219" y="972"/>
                    <a:pt x="219" y="972"/>
                  </a:cubicBezTo>
                  <a:moveTo>
                    <a:pt x="223" y="973"/>
                  </a:moveTo>
                  <a:cubicBezTo>
                    <a:pt x="222" y="973"/>
                    <a:pt x="222" y="974"/>
                    <a:pt x="221" y="974"/>
                  </a:cubicBezTo>
                  <a:cubicBezTo>
                    <a:pt x="222" y="974"/>
                    <a:pt x="222" y="974"/>
                    <a:pt x="223" y="974"/>
                  </a:cubicBezTo>
                  <a:cubicBezTo>
                    <a:pt x="223" y="975"/>
                    <a:pt x="224" y="975"/>
                    <a:pt x="224" y="975"/>
                  </a:cubicBezTo>
                  <a:cubicBezTo>
                    <a:pt x="225" y="975"/>
                    <a:pt x="225" y="975"/>
                    <a:pt x="226" y="976"/>
                  </a:cubicBezTo>
                  <a:cubicBezTo>
                    <a:pt x="226" y="975"/>
                    <a:pt x="227" y="975"/>
                    <a:pt x="227" y="975"/>
                  </a:cubicBezTo>
                  <a:cubicBezTo>
                    <a:pt x="226" y="975"/>
                    <a:pt x="226" y="975"/>
                    <a:pt x="225" y="974"/>
                  </a:cubicBezTo>
                  <a:cubicBezTo>
                    <a:pt x="225" y="974"/>
                    <a:pt x="224" y="974"/>
                    <a:pt x="224" y="974"/>
                  </a:cubicBezTo>
                  <a:cubicBezTo>
                    <a:pt x="224" y="974"/>
                    <a:pt x="223" y="974"/>
                    <a:pt x="223" y="973"/>
                  </a:cubicBezTo>
                  <a:cubicBezTo>
                    <a:pt x="223" y="973"/>
                    <a:pt x="223" y="973"/>
                    <a:pt x="223" y="973"/>
                  </a:cubicBezTo>
                  <a:moveTo>
                    <a:pt x="228" y="976"/>
                  </a:moveTo>
                  <a:cubicBezTo>
                    <a:pt x="228" y="976"/>
                    <a:pt x="228" y="976"/>
                    <a:pt x="227" y="976"/>
                  </a:cubicBezTo>
                  <a:cubicBezTo>
                    <a:pt x="228" y="976"/>
                    <a:pt x="229" y="977"/>
                    <a:pt x="229" y="977"/>
                  </a:cubicBezTo>
                  <a:cubicBezTo>
                    <a:pt x="230" y="977"/>
                    <a:pt x="230" y="977"/>
                    <a:pt x="230" y="977"/>
                  </a:cubicBezTo>
                  <a:cubicBezTo>
                    <a:pt x="231" y="978"/>
                    <a:pt x="232" y="978"/>
                    <a:pt x="233" y="979"/>
                  </a:cubicBezTo>
                  <a:cubicBezTo>
                    <a:pt x="234" y="978"/>
                    <a:pt x="234" y="978"/>
                    <a:pt x="234" y="978"/>
                  </a:cubicBezTo>
                  <a:cubicBezTo>
                    <a:pt x="233" y="978"/>
                    <a:pt x="232" y="977"/>
                    <a:pt x="231" y="977"/>
                  </a:cubicBezTo>
                  <a:cubicBezTo>
                    <a:pt x="231" y="977"/>
                    <a:pt x="231" y="977"/>
                    <a:pt x="230" y="976"/>
                  </a:cubicBezTo>
                  <a:cubicBezTo>
                    <a:pt x="230" y="976"/>
                    <a:pt x="229" y="976"/>
                    <a:pt x="228" y="976"/>
                  </a:cubicBezTo>
                  <a:moveTo>
                    <a:pt x="236" y="979"/>
                  </a:moveTo>
                  <a:cubicBezTo>
                    <a:pt x="235" y="979"/>
                    <a:pt x="235" y="979"/>
                    <a:pt x="234" y="979"/>
                  </a:cubicBezTo>
                  <a:cubicBezTo>
                    <a:pt x="235" y="979"/>
                    <a:pt x="235" y="979"/>
                    <a:pt x="235" y="979"/>
                  </a:cubicBezTo>
                  <a:cubicBezTo>
                    <a:pt x="236" y="980"/>
                    <a:pt x="237" y="980"/>
                    <a:pt x="239" y="981"/>
                  </a:cubicBezTo>
                  <a:cubicBezTo>
                    <a:pt x="239" y="981"/>
                    <a:pt x="240" y="981"/>
                    <a:pt x="240" y="980"/>
                  </a:cubicBezTo>
                  <a:cubicBezTo>
                    <a:pt x="239" y="980"/>
                    <a:pt x="238" y="980"/>
                    <a:pt x="238" y="979"/>
                  </a:cubicBezTo>
                  <a:cubicBezTo>
                    <a:pt x="237" y="979"/>
                    <a:pt x="237" y="979"/>
                    <a:pt x="236" y="979"/>
                  </a:cubicBezTo>
                  <a:cubicBezTo>
                    <a:pt x="236" y="979"/>
                    <a:pt x="236" y="979"/>
                    <a:pt x="236" y="979"/>
                  </a:cubicBezTo>
                  <a:moveTo>
                    <a:pt x="242" y="981"/>
                  </a:moveTo>
                  <a:cubicBezTo>
                    <a:pt x="241" y="981"/>
                    <a:pt x="241" y="981"/>
                    <a:pt x="240" y="981"/>
                  </a:cubicBezTo>
                  <a:cubicBezTo>
                    <a:pt x="241" y="982"/>
                    <a:pt x="241" y="982"/>
                    <a:pt x="241" y="982"/>
                  </a:cubicBezTo>
                  <a:cubicBezTo>
                    <a:pt x="242" y="982"/>
                    <a:pt x="242" y="982"/>
                    <a:pt x="243" y="982"/>
                  </a:cubicBezTo>
                  <a:cubicBezTo>
                    <a:pt x="243" y="982"/>
                    <a:pt x="243" y="983"/>
                    <a:pt x="243" y="983"/>
                  </a:cubicBezTo>
                  <a:cubicBezTo>
                    <a:pt x="243" y="982"/>
                    <a:pt x="244" y="982"/>
                    <a:pt x="244" y="982"/>
                  </a:cubicBezTo>
                  <a:cubicBezTo>
                    <a:pt x="243" y="982"/>
                    <a:pt x="243" y="981"/>
                    <a:pt x="242" y="981"/>
                  </a:cubicBezTo>
                  <a:moveTo>
                    <a:pt x="246" y="983"/>
                  </a:moveTo>
                  <a:cubicBezTo>
                    <a:pt x="245" y="983"/>
                    <a:pt x="245" y="983"/>
                    <a:pt x="244" y="983"/>
                  </a:cubicBezTo>
                  <a:cubicBezTo>
                    <a:pt x="248" y="985"/>
                    <a:pt x="252" y="986"/>
                    <a:pt x="255" y="987"/>
                  </a:cubicBezTo>
                  <a:cubicBezTo>
                    <a:pt x="256" y="988"/>
                    <a:pt x="256" y="988"/>
                    <a:pt x="256" y="988"/>
                  </a:cubicBezTo>
                  <a:cubicBezTo>
                    <a:pt x="260" y="989"/>
                    <a:pt x="264" y="991"/>
                    <a:pt x="268" y="992"/>
                  </a:cubicBezTo>
                  <a:cubicBezTo>
                    <a:pt x="271" y="993"/>
                    <a:pt x="274" y="995"/>
                    <a:pt x="278" y="996"/>
                  </a:cubicBezTo>
                  <a:cubicBezTo>
                    <a:pt x="283" y="998"/>
                    <a:pt x="288" y="1000"/>
                    <a:pt x="294" y="1002"/>
                  </a:cubicBezTo>
                  <a:cubicBezTo>
                    <a:pt x="294" y="1002"/>
                    <a:pt x="294" y="1002"/>
                    <a:pt x="295" y="1003"/>
                  </a:cubicBezTo>
                  <a:cubicBezTo>
                    <a:pt x="295" y="1003"/>
                    <a:pt x="295" y="1003"/>
                    <a:pt x="296" y="1003"/>
                  </a:cubicBezTo>
                  <a:cubicBezTo>
                    <a:pt x="297" y="1003"/>
                    <a:pt x="297" y="1004"/>
                    <a:pt x="298" y="1004"/>
                  </a:cubicBezTo>
                  <a:cubicBezTo>
                    <a:pt x="304" y="1006"/>
                    <a:pt x="310" y="1008"/>
                    <a:pt x="315" y="1010"/>
                  </a:cubicBezTo>
                  <a:cubicBezTo>
                    <a:pt x="316" y="1010"/>
                    <a:pt x="316" y="1010"/>
                    <a:pt x="316" y="1010"/>
                  </a:cubicBezTo>
                  <a:cubicBezTo>
                    <a:pt x="320" y="1012"/>
                    <a:pt x="325" y="1014"/>
                    <a:pt x="330" y="1016"/>
                  </a:cubicBezTo>
                  <a:cubicBezTo>
                    <a:pt x="338" y="1019"/>
                    <a:pt x="346" y="1022"/>
                    <a:pt x="354" y="1025"/>
                  </a:cubicBezTo>
                  <a:cubicBezTo>
                    <a:pt x="356" y="1025"/>
                    <a:pt x="359" y="1026"/>
                    <a:pt x="361" y="1027"/>
                  </a:cubicBezTo>
                  <a:cubicBezTo>
                    <a:pt x="362" y="1027"/>
                    <a:pt x="363" y="1028"/>
                    <a:pt x="364" y="1028"/>
                  </a:cubicBezTo>
                  <a:cubicBezTo>
                    <a:pt x="369" y="1030"/>
                    <a:pt x="375" y="1032"/>
                    <a:pt x="380" y="1034"/>
                  </a:cubicBezTo>
                  <a:cubicBezTo>
                    <a:pt x="381" y="1034"/>
                    <a:pt x="381" y="1034"/>
                    <a:pt x="381" y="1034"/>
                  </a:cubicBezTo>
                  <a:cubicBezTo>
                    <a:pt x="382" y="1034"/>
                    <a:pt x="383" y="1035"/>
                    <a:pt x="384" y="1035"/>
                  </a:cubicBezTo>
                  <a:cubicBezTo>
                    <a:pt x="384" y="1035"/>
                    <a:pt x="384" y="1035"/>
                    <a:pt x="385" y="1035"/>
                  </a:cubicBezTo>
                  <a:cubicBezTo>
                    <a:pt x="387" y="1036"/>
                    <a:pt x="390" y="1037"/>
                    <a:pt x="392" y="1038"/>
                  </a:cubicBezTo>
                  <a:cubicBezTo>
                    <a:pt x="393" y="1038"/>
                    <a:pt x="393" y="1038"/>
                    <a:pt x="393" y="1038"/>
                  </a:cubicBezTo>
                  <a:cubicBezTo>
                    <a:pt x="394" y="1039"/>
                    <a:pt x="394" y="1039"/>
                    <a:pt x="395" y="1039"/>
                  </a:cubicBezTo>
                  <a:cubicBezTo>
                    <a:pt x="396" y="1039"/>
                    <a:pt x="396" y="1040"/>
                    <a:pt x="397" y="1040"/>
                  </a:cubicBezTo>
                  <a:cubicBezTo>
                    <a:pt x="398" y="1040"/>
                    <a:pt x="399" y="1040"/>
                    <a:pt x="399" y="1040"/>
                  </a:cubicBezTo>
                  <a:cubicBezTo>
                    <a:pt x="405" y="1042"/>
                    <a:pt x="411" y="1044"/>
                    <a:pt x="416" y="1046"/>
                  </a:cubicBezTo>
                  <a:cubicBezTo>
                    <a:pt x="417" y="1047"/>
                    <a:pt x="417" y="1047"/>
                    <a:pt x="417" y="1047"/>
                  </a:cubicBezTo>
                  <a:cubicBezTo>
                    <a:pt x="421" y="1048"/>
                    <a:pt x="425" y="1049"/>
                    <a:pt x="429" y="1051"/>
                  </a:cubicBezTo>
                  <a:cubicBezTo>
                    <a:pt x="416" y="1046"/>
                    <a:pt x="402" y="1041"/>
                    <a:pt x="388" y="1035"/>
                  </a:cubicBezTo>
                  <a:cubicBezTo>
                    <a:pt x="377" y="1032"/>
                    <a:pt x="366" y="1028"/>
                    <a:pt x="354" y="1024"/>
                  </a:cubicBezTo>
                  <a:cubicBezTo>
                    <a:pt x="347" y="1021"/>
                    <a:pt x="340" y="1018"/>
                    <a:pt x="333" y="1016"/>
                  </a:cubicBezTo>
                  <a:cubicBezTo>
                    <a:pt x="332" y="1015"/>
                    <a:pt x="331" y="1015"/>
                    <a:pt x="330" y="1015"/>
                  </a:cubicBezTo>
                  <a:cubicBezTo>
                    <a:pt x="325" y="1013"/>
                    <a:pt x="320" y="1011"/>
                    <a:pt x="316" y="1009"/>
                  </a:cubicBezTo>
                  <a:cubicBezTo>
                    <a:pt x="313" y="1008"/>
                    <a:pt x="310" y="1007"/>
                    <a:pt x="308" y="1007"/>
                  </a:cubicBezTo>
                  <a:cubicBezTo>
                    <a:pt x="308" y="1006"/>
                    <a:pt x="307" y="1006"/>
                    <a:pt x="307" y="1006"/>
                  </a:cubicBezTo>
                  <a:cubicBezTo>
                    <a:pt x="305" y="1006"/>
                    <a:pt x="304" y="1005"/>
                    <a:pt x="302" y="1004"/>
                  </a:cubicBezTo>
                  <a:cubicBezTo>
                    <a:pt x="301" y="1004"/>
                    <a:pt x="300" y="1003"/>
                    <a:pt x="299" y="1003"/>
                  </a:cubicBezTo>
                  <a:cubicBezTo>
                    <a:pt x="297" y="1003"/>
                    <a:pt x="296" y="1002"/>
                    <a:pt x="295" y="1002"/>
                  </a:cubicBezTo>
                  <a:cubicBezTo>
                    <a:pt x="294" y="1001"/>
                    <a:pt x="294" y="1001"/>
                    <a:pt x="294" y="1001"/>
                  </a:cubicBezTo>
                  <a:cubicBezTo>
                    <a:pt x="292" y="1000"/>
                    <a:pt x="290" y="1000"/>
                    <a:pt x="288" y="999"/>
                  </a:cubicBezTo>
                  <a:cubicBezTo>
                    <a:pt x="284" y="998"/>
                    <a:pt x="281" y="996"/>
                    <a:pt x="278" y="995"/>
                  </a:cubicBezTo>
                  <a:cubicBezTo>
                    <a:pt x="277" y="995"/>
                    <a:pt x="277" y="995"/>
                    <a:pt x="277" y="995"/>
                  </a:cubicBezTo>
                  <a:cubicBezTo>
                    <a:pt x="270" y="992"/>
                    <a:pt x="264" y="990"/>
                    <a:pt x="257" y="987"/>
                  </a:cubicBezTo>
                  <a:cubicBezTo>
                    <a:pt x="257" y="987"/>
                    <a:pt x="257" y="987"/>
                    <a:pt x="256" y="987"/>
                  </a:cubicBezTo>
                  <a:cubicBezTo>
                    <a:pt x="253" y="986"/>
                    <a:pt x="250" y="984"/>
                    <a:pt x="248" y="983"/>
                  </a:cubicBezTo>
                  <a:cubicBezTo>
                    <a:pt x="247" y="983"/>
                    <a:pt x="246" y="983"/>
                    <a:pt x="246" y="983"/>
                  </a:cubicBezTo>
                  <a:moveTo>
                    <a:pt x="430" y="1050"/>
                  </a:moveTo>
                  <a:cubicBezTo>
                    <a:pt x="441" y="1054"/>
                    <a:pt x="452" y="1058"/>
                    <a:pt x="463" y="1062"/>
                  </a:cubicBezTo>
                  <a:cubicBezTo>
                    <a:pt x="457" y="1060"/>
                    <a:pt x="451" y="1057"/>
                    <a:pt x="445" y="1055"/>
                  </a:cubicBezTo>
                  <a:cubicBezTo>
                    <a:pt x="440" y="1053"/>
                    <a:pt x="435" y="1052"/>
                    <a:pt x="430" y="1050"/>
                  </a:cubicBezTo>
                  <a:moveTo>
                    <a:pt x="465" y="1062"/>
                  </a:moveTo>
                  <a:cubicBezTo>
                    <a:pt x="472" y="1064"/>
                    <a:pt x="478" y="1067"/>
                    <a:pt x="485" y="1069"/>
                  </a:cubicBezTo>
                  <a:cubicBezTo>
                    <a:pt x="485" y="1069"/>
                    <a:pt x="485" y="1069"/>
                    <a:pt x="485" y="1069"/>
                  </a:cubicBezTo>
                  <a:cubicBezTo>
                    <a:pt x="486" y="1069"/>
                    <a:pt x="486" y="1069"/>
                    <a:pt x="486" y="1070"/>
                  </a:cubicBezTo>
                  <a:cubicBezTo>
                    <a:pt x="492" y="1071"/>
                    <a:pt x="497" y="1073"/>
                    <a:pt x="502" y="1074"/>
                  </a:cubicBezTo>
                  <a:cubicBezTo>
                    <a:pt x="502" y="1075"/>
                    <a:pt x="503" y="1075"/>
                    <a:pt x="503" y="1075"/>
                  </a:cubicBezTo>
                  <a:cubicBezTo>
                    <a:pt x="509" y="1077"/>
                    <a:pt x="514" y="1078"/>
                    <a:pt x="519" y="1080"/>
                  </a:cubicBezTo>
                  <a:cubicBezTo>
                    <a:pt x="520" y="1080"/>
                    <a:pt x="520" y="1079"/>
                    <a:pt x="521" y="1079"/>
                  </a:cubicBezTo>
                  <a:cubicBezTo>
                    <a:pt x="515" y="1077"/>
                    <a:pt x="509" y="1076"/>
                    <a:pt x="503" y="1074"/>
                  </a:cubicBezTo>
                  <a:cubicBezTo>
                    <a:pt x="502" y="1074"/>
                    <a:pt x="502" y="1073"/>
                    <a:pt x="501" y="1073"/>
                  </a:cubicBezTo>
                  <a:cubicBezTo>
                    <a:pt x="497" y="1072"/>
                    <a:pt x="492" y="1070"/>
                    <a:pt x="487" y="1069"/>
                  </a:cubicBezTo>
                  <a:cubicBezTo>
                    <a:pt x="486" y="1069"/>
                    <a:pt x="486" y="1068"/>
                    <a:pt x="486" y="1068"/>
                  </a:cubicBezTo>
                  <a:cubicBezTo>
                    <a:pt x="479" y="1066"/>
                    <a:pt x="472" y="1064"/>
                    <a:pt x="465" y="1062"/>
                  </a:cubicBezTo>
                  <a:moveTo>
                    <a:pt x="523" y="1080"/>
                  </a:moveTo>
                  <a:cubicBezTo>
                    <a:pt x="522" y="1080"/>
                    <a:pt x="521" y="1080"/>
                    <a:pt x="521" y="1080"/>
                  </a:cubicBezTo>
                  <a:cubicBezTo>
                    <a:pt x="528" y="1082"/>
                    <a:pt x="535" y="1084"/>
                    <a:pt x="541" y="1086"/>
                  </a:cubicBezTo>
                  <a:cubicBezTo>
                    <a:pt x="542" y="1086"/>
                    <a:pt x="543" y="1086"/>
                    <a:pt x="543" y="1086"/>
                  </a:cubicBezTo>
                  <a:cubicBezTo>
                    <a:pt x="537" y="1084"/>
                    <a:pt x="530" y="1082"/>
                    <a:pt x="523" y="1080"/>
                  </a:cubicBezTo>
                  <a:moveTo>
                    <a:pt x="545" y="1086"/>
                  </a:moveTo>
                  <a:cubicBezTo>
                    <a:pt x="545" y="1086"/>
                    <a:pt x="544" y="1087"/>
                    <a:pt x="543" y="1087"/>
                  </a:cubicBezTo>
                  <a:cubicBezTo>
                    <a:pt x="543" y="1087"/>
                    <a:pt x="543" y="1087"/>
                    <a:pt x="544" y="1087"/>
                  </a:cubicBezTo>
                  <a:cubicBezTo>
                    <a:pt x="549" y="1089"/>
                    <a:pt x="555" y="1090"/>
                    <a:pt x="560" y="1092"/>
                  </a:cubicBezTo>
                  <a:cubicBezTo>
                    <a:pt x="561" y="1092"/>
                    <a:pt x="561" y="1092"/>
                    <a:pt x="562" y="1092"/>
                  </a:cubicBezTo>
                  <a:cubicBezTo>
                    <a:pt x="562" y="1092"/>
                    <a:pt x="563" y="1092"/>
                    <a:pt x="563" y="1092"/>
                  </a:cubicBezTo>
                  <a:cubicBezTo>
                    <a:pt x="564" y="1092"/>
                    <a:pt x="564" y="1092"/>
                    <a:pt x="565" y="1092"/>
                  </a:cubicBezTo>
                  <a:cubicBezTo>
                    <a:pt x="564" y="1092"/>
                    <a:pt x="562" y="1091"/>
                    <a:pt x="561" y="1091"/>
                  </a:cubicBezTo>
                  <a:cubicBezTo>
                    <a:pt x="560" y="1091"/>
                    <a:pt x="560" y="1090"/>
                    <a:pt x="559" y="1090"/>
                  </a:cubicBezTo>
                  <a:cubicBezTo>
                    <a:pt x="555" y="1089"/>
                    <a:pt x="550" y="1088"/>
                    <a:pt x="545" y="1086"/>
                  </a:cubicBezTo>
                  <a:moveTo>
                    <a:pt x="567" y="1092"/>
                  </a:moveTo>
                  <a:cubicBezTo>
                    <a:pt x="566" y="1093"/>
                    <a:pt x="566" y="1093"/>
                    <a:pt x="565" y="1093"/>
                  </a:cubicBezTo>
                  <a:cubicBezTo>
                    <a:pt x="565" y="1093"/>
                    <a:pt x="565" y="1093"/>
                    <a:pt x="565" y="1093"/>
                  </a:cubicBezTo>
                  <a:cubicBezTo>
                    <a:pt x="573" y="1095"/>
                    <a:pt x="580" y="1097"/>
                    <a:pt x="588" y="1099"/>
                  </a:cubicBezTo>
                  <a:cubicBezTo>
                    <a:pt x="588" y="1099"/>
                    <a:pt x="589" y="1099"/>
                    <a:pt x="590" y="1098"/>
                  </a:cubicBezTo>
                  <a:cubicBezTo>
                    <a:pt x="582" y="1097"/>
                    <a:pt x="575" y="1095"/>
                    <a:pt x="567" y="1092"/>
                  </a:cubicBezTo>
                  <a:moveTo>
                    <a:pt x="592" y="1099"/>
                  </a:moveTo>
                  <a:cubicBezTo>
                    <a:pt x="591" y="1099"/>
                    <a:pt x="590" y="1099"/>
                    <a:pt x="590" y="1099"/>
                  </a:cubicBezTo>
                  <a:cubicBezTo>
                    <a:pt x="591" y="1100"/>
                    <a:pt x="593" y="1100"/>
                    <a:pt x="595" y="1101"/>
                  </a:cubicBezTo>
                  <a:cubicBezTo>
                    <a:pt x="595" y="1101"/>
                    <a:pt x="596" y="1101"/>
                    <a:pt x="596" y="1101"/>
                  </a:cubicBezTo>
                  <a:cubicBezTo>
                    <a:pt x="601" y="1102"/>
                    <a:pt x="605" y="1103"/>
                    <a:pt x="609" y="1104"/>
                  </a:cubicBezTo>
                  <a:cubicBezTo>
                    <a:pt x="610" y="1104"/>
                    <a:pt x="611" y="1104"/>
                    <a:pt x="611" y="1104"/>
                  </a:cubicBezTo>
                  <a:cubicBezTo>
                    <a:pt x="607" y="1103"/>
                    <a:pt x="603" y="1102"/>
                    <a:pt x="598" y="1100"/>
                  </a:cubicBezTo>
                  <a:cubicBezTo>
                    <a:pt x="597" y="1100"/>
                    <a:pt x="597" y="1100"/>
                    <a:pt x="596" y="1100"/>
                  </a:cubicBezTo>
                  <a:cubicBezTo>
                    <a:pt x="595" y="1100"/>
                    <a:pt x="593" y="1099"/>
                    <a:pt x="592" y="1099"/>
                  </a:cubicBezTo>
                  <a:moveTo>
                    <a:pt x="776" y="1101"/>
                  </a:moveTo>
                  <a:cubicBezTo>
                    <a:pt x="776" y="1101"/>
                    <a:pt x="775" y="1101"/>
                    <a:pt x="775" y="1101"/>
                  </a:cubicBezTo>
                  <a:cubicBezTo>
                    <a:pt x="776" y="1101"/>
                    <a:pt x="776" y="1101"/>
                    <a:pt x="776" y="1101"/>
                  </a:cubicBezTo>
                  <a:cubicBezTo>
                    <a:pt x="776" y="1101"/>
                    <a:pt x="777" y="1101"/>
                    <a:pt x="777" y="1101"/>
                  </a:cubicBezTo>
                  <a:cubicBezTo>
                    <a:pt x="776" y="1101"/>
                    <a:pt x="776" y="1101"/>
                    <a:pt x="776" y="1101"/>
                  </a:cubicBezTo>
                  <a:moveTo>
                    <a:pt x="776" y="1102"/>
                  </a:moveTo>
                  <a:cubicBezTo>
                    <a:pt x="776" y="1102"/>
                    <a:pt x="776" y="1102"/>
                    <a:pt x="776" y="1102"/>
                  </a:cubicBezTo>
                  <a:cubicBezTo>
                    <a:pt x="776" y="1102"/>
                    <a:pt x="776" y="1102"/>
                    <a:pt x="776" y="1102"/>
                  </a:cubicBezTo>
                  <a:cubicBezTo>
                    <a:pt x="776" y="1102"/>
                    <a:pt x="776" y="1102"/>
                    <a:pt x="776" y="1102"/>
                  </a:cubicBezTo>
                  <a:moveTo>
                    <a:pt x="774" y="1103"/>
                  </a:moveTo>
                  <a:cubicBezTo>
                    <a:pt x="774" y="1103"/>
                    <a:pt x="773" y="1104"/>
                    <a:pt x="772" y="1105"/>
                  </a:cubicBezTo>
                  <a:cubicBezTo>
                    <a:pt x="773" y="1105"/>
                    <a:pt x="773" y="1105"/>
                    <a:pt x="773" y="1105"/>
                  </a:cubicBezTo>
                  <a:cubicBezTo>
                    <a:pt x="773" y="1105"/>
                    <a:pt x="773" y="1105"/>
                    <a:pt x="773" y="1105"/>
                  </a:cubicBezTo>
                  <a:cubicBezTo>
                    <a:pt x="774" y="1105"/>
                    <a:pt x="775" y="1104"/>
                    <a:pt x="775" y="1103"/>
                  </a:cubicBezTo>
                  <a:cubicBezTo>
                    <a:pt x="775" y="1103"/>
                    <a:pt x="775" y="1103"/>
                    <a:pt x="774" y="1103"/>
                  </a:cubicBezTo>
                  <a:moveTo>
                    <a:pt x="614" y="1104"/>
                  </a:moveTo>
                  <a:cubicBezTo>
                    <a:pt x="613" y="1104"/>
                    <a:pt x="612" y="1105"/>
                    <a:pt x="611" y="1105"/>
                  </a:cubicBezTo>
                  <a:cubicBezTo>
                    <a:pt x="618" y="1106"/>
                    <a:pt x="625" y="1108"/>
                    <a:pt x="631" y="1109"/>
                  </a:cubicBezTo>
                  <a:cubicBezTo>
                    <a:pt x="632" y="1109"/>
                    <a:pt x="633" y="1109"/>
                    <a:pt x="634" y="1109"/>
                  </a:cubicBezTo>
                  <a:cubicBezTo>
                    <a:pt x="627" y="1107"/>
                    <a:pt x="621" y="1106"/>
                    <a:pt x="614" y="1104"/>
                  </a:cubicBezTo>
                  <a:moveTo>
                    <a:pt x="772" y="1106"/>
                  </a:moveTo>
                  <a:cubicBezTo>
                    <a:pt x="772" y="1106"/>
                    <a:pt x="771" y="1106"/>
                    <a:pt x="771" y="1106"/>
                  </a:cubicBezTo>
                  <a:cubicBezTo>
                    <a:pt x="770" y="1108"/>
                    <a:pt x="769" y="1109"/>
                    <a:pt x="767" y="1110"/>
                  </a:cubicBezTo>
                  <a:cubicBezTo>
                    <a:pt x="768" y="1110"/>
                    <a:pt x="768" y="1110"/>
                    <a:pt x="768" y="1110"/>
                  </a:cubicBezTo>
                  <a:cubicBezTo>
                    <a:pt x="770" y="1109"/>
                    <a:pt x="771" y="1108"/>
                    <a:pt x="772" y="1106"/>
                  </a:cubicBezTo>
                  <a:moveTo>
                    <a:pt x="636" y="1109"/>
                  </a:moveTo>
                  <a:cubicBezTo>
                    <a:pt x="635" y="1109"/>
                    <a:pt x="634" y="1110"/>
                    <a:pt x="634" y="1110"/>
                  </a:cubicBezTo>
                  <a:cubicBezTo>
                    <a:pt x="637" y="1110"/>
                    <a:pt x="639" y="1111"/>
                    <a:pt x="642" y="1111"/>
                  </a:cubicBezTo>
                  <a:cubicBezTo>
                    <a:pt x="643" y="1112"/>
                    <a:pt x="643" y="1112"/>
                    <a:pt x="644" y="1112"/>
                  </a:cubicBezTo>
                  <a:cubicBezTo>
                    <a:pt x="645" y="1112"/>
                    <a:pt x="645" y="1112"/>
                    <a:pt x="646" y="1112"/>
                  </a:cubicBezTo>
                  <a:cubicBezTo>
                    <a:pt x="647" y="1112"/>
                    <a:pt x="647" y="1112"/>
                    <a:pt x="648" y="1113"/>
                  </a:cubicBezTo>
                  <a:cubicBezTo>
                    <a:pt x="652" y="1113"/>
                    <a:pt x="656" y="1114"/>
                    <a:pt x="660" y="1115"/>
                  </a:cubicBezTo>
                  <a:cubicBezTo>
                    <a:pt x="661" y="1115"/>
                    <a:pt x="662" y="1114"/>
                    <a:pt x="662" y="1114"/>
                  </a:cubicBezTo>
                  <a:cubicBezTo>
                    <a:pt x="658" y="1113"/>
                    <a:pt x="654" y="1113"/>
                    <a:pt x="650" y="1112"/>
                  </a:cubicBezTo>
                  <a:cubicBezTo>
                    <a:pt x="649" y="1112"/>
                    <a:pt x="648" y="1112"/>
                    <a:pt x="648" y="1112"/>
                  </a:cubicBezTo>
                  <a:cubicBezTo>
                    <a:pt x="646" y="1111"/>
                    <a:pt x="644" y="1111"/>
                    <a:pt x="643" y="1111"/>
                  </a:cubicBezTo>
                  <a:cubicBezTo>
                    <a:pt x="642" y="1110"/>
                    <a:pt x="641" y="1110"/>
                    <a:pt x="641" y="1110"/>
                  </a:cubicBezTo>
                  <a:cubicBezTo>
                    <a:pt x="639" y="1110"/>
                    <a:pt x="638" y="1109"/>
                    <a:pt x="636" y="1109"/>
                  </a:cubicBezTo>
                  <a:moveTo>
                    <a:pt x="767" y="1110"/>
                  </a:moveTo>
                  <a:cubicBezTo>
                    <a:pt x="764" y="1112"/>
                    <a:pt x="762" y="1113"/>
                    <a:pt x="759" y="1114"/>
                  </a:cubicBezTo>
                  <a:cubicBezTo>
                    <a:pt x="760" y="1114"/>
                    <a:pt x="761" y="1114"/>
                    <a:pt x="762" y="1114"/>
                  </a:cubicBezTo>
                  <a:cubicBezTo>
                    <a:pt x="764" y="1113"/>
                    <a:pt x="766" y="1112"/>
                    <a:pt x="767" y="1111"/>
                  </a:cubicBezTo>
                  <a:cubicBezTo>
                    <a:pt x="767" y="1111"/>
                    <a:pt x="767" y="1110"/>
                    <a:pt x="767" y="1110"/>
                  </a:cubicBezTo>
                  <a:moveTo>
                    <a:pt x="665" y="1115"/>
                  </a:moveTo>
                  <a:cubicBezTo>
                    <a:pt x="664" y="1115"/>
                    <a:pt x="663" y="1115"/>
                    <a:pt x="662" y="1115"/>
                  </a:cubicBezTo>
                  <a:cubicBezTo>
                    <a:pt x="671" y="1117"/>
                    <a:pt x="679" y="1118"/>
                    <a:pt x="686" y="1119"/>
                  </a:cubicBezTo>
                  <a:cubicBezTo>
                    <a:pt x="687" y="1118"/>
                    <a:pt x="688" y="1118"/>
                    <a:pt x="689" y="1118"/>
                  </a:cubicBezTo>
                  <a:cubicBezTo>
                    <a:pt x="682" y="1117"/>
                    <a:pt x="674" y="1116"/>
                    <a:pt x="665" y="1115"/>
                  </a:cubicBezTo>
                  <a:moveTo>
                    <a:pt x="759" y="1115"/>
                  </a:moveTo>
                  <a:cubicBezTo>
                    <a:pt x="759" y="1115"/>
                    <a:pt x="758" y="1115"/>
                    <a:pt x="758" y="1115"/>
                  </a:cubicBezTo>
                  <a:cubicBezTo>
                    <a:pt x="758" y="1115"/>
                    <a:pt x="758" y="1115"/>
                    <a:pt x="758" y="1115"/>
                  </a:cubicBezTo>
                  <a:cubicBezTo>
                    <a:pt x="758" y="1115"/>
                    <a:pt x="759" y="1115"/>
                    <a:pt x="759" y="1115"/>
                  </a:cubicBezTo>
                  <a:moveTo>
                    <a:pt x="757" y="1115"/>
                  </a:moveTo>
                  <a:cubicBezTo>
                    <a:pt x="756" y="1115"/>
                    <a:pt x="755" y="1116"/>
                    <a:pt x="754" y="1116"/>
                  </a:cubicBezTo>
                  <a:cubicBezTo>
                    <a:pt x="751" y="1117"/>
                    <a:pt x="748" y="1117"/>
                    <a:pt x="745" y="1118"/>
                  </a:cubicBezTo>
                  <a:cubicBezTo>
                    <a:pt x="745" y="1118"/>
                    <a:pt x="745" y="1118"/>
                    <a:pt x="746" y="1119"/>
                  </a:cubicBezTo>
                  <a:cubicBezTo>
                    <a:pt x="750" y="1118"/>
                    <a:pt x="754" y="1117"/>
                    <a:pt x="757" y="1116"/>
                  </a:cubicBezTo>
                  <a:cubicBezTo>
                    <a:pt x="757" y="1116"/>
                    <a:pt x="757" y="1115"/>
                    <a:pt x="757" y="1115"/>
                  </a:cubicBezTo>
                  <a:moveTo>
                    <a:pt x="744" y="1118"/>
                  </a:moveTo>
                  <a:cubicBezTo>
                    <a:pt x="740" y="1119"/>
                    <a:pt x="737" y="1119"/>
                    <a:pt x="732" y="1119"/>
                  </a:cubicBezTo>
                  <a:cubicBezTo>
                    <a:pt x="730" y="1120"/>
                    <a:pt x="728" y="1120"/>
                    <a:pt x="725" y="1121"/>
                  </a:cubicBezTo>
                  <a:cubicBezTo>
                    <a:pt x="732" y="1121"/>
                    <a:pt x="739" y="1120"/>
                    <a:pt x="745" y="1119"/>
                  </a:cubicBezTo>
                  <a:cubicBezTo>
                    <a:pt x="744" y="1119"/>
                    <a:pt x="744" y="1118"/>
                    <a:pt x="744" y="1118"/>
                  </a:cubicBezTo>
                  <a:moveTo>
                    <a:pt x="693" y="1118"/>
                  </a:moveTo>
                  <a:cubicBezTo>
                    <a:pt x="692" y="1118"/>
                    <a:pt x="690" y="1119"/>
                    <a:pt x="689" y="1119"/>
                  </a:cubicBezTo>
                  <a:cubicBezTo>
                    <a:pt x="699" y="1120"/>
                    <a:pt x="707" y="1121"/>
                    <a:pt x="715" y="1121"/>
                  </a:cubicBezTo>
                  <a:cubicBezTo>
                    <a:pt x="716" y="1121"/>
                    <a:pt x="716" y="1121"/>
                    <a:pt x="716" y="1121"/>
                  </a:cubicBezTo>
                  <a:cubicBezTo>
                    <a:pt x="717" y="1121"/>
                    <a:pt x="719" y="1121"/>
                    <a:pt x="720" y="1121"/>
                  </a:cubicBezTo>
                  <a:cubicBezTo>
                    <a:pt x="721" y="1120"/>
                    <a:pt x="723" y="1120"/>
                    <a:pt x="725" y="1120"/>
                  </a:cubicBezTo>
                  <a:cubicBezTo>
                    <a:pt x="724" y="1120"/>
                    <a:pt x="722" y="1120"/>
                    <a:pt x="720" y="1120"/>
                  </a:cubicBezTo>
                  <a:cubicBezTo>
                    <a:pt x="719" y="1120"/>
                    <a:pt x="718" y="1120"/>
                    <a:pt x="717" y="1120"/>
                  </a:cubicBezTo>
                  <a:cubicBezTo>
                    <a:pt x="717" y="1120"/>
                    <a:pt x="717" y="1120"/>
                    <a:pt x="716" y="1120"/>
                  </a:cubicBezTo>
                  <a:cubicBezTo>
                    <a:pt x="709" y="1120"/>
                    <a:pt x="701" y="1119"/>
                    <a:pt x="693" y="1118"/>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53" name="Freeform 82"/>
            <p:cNvSpPr>
              <a:spLocks noEditPoints="1"/>
            </p:cNvSpPr>
            <p:nvPr userDrawn="1"/>
          </p:nvSpPr>
          <p:spPr bwMode="auto">
            <a:xfrm>
              <a:off x="1899" y="3034"/>
              <a:ext cx="3631" cy="2486"/>
            </a:xfrm>
            <a:custGeom>
              <a:avLst/>
              <a:gdLst>
                <a:gd name="T0" fmla="*/ 2147483646 w 1791"/>
                <a:gd name="T1" fmla="*/ 2147483646 h 1226"/>
                <a:gd name="T2" fmla="*/ 2147483646 w 1791"/>
                <a:gd name="T3" fmla="*/ 2147483646 h 1226"/>
                <a:gd name="T4" fmla="*/ 2147483646 w 1791"/>
                <a:gd name="T5" fmla="*/ 2147483646 h 1226"/>
                <a:gd name="T6" fmla="*/ 2147483646 w 1791"/>
                <a:gd name="T7" fmla="*/ 2147483646 h 1226"/>
                <a:gd name="T8" fmla="*/ 2147483646 w 1791"/>
                <a:gd name="T9" fmla="*/ 2147483646 h 1226"/>
                <a:gd name="T10" fmla="*/ 2147483646 w 1791"/>
                <a:gd name="T11" fmla="*/ 2147483646 h 1226"/>
                <a:gd name="T12" fmla="*/ 2147483646 w 1791"/>
                <a:gd name="T13" fmla="*/ 2147483646 h 1226"/>
                <a:gd name="T14" fmla="*/ 2147483646 w 1791"/>
                <a:gd name="T15" fmla="*/ 2147483646 h 1226"/>
                <a:gd name="T16" fmla="*/ 2147483646 w 1791"/>
                <a:gd name="T17" fmla="*/ 2147483646 h 1226"/>
                <a:gd name="T18" fmla="*/ 2147483646 w 1791"/>
                <a:gd name="T19" fmla="*/ 2147483646 h 1226"/>
                <a:gd name="T20" fmla="*/ 2147483646 w 1791"/>
                <a:gd name="T21" fmla="*/ 2147483646 h 1226"/>
                <a:gd name="T22" fmla="*/ 2147483646 w 1791"/>
                <a:gd name="T23" fmla="*/ 2147483646 h 1226"/>
                <a:gd name="T24" fmla="*/ 2147483646 w 1791"/>
                <a:gd name="T25" fmla="*/ 2147483646 h 1226"/>
                <a:gd name="T26" fmla="*/ 2147483646 w 1791"/>
                <a:gd name="T27" fmla="*/ 2147483646 h 1226"/>
                <a:gd name="T28" fmla="*/ 2147483646 w 1791"/>
                <a:gd name="T29" fmla="*/ 2147483646 h 1226"/>
                <a:gd name="T30" fmla="*/ 2147483646 w 1791"/>
                <a:gd name="T31" fmla="*/ 2147483646 h 1226"/>
                <a:gd name="T32" fmla="*/ 2147483646 w 1791"/>
                <a:gd name="T33" fmla="*/ 2147483646 h 1226"/>
                <a:gd name="T34" fmla="*/ 2147483646 w 1791"/>
                <a:gd name="T35" fmla="*/ 2147483646 h 1226"/>
                <a:gd name="T36" fmla="*/ 2147483646 w 1791"/>
                <a:gd name="T37" fmla="*/ 2147483646 h 1226"/>
                <a:gd name="T38" fmla="*/ 2147483646 w 1791"/>
                <a:gd name="T39" fmla="*/ 2147483646 h 1226"/>
                <a:gd name="T40" fmla="*/ 2147483646 w 1791"/>
                <a:gd name="T41" fmla="*/ 2147483646 h 1226"/>
                <a:gd name="T42" fmla="*/ 2147483646 w 1791"/>
                <a:gd name="T43" fmla="*/ 2147483646 h 1226"/>
                <a:gd name="T44" fmla="*/ 2147483646 w 1791"/>
                <a:gd name="T45" fmla="*/ 2147483646 h 1226"/>
                <a:gd name="T46" fmla="*/ 2147483646 w 1791"/>
                <a:gd name="T47" fmla="*/ 2147483646 h 1226"/>
                <a:gd name="T48" fmla="*/ 2147483646 w 1791"/>
                <a:gd name="T49" fmla="*/ 2147483646 h 1226"/>
                <a:gd name="T50" fmla="*/ 2147483646 w 1791"/>
                <a:gd name="T51" fmla="*/ 2147483646 h 1226"/>
                <a:gd name="T52" fmla="*/ 2147483646 w 1791"/>
                <a:gd name="T53" fmla="*/ 2147483646 h 1226"/>
                <a:gd name="T54" fmla="*/ 2147483646 w 1791"/>
                <a:gd name="T55" fmla="*/ 2147483646 h 1226"/>
                <a:gd name="T56" fmla="*/ 2147483646 w 1791"/>
                <a:gd name="T57" fmla="*/ 2147483646 h 1226"/>
                <a:gd name="T58" fmla="*/ 2147483646 w 1791"/>
                <a:gd name="T59" fmla="*/ 2147483646 h 1226"/>
                <a:gd name="T60" fmla="*/ 2147483646 w 1791"/>
                <a:gd name="T61" fmla="*/ 2147483646 h 1226"/>
                <a:gd name="T62" fmla="*/ 2147483646 w 1791"/>
                <a:gd name="T63" fmla="*/ 2147483646 h 1226"/>
                <a:gd name="T64" fmla="*/ 2147483646 w 1791"/>
                <a:gd name="T65" fmla="*/ 2147483646 h 1226"/>
                <a:gd name="T66" fmla="*/ 2147483646 w 1791"/>
                <a:gd name="T67" fmla="*/ 2147483646 h 1226"/>
                <a:gd name="T68" fmla="*/ 2147483646 w 1791"/>
                <a:gd name="T69" fmla="*/ 2147483646 h 1226"/>
                <a:gd name="T70" fmla="*/ 2147483646 w 1791"/>
                <a:gd name="T71" fmla="*/ 2147483646 h 1226"/>
                <a:gd name="T72" fmla="*/ 2147483646 w 1791"/>
                <a:gd name="T73" fmla="*/ 2147483646 h 1226"/>
                <a:gd name="T74" fmla="*/ 2147483646 w 1791"/>
                <a:gd name="T75" fmla="*/ 2147483646 h 1226"/>
                <a:gd name="T76" fmla="*/ 2147483646 w 1791"/>
                <a:gd name="T77" fmla="*/ 2147483646 h 1226"/>
                <a:gd name="T78" fmla="*/ 2147483646 w 1791"/>
                <a:gd name="T79" fmla="*/ 2147483646 h 1226"/>
                <a:gd name="T80" fmla="*/ 2147483646 w 1791"/>
                <a:gd name="T81" fmla="*/ 2147483646 h 1226"/>
                <a:gd name="T82" fmla="*/ 2147483646 w 1791"/>
                <a:gd name="T83" fmla="*/ 2147483646 h 1226"/>
                <a:gd name="T84" fmla="*/ 2147483646 w 1791"/>
                <a:gd name="T85" fmla="*/ 2147483646 h 1226"/>
                <a:gd name="T86" fmla="*/ 2147483646 w 1791"/>
                <a:gd name="T87" fmla="*/ 2147483646 h 1226"/>
                <a:gd name="T88" fmla="*/ 2147483646 w 1791"/>
                <a:gd name="T89" fmla="*/ 2147483646 h 1226"/>
                <a:gd name="T90" fmla="*/ 2147483646 w 1791"/>
                <a:gd name="T91" fmla="*/ 2147483646 h 1226"/>
                <a:gd name="T92" fmla="*/ 2147483646 w 1791"/>
                <a:gd name="T93" fmla="*/ 2147483646 h 1226"/>
                <a:gd name="T94" fmla="*/ 2147483646 w 1791"/>
                <a:gd name="T95" fmla="*/ 2147483646 h 1226"/>
                <a:gd name="T96" fmla="*/ 2147483646 w 1791"/>
                <a:gd name="T97" fmla="*/ 2147483646 h 1226"/>
                <a:gd name="T98" fmla="*/ 2147483646 w 1791"/>
                <a:gd name="T99" fmla="*/ 2147483646 h 1226"/>
                <a:gd name="T100" fmla="*/ 2147483646 w 1791"/>
                <a:gd name="T101" fmla="*/ 2147483646 h 1226"/>
                <a:gd name="T102" fmla="*/ 2147483646 w 1791"/>
                <a:gd name="T103" fmla="*/ 2147483646 h 1226"/>
                <a:gd name="T104" fmla="*/ 2147483646 w 1791"/>
                <a:gd name="T105" fmla="*/ 2147483646 h 1226"/>
                <a:gd name="T106" fmla="*/ 2147483646 w 1791"/>
                <a:gd name="T107" fmla="*/ 2147483646 h 1226"/>
                <a:gd name="T108" fmla="*/ 2147483646 w 1791"/>
                <a:gd name="T109" fmla="*/ 2147483646 h 1226"/>
                <a:gd name="T110" fmla="*/ 2147483646 w 1791"/>
                <a:gd name="T111" fmla="*/ 2147483646 h 1226"/>
                <a:gd name="T112" fmla="*/ 2147483646 w 1791"/>
                <a:gd name="T113" fmla="*/ 2147483646 h 1226"/>
                <a:gd name="T114" fmla="*/ 2147483646 w 1791"/>
                <a:gd name="T115" fmla="*/ 2147483646 h 1226"/>
                <a:gd name="T116" fmla="*/ 2147483646 w 1791"/>
                <a:gd name="T117" fmla="*/ 2147483646 h 1226"/>
                <a:gd name="T118" fmla="*/ 2147483646 w 1791"/>
                <a:gd name="T119" fmla="*/ 2147483646 h 1226"/>
                <a:gd name="T120" fmla="*/ 2147483646 w 1791"/>
                <a:gd name="T121" fmla="*/ 2147483646 h 12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91" h="1226">
                  <a:moveTo>
                    <a:pt x="1658" y="0"/>
                  </a:moveTo>
                  <a:cubicBezTo>
                    <a:pt x="1636" y="0"/>
                    <a:pt x="1614" y="6"/>
                    <a:pt x="1591" y="18"/>
                  </a:cubicBezTo>
                  <a:cubicBezTo>
                    <a:pt x="1589" y="20"/>
                    <a:pt x="1587" y="21"/>
                    <a:pt x="1585" y="22"/>
                  </a:cubicBezTo>
                  <a:cubicBezTo>
                    <a:pt x="1610" y="9"/>
                    <a:pt x="1635" y="1"/>
                    <a:pt x="1658" y="1"/>
                  </a:cubicBezTo>
                  <a:cubicBezTo>
                    <a:pt x="1675" y="1"/>
                    <a:pt x="1692" y="5"/>
                    <a:pt x="1708" y="14"/>
                  </a:cubicBezTo>
                  <a:cubicBezTo>
                    <a:pt x="1709" y="14"/>
                    <a:pt x="1709" y="15"/>
                    <a:pt x="1710" y="15"/>
                  </a:cubicBezTo>
                  <a:cubicBezTo>
                    <a:pt x="1694" y="5"/>
                    <a:pt x="1676" y="0"/>
                    <a:pt x="1658" y="0"/>
                  </a:cubicBezTo>
                  <a:moveTo>
                    <a:pt x="1710" y="16"/>
                  </a:moveTo>
                  <a:cubicBezTo>
                    <a:pt x="1721" y="23"/>
                    <a:pt x="1732" y="32"/>
                    <a:pt x="1743" y="45"/>
                  </a:cubicBezTo>
                  <a:cubicBezTo>
                    <a:pt x="1765" y="72"/>
                    <a:pt x="1779" y="102"/>
                    <a:pt x="1786" y="134"/>
                  </a:cubicBezTo>
                  <a:cubicBezTo>
                    <a:pt x="1786" y="134"/>
                    <a:pt x="1787" y="135"/>
                    <a:pt x="1787" y="135"/>
                  </a:cubicBezTo>
                  <a:cubicBezTo>
                    <a:pt x="1781" y="103"/>
                    <a:pt x="1766" y="72"/>
                    <a:pt x="1743" y="44"/>
                  </a:cubicBezTo>
                  <a:cubicBezTo>
                    <a:pt x="1734" y="33"/>
                    <a:pt x="1723" y="23"/>
                    <a:pt x="1713" y="16"/>
                  </a:cubicBezTo>
                  <a:cubicBezTo>
                    <a:pt x="1712" y="16"/>
                    <a:pt x="1711" y="16"/>
                    <a:pt x="1710" y="16"/>
                  </a:cubicBezTo>
                  <a:moveTo>
                    <a:pt x="1585" y="22"/>
                  </a:moveTo>
                  <a:cubicBezTo>
                    <a:pt x="1567" y="32"/>
                    <a:pt x="1549" y="44"/>
                    <a:pt x="1531" y="59"/>
                  </a:cubicBezTo>
                  <a:cubicBezTo>
                    <a:pt x="1529" y="61"/>
                    <a:pt x="1527" y="63"/>
                    <a:pt x="1526" y="65"/>
                  </a:cubicBezTo>
                  <a:cubicBezTo>
                    <a:pt x="1543" y="50"/>
                    <a:pt x="1561" y="37"/>
                    <a:pt x="1579" y="26"/>
                  </a:cubicBezTo>
                  <a:cubicBezTo>
                    <a:pt x="1581" y="25"/>
                    <a:pt x="1583" y="23"/>
                    <a:pt x="1585" y="22"/>
                  </a:cubicBezTo>
                  <a:moveTo>
                    <a:pt x="1525" y="65"/>
                  </a:moveTo>
                  <a:cubicBezTo>
                    <a:pt x="1505" y="81"/>
                    <a:pt x="1486" y="101"/>
                    <a:pt x="1467" y="122"/>
                  </a:cubicBezTo>
                  <a:cubicBezTo>
                    <a:pt x="1465" y="123"/>
                    <a:pt x="1463" y="125"/>
                    <a:pt x="1462" y="127"/>
                  </a:cubicBezTo>
                  <a:cubicBezTo>
                    <a:pt x="1452" y="138"/>
                    <a:pt x="1441" y="150"/>
                    <a:pt x="1432" y="162"/>
                  </a:cubicBezTo>
                  <a:cubicBezTo>
                    <a:pt x="1431" y="163"/>
                    <a:pt x="1430" y="163"/>
                    <a:pt x="1430" y="164"/>
                  </a:cubicBezTo>
                  <a:cubicBezTo>
                    <a:pt x="1415" y="181"/>
                    <a:pt x="1401" y="199"/>
                    <a:pt x="1387" y="217"/>
                  </a:cubicBezTo>
                  <a:cubicBezTo>
                    <a:pt x="1387" y="218"/>
                    <a:pt x="1387" y="218"/>
                    <a:pt x="1386" y="218"/>
                  </a:cubicBezTo>
                  <a:cubicBezTo>
                    <a:pt x="1365" y="246"/>
                    <a:pt x="1344" y="275"/>
                    <a:pt x="1325" y="303"/>
                  </a:cubicBezTo>
                  <a:cubicBezTo>
                    <a:pt x="1324" y="304"/>
                    <a:pt x="1324" y="304"/>
                    <a:pt x="1324" y="304"/>
                  </a:cubicBezTo>
                  <a:cubicBezTo>
                    <a:pt x="1307" y="328"/>
                    <a:pt x="1291" y="351"/>
                    <a:pt x="1276" y="374"/>
                  </a:cubicBezTo>
                  <a:cubicBezTo>
                    <a:pt x="1278" y="373"/>
                    <a:pt x="1279" y="371"/>
                    <a:pt x="1280" y="370"/>
                  </a:cubicBezTo>
                  <a:cubicBezTo>
                    <a:pt x="1295" y="349"/>
                    <a:pt x="1309" y="327"/>
                    <a:pt x="1324" y="305"/>
                  </a:cubicBezTo>
                  <a:cubicBezTo>
                    <a:pt x="1325" y="305"/>
                    <a:pt x="1325" y="305"/>
                    <a:pt x="1325" y="304"/>
                  </a:cubicBezTo>
                  <a:cubicBezTo>
                    <a:pt x="1345" y="276"/>
                    <a:pt x="1366" y="247"/>
                    <a:pt x="1388" y="218"/>
                  </a:cubicBezTo>
                  <a:cubicBezTo>
                    <a:pt x="1388" y="218"/>
                    <a:pt x="1388" y="218"/>
                    <a:pt x="1389" y="217"/>
                  </a:cubicBezTo>
                  <a:cubicBezTo>
                    <a:pt x="1403" y="198"/>
                    <a:pt x="1418" y="180"/>
                    <a:pt x="1432" y="162"/>
                  </a:cubicBezTo>
                  <a:cubicBezTo>
                    <a:pt x="1433" y="162"/>
                    <a:pt x="1434" y="161"/>
                    <a:pt x="1434" y="160"/>
                  </a:cubicBezTo>
                  <a:cubicBezTo>
                    <a:pt x="1445" y="147"/>
                    <a:pt x="1457" y="134"/>
                    <a:pt x="1468" y="122"/>
                  </a:cubicBezTo>
                  <a:cubicBezTo>
                    <a:pt x="1469" y="120"/>
                    <a:pt x="1471" y="119"/>
                    <a:pt x="1473" y="117"/>
                  </a:cubicBezTo>
                  <a:cubicBezTo>
                    <a:pt x="1488" y="100"/>
                    <a:pt x="1503" y="85"/>
                    <a:pt x="1518" y="72"/>
                  </a:cubicBezTo>
                  <a:cubicBezTo>
                    <a:pt x="1520" y="69"/>
                    <a:pt x="1523" y="67"/>
                    <a:pt x="1525" y="65"/>
                  </a:cubicBezTo>
                  <a:moveTo>
                    <a:pt x="1786" y="136"/>
                  </a:moveTo>
                  <a:cubicBezTo>
                    <a:pt x="1789" y="150"/>
                    <a:pt x="1790" y="164"/>
                    <a:pt x="1790" y="178"/>
                  </a:cubicBezTo>
                  <a:cubicBezTo>
                    <a:pt x="1790" y="187"/>
                    <a:pt x="1790" y="196"/>
                    <a:pt x="1789" y="206"/>
                  </a:cubicBezTo>
                  <a:cubicBezTo>
                    <a:pt x="1789" y="206"/>
                    <a:pt x="1789" y="207"/>
                    <a:pt x="1790" y="207"/>
                  </a:cubicBezTo>
                  <a:cubicBezTo>
                    <a:pt x="1791" y="197"/>
                    <a:pt x="1791" y="188"/>
                    <a:pt x="1791" y="178"/>
                  </a:cubicBezTo>
                  <a:cubicBezTo>
                    <a:pt x="1791" y="164"/>
                    <a:pt x="1790" y="150"/>
                    <a:pt x="1787" y="137"/>
                  </a:cubicBezTo>
                  <a:cubicBezTo>
                    <a:pt x="1787" y="137"/>
                    <a:pt x="1787" y="136"/>
                    <a:pt x="1786" y="136"/>
                  </a:cubicBezTo>
                  <a:moveTo>
                    <a:pt x="1789" y="207"/>
                  </a:moveTo>
                  <a:cubicBezTo>
                    <a:pt x="1787" y="225"/>
                    <a:pt x="1783" y="242"/>
                    <a:pt x="1777" y="260"/>
                  </a:cubicBezTo>
                  <a:cubicBezTo>
                    <a:pt x="1778" y="261"/>
                    <a:pt x="1778" y="261"/>
                    <a:pt x="1778" y="261"/>
                  </a:cubicBezTo>
                  <a:cubicBezTo>
                    <a:pt x="1784" y="243"/>
                    <a:pt x="1787" y="226"/>
                    <a:pt x="1789" y="208"/>
                  </a:cubicBezTo>
                  <a:cubicBezTo>
                    <a:pt x="1789" y="208"/>
                    <a:pt x="1789" y="208"/>
                    <a:pt x="1789" y="207"/>
                  </a:cubicBezTo>
                  <a:moveTo>
                    <a:pt x="1777" y="261"/>
                  </a:moveTo>
                  <a:cubicBezTo>
                    <a:pt x="1773" y="276"/>
                    <a:pt x="1767" y="290"/>
                    <a:pt x="1761" y="305"/>
                  </a:cubicBezTo>
                  <a:cubicBezTo>
                    <a:pt x="1761" y="305"/>
                    <a:pt x="1762" y="305"/>
                    <a:pt x="1762" y="306"/>
                  </a:cubicBezTo>
                  <a:cubicBezTo>
                    <a:pt x="1768" y="291"/>
                    <a:pt x="1773" y="277"/>
                    <a:pt x="1778" y="263"/>
                  </a:cubicBezTo>
                  <a:cubicBezTo>
                    <a:pt x="1778" y="262"/>
                    <a:pt x="1777" y="262"/>
                    <a:pt x="1777" y="261"/>
                  </a:cubicBezTo>
                  <a:moveTo>
                    <a:pt x="1761" y="306"/>
                  </a:moveTo>
                  <a:cubicBezTo>
                    <a:pt x="1755" y="318"/>
                    <a:pt x="1749" y="331"/>
                    <a:pt x="1743" y="343"/>
                  </a:cubicBezTo>
                  <a:cubicBezTo>
                    <a:pt x="1743" y="343"/>
                    <a:pt x="1743" y="344"/>
                    <a:pt x="1743" y="344"/>
                  </a:cubicBezTo>
                  <a:cubicBezTo>
                    <a:pt x="1750" y="332"/>
                    <a:pt x="1756" y="319"/>
                    <a:pt x="1761" y="307"/>
                  </a:cubicBezTo>
                  <a:cubicBezTo>
                    <a:pt x="1761" y="307"/>
                    <a:pt x="1761" y="306"/>
                    <a:pt x="1761" y="306"/>
                  </a:cubicBezTo>
                  <a:moveTo>
                    <a:pt x="1742" y="344"/>
                  </a:moveTo>
                  <a:cubicBezTo>
                    <a:pt x="1736" y="355"/>
                    <a:pt x="1730" y="366"/>
                    <a:pt x="1723" y="377"/>
                  </a:cubicBezTo>
                  <a:cubicBezTo>
                    <a:pt x="1723" y="377"/>
                    <a:pt x="1723" y="378"/>
                    <a:pt x="1723" y="378"/>
                  </a:cubicBezTo>
                  <a:cubicBezTo>
                    <a:pt x="1730" y="367"/>
                    <a:pt x="1737" y="356"/>
                    <a:pt x="1743" y="345"/>
                  </a:cubicBezTo>
                  <a:cubicBezTo>
                    <a:pt x="1742" y="345"/>
                    <a:pt x="1742" y="344"/>
                    <a:pt x="1742" y="344"/>
                  </a:cubicBezTo>
                  <a:moveTo>
                    <a:pt x="1277" y="375"/>
                  </a:moveTo>
                  <a:cubicBezTo>
                    <a:pt x="1277" y="375"/>
                    <a:pt x="1277" y="375"/>
                    <a:pt x="1277" y="375"/>
                  </a:cubicBezTo>
                  <a:cubicBezTo>
                    <a:pt x="1275" y="377"/>
                    <a:pt x="1274" y="378"/>
                    <a:pt x="1272" y="380"/>
                  </a:cubicBezTo>
                  <a:cubicBezTo>
                    <a:pt x="1270" y="383"/>
                    <a:pt x="1269" y="385"/>
                    <a:pt x="1267" y="388"/>
                  </a:cubicBezTo>
                  <a:cubicBezTo>
                    <a:pt x="1267" y="388"/>
                    <a:pt x="1268" y="387"/>
                    <a:pt x="1269" y="387"/>
                  </a:cubicBezTo>
                  <a:cubicBezTo>
                    <a:pt x="1271" y="383"/>
                    <a:pt x="1274" y="379"/>
                    <a:pt x="1277" y="375"/>
                  </a:cubicBezTo>
                  <a:moveTo>
                    <a:pt x="1722" y="378"/>
                  </a:moveTo>
                  <a:cubicBezTo>
                    <a:pt x="1716" y="388"/>
                    <a:pt x="1709" y="398"/>
                    <a:pt x="1702" y="408"/>
                  </a:cubicBezTo>
                  <a:cubicBezTo>
                    <a:pt x="1702" y="408"/>
                    <a:pt x="1702" y="409"/>
                    <a:pt x="1702" y="409"/>
                  </a:cubicBezTo>
                  <a:cubicBezTo>
                    <a:pt x="1709" y="399"/>
                    <a:pt x="1716" y="389"/>
                    <a:pt x="1723" y="379"/>
                  </a:cubicBezTo>
                  <a:cubicBezTo>
                    <a:pt x="1722" y="379"/>
                    <a:pt x="1722" y="378"/>
                    <a:pt x="1722" y="378"/>
                  </a:cubicBezTo>
                  <a:moveTo>
                    <a:pt x="1267" y="389"/>
                  </a:moveTo>
                  <a:cubicBezTo>
                    <a:pt x="1267" y="389"/>
                    <a:pt x="1266" y="390"/>
                    <a:pt x="1265" y="390"/>
                  </a:cubicBezTo>
                  <a:cubicBezTo>
                    <a:pt x="1264" y="392"/>
                    <a:pt x="1263" y="394"/>
                    <a:pt x="1262" y="395"/>
                  </a:cubicBezTo>
                  <a:cubicBezTo>
                    <a:pt x="1262" y="395"/>
                    <a:pt x="1263" y="395"/>
                    <a:pt x="1263" y="395"/>
                  </a:cubicBezTo>
                  <a:cubicBezTo>
                    <a:pt x="1265" y="393"/>
                    <a:pt x="1266" y="391"/>
                    <a:pt x="1267" y="389"/>
                  </a:cubicBezTo>
                  <a:moveTo>
                    <a:pt x="1035" y="390"/>
                  </a:moveTo>
                  <a:cubicBezTo>
                    <a:pt x="1034" y="390"/>
                    <a:pt x="1033" y="391"/>
                    <a:pt x="1032" y="391"/>
                  </a:cubicBezTo>
                  <a:cubicBezTo>
                    <a:pt x="1033" y="391"/>
                    <a:pt x="1033" y="391"/>
                    <a:pt x="1034" y="391"/>
                  </a:cubicBezTo>
                  <a:cubicBezTo>
                    <a:pt x="1054" y="391"/>
                    <a:pt x="1069" y="397"/>
                    <a:pt x="1076" y="410"/>
                  </a:cubicBezTo>
                  <a:cubicBezTo>
                    <a:pt x="1077" y="410"/>
                    <a:pt x="1077" y="410"/>
                    <a:pt x="1078" y="410"/>
                  </a:cubicBezTo>
                  <a:cubicBezTo>
                    <a:pt x="1070" y="396"/>
                    <a:pt x="1054" y="390"/>
                    <a:pt x="1035" y="390"/>
                  </a:cubicBezTo>
                  <a:moveTo>
                    <a:pt x="1032" y="390"/>
                  </a:moveTo>
                  <a:cubicBezTo>
                    <a:pt x="1016" y="390"/>
                    <a:pt x="997" y="395"/>
                    <a:pt x="979" y="402"/>
                  </a:cubicBezTo>
                  <a:cubicBezTo>
                    <a:pt x="978" y="403"/>
                    <a:pt x="977" y="403"/>
                    <a:pt x="976" y="403"/>
                  </a:cubicBezTo>
                  <a:cubicBezTo>
                    <a:pt x="969" y="407"/>
                    <a:pt x="961" y="410"/>
                    <a:pt x="954" y="415"/>
                  </a:cubicBezTo>
                  <a:cubicBezTo>
                    <a:pt x="953" y="415"/>
                    <a:pt x="953" y="415"/>
                    <a:pt x="953" y="416"/>
                  </a:cubicBezTo>
                  <a:cubicBezTo>
                    <a:pt x="945" y="420"/>
                    <a:pt x="938" y="426"/>
                    <a:pt x="931" y="431"/>
                  </a:cubicBezTo>
                  <a:cubicBezTo>
                    <a:pt x="931" y="432"/>
                    <a:pt x="930" y="432"/>
                    <a:pt x="930" y="432"/>
                  </a:cubicBezTo>
                  <a:cubicBezTo>
                    <a:pt x="922" y="439"/>
                    <a:pt x="916" y="446"/>
                    <a:pt x="910" y="454"/>
                  </a:cubicBezTo>
                  <a:cubicBezTo>
                    <a:pt x="910" y="454"/>
                    <a:pt x="909" y="454"/>
                    <a:pt x="909" y="455"/>
                  </a:cubicBezTo>
                  <a:cubicBezTo>
                    <a:pt x="901" y="466"/>
                    <a:pt x="895" y="478"/>
                    <a:pt x="891" y="491"/>
                  </a:cubicBezTo>
                  <a:cubicBezTo>
                    <a:pt x="891" y="492"/>
                    <a:pt x="891" y="492"/>
                    <a:pt x="891" y="493"/>
                  </a:cubicBezTo>
                  <a:cubicBezTo>
                    <a:pt x="889" y="500"/>
                    <a:pt x="888" y="507"/>
                    <a:pt x="888" y="515"/>
                  </a:cubicBezTo>
                  <a:cubicBezTo>
                    <a:pt x="888" y="517"/>
                    <a:pt x="888" y="518"/>
                    <a:pt x="888" y="519"/>
                  </a:cubicBezTo>
                  <a:cubicBezTo>
                    <a:pt x="888" y="521"/>
                    <a:pt x="888" y="523"/>
                    <a:pt x="888" y="525"/>
                  </a:cubicBezTo>
                  <a:cubicBezTo>
                    <a:pt x="888" y="529"/>
                    <a:pt x="888" y="533"/>
                    <a:pt x="888" y="538"/>
                  </a:cubicBezTo>
                  <a:cubicBezTo>
                    <a:pt x="887" y="539"/>
                    <a:pt x="887" y="539"/>
                    <a:pt x="887" y="540"/>
                  </a:cubicBezTo>
                  <a:cubicBezTo>
                    <a:pt x="886" y="547"/>
                    <a:pt x="885" y="554"/>
                    <a:pt x="883" y="561"/>
                  </a:cubicBezTo>
                  <a:cubicBezTo>
                    <a:pt x="883" y="561"/>
                    <a:pt x="884" y="561"/>
                    <a:pt x="884" y="561"/>
                  </a:cubicBezTo>
                  <a:cubicBezTo>
                    <a:pt x="886" y="553"/>
                    <a:pt x="888" y="546"/>
                    <a:pt x="888" y="538"/>
                  </a:cubicBezTo>
                  <a:cubicBezTo>
                    <a:pt x="889" y="537"/>
                    <a:pt x="889" y="536"/>
                    <a:pt x="889" y="535"/>
                  </a:cubicBezTo>
                  <a:cubicBezTo>
                    <a:pt x="889" y="532"/>
                    <a:pt x="889" y="528"/>
                    <a:pt x="889" y="525"/>
                  </a:cubicBezTo>
                  <a:cubicBezTo>
                    <a:pt x="889" y="523"/>
                    <a:pt x="889" y="521"/>
                    <a:pt x="889" y="519"/>
                  </a:cubicBezTo>
                  <a:cubicBezTo>
                    <a:pt x="889" y="518"/>
                    <a:pt x="889" y="517"/>
                    <a:pt x="889" y="515"/>
                  </a:cubicBezTo>
                  <a:cubicBezTo>
                    <a:pt x="889" y="508"/>
                    <a:pt x="890" y="501"/>
                    <a:pt x="891" y="494"/>
                  </a:cubicBezTo>
                  <a:cubicBezTo>
                    <a:pt x="891" y="494"/>
                    <a:pt x="892" y="493"/>
                    <a:pt x="892" y="493"/>
                  </a:cubicBezTo>
                  <a:cubicBezTo>
                    <a:pt x="895" y="479"/>
                    <a:pt x="902" y="466"/>
                    <a:pt x="910" y="455"/>
                  </a:cubicBezTo>
                  <a:cubicBezTo>
                    <a:pt x="910" y="455"/>
                    <a:pt x="910" y="455"/>
                    <a:pt x="911" y="454"/>
                  </a:cubicBezTo>
                  <a:cubicBezTo>
                    <a:pt x="917" y="446"/>
                    <a:pt x="923" y="439"/>
                    <a:pt x="931" y="433"/>
                  </a:cubicBezTo>
                  <a:cubicBezTo>
                    <a:pt x="931" y="432"/>
                    <a:pt x="932" y="432"/>
                    <a:pt x="932" y="432"/>
                  </a:cubicBezTo>
                  <a:cubicBezTo>
                    <a:pt x="935" y="430"/>
                    <a:pt x="937" y="427"/>
                    <a:pt x="940" y="425"/>
                  </a:cubicBezTo>
                  <a:cubicBezTo>
                    <a:pt x="945" y="422"/>
                    <a:pt x="949" y="419"/>
                    <a:pt x="954" y="416"/>
                  </a:cubicBezTo>
                  <a:cubicBezTo>
                    <a:pt x="954" y="416"/>
                    <a:pt x="955" y="415"/>
                    <a:pt x="955" y="415"/>
                  </a:cubicBezTo>
                  <a:cubicBezTo>
                    <a:pt x="963" y="411"/>
                    <a:pt x="971" y="407"/>
                    <a:pt x="979" y="403"/>
                  </a:cubicBezTo>
                  <a:cubicBezTo>
                    <a:pt x="980" y="403"/>
                    <a:pt x="981" y="403"/>
                    <a:pt x="981" y="402"/>
                  </a:cubicBezTo>
                  <a:cubicBezTo>
                    <a:pt x="998" y="396"/>
                    <a:pt x="1015" y="392"/>
                    <a:pt x="1030" y="391"/>
                  </a:cubicBezTo>
                  <a:cubicBezTo>
                    <a:pt x="1031" y="391"/>
                    <a:pt x="1031" y="390"/>
                    <a:pt x="1032" y="390"/>
                  </a:cubicBezTo>
                  <a:moveTo>
                    <a:pt x="1262" y="396"/>
                  </a:moveTo>
                  <a:cubicBezTo>
                    <a:pt x="1262" y="396"/>
                    <a:pt x="1262" y="396"/>
                    <a:pt x="1261" y="397"/>
                  </a:cubicBezTo>
                  <a:cubicBezTo>
                    <a:pt x="1256" y="404"/>
                    <a:pt x="1251" y="411"/>
                    <a:pt x="1246" y="419"/>
                  </a:cubicBezTo>
                  <a:cubicBezTo>
                    <a:pt x="1247" y="418"/>
                    <a:pt x="1247" y="418"/>
                    <a:pt x="1247" y="418"/>
                  </a:cubicBezTo>
                  <a:cubicBezTo>
                    <a:pt x="1252" y="411"/>
                    <a:pt x="1257" y="404"/>
                    <a:pt x="1262" y="396"/>
                  </a:cubicBezTo>
                  <a:moveTo>
                    <a:pt x="1701" y="409"/>
                  </a:moveTo>
                  <a:cubicBezTo>
                    <a:pt x="1695" y="418"/>
                    <a:pt x="1688" y="428"/>
                    <a:pt x="1680" y="437"/>
                  </a:cubicBezTo>
                  <a:cubicBezTo>
                    <a:pt x="1681" y="437"/>
                    <a:pt x="1681" y="437"/>
                    <a:pt x="1681" y="438"/>
                  </a:cubicBezTo>
                  <a:cubicBezTo>
                    <a:pt x="1688" y="429"/>
                    <a:pt x="1695" y="419"/>
                    <a:pt x="1702" y="410"/>
                  </a:cubicBezTo>
                  <a:cubicBezTo>
                    <a:pt x="1702" y="410"/>
                    <a:pt x="1701" y="409"/>
                    <a:pt x="1701" y="409"/>
                  </a:cubicBezTo>
                  <a:moveTo>
                    <a:pt x="1077" y="411"/>
                  </a:moveTo>
                  <a:cubicBezTo>
                    <a:pt x="1079" y="415"/>
                    <a:pt x="1081" y="421"/>
                    <a:pt x="1081" y="427"/>
                  </a:cubicBezTo>
                  <a:cubicBezTo>
                    <a:pt x="1081" y="432"/>
                    <a:pt x="1080" y="438"/>
                    <a:pt x="1078" y="444"/>
                  </a:cubicBezTo>
                  <a:cubicBezTo>
                    <a:pt x="1079" y="444"/>
                    <a:pt x="1079" y="444"/>
                    <a:pt x="1079" y="445"/>
                  </a:cubicBezTo>
                  <a:cubicBezTo>
                    <a:pt x="1081" y="438"/>
                    <a:pt x="1082" y="433"/>
                    <a:pt x="1082" y="427"/>
                  </a:cubicBezTo>
                  <a:cubicBezTo>
                    <a:pt x="1082" y="421"/>
                    <a:pt x="1080" y="416"/>
                    <a:pt x="1078" y="411"/>
                  </a:cubicBezTo>
                  <a:cubicBezTo>
                    <a:pt x="1078" y="411"/>
                    <a:pt x="1077" y="411"/>
                    <a:pt x="1077" y="411"/>
                  </a:cubicBezTo>
                  <a:moveTo>
                    <a:pt x="1247" y="419"/>
                  </a:moveTo>
                  <a:cubicBezTo>
                    <a:pt x="1246" y="420"/>
                    <a:pt x="1246" y="420"/>
                    <a:pt x="1246" y="420"/>
                  </a:cubicBezTo>
                  <a:cubicBezTo>
                    <a:pt x="1238" y="431"/>
                    <a:pt x="1231" y="441"/>
                    <a:pt x="1224" y="451"/>
                  </a:cubicBezTo>
                  <a:cubicBezTo>
                    <a:pt x="1225" y="451"/>
                    <a:pt x="1225" y="451"/>
                    <a:pt x="1225" y="451"/>
                  </a:cubicBezTo>
                  <a:cubicBezTo>
                    <a:pt x="1232" y="441"/>
                    <a:pt x="1239" y="431"/>
                    <a:pt x="1247" y="419"/>
                  </a:cubicBezTo>
                  <a:moveTo>
                    <a:pt x="1680" y="438"/>
                  </a:moveTo>
                  <a:cubicBezTo>
                    <a:pt x="1673" y="446"/>
                    <a:pt x="1666" y="455"/>
                    <a:pt x="1658" y="464"/>
                  </a:cubicBezTo>
                  <a:cubicBezTo>
                    <a:pt x="1658" y="464"/>
                    <a:pt x="1659" y="464"/>
                    <a:pt x="1659" y="465"/>
                  </a:cubicBezTo>
                  <a:cubicBezTo>
                    <a:pt x="1666" y="456"/>
                    <a:pt x="1673" y="447"/>
                    <a:pt x="1680" y="439"/>
                  </a:cubicBezTo>
                  <a:cubicBezTo>
                    <a:pt x="1680" y="438"/>
                    <a:pt x="1680" y="438"/>
                    <a:pt x="1680" y="438"/>
                  </a:cubicBezTo>
                  <a:moveTo>
                    <a:pt x="1078" y="445"/>
                  </a:moveTo>
                  <a:cubicBezTo>
                    <a:pt x="1077" y="449"/>
                    <a:pt x="1075" y="454"/>
                    <a:pt x="1073" y="459"/>
                  </a:cubicBezTo>
                  <a:cubicBezTo>
                    <a:pt x="1073" y="460"/>
                    <a:pt x="1072" y="461"/>
                    <a:pt x="1072" y="462"/>
                  </a:cubicBezTo>
                  <a:cubicBezTo>
                    <a:pt x="1070" y="465"/>
                    <a:pt x="1069" y="468"/>
                    <a:pt x="1067" y="471"/>
                  </a:cubicBezTo>
                  <a:cubicBezTo>
                    <a:pt x="1066" y="472"/>
                    <a:pt x="1065" y="474"/>
                    <a:pt x="1064" y="476"/>
                  </a:cubicBezTo>
                  <a:cubicBezTo>
                    <a:pt x="1065" y="476"/>
                    <a:pt x="1065" y="476"/>
                    <a:pt x="1066" y="476"/>
                  </a:cubicBezTo>
                  <a:cubicBezTo>
                    <a:pt x="1067" y="474"/>
                    <a:pt x="1067" y="473"/>
                    <a:pt x="1068" y="471"/>
                  </a:cubicBezTo>
                  <a:cubicBezTo>
                    <a:pt x="1070" y="467"/>
                    <a:pt x="1072" y="463"/>
                    <a:pt x="1074" y="460"/>
                  </a:cubicBezTo>
                  <a:cubicBezTo>
                    <a:pt x="1074" y="459"/>
                    <a:pt x="1075" y="458"/>
                    <a:pt x="1075" y="457"/>
                  </a:cubicBezTo>
                  <a:cubicBezTo>
                    <a:pt x="1077" y="453"/>
                    <a:pt x="1078" y="449"/>
                    <a:pt x="1079" y="445"/>
                  </a:cubicBezTo>
                  <a:cubicBezTo>
                    <a:pt x="1079" y="445"/>
                    <a:pt x="1078" y="445"/>
                    <a:pt x="1078" y="445"/>
                  </a:cubicBezTo>
                  <a:moveTo>
                    <a:pt x="1224" y="452"/>
                  </a:moveTo>
                  <a:cubicBezTo>
                    <a:pt x="1223" y="454"/>
                    <a:pt x="1222" y="455"/>
                    <a:pt x="1221" y="456"/>
                  </a:cubicBezTo>
                  <a:cubicBezTo>
                    <a:pt x="1221" y="457"/>
                    <a:pt x="1220" y="457"/>
                    <a:pt x="1220" y="458"/>
                  </a:cubicBezTo>
                  <a:cubicBezTo>
                    <a:pt x="1213" y="467"/>
                    <a:pt x="1208" y="476"/>
                    <a:pt x="1202" y="484"/>
                  </a:cubicBezTo>
                  <a:cubicBezTo>
                    <a:pt x="1201" y="485"/>
                    <a:pt x="1201" y="486"/>
                    <a:pt x="1201" y="486"/>
                  </a:cubicBezTo>
                  <a:cubicBezTo>
                    <a:pt x="1201" y="486"/>
                    <a:pt x="1201" y="486"/>
                    <a:pt x="1201" y="486"/>
                  </a:cubicBezTo>
                  <a:cubicBezTo>
                    <a:pt x="1207" y="478"/>
                    <a:pt x="1213" y="470"/>
                    <a:pt x="1219" y="460"/>
                  </a:cubicBezTo>
                  <a:cubicBezTo>
                    <a:pt x="1220" y="460"/>
                    <a:pt x="1220" y="459"/>
                    <a:pt x="1221" y="458"/>
                  </a:cubicBezTo>
                  <a:cubicBezTo>
                    <a:pt x="1222" y="456"/>
                    <a:pt x="1223" y="454"/>
                    <a:pt x="1225" y="452"/>
                  </a:cubicBezTo>
                  <a:cubicBezTo>
                    <a:pt x="1224" y="452"/>
                    <a:pt x="1224" y="452"/>
                    <a:pt x="1224" y="452"/>
                  </a:cubicBezTo>
                  <a:moveTo>
                    <a:pt x="1658" y="464"/>
                  </a:moveTo>
                  <a:cubicBezTo>
                    <a:pt x="1645" y="479"/>
                    <a:pt x="1632" y="493"/>
                    <a:pt x="1619" y="507"/>
                  </a:cubicBezTo>
                  <a:cubicBezTo>
                    <a:pt x="1619" y="507"/>
                    <a:pt x="1619" y="508"/>
                    <a:pt x="1619" y="508"/>
                  </a:cubicBezTo>
                  <a:cubicBezTo>
                    <a:pt x="1633" y="494"/>
                    <a:pt x="1646" y="480"/>
                    <a:pt x="1658" y="465"/>
                  </a:cubicBezTo>
                  <a:cubicBezTo>
                    <a:pt x="1658" y="465"/>
                    <a:pt x="1658" y="465"/>
                    <a:pt x="1658" y="464"/>
                  </a:cubicBezTo>
                  <a:moveTo>
                    <a:pt x="1065" y="477"/>
                  </a:moveTo>
                  <a:cubicBezTo>
                    <a:pt x="1065" y="477"/>
                    <a:pt x="1064" y="478"/>
                    <a:pt x="1064" y="478"/>
                  </a:cubicBezTo>
                  <a:cubicBezTo>
                    <a:pt x="1062" y="480"/>
                    <a:pt x="1061" y="483"/>
                    <a:pt x="1060" y="485"/>
                  </a:cubicBezTo>
                  <a:cubicBezTo>
                    <a:pt x="1061" y="485"/>
                    <a:pt x="1061" y="485"/>
                    <a:pt x="1061" y="485"/>
                  </a:cubicBezTo>
                  <a:cubicBezTo>
                    <a:pt x="1063" y="482"/>
                    <a:pt x="1064" y="480"/>
                    <a:pt x="1065" y="477"/>
                  </a:cubicBezTo>
                  <a:moveTo>
                    <a:pt x="1061" y="486"/>
                  </a:moveTo>
                  <a:cubicBezTo>
                    <a:pt x="1060" y="486"/>
                    <a:pt x="1060" y="486"/>
                    <a:pt x="1060" y="486"/>
                  </a:cubicBezTo>
                  <a:cubicBezTo>
                    <a:pt x="1059" y="488"/>
                    <a:pt x="1058" y="489"/>
                    <a:pt x="1058" y="490"/>
                  </a:cubicBezTo>
                  <a:cubicBezTo>
                    <a:pt x="1058" y="490"/>
                    <a:pt x="1058" y="491"/>
                    <a:pt x="1059" y="491"/>
                  </a:cubicBezTo>
                  <a:cubicBezTo>
                    <a:pt x="1059" y="489"/>
                    <a:pt x="1060" y="488"/>
                    <a:pt x="1061" y="486"/>
                  </a:cubicBezTo>
                  <a:moveTo>
                    <a:pt x="1200" y="487"/>
                  </a:moveTo>
                  <a:cubicBezTo>
                    <a:pt x="1200" y="488"/>
                    <a:pt x="1199" y="490"/>
                    <a:pt x="1198" y="491"/>
                  </a:cubicBezTo>
                  <a:cubicBezTo>
                    <a:pt x="1199" y="490"/>
                    <a:pt x="1200" y="488"/>
                    <a:pt x="1201" y="487"/>
                  </a:cubicBezTo>
                  <a:cubicBezTo>
                    <a:pt x="1200" y="487"/>
                    <a:pt x="1200" y="487"/>
                    <a:pt x="1200" y="487"/>
                  </a:cubicBezTo>
                  <a:moveTo>
                    <a:pt x="1197" y="490"/>
                  </a:moveTo>
                  <a:cubicBezTo>
                    <a:pt x="1192" y="498"/>
                    <a:pt x="1187" y="505"/>
                    <a:pt x="1182" y="511"/>
                  </a:cubicBezTo>
                  <a:cubicBezTo>
                    <a:pt x="1183" y="511"/>
                    <a:pt x="1183" y="511"/>
                    <a:pt x="1184" y="511"/>
                  </a:cubicBezTo>
                  <a:cubicBezTo>
                    <a:pt x="1187" y="507"/>
                    <a:pt x="1191" y="502"/>
                    <a:pt x="1194" y="497"/>
                  </a:cubicBezTo>
                  <a:cubicBezTo>
                    <a:pt x="1195" y="495"/>
                    <a:pt x="1196" y="492"/>
                    <a:pt x="1197" y="490"/>
                  </a:cubicBezTo>
                  <a:moveTo>
                    <a:pt x="1057" y="491"/>
                  </a:moveTo>
                  <a:cubicBezTo>
                    <a:pt x="1054" y="499"/>
                    <a:pt x="1051" y="506"/>
                    <a:pt x="1049" y="513"/>
                  </a:cubicBezTo>
                  <a:cubicBezTo>
                    <a:pt x="1049" y="513"/>
                    <a:pt x="1050" y="513"/>
                    <a:pt x="1050" y="513"/>
                  </a:cubicBezTo>
                  <a:cubicBezTo>
                    <a:pt x="1052" y="506"/>
                    <a:pt x="1055" y="499"/>
                    <a:pt x="1058" y="492"/>
                  </a:cubicBezTo>
                  <a:cubicBezTo>
                    <a:pt x="1058" y="491"/>
                    <a:pt x="1058" y="491"/>
                    <a:pt x="1057" y="491"/>
                  </a:cubicBezTo>
                  <a:moveTo>
                    <a:pt x="1618" y="508"/>
                  </a:moveTo>
                  <a:cubicBezTo>
                    <a:pt x="1601" y="525"/>
                    <a:pt x="1583" y="543"/>
                    <a:pt x="1564" y="560"/>
                  </a:cubicBezTo>
                  <a:cubicBezTo>
                    <a:pt x="1564" y="560"/>
                    <a:pt x="1564" y="560"/>
                    <a:pt x="1564" y="561"/>
                  </a:cubicBezTo>
                  <a:cubicBezTo>
                    <a:pt x="1583" y="544"/>
                    <a:pt x="1601" y="526"/>
                    <a:pt x="1618" y="509"/>
                  </a:cubicBezTo>
                  <a:cubicBezTo>
                    <a:pt x="1618" y="509"/>
                    <a:pt x="1618" y="508"/>
                    <a:pt x="1618" y="508"/>
                  </a:cubicBezTo>
                  <a:moveTo>
                    <a:pt x="1182" y="512"/>
                  </a:moveTo>
                  <a:cubicBezTo>
                    <a:pt x="1177" y="519"/>
                    <a:pt x="1172" y="525"/>
                    <a:pt x="1168" y="530"/>
                  </a:cubicBezTo>
                  <a:cubicBezTo>
                    <a:pt x="1166" y="533"/>
                    <a:pt x="1165" y="535"/>
                    <a:pt x="1163" y="537"/>
                  </a:cubicBezTo>
                  <a:cubicBezTo>
                    <a:pt x="1162" y="538"/>
                    <a:pt x="1162" y="539"/>
                    <a:pt x="1161" y="540"/>
                  </a:cubicBezTo>
                  <a:cubicBezTo>
                    <a:pt x="1164" y="537"/>
                    <a:pt x="1166" y="534"/>
                    <a:pt x="1169" y="531"/>
                  </a:cubicBezTo>
                  <a:cubicBezTo>
                    <a:pt x="1173" y="525"/>
                    <a:pt x="1178" y="519"/>
                    <a:pt x="1183" y="512"/>
                  </a:cubicBezTo>
                  <a:cubicBezTo>
                    <a:pt x="1183" y="512"/>
                    <a:pt x="1182" y="512"/>
                    <a:pt x="1182" y="512"/>
                  </a:cubicBezTo>
                  <a:moveTo>
                    <a:pt x="1050" y="514"/>
                  </a:moveTo>
                  <a:cubicBezTo>
                    <a:pt x="1049" y="514"/>
                    <a:pt x="1049" y="514"/>
                    <a:pt x="1049" y="514"/>
                  </a:cubicBezTo>
                  <a:cubicBezTo>
                    <a:pt x="1049" y="514"/>
                    <a:pt x="1049" y="514"/>
                    <a:pt x="1049" y="514"/>
                  </a:cubicBezTo>
                  <a:cubicBezTo>
                    <a:pt x="1048" y="516"/>
                    <a:pt x="1048" y="517"/>
                    <a:pt x="1047" y="519"/>
                  </a:cubicBezTo>
                  <a:cubicBezTo>
                    <a:pt x="1047" y="520"/>
                    <a:pt x="1047" y="521"/>
                    <a:pt x="1046" y="523"/>
                  </a:cubicBezTo>
                  <a:cubicBezTo>
                    <a:pt x="1047" y="523"/>
                    <a:pt x="1047" y="523"/>
                    <a:pt x="1047" y="523"/>
                  </a:cubicBezTo>
                  <a:cubicBezTo>
                    <a:pt x="1048" y="522"/>
                    <a:pt x="1048" y="520"/>
                    <a:pt x="1048" y="519"/>
                  </a:cubicBezTo>
                  <a:cubicBezTo>
                    <a:pt x="1049" y="518"/>
                    <a:pt x="1049" y="516"/>
                    <a:pt x="1050" y="514"/>
                  </a:cubicBezTo>
                  <a:moveTo>
                    <a:pt x="1046" y="524"/>
                  </a:moveTo>
                  <a:cubicBezTo>
                    <a:pt x="1046" y="524"/>
                    <a:pt x="1046" y="524"/>
                    <a:pt x="1046" y="524"/>
                  </a:cubicBezTo>
                  <a:cubicBezTo>
                    <a:pt x="1045" y="527"/>
                    <a:pt x="1045" y="529"/>
                    <a:pt x="1044" y="532"/>
                  </a:cubicBezTo>
                  <a:cubicBezTo>
                    <a:pt x="1044" y="535"/>
                    <a:pt x="1044" y="538"/>
                    <a:pt x="1043" y="540"/>
                  </a:cubicBezTo>
                  <a:cubicBezTo>
                    <a:pt x="1044" y="540"/>
                    <a:pt x="1044" y="540"/>
                    <a:pt x="1044" y="540"/>
                  </a:cubicBezTo>
                  <a:cubicBezTo>
                    <a:pt x="1045" y="535"/>
                    <a:pt x="1046" y="530"/>
                    <a:pt x="1047" y="524"/>
                  </a:cubicBezTo>
                  <a:cubicBezTo>
                    <a:pt x="1047" y="524"/>
                    <a:pt x="1047" y="524"/>
                    <a:pt x="1047" y="524"/>
                  </a:cubicBezTo>
                  <a:cubicBezTo>
                    <a:pt x="1047" y="524"/>
                    <a:pt x="1046" y="524"/>
                    <a:pt x="1046" y="524"/>
                  </a:cubicBezTo>
                  <a:moveTo>
                    <a:pt x="1161" y="539"/>
                  </a:moveTo>
                  <a:cubicBezTo>
                    <a:pt x="1159" y="541"/>
                    <a:pt x="1157" y="543"/>
                    <a:pt x="1155" y="545"/>
                  </a:cubicBezTo>
                  <a:cubicBezTo>
                    <a:pt x="1155" y="545"/>
                    <a:pt x="1156" y="545"/>
                    <a:pt x="1156" y="545"/>
                  </a:cubicBezTo>
                  <a:cubicBezTo>
                    <a:pt x="1157" y="544"/>
                    <a:pt x="1158" y="543"/>
                    <a:pt x="1159" y="542"/>
                  </a:cubicBezTo>
                  <a:cubicBezTo>
                    <a:pt x="1160" y="541"/>
                    <a:pt x="1160" y="540"/>
                    <a:pt x="1161" y="539"/>
                  </a:cubicBezTo>
                  <a:moveTo>
                    <a:pt x="1044" y="541"/>
                  </a:moveTo>
                  <a:cubicBezTo>
                    <a:pt x="1044" y="541"/>
                    <a:pt x="1044" y="541"/>
                    <a:pt x="1043" y="541"/>
                  </a:cubicBezTo>
                  <a:cubicBezTo>
                    <a:pt x="1043" y="542"/>
                    <a:pt x="1043" y="543"/>
                    <a:pt x="1043" y="544"/>
                  </a:cubicBezTo>
                  <a:cubicBezTo>
                    <a:pt x="1043" y="544"/>
                    <a:pt x="1043" y="545"/>
                    <a:pt x="1043" y="545"/>
                  </a:cubicBezTo>
                  <a:cubicBezTo>
                    <a:pt x="1043" y="545"/>
                    <a:pt x="1043" y="545"/>
                    <a:pt x="1043" y="545"/>
                  </a:cubicBezTo>
                  <a:cubicBezTo>
                    <a:pt x="1043" y="546"/>
                    <a:pt x="1043" y="546"/>
                    <a:pt x="1043" y="546"/>
                  </a:cubicBezTo>
                  <a:cubicBezTo>
                    <a:pt x="1044" y="546"/>
                    <a:pt x="1044" y="545"/>
                    <a:pt x="1044" y="544"/>
                  </a:cubicBezTo>
                  <a:cubicBezTo>
                    <a:pt x="1044" y="544"/>
                    <a:pt x="1044" y="544"/>
                    <a:pt x="1044" y="544"/>
                  </a:cubicBezTo>
                  <a:cubicBezTo>
                    <a:pt x="1044" y="543"/>
                    <a:pt x="1044" y="543"/>
                    <a:pt x="1044" y="542"/>
                  </a:cubicBezTo>
                  <a:cubicBezTo>
                    <a:pt x="1044" y="542"/>
                    <a:pt x="1044" y="542"/>
                    <a:pt x="1044" y="541"/>
                  </a:cubicBezTo>
                  <a:moveTo>
                    <a:pt x="1154" y="546"/>
                  </a:moveTo>
                  <a:cubicBezTo>
                    <a:pt x="1149" y="551"/>
                    <a:pt x="1144" y="555"/>
                    <a:pt x="1139" y="559"/>
                  </a:cubicBezTo>
                  <a:cubicBezTo>
                    <a:pt x="1140" y="559"/>
                    <a:pt x="1141" y="558"/>
                    <a:pt x="1142" y="558"/>
                  </a:cubicBezTo>
                  <a:cubicBezTo>
                    <a:pt x="1146" y="554"/>
                    <a:pt x="1151" y="550"/>
                    <a:pt x="1155" y="546"/>
                  </a:cubicBezTo>
                  <a:cubicBezTo>
                    <a:pt x="1155" y="546"/>
                    <a:pt x="1154" y="546"/>
                    <a:pt x="1154" y="546"/>
                  </a:cubicBezTo>
                  <a:moveTo>
                    <a:pt x="1044" y="546"/>
                  </a:moveTo>
                  <a:cubicBezTo>
                    <a:pt x="1044" y="547"/>
                    <a:pt x="1044" y="548"/>
                    <a:pt x="1043" y="548"/>
                  </a:cubicBezTo>
                  <a:cubicBezTo>
                    <a:pt x="1043" y="551"/>
                    <a:pt x="1044" y="553"/>
                    <a:pt x="1044" y="555"/>
                  </a:cubicBezTo>
                  <a:cubicBezTo>
                    <a:pt x="1044" y="555"/>
                    <a:pt x="1045" y="555"/>
                    <a:pt x="1045" y="555"/>
                  </a:cubicBezTo>
                  <a:cubicBezTo>
                    <a:pt x="1045" y="553"/>
                    <a:pt x="1044" y="550"/>
                    <a:pt x="1044" y="546"/>
                  </a:cubicBezTo>
                  <a:moveTo>
                    <a:pt x="1044" y="556"/>
                  </a:moveTo>
                  <a:cubicBezTo>
                    <a:pt x="1045" y="560"/>
                    <a:pt x="1046" y="564"/>
                    <a:pt x="1048" y="567"/>
                  </a:cubicBezTo>
                  <a:cubicBezTo>
                    <a:pt x="1048" y="567"/>
                    <a:pt x="1049" y="568"/>
                    <a:pt x="1049" y="568"/>
                  </a:cubicBezTo>
                  <a:cubicBezTo>
                    <a:pt x="1050" y="569"/>
                    <a:pt x="1050" y="571"/>
                    <a:pt x="1051" y="572"/>
                  </a:cubicBezTo>
                  <a:cubicBezTo>
                    <a:pt x="1052" y="572"/>
                    <a:pt x="1052" y="572"/>
                    <a:pt x="1053" y="572"/>
                  </a:cubicBezTo>
                  <a:cubicBezTo>
                    <a:pt x="1051" y="570"/>
                    <a:pt x="1050" y="569"/>
                    <a:pt x="1049" y="567"/>
                  </a:cubicBezTo>
                  <a:cubicBezTo>
                    <a:pt x="1049" y="567"/>
                    <a:pt x="1049" y="567"/>
                    <a:pt x="1049" y="566"/>
                  </a:cubicBezTo>
                  <a:cubicBezTo>
                    <a:pt x="1047" y="563"/>
                    <a:pt x="1046" y="560"/>
                    <a:pt x="1045" y="556"/>
                  </a:cubicBezTo>
                  <a:cubicBezTo>
                    <a:pt x="1045" y="556"/>
                    <a:pt x="1045" y="556"/>
                    <a:pt x="1044" y="556"/>
                  </a:cubicBezTo>
                  <a:moveTo>
                    <a:pt x="1140" y="560"/>
                  </a:moveTo>
                  <a:cubicBezTo>
                    <a:pt x="1139" y="560"/>
                    <a:pt x="1138" y="560"/>
                    <a:pt x="1138" y="560"/>
                  </a:cubicBezTo>
                  <a:cubicBezTo>
                    <a:pt x="1138" y="560"/>
                    <a:pt x="1138" y="561"/>
                    <a:pt x="1137" y="561"/>
                  </a:cubicBezTo>
                  <a:cubicBezTo>
                    <a:pt x="1138" y="561"/>
                    <a:pt x="1139" y="560"/>
                    <a:pt x="1140" y="560"/>
                  </a:cubicBezTo>
                  <a:moveTo>
                    <a:pt x="1563" y="560"/>
                  </a:moveTo>
                  <a:cubicBezTo>
                    <a:pt x="1543" y="578"/>
                    <a:pt x="1523" y="595"/>
                    <a:pt x="1501" y="612"/>
                  </a:cubicBezTo>
                  <a:cubicBezTo>
                    <a:pt x="1501" y="612"/>
                    <a:pt x="1501" y="613"/>
                    <a:pt x="1501" y="613"/>
                  </a:cubicBezTo>
                  <a:cubicBezTo>
                    <a:pt x="1523" y="597"/>
                    <a:pt x="1543" y="579"/>
                    <a:pt x="1563" y="562"/>
                  </a:cubicBezTo>
                  <a:cubicBezTo>
                    <a:pt x="1563" y="561"/>
                    <a:pt x="1563" y="561"/>
                    <a:pt x="1563" y="560"/>
                  </a:cubicBezTo>
                  <a:moveTo>
                    <a:pt x="1137" y="561"/>
                  </a:moveTo>
                  <a:cubicBezTo>
                    <a:pt x="1127" y="568"/>
                    <a:pt x="1116" y="573"/>
                    <a:pt x="1106" y="577"/>
                  </a:cubicBezTo>
                  <a:cubicBezTo>
                    <a:pt x="1107" y="577"/>
                    <a:pt x="1108" y="577"/>
                    <a:pt x="1108" y="577"/>
                  </a:cubicBezTo>
                  <a:cubicBezTo>
                    <a:pt x="1117" y="574"/>
                    <a:pt x="1127" y="569"/>
                    <a:pt x="1136" y="562"/>
                  </a:cubicBezTo>
                  <a:cubicBezTo>
                    <a:pt x="1136" y="562"/>
                    <a:pt x="1136" y="561"/>
                    <a:pt x="1137" y="561"/>
                  </a:cubicBezTo>
                  <a:moveTo>
                    <a:pt x="884" y="562"/>
                  </a:moveTo>
                  <a:cubicBezTo>
                    <a:pt x="884" y="562"/>
                    <a:pt x="883" y="562"/>
                    <a:pt x="883" y="562"/>
                  </a:cubicBezTo>
                  <a:cubicBezTo>
                    <a:pt x="882" y="566"/>
                    <a:pt x="881" y="570"/>
                    <a:pt x="879" y="573"/>
                  </a:cubicBezTo>
                  <a:cubicBezTo>
                    <a:pt x="880" y="573"/>
                    <a:pt x="880" y="572"/>
                    <a:pt x="881" y="572"/>
                  </a:cubicBezTo>
                  <a:cubicBezTo>
                    <a:pt x="882" y="569"/>
                    <a:pt x="883" y="565"/>
                    <a:pt x="884" y="562"/>
                  </a:cubicBezTo>
                  <a:moveTo>
                    <a:pt x="1052" y="573"/>
                  </a:moveTo>
                  <a:cubicBezTo>
                    <a:pt x="1054" y="575"/>
                    <a:pt x="1057" y="577"/>
                    <a:pt x="1059" y="578"/>
                  </a:cubicBezTo>
                  <a:cubicBezTo>
                    <a:pt x="1059" y="579"/>
                    <a:pt x="1060" y="579"/>
                    <a:pt x="1060" y="579"/>
                  </a:cubicBezTo>
                  <a:cubicBezTo>
                    <a:pt x="1060" y="579"/>
                    <a:pt x="1061" y="579"/>
                    <a:pt x="1061" y="580"/>
                  </a:cubicBezTo>
                  <a:cubicBezTo>
                    <a:pt x="1061" y="579"/>
                    <a:pt x="1061" y="579"/>
                    <a:pt x="1061" y="579"/>
                  </a:cubicBezTo>
                  <a:cubicBezTo>
                    <a:pt x="1061" y="578"/>
                    <a:pt x="1061" y="578"/>
                    <a:pt x="1061" y="578"/>
                  </a:cubicBezTo>
                  <a:cubicBezTo>
                    <a:pt x="1060" y="578"/>
                    <a:pt x="1060" y="578"/>
                    <a:pt x="1060" y="578"/>
                  </a:cubicBezTo>
                  <a:cubicBezTo>
                    <a:pt x="1057" y="576"/>
                    <a:pt x="1055" y="575"/>
                    <a:pt x="1054" y="573"/>
                  </a:cubicBezTo>
                  <a:cubicBezTo>
                    <a:pt x="1053" y="573"/>
                    <a:pt x="1053" y="573"/>
                    <a:pt x="1052" y="573"/>
                  </a:cubicBezTo>
                  <a:moveTo>
                    <a:pt x="880" y="574"/>
                  </a:moveTo>
                  <a:cubicBezTo>
                    <a:pt x="880" y="574"/>
                    <a:pt x="879" y="575"/>
                    <a:pt x="879" y="575"/>
                  </a:cubicBezTo>
                  <a:cubicBezTo>
                    <a:pt x="879" y="576"/>
                    <a:pt x="878" y="576"/>
                    <a:pt x="878" y="577"/>
                  </a:cubicBezTo>
                  <a:cubicBezTo>
                    <a:pt x="878" y="577"/>
                    <a:pt x="879" y="577"/>
                    <a:pt x="879" y="577"/>
                  </a:cubicBezTo>
                  <a:cubicBezTo>
                    <a:pt x="880" y="576"/>
                    <a:pt x="880" y="575"/>
                    <a:pt x="880" y="574"/>
                  </a:cubicBezTo>
                  <a:moveTo>
                    <a:pt x="1104" y="578"/>
                  </a:moveTo>
                  <a:cubicBezTo>
                    <a:pt x="1102" y="578"/>
                    <a:pt x="1100" y="579"/>
                    <a:pt x="1098" y="580"/>
                  </a:cubicBezTo>
                  <a:cubicBezTo>
                    <a:pt x="1098" y="580"/>
                    <a:pt x="1097" y="580"/>
                    <a:pt x="1096" y="580"/>
                  </a:cubicBezTo>
                  <a:cubicBezTo>
                    <a:pt x="1097" y="580"/>
                    <a:pt x="1097" y="581"/>
                    <a:pt x="1097" y="581"/>
                  </a:cubicBezTo>
                  <a:cubicBezTo>
                    <a:pt x="1100" y="580"/>
                    <a:pt x="1103" y="579"/>
                    <a:pt x="1106" y="578"/>
                  </a:cubicBezTo>
                  <a:cubicBezTo>
                    <a:pt x="1106" y="578"/>
                    <a:pt x="1105" y="578"/>
                    <a:pt x="1104" y="578"/>
                  </a:cubicBezTo>
                  <a:moveTo>
                    <a:pt x="879" y="578"/>
                  </a:moveTo>
                  <a:cubicBezTo>
                    <a:pt x="878" y="578"/>
                    <a:pt x="878" y="578"/>
                    <a:pt x="878" y="578"/>
                  </a:cubicBezTo>
                  <a:cubicBezTo>
                    <a:pt x="875" y="586"/>
                    <a:pt x="871" y="594"/>
                    <a:pt x="867" y="602"/>
                  </a:cubicBezTo>
                  <a:cubicBezTo>
                    <a:pt x="867" y="602"/>
                    <a:pt x="868" y="602"/>
                    <a:pt x="868" y="602"/>
                  </a:cubicBezTo>
                  <a:cubicBezTo>
                    <a:pt x="872" y="594"/>
                    <a:pt x="876" y="586"/>
                    <a:pt x="879" y="578"/>
                  </a:cubicBezTo>
                  <a:moveTo>
                    <a:pt x="1062" y="579"/>
                  </a:moveTo>
                  <a:cubicBezTo>
                    <a:pt x="1062" y="579"/>
                    <a:pt x="1062" y="580"/>
                    <a:pt x="1062" y="580"/>
                  </a:cubicBezTo>
                  <a:cubicBezTo>
                    <a:pt x="1064" y="581"/>
                    <a:pt x="1066" y="582"/>
                    <a:pt x="1068" y="582"/>
                  </a:cubicBezTo>
                  <a:cubicBezTo>
                    <a:pt x="1069" y="582"/>
                    <a:pt x="1069" y="582"/>
                    <a:pt x="1069" y="581"/>
                  </a:cubicBezTo>
                  <a:cubicBezTo>
                    <a:pt x="1066" y="581"/>
                    <a:pt x="1064" y="580"/>
                    <a:pt x="1062" y="579"/>
                  </a:cubicBezTo>
                  <a:moveTo>
                    <a:pt x="1095" y="580"/>
                  </a:moveTo>
                  <a:cubicBezTo>
                    <a:pt x="1092" y="581"/>
                    <a:pt x="1089" y="582"/>
                    <a:pt x="1086" y="582"/>
                  </a:cubicBezTo>
                  <a:cubicBezTo>
                    <a:pt x="1086" y="582"/>
                    <a:pt x="1086" y="583"/>
                    <a:pt x="1086" y="583"/>
                  </a:cubicBezTo>
                  <a:cubicBezTo>
                    <a:pt x="1088" y="583"/>
                    <a:pt x="1091" y="582"/>
                    <a:pt x="1094" y="582"/>
                  </a:cubicBezTo>
                  <a:cubicBezTo>
                    <a:pt x="1095" y="582"/>
                    <a:pt x="1095" y="581"/>
                    <a:pt x="1096" y="581"/>
                  </a:cubicBezTo>
                  <a:cubicBezTo>
                    <a:pt x="1096" y="581"/>
                    <a:pt x="1095" y="581"/>
                    <a:pt x="1095" y="580"/>
                  </a:cubicBezTo>
                  <a:moveTo>
                    <a:pt x="1070" y="581"/>
                  </a:moveTo>
                  <a:cubicBezTo>
                    <a:pt x="1070" y="582"/>
                    <a:pt x="1070" y="582"/>
                    <a:pt x="1069" y="582"/>
                  </a:cubicBezTo>
                  <a:cubicBezTo>
                    <a:pt x="1069" y="582"/>
                    <a:pt x="1070" y="582"/>
                    <a:pt x="1070" y="582"/>
                  </a:cubicBezTo>
                  <a:cubicBezTo>
                    <a:pt x="1070" y="582"/>
                    <a:pt x="1070" y="582"/>
                    <a:pt x="1070" y="581"/>
                  </a:cubicBezTo>
                  <a:cubicBezTo>
                    <a:pt x="1070" y="581"/>
                    <a:pt x="1070" y="581"/>
                    <a:pt x="1070" y="581"/>
                  </a:cubicBezTo>
                  <a:moveTo>
                    <a:pt x="1071" y="582"/>
                  </a:moveTo>
                  <a:cubicBezTo>
                    <a:pt x="1071" y="582"/>
                    <a:pt x="1071" y="582"/>
                    <a:pt x="1071" y="583"/>
                  </a:cubicBezTo>
                  <a:cubicBezTo>
                    <a:pt x="1072" y="583"/>
                    <a:pt x="1073" y="583"/>
                    <a:pt x="1074" y="583"/>
                  </a:cubicBezTo>
                  <a:cubicBezTo>
                    <a:pt x="1075" y="583"/>
                    <a:pt x="1075" y="583"/>
                    <a:pt x="1075" y="583"/>
                  </a:cubicBezTo>
                  <a:cubicBezTo>
                    <a:pt x="1075" y="583"/>
                    <a:pt x="1075" y="583"/>
                    <a:pt x="1075" y="582"/>
                  </a:cubicBezTo>
                  <a:cubicBezTo>
                    <a:pt x="1074" y="582"/>
                    <a:pt x="1072" y="582"/>
                    <a:pt x="1071" y="582"/>
                  </a:cubicBezTo>
                  <a:moveTo>
                    <a:pt x="1085" y="582"/>
                  </a:moveTo>
                  <a:cubicBezTo>
                    <a:pt x="1084" y="582"/>
                    <a:pt x="1083" y="582"/>
                    <a:pt x="1082" y="582"/>
                  </a:cubicBezTo>
                  <a:cubicBezTo>
                    <a:pt x="1081" y="582"/>
                    <a:pt x="1081" y="582"/>
                    <a:pt x="1081" y="582"/>
                  </a:cubicBezTo>
                  <a:cubicBezTo>
                    <a:pt x="1080" y="582"/>
                    <a:pt x="1080" y="582"/>
                    <a:pt x="1079" y="582"/>
                  </a:cubicBezTo>
                  <a:cubicBezTo>
                    <a:pt x="1079" y="582"/>
                    <a:pt x="1078" y="582"/>
                    <a:pt x="1077" y="582"/>
                  </a:cubicBezTo>
                  <a:cubicBezTo>
                    <a:pt x="1076" y="582"/>
                    <a:pt x="1076" y="582"/>
                    <a:pt x="1076" y="582"/>
                  </a:cubicBezTo>
                  <a:cubicBezTo>
                    <a:pt x="1076" y="583"/>
                    <a:pt x="1076" y="583"/>
                    <a:pt x="1076" y="583"/>
                  </a:cubicBezTo>
                  <a:cubicBezTo>
                    <a:pt x="1077" y="583"/>
                    <a:pt x="1078" y="583"/>
                    <a:pt x="1079" y="583"/>
                  </a:cubicBezTo>
                  <a:cubicBezTo>
                    <a:pt x="1080" y="583"/>
                    <a:pt x="1080" y="583"/>
                    <a:pt x="1080" y="583"/>
                  </a:cubicBezTo>
                  <a:cubicBezTo>
                    <a:pt x="1081" y="583"/>
                    <a:pt x="1081" y="583"/>
                    <a:pt x="1081" y="583"/>
                  </a:cubicBezTo>
                  <a:cubicBezTo>
                    <a:pt x="1082" y="583"/>
                    <a:pt x="1084" y="583"/>
                    <a:pt x="1085" y="583"/>
                  </a:cubicBezTo>
                  <a:cubicBezTo>
                    <a:pt x="1085" y="583"/>
                    <a:pt x="1085" y="583"/>
                    <a:pt x="1085" y="582"/>
                  </a:cubicBezTo>
                  <a:moveTo>
                    <a:pt x="868" y="603"/>
                  </a:moveTo>
                  <a:cubicBezTo>
                    <a:pt x="867" y="603"/>
                    <a:pt x="867" y="603"/>
                    <a:pt x="867" y="603"/>
                  </a:cubicBezTo>
                  <a:cubicBezTo>
                    <a:pt x="862" y="612"/>
                    <a:pt x="856" y="622"/>
                    <a:pt x="850" y="631"/>
                  </a:cubicBezTo>
                  <a:cubicBezTo>
                    <a:pt x="850" y="631"/>
                    <a:pt x="850" y="631"/>
                    <a:pt x="851" y="631"/>
                  </a:cubicBezTo>
                  <a:cubicBezTo>
                    <a:pt x="857" y="622"/>
                    <a:pt x="863" y="612"/>
                    <a:pt x="868" y="603"/>
                  </a:cubicBezTo>
                  <a:moveTo>
                    <a:pt x="1500" y="613"/>
                  </a:moveTo>
                  <a:cubicBezTo>
                    <a:pt x="1478" y="630"/>
                    <a:pt x="1456" y="646"/>
                    <a:pt x="1432" y="662"/>
                  </a:cubicBezTo>
                  <a:cubicBezTo>
                    <a:pt x="1432" y="662"/>
                    <a:pt x="1432" y="663"/>
                    <a:pt x="1432" y="663"/>
                  </a:cubicBezTo>
                  <a:cubicBezTo>
                    <a:pt x="1455" y="648"/>
                    <a:pt x="1478" y="631"/>
                    <a:pt x="1500" y="614"/>
                  </a:cubicBezTo>
                  <a:cubicBezTo>
                    <a:pt x="1500" y="614"/>
                    <a:pt x="1500" y="613"/>
                    <a:pt x="1500" y="613"/>
                  </a:cubicBezTo>
                  <a:moveTo>
                    <a:pt x="850" y="632"/>
                  </a:moveTo>
                  <a:cubicBezTo>
                    <a:pt x="850" y="632"/>
                    <a:pt x="849" y="632"/>
                    <a:pt x="849" y="632"/>
                  </a:cubicBezTo>
                  <a:cubicBezTo>
                    <a:pt x="849" y="632"/>
                    <a:pt x="849" y="633"/>
                    <a:pt x="848" y="633"/>
                  </a:cubicBezTo>
                  <a:cubicBezTo>
                    <a:pt x="848" y="633"/>
                    <a:pt x="848" y="633"/>
                    <a:pt x="848" y="634"/>
                  </a:cubicBezTo>
                  <a:cubicBezTo>
                    <a:pt x="846" y="637"/>
                    <a:pt x="844" y="640"/>
                    <a:pt x="841" y="643"/>
                  </a:cubicBezTo>
                  <a:cubicBezTo>
                    <a:pt x="841" y="643"/>
                    <a:pt x="841" y="643"/>
                    <a:pt x="841" y="643"/>
                  </a:cubicBezTo>
                  <a:cubicBezTo>
                    <a:pt x="838" y="648"/>
                    <a:pt x="834" y="652"/>
                    <a:pt x="831" y="657"/>
                  </a:cubicBezTo>
                  <a:cubicBezTo>
                    <a:pt x="830" y="657"/>
                    <a:pt x="830" y="657"/>
                    <a:pt x="830" y="657"/>
                  </a:cubicBezTo>
                  <a:cubicBezTo>
                    <a:pt x="829" y="658"/>
                    <a:pt x="828" y="659"/>
                    <a:pt x="828" y="660"/>
                  </a:cubicBezTo>
                  <a:cubicBezTo>
                    <a:pt x="828" y="660"/>
                    <a:pt x="828" y="660"/>
                    <a:pt x="829" y="660"/>
                  </a:cubicBezTo>
                  <a:cubicBezTo>
                    <a:pt x="829" y="659"/>
                    <a:pt x="830" y="659"/>
                    <a:pt x="831" y="658"/>
                  </a:cubicBezTo>
                  <a:cubicBezTo>
                    <a:pt x="831" y="658"/>
                    <a:pt x="831" y="657"/>
                    <a:pt x="831" y="657"/>
                  </a:cubicBezTo>
                  <a:cubicBezTo>
                    <a:pt x="835" y="653"/>
                    <a:pt x="838" y="649"/>
                    <a:pt x="842" y="644"/>
                  </a:cubicBezTo>
                  <a:cubicBezTo>
                    <a:pt x="842" y="644"/>
                    <a:pt x="842" y="644"/>
                    <a:pt x="842" y="643"/>
                  </a:cubicBezTo>
                  <a:cubicBezTo>
                    <a:pt x="844" y="641"/>
                    <a:pt x="846" y="638"/>
                    <a:pt x="848" y="635"/>
                  </a:cubicBezTo>
                  <a:cubicBezTo>
                    <a:pt x="848" y="635"/>
                    <a:pt x="849" y="634"/>
                    <a:pt x="849" y="634"/>
                  </a:cubicBezTo>
                  <a:cubicBezTo>
                    <a:pt x="849" y="633"/>
                    <a:pt x="850" y="633"/>
                    <a:pt x="850" y="632"/>
                  </a:cubicBezTo>
                  <a:moveTo>
                    <a:pt x="827" y="661"/>
                  </a:moveTo>
                  <a:cubicBezTo>
                    <a:pt x="826" y="662"/>
                    <a:pt x="825" y="664"/>
                    <a:pt x="823" y="665"/>
                  </a:cubicBezTo>
                  <a:cubicBezTo>
                    <a:pt x="823" y="666"/>
                    <a:pt x="823" y="666"/>
                    <a:pt x="823" y="667"/>
                  </a:cubicBezTo>
                  <a:cubicBezTo>
                    <a:pt x="823" y="667"/>
                    <a:pt x="823" y="667"/>
                    <a:pt x="823" y="666"/>
                  </a:cubicBezTo>
                  <a:cubicBezTo>
                    <a:pt x="825" y="665"/>
                    <a:pt x="827" y="663"/>
                    <a:pt x="828" y="661"/>
                  </a:cubicBezTo>
                  <a:cubicBezTo>
                    <a:pt x="828" y="661"/>
                    <a:pt x="827" y="661"/>
                    <a:pt x="827" y="661"/>
                  </a:cubicBezTo>
                  <a:moveTo>
                    <a:pt x="1431" y="663"/>
                  </a:moveTo>
                  <a:cubicBezTo>
                    <a:pt x="1406" y="679"/>
                    <a:pt x="1381" y="695"/>
                    <a:pt x="1355" y="710"/>
                  </a:cubicBezTo>
                  <a:cubicBezTo>
                    <a:pt x="1354" y="711"/>
                    <a:pt x="1354" y="711"/>
                    <a:pt x="1354" y="712"/>
                  </a:cubicBezTo>
                  <a:cubicBezTo>
                    <a:pt x="1380" y="697"/>
                    <a:pt x="1405" y="681"/>
                    <a:pt x="1430" y="664"/>
                  </a:cubicBezTo>
                  <a:cubicBezTo>
                    <a:pt x="1430" y="664"/>
                    <a:pt x="1431" y="663"/>
                    <a:pt x="1431" y="663"/>
                  </a:cubicBezTo>
                  <a:moveTo>
                    <a:pt x="822" y="667"/>
                  </a:moveTo>
                  <a:cubicBezTo>
                    <a:pt x="821" y="668"/>
                    <a:pt x="820" y="669"/>
                    <a:pt x="819" y="670"/>
                  </a:cubicBezTo>
                  <a:cubicBezTo>
                    <a:pt x="819" y="670"/>
                    <a:pt x="819" y="670"/>
                    <a:pt x="819" y="671"/>
                  </a:cubicBezTo>
                  <a:cubicBezTo>
                    <a:pt x="818" y="672"/>
                    <a:pt x="817" y="673"/>
                    <a:pt x="816" y="674"/>
                  </a:cubicBezTo>
                  <a:cubicBezTo>
                    <a:pt x="815" y="674"/>
                    <a:pt x="815" y="674"/>
                    <a:pt x="815" y="675"/>
                  </a:cubicBezTo>
                  <a:cubicBezTo>
                    <a:pt x="814" y="675"/>
                    <a:pt x="813" y="676"/>
                    <a:pt x="812" y="677"/>
                  </a:cubicBezTo>
                  <a:cubicBezTo>
                    <a:pt x="812" y="678"/>
                    <a:pt x="812" y="678"/>
                    <a:pt x="811" y="678"/>
                  </a:cubicBezTo>
                  <a:cubicBezTo>
                    <a:pt x="810" y="680"/>
                    <a:pt x="808" y="682"/>
                    <a:pt x="806" y="684"/>
                  </a:cubicBezTo>
                  <a:cubicBezTo>
                    <a:pt x="806" y="684"/>
                    <a:pt x="805" y="685"/>
                    <a:pt x="805" y="685"/>
                  </a:cubicBezTo>
                  <a:cubicBezTo>
                    <a:pt x="803" y="687"/>
                    <a:pt x="801" y="688"/>
                    <a:pt x="800" y="690"/>
                  </a:cubicBezTo>
                  <a:cubicBezTo>
                    <a:pt x="799" y="690"/>
                    <a:pt x="799" y="691"/>
                    <a:pt x="799" y="691"/>
                  </a:cubicBezTo>
                  <a:cubicBezTo>
                    <a:pt x="796" y="694"/>
                    <a:pt x="793" y="697"/>
                    <a:pt x="789" y="700"/>
                  </a:cubicBezTo>
                  <a:cubicBezTo>
                    <a:pt x="789" y="700"/>
                    <a:pt x="789" y="700"/>
                    <a:pt x="789" y="700"/>
                  </a:cubicBezTo>
                  <a:cubicBezTo>
                    <a:pt x="785" y="704"/>
                    <a:pt x="782" y="707"/>
                    <a:pt x="778" y="710"/>
                  </a:cubicBezTo>
                  <a:cubicBezTo>
                    <a:pt x="778" y="710"/>
                    <a:pt x="777" y="711"/>
                    <a:pt x="777" y="711"/>
                  </a:cubicBezTo>
                  <a:cubicBezTo>
                    <a:pt x="775" y="712"/>
                    <a:pt x="773" y="714"/>
                    <a:pt x="771" y="715"/>
                  </a:cubicBezTo>
                  <a:cubicBezTo>
                    <a:pt x="771" y="716"/>
                    <a:pt x="771" y="716"/>
                    <a:pt x="771" y="716"/>
                  </a:cubicBezTo>
                  <a:cubicBezTo>
                    <a:pt x="765" y="721"/>
                    <a:pt x="759" y="726"/>
                    <a:pt x="753" y="730"/>
                  </a:cubicBezTo>
                  <a:cubicBezTo>
                    <a:pt x="752" y="731"/>
                    <a:pt x="752" y="731"/>
                    <a:pt x="752" y="731"/>
                  </a:cubicBezTo>
                  <a:cubicBezTo>
                    <a:pt x="751" y="732"/>
                    <a:pt x="750" y="732"/>
                    <a:pt x="750" y="733"/>
                  </a:cubicBezTo>
                  <a:cubicBezTo>
                    <a:pt x="750" y="733"/>
                    <a:pt x="750" y="734"/>
                    <a:pt x="750" y="734"/>
                  </a:cubicBezTo>
                  <a:cubicBezTo>
                    <a:pt x="751" y="733"/>
                    <a:pt x="752" y="732"/>
                    <a:pt x="753" y="732"/>
                  </a:cubicBezTo>
                  <a:cubicBezTo>
                    <a:pt x="753" y="731"/>
                    <a:pt x="753" y="731"/>
                    <a:pt x="754" y="731"/>
                  </a:cubicBezTo>
                  <a:cubicBezTo>
                    <a:pt x="760" y="726"/>
                    <a:pt x="766" y="722"/>
                    <a:pt x="772" y="717"/>
                  </a:cubicBezTo>
                  <a:cubicBezTo>
                    <a:pt x="772" y="717"/>
                    <a:pt x="772" y="716"/>
                    <a:pt x="772" y="716"/>
                  </a:cubicBezTo>
                  <a:cubicBezTo>
                    <a:pt x="774" y="715"/>
                    <a:pt x="776" y="713"/>
                    <a:pt x="778" y="711"/>
                  </a:cubicBezTo>
                  <a:cubicBezTo>
                    <a:pt x="778" y="711"/>
                    <a:pt x="779" y="711"/>
                    <a:pt x="779" y="710"/>
                  </a:cubicBezTo>
                  <a:cubicBezTo>
                    <a:pt x="783" y="707"/>
                    <a:pt x="786" y="704"/>
                    <a:pt x="789" y="701"/>
                  </a:cubicBezTo>
                  <a:cubicBezTo>
                    <a:pt x="790" y="701"/>
                    <a:pt x="790" y="701"/>
                    <a:pt x="790" y="700"/>
                  </a:cubicBezTo>
                  <a:cubicBezTo>
                    <a:pt x="793" y="698"/>
                    <a:pt x="797" y="695"/>
                    <a:pt x="800" y="692"/>
                  </a:cubicBezTo>
                  <a:cubicBezTo>
                    <a:pt x="800" y="691"/>
                    <a:pt x="800" y="691"/>
                    <a:pt x="800" y="691"/>
                  </a:cubicBezTo>
                  <a:cubicBezTo>
                    <a:pt x="802" y="689"/>
                    <a:pt x="804" y="687"/>
                    <a:pt x="806" y="685"/>
                  </a:cubicBezTo>
                  <a:cubicBezTo>
                    <a:pt x="806" y="685"/>
                    <a:pt x="806" y="685"/>
                    <a:pt x="807" y="685"/>
                  </a:cubicBezTo>
                  <a:cubicBezTo>
                    <a:pt x="809" y="683"/>
                    <a:pt x="810" y="681"/>
                    <a:pt x="812" y="679"/>
                  </a:cubicBezTo>
                  <a:cubicBezTo>
                    <a:pt x="813" y="679"/>
                    <a:pt x="813" y="678"/>
                    <a:pt x="813" y="678"/>
                  </a:cubicBezTo>
                  <a:cubicBezTo>
                    <a:pt x="814" y="677"/>
                    <a:pt x="814" y="676"/>
                    <a:pt x="815" y="676"/>
                  </a:cubicBezTo>
                  <a:cubicBezTo>
                    <a:pt x="815" y="675"/>
                    <a:pt x="816" y="675"/>
                    <a:pt x="816" y="675"/>
                  </a:cubicBezTo>
                  <a:cubicBezTo>
                    <a:pt x="817" y="674"/>
                    <a:pt x="818" y="672"/>
                    <a:pt x="819" y="671"/>
                  </a:cubicBezTo>
                  <a:cubicBezTo>
                    <a:pt x="820" y="671"/>
                    <a:pt x="820" y="671"/>
                    <a:pt x="820" y="670"/>
                  </a:cubicBezTo>
                  <a:cubicBezTo>
                    <a:pt x="820" y="670"/>
                    <a:pt x="821" y="669"/>
                    <a:pt x="821" y="669"/>
                  </a:cubicBezTo>
                  <a:cubicBezTo>
                    <a:pt x="822" y="668"/>
                    <a:pt x="822" y="667"/>
                    <a:pt x="822" y="667"/>
                  </a:cubicBezTo>
                  <a:moveTo>
                    <a:pt x="1353" y="711"/>
                  </a:moveTo>
                  <a:cubicBezTo>
                    <a:pt x="1331" y="724"/>
                    <a:pt x="1308" y="736"/>
                    <a:pt x="1285" y="747"/>
                  </a:cubicBezTo>
                  <a:cubicBezTo>
                    <a:pt x="1285" y="748"/>
                    <a:pt x="1284" y="748"/>
                    <a:pt x="1284" y="749"/>
                  </a:cubicBezTo>
                  <a:cubicBezTo>
                    <a:pt x="1307" y="738"/>
                    <a:pt x="1330" y="726"/>
                    <a:pt x="1352" y="713"/>
                  </a:cubicBezTo>
                  <a:cubicBezTo>
                    <a:pt x="1352" y="712"/>
                    <a:pt x="1353" y="712"/>
                    <a:pt x="1353" y="711"/>
                  </a:cubicBezTo>
                  <a:moveTo>
                    <a:pt x="749" y="734"/>
                  </a:moveTo>
                  <a:cubicBezTo>
                    <a:pt x="744" y="737"/>
                    <a:pt x="738" y="741"/>
                    <a:pt x="733" y="744"/>
                  </a:cubicBezTo>
                  <a:cubicBezTo>
                    <a:pt x="733" y="745"/>
                    <a:pt x="732" y="745"/>
                    <a:pt x="732" y="745"/>
                  </a:cubicBezTo>
                  <a:cubicBezTo>
                    <a:pt x="732" y="745"/>
                    <a:pt x="731" y="746"/>
                    <a:pt x="731" y="746"/>
                  </a:cubicBezTo>
                  <a:cubicBezTo>
                    <a:pt x="716" y="756"/>
                    <a:pt x="701" y="765"/>
                    <a:pt x="685" y="774"/>
                  </a:cubicBezTo>
                  <a:cubicBezTo>
                    <a:pt x="685" y="774"/>
                    <a:pt x="685" y="774"/>
                    <a:pt x="685" y="775"/>
                  </a:cubicBezTo>
                  <a:cubicBezTo>
                    <a:pt x="701" y="766"/>
                    <a:pt x="716" y="757"/>
                    <a:pt x="730" y="748"/>
                  </a:cubicBezTo>
                  <a:cubicBezTo>
                    <a:pt x="731" y="747"/>
                    <a:pt x="731" y="747"/>
                    <a:pt x="732" y="747"/>
                  </a:cubicBezTo>
                  <a:cubicBezTo>
                    <a:pt x="732" y="746"/>
                    <a:pt x="732" y="746"/>
                    <a:pt x="733" y="746"/>
                  </a:cubicBezTo>
                  <a:cubicBezTo>
                    <a:pt x="733" y="746"/>
                    <a:pt x="733" y="746"/>
                    <a:pt x="733" y="746"/>
                  </a:cubicBezTo>
                  <a:cubicBezTo>
                    <a:pt x="733" y="746"/>
                    <a:pt x="734" y="745"/>
                    <a:pt x="734" y="745"/>
                  </a:cubicBezTo>
                  <a:cubicBezTo>
                    <a:pt x="739" y="742"/>
                    <a:pt x="744" y="738"/>
                    <a:pt x="749" y="735"/>
                  </a:cubicBezTo>
                  <a:cubicBezTo>
                    <a:pt x="749" y="735"/>
                    <a:pt x="749" y="735"/>
                    <a:pt x="749" y="735"/>
                  </a:cubicBezTo>
                  <a:cubicBezTo>
                    <a:pt x="749" y="734"/>
                    <a:pt x="749" y="734"/>
                    <a:pt x="749" y="734"/>
                  </a:cubicBezTo>
                  <a:moveTo>
                    <a:pt x="1283" y="748"/>
                  </a:moveTo>
                  <a:cubicBezTo>
                    <a:pt x="1262" y="758"/>
                    <a:pt x="1241" y="768"/>
                    <a:pt x="1220" y="777"/>
                  </a:cubicBezTo>
                  <a:cubicBezTo>
                    <a:pt x="1219" y="777"/>
                    <a:pt x="1219" y="778"/>
                    <a:pt x="1218" y="779"/>
                  </a:cubicBezTo>
                  <a:cubicBezTo>
                    <a:pt x="1240" y="770"/>
                    <a:pt x="1261" y="760"/>
                    <a:pt x="1282" y="750"/>
                  </a:cubicBezTo>
                  <a:cubicBezTo>
                    <a:pt x="1282" y="749"/>
                    <a:pt x="1283" y="749"/>
                    <a:pt x="1283" y="748"/>
                  </a:cubicBezTo>
                  <a:moveTo>
                    <a:pt x="684" y="774"/>
                  </a:moveTo>
                  <a:cubicBezTo>
                    <a:pt x="664" y="785"/>
                    <a:pt x="643" y="794"/>
                    <a:pt x="622" y="802"/>
                  </a:cubicBezTo>
                  <a:cubicBezTo>
                    <a:pt x="622" y="802"/>
                    <a:pt x="622" y="802"/>
                    <a:pt x="623" y="802"/>
                  </a:cubicBezTo>
                  <a:cubicBezTo>
                    <a:pt x="643" y="795"/>
                    <a:pt x="664" y="786"/>
                    <a:pt x="684" y="775"/>
                  </a:cubicBezTo>
                  <a:cubicBezTo>
                    <a:pt x="684" y="775"/>
                    <a:pt x="684" y="774"/>
                    <a:pt x="684" y="774"/>
                  </a:cubicBezTo>
                  <a:moveTo>
                    <a:pt x="1218" y="778"/>
                  </a:moveTo>
                  <a:cubicBezTo>
                    <a:pt x="1198" y="786"/>
                    <a:pt x="1179" y="793"/>
                    <a:pt x="1160" y="800"/>
                  </a:cubicBezTo>
                  <a:cubicBezTo>
                    <a:pt x="1159" y="800"/>
                    <a:pt x="1159" y="801"/>
                    <a:pt x="1158" y="801"/>
                  </a:cubicBezTo>
                  <a:cubicBezTo>
                    <a:pt x="1178" y="795"/>
                    <a:pt x="1197" y="787"/>
                    <a:pt x="1216" y="779"/>
                  </a:cubicBezTo>
                  <a:cubicBezTo>
                    <a:pt x="1217" y="779"/>
                    <a:pt x="1217" y="778"/>
                    <a:pt x="1218" y="778"/>
                  </a:cubicBezTo>
                  <a:moveTo>
                    <a:pt x="1158" y="801"/>
                  </a:moveTo>
                  <a:cubicBezTo>
                    <a:pt x="1152" y="803"/>
                    <a:pt x="1146" y="805"/>
                    <a:pt x="1140" y="807"/>
                  </a:cubicBezTo>
                  <a:cubicBezTo>
                    <a:pt x="1127" y="811"/>
                    <a:pt x="1114" y="815"/>
                    <a:pt x="1101" y="820"/>
                  </a:cubicBezTo>
                  <a:cubicBezTo>
                    <a:pt x="1100" y="821"/>
                    <a:pt x="1100" y="821"/>
                    <a:pt x="1100" y="822"/>
                  </a:cubicBezTo>
                  <a:cubicBezTo>
                    <a:pt x="1113" y="817"/>
                    <a:pt x="1127" y="812"/>
                    <a:pt x="1140" y="808"/>
                  </a:cubicBezTo>
                  <a:cubicBezTo>
                    <a:pt x="1146" y="806"/>
                    <a:pt x="1151" y="804"/>
                    <a:pt x="1156" y="802"/>
                  </a:cubicBezTo>
                  <a:cubicBezTo>
                    <a:pt x="1157" y="802"/>
                    <a:pt x="1157" y="801"/>
                    <a:pt x="1158" y="801"/>
                  </a:cubicBezTo>
                  <a:moveTo>
                    <a:pt x="621" y="802"/>
                  </a:moveTo>
                  <a:cubicBezTo>
                    <a:pt x="603" y="808"/>
                    <a:pt x="585" y="813"/>
                    <a:pt x="567" y="817"/>
                  </a:cubicBezTo>
                  <a:cubicBezTo>
                    <a:pt x="570" y="817"/>
                    <a:pt x="573" y="816"/>
                    <a:pt x="576" y="816"/>
                  </a:cubicBezTo>
                  <a:cubicBezTo>
                    <a:pt x="591" y="813"/>
                    <a:pt x="606" y="808"/>
                    <a:pt x="622" y="803"/>
                  </a:cubicBezTo>
                  <a:cubicBezTo>
                    <a:pt x="622" y="802"/>
                    <a:pt x="621" y="802"/>
                    <a:pt x="621" y="802"/>
                  </a:cubicBezTo>
                  <a:moveTo>
                    <a:pt x="567" y="818"/>
                  </a:moveTo>
                  <a:cubicBezTo>
                    <a:pt x="564" y="818"/>
                    <a:pt x="561" y="818"/>
                    <a:pt x="558" y="819"/>
                  </a:cubicBezTo>
                  <a:cubicBezTo>
                    <a:pt x="557" y="819"/>
                    <a:pt x="556" y="819"/>
                    <a:pt x="556" y="819"/>
                  </a:cubicBezTo>
                  <a:cubicBezTo>
                    <a:pt x="556" y="819"/>
                    <a:pt x="556" y="819"/>
                    <a:pt x="556" y="820"/>
                  </a:cubicBezTo>
                  <a:cubicBezTo>
                    <a:pt x="559" y="819"/>
                    <a:pt x="563" y="819"/>
                    <a:pt x="567" y="818"/>
                  </a:cubicBezTo>
                  <a:moveTo>
                    <a:pt x="555" y="819"/>
                  </a:moveTo>
                  <a:cubicBezTo>
                    <a:pt x="549" y="820"/>
                    <a:pt x="543" y="821"/>
                    <a:pt x="537" y="821"/>
                  </a:cubicBezTo>
                  <a:cubicBezTo>
                    <a:pt x="534" y="822"/>
                    <a:pt x="531" y="822"/>
                    <a:pt x="529" y="822"/>
                  </a:cubicBezTo>
                  <a:cubicBezTo>
                    <a:pt x="524" y="822"/>
                    <a:pt x="519" y="823"/>
                    <a:pt x="514" y="823"/>
                  </a:cubicBezTo>
                  <a:cubicBezTo>
                    <a:pt x="514" y="823"/>
                    <a:pt x="514" y="823"/>
                    <a:pt x="514" y="823"/>
                  </a:cubicBezTo>
                  <a:cubicBezTo>
                    <a:pt x="512" y="823"/>
                    <a:pt x="511" y="823"/>
                    <a:pt x="509" y="823"/>
                  </a:cubicBezTo>
                  <a:cubicBezTo>
                    <a:pt x="507" y="823"/>
                    <a:pt x="504" y="823"/>
                    <a:pt x="501" y="823"/>
                  </a:cubicBezTo>
                  <a:cubicBezTo>
                    <a:pt x="501" y="823"/>
                    <a:pt x="501" y="823"/>
                    <a:pt x="500" y="823"/>
                  </a:cubicBezTo>
                  <a:cubicBezTo>
                    <a:pt x="500" y="823"/>
                    <a:pt x="499" y="823"/>
                    <a:pt x="499" y="823"/>
                  </a:cubicBezTo>
                  <a:cubicBezTo>
                    <a:pt x="498" y="823"/>
                    <a:pt x="498" y="823"/>
                    <a:pt x="498" y="823"/>
                  </a:cubicBezTo>
                  <a:cubicBezTo>
                    <a:pt x="497" y="823"/>
                    <a:pt x="497" y="823"/>
                    <a:pt x="497" y="823"/>
                  </a:cubicBezTo>
                  <a:cubicBezTo>
                    <a:pt x="495" y="823"/>
                    <a:pt x="493" y="823"/>
                    <a:pt x="490" y="823"/>
                  </a:cubicBezTo>
                  <a:cubicBezTo>
                    <a:pt x="490" y="823"/>
                    <a:pt x="490" y="823"/>
                    <a:pt x="490" y="823"/>
                  </a:cubicBezTo>
                  <a:cubicBezTo>
                    <a:pt x="489" y="823"/>
                    <a:pt x="488" y="823"/>
                    <a:pt x="486" y="823"/>
                  </a:cubicBezTo>
                  <a:cubicBezTo>
                    <a:pt x="486" y="823"/>
                    <a:pt x="486" y="823"/>
                    <a:pt x="486" y="823"/>
                  </a:cubicBezTo>
                  <a:cubicBezTo>
                    <a:pt x="484" y="823"/>
                    <a:pt x="483" y="823"/>
                    <a:pt x="481" y="823"/>
                  </a:cubicBezTo>
                  <a:cubicBezTo>
                    <a:pt x="482" y="823"/>
                    <a:pt x="482" y="824"/>
                    <a:pt x="482" y="824"/>
                  </a:cubicBezTo>
                  <a:cubicBezTo>
                    <a:pt x="483" y="824"/>
                    <a:pt x="483" y="824"/>
                    <a:pt x="483" y="824"/>
                  </a:cubicBezTo>
                  <a:cubicBezTo>
                    <a:pt x="484" y="824"/>
                    <a:pt x="485" y="824"/>
                    <a:pt x="487" y="824"/>
                  </a:cubicBezTo>
                  <a:cubicBezTo>
                    <a:pt x="488" y="824"/>
                    <a:pt x="488" y="824"/>
                    <a:pt x="489" y="824"/>
                  </a:cubicBezTo>
                  <a:cubicBezTo>
                    <a:pt x="490" y="824"/>
                    <a:pt x="490" y="824"/>
                    <a:pt x="490" y="824"/>
                  </a:cubicBezTo>
                  <a:cubicBezTo>
                    <a:pt x="492" y="824"/>
                    <a:pt x="494" y="824"/>
                    <a:pt x="496" y="824"/>
                  </a:cubicBezTo>
                  <a:cubicBezTo>
                    <a:pt x="497" y="824"/>
                    <a:pt x="497" y="824"/>
                    <a:pt x="497" y="824"/>
                  </a:cubicBezTo>
                  <a:cubicBezTo>
                    <a:pt x="497" y="824"/>
                    <a:pt x="497" y="824"/>
                    <a:pt x="497" y="824"/>
                  </a:cubicBezTo>
                  <a:cubicBezTo>
                    <a:pt x="498" y="824"/>
                    <a:pt x="498" y="824"/>
                    <a:pt x="498" y="824"/>
                  </a:cubicBezTo>
                  <a:cubicBezTo>
                    <a:pt x="499" y="824"/>
                    <a:pt x="500" y="824"/>
                    <a:pt x="500" y="824"/>
                  </a:cubicBezTo>
                  <a:cubicBezTo>
                    <a:pt x="501" y="824"/>
                    <a:pt x="501" y="824"/>
                    <a:pt x="501" y="824"/>
                  </a:cubicBezTo>
                  <a:cubicBezTo>
                    <a:pt x="502" y="824"/>
                    <a:pt x="504" y="824"/>
                    <a:pt x="505" y="824"/>
                  </a:cubicBezTo>
                  <a:cubicBezTo>
                    <a:pt x="506" y="824"/>
                    <a:pt x="508" y="824"/>
                    <a:pt x="509" y="824"/>
                  </a:cubicBezTo>
                  <a:cubicBezTo>
                    <a:pt x="511" y="824"/>
                    <a:pt x="512" y="824"/>
                    <a:pt x="514" y="824"/>
                  </a:cubicBezTo>
                  <a:cubicBezTo>
                    <a:pt x="516" y="824"/>
                    <a:pt x="518" y="824"/>
                    <a:pt x="520" y="823"/>
                  </a:cubicBezTo>
                  <a:cubicBezTo>
                    <a:pt x="523" y="823"/>
                    <a:pt x="526" y="823"/>
                    <a:pt x="529" y="823"/>
                  </a:cubicBezTo>
                  <a:cubicBezTo>
                    <a:pt x="537" y="822"/>
                    <a:pt x="546" y="821"/>
                    <a:pt x="555" y="820"/>
                  </a:cubicBezTo>
                  <a:cubicBezTo>
                    <a:pt x="555" y="820"/>
                    <a:pt x="555" y="819"/>
                    <a:pt x="555" y="819"/>
                  </a:cubicBezTo>
                  <a:moveTo>
                    <a:pt x="1099" y="821"/>
                  </a:moveTo>
                  <a:cubicBezTo>
                    <a:pt x="1079" y="829"/>
                    <a:pt x="1059" y="837"/>
                    <a:pt x="1038" y="846"/>
                  </a:cubicBezTo>
                  <a:cubicBezTo>
                    <a:pt x="1038" y="846"/>
                    <a:pt x="1037" y="847"/>
                    <a:pt x="1037" y="847"/>
                  </a:cubicBezTo>
                  <a:cubicBezTo>
                    <a:pt x="1057" y="838"/>
                    <a:pt x="1078" y="830"/>
                    <a:pt x="1098" y="823"/>
                  </a:cubicBezTo>
                  <a:cubicBezTo>
                    <a:pt x="1098" y="822"/>
                    <a:pt x="1099" y="822"/>
                    <a:pt x="1099" y="821"/>
                  </a:cubicBezTo>
                  <a:moveTo>
                    <a:pt x="410" y="823"/>
                  </a:moveTo>
                  <a:cubicBezTo>
                    <a:pt x="410" y="823"/>
                    <a:pt x="410" y="823"/>
                    <a:pt x="409" y="823"/>
                  </a:cubicBezTo>
                  <a:cubicBezTo>
                    <a:pt x="407" y="823"/>
                    <a:pt x="404" y="823"/>
                    <a:pt x="401" y="823"/>
                  </a:cubicBezTo>
                  <a:cubicBezTo>
                    <a:pt x="401" y="823"/>
                    <a:pt x="400" y="823"/>
                    <a:pt x="400" y="823"/>
                  </a:cubicBezTo>
                  <a:cubicBezTo>
                    <a:pt x="396" y="823"/>
                    <a:pt x="393" y="823"/>
                    <a:pt x="389" y="823"/>
                  </a:cubicBezTo>
                  <a:cubicBezTo>
                    <a:pt x="388" y="823"/>
                    <a:pt x="387" y="823"/>
                    <a:pt x="386" y="823"/>
                  </a:cubicBezTo>
                  <a:cubicBezTo>
                    <a:pt x="384" y="823"/>
                    <a:pt x="381" y="823"/>
                    <a:pt x="379" y="823"/>
                  </a:cubicBezTo>
                  <a:cubicBezTo>
                    <a:pt x="379" y="823"/>
                    <a:pt x="378" y="823"/>
                    <a:pt x="378" y="823"/>
                  </a:cubicBezTo>
                  <a:cubicBezTo>
                    <a:pt x="370" y="823"/>
                    <a:pt x="363" y="823"/>
                    <a:pt x="355" y="823"/>
                  </a:cubicBezTo>
                  <a:cubicBezTo>
                    <a:pt x="354" y="823"/>
                    <a:pt x="354" y="823"/>
                    <a:pt x="354" y="823"/>
                  </a:cubicBezTo>
                  <a:cubicBezTo>
                    <a:pt x="228" y="824"/>
                    <a:pt x="78" y="831"/>
                    <a:pt x="22" y="864"/>
                  </a:cubicBezTo>
                  <a:cubicBezTo>
                    <a:pt x="22" y="864"/>
                    <a:pt x="22" y="864"/>
                    <a:pt x="21" y="864"/>
                  </a:cubicBezTo>
                  <a:cubicBezTo>
                    <a:pt x="21" y="864"/>
                    <a:pt x="20" y="865"/>
                    <a:pt x="20" y="865"/>
                  </a:cubicBezTo>
                  <a:cubicBezTo>
                    <a:pt x="20" y="865"/>
                    <a:pt x="19" y="865"/>
                    <a:pt x="19" y="866"/>
                  </a:cubicBezTo>
                  <a:cubicBezTo>
                    <a:pt x="19" y="866"/>
                    <a:pt x="18" y="866"/>
                    <a:pt x="18" y="866"/>
                  </a:cubicBezTo>
                  <a:cubicBezTo>
                    <a:pt x="18" y="866"/>
                    <a:pt x="18" y="867"/>
                    <a:pt x="17" y="867"/>
                  </a:cubicBezTo>
                  <a:cubicBezTo>
                    <a:pt x="17" y="867"/>
                    <a:pt x="17" y="867"/>
                    <a:pt x="16" y="867"/>
                  </a:cubicBezTo>
                  <a:cubicBezTo>
                    <a:pt x="16" y="868"/>
                    <a:pt x="16" y="868"/>
                    <a:pt x="16" y="868"/>
                  </a:cubicBezTo>
                  <a:cubicBezTo>
                    <a:pt x="15" y="868"/>
                    <a:pt x="15" y="869"/>
                    <a:pt x="14" y="869"/>
                  </a:cubicBezTo>
                  <a:cubicBezTo>
                    <a:pt x="14" y="869"/>
                    <a:pt x="14" y="870"/>
                    <a:pt x="13" y="870"/>
                  </a:cubicBezTo>
                  <a:cubicBezTo>
                    <a:pt x="12" y="871"/>
                    <a:pt x="11" y="871"/>
                    <a:pt x="11" y="872"/>
                  </a:cubicBezTo>
                  <a:cubicBezTo>
                    <a:pt x="10" y="873"/>
                    <a:pt x="10" y="874"/>
                    <a:pt x="10" y="875"/>
                  </a:cubicBezTo>
                  <a:cubicBezTo>
                    <a:pt x="11" y="873"/>
                    <a:pt x="13" y="872"/>
                    <a:pt x="14" y="870"/>
                  </a:cubicBezTo>
                  <a:cubicBezTo>
                    <a:pt x="14" y="870"/>
                    <a:pt x="15" y="870"/>
                    <a:pt x="15" y="870"/>
                  </a:cubicBezTo>
                  <a:cubicBezTo>
                    <a:pt x="15" y="869"/>
                    <a:pt x="16" y="869"/>
                    <a:pt x="16" y="869"/>
                  </a:cubicBezTo>
                  <a:cubicBezTo>
                    <a:pt x="17" y="868"/>
                    <a:pt x="17" y="868"/>
                    <a:pt x="17" y="868"/>
                  </a:cubicBezTo>
                  <a:cubicBezTo>
                    <a:pt x="18" y="868"/>
                    <a:pt x="18" y="868"/>
                    <a:pt x="18" y="867"/>
                  </a:cubicBezTo>
                  <a:cubicBezTo>
                    <a:pt x="18" y="867"/>
                    <a:pt x="19" y="867"/>
                    <a:pt x="19" y="867"/>
                  </a:cubicBezTo>
                  <a:cubicBezTo>
                    <a:pt x="19" y="867"/>
                    <a:pt x="20" y="866"/>
                    <a:pt x="20" y="866"/>
                  </a:cubicBezTo>
                  <a:cubicBezTo>
                    <a:pt x="20" y="866"/>
                    <a:pt x="21" y="866"/>
                    <a:pt x="21" y="866"/>
                  </a:cubicBezTo>
                  <a:cubicBezTo>
                    <a:pt x="21" y="865"/>
                    <a:pt x="22" y="865"/>
                    <a:pt x="22" y="865"/>
                  </a:cubicBezTo>
                  <a:cubicBezTo>
                    <a:pt x="23" y="865"/>
                    <a:pt x="23" y="864"/>
                    <a:pt x="23" y="864"/>
                  </a:cubicBezTo>
                  <a:cubicBezTo>
                    <a:pt x="48" y="850"/>
                    <a:pt x="92" y="840"/>
                    <a:pt x="145" y="834"/>
                  </a:cubicBezTo>
                  <a:cubicBezTo>
                    <a:pt x="209" y="827"/>
                    <a:pt x="285" y="825"/>
                    <a:pt x="354" y="824"/>
                  </a:cubicBezTo>
                  <a:cubicBezTo>
                    <a:pt x="355" y="824"/>
                    <a:pt x="355" y="824"/>
                    <a:pt x="355" y="824"/>
                  </a:cubicBezTo>
                  <a:cubicBezTo>
                    <a:pt x="363" y="824"/>
                    <a:pt x="371" y="824"/>
                    <a:pt x="378" y="824"/>
                  </a:cubicBezTo>
                  <a:cubicBezTo>
                    <a:pt x="379" y="824"/>
                    <a:pt x="379" y="824"/>
                    <a:pt x="380" y="824"/>
                  </a:cubicBezTo>
                  <a:cubicBezTo>
                    <a:pt x="381" y="824"/>
                    <a:pt x="382" y="824"/>
                    <a:pt x="384" y="824"/>
                  </a:cubicBezTo>
                  <a:cubicBezTo>
                    <a:pt x="385" y="824"/>
                    <a:pt x="386" y="824"/>
                    <a:pt x="387" y="824"/>
                  </a:cubicBezTo>
                  <a:cubicBezTo>
                    <a:pt x="391" y="824"/>
                    <a:pt x="396" y="824"/>
                    <a:pt x="400" y="824"/>
                  </a:cubicBezTo>
                  <a:cubicBezTo>
                    <a:pt x="401" y="824"/>
                    <a:pt x="401" y="824"/>
                    <a:pt x="402" y="824"/>
                  </a:cubicBezTo>
                  <a:cubicBezTo>
                    <a:pt x="404" y="824"/>
                    <a:pt x="406" y="824"/>
                    <a:pt x="408" y="824"/>
                  </a:cubicBezTo>
                  <a:cubicBezTo>
                    <a:pt x="410" y="824"/>
                    <a:pt x="410" y="824"/>
                    <a:pt x="410" y="824"/>
                  </a:cubicBezTo>
                  <a:cubicBezTo>
                    <a:pt x="410" y="824"/>
                    <a:pt x="410" y="824"/>
                    <a:pt x="410" y="824"/>
                  </a:cubicBezTo>
                  <a:cubicBezTo>
                    <a:pt x="413" y="824"/>
                    <a:pt x="417" y="824"/>
                    <a:pt x="420" y="824"/>
                  </a:cubicBezTo>
                  <a:cubicBezTo>
                    <a:pt x="421" y="824"/>
                    <a:pt x="421" y="824"/>
                    <a:pt x="421" y="824"/>
                  </a:cubicBezTo>
                  <a:cubicBezTo>
                    <a:pt x="422" y="824"/>
                    <a:pt x="422" y="824"/>
                    <a:pt x="422" y="824"/>
                  </a:cubicBezTo>
                  <a:cubicBezTo>
                    <a:pt x="423" y="824"/>
                    <a:pt x="424" y="824"/>
                    <a:pt x="425" y="824"/>
                  </a:cubicBezTo>
                  <a:cubicBezTo>
                    <a:pt x="429" y="824"/>
                    <a:pt x="433" y="824"/>
                    <a:pt x="436" y="824"/>
                  </a:cubicBezTo>
                  <a:cubicBezTo>
                    <a:pt x="437" y="824"/>
                    <a:pt x="437" y="824"/>
                    <a:pt x="437" y="824"/>
                  </a:cubicBezTo>
                  <a:cubicBezTo>
                    <a:pt x="443" y="824"/>
                    <a:pt x="448" y="824"/>
                    <a:pt x="453" y="824"/>
                  </a:cubicBezTo>
                  <a:cubicBezTo>
                    <a:pt x="453" y="824"/>
                    <a:pt x="453" y="824"/>
                    <a:pt x="454" y="824"/>
                  </a:cubicBezTo>
                  <a:cubicBezTo>
                    <a:pt x="454" y="824"/>
                    <a:pt x="455" y="824"/>
                    <a:pt x="456" y="824"/>
                  </a:cubicBezTo>
                  <a:cubicBezTo>
                    <a:pt x="457" y="824"/>
                    <a:pt x="458" y="824"/>
                    <a:pt x="459" y="824"/>
                  </a:cubicBezTo>
                  <a:cubicBezTo>
                    <a:pt x="463" y="824"/>
                    <a:pt x="467" y="824"/>
                    <a:pt x="470" y="824"/>
                  </a:cubicBezTo>
                  <a:cubicBezTo>
                    <a:pt x="471" y="824"/>
                    <a:pt x="471" y="824"/>
                    <a:pt x="471" y="824"/>
                  </a:cubicBezTo>
                  <a:cubicBezTo>
                    <a:pt x="473" y="824"/>
                    <a:pt x="474" y="824"/>
                    <a:pt x="475" y="824"/>
                  </a:cubicBezTo>
                  <a:cubicBezTo>
                    <a:pt x="477" y="824"/>
                    <a:pt x="479" y="824"/>
                    <a:pt x="481" y="824"/>
                  </a:cubicBezTo>
                  <a:cubicBezTo>
                    <a:pt x="481" y="824"/>
                    <a:pt x="480" y="823"/>
                    <a:pt x="480" y="823"/>
                  </a:cubicBezTo>
                  <a:cubicBezTo>
                    <a:pt x="479" y="823"/>
                    <a:pt x="477" y="823"/>
                    <a:pt x="475" y="823"/>
                  </a:cubicBezTo>
                  <a:cubicBezTo>
                    <a:pt x="474" y="823"/>
                    <a:pt x="473" y="823"/>
                    <a:pt x="471" y="823"/>
                  </a:cubicBezTo>
                  <a:cubicBezTo>
                    <a:pt x="470" y="823"/>
                    <a:pt x="470" y="823"/>
                    <a:pt x="470" y="823"/>
                  </a:cubicBezTo>
                  <a:cubicBezTo>
                    <a:pt x="468" y="823"/>
                    <a:pt x="465" y="823"/>
                    <a:pt x="462" y="823"/>
                  </a:cubicBezTo>
                  <a:cubicBezTo>
                    <a:pt x="461" y="823"/>
                    <a:pt x="460" y="823"/>
                    <a:pt x="459" y="823"/>
                  </a:cubicBezTo>
                  <a:cubicBezTo>
                    <a:pt x="458" y="823"/>
                    <a:pt x="458" y="823"/>
                    <a:pt x="458" y="823"/>
                  </a:cubicBezTo>
                  <a:cubicBezTo>
                    <a:pt x="456" y="823"/>
                    <a:pt x="455" y="823"/>
                    <a:pt x="454" y="823"/>
                  </a:cubicBezTo>
                  <a:cubicBezTo>
                    <a:pt x="453" y="823"/>
                    <a:pt x="453" y="823"/>
                    <a:pt x="453" y="823"/>
                  </a:cubicBezTo>
                  <a:cubicBezTo>
                    <a:pt x="448" y="823"/>
                    <a:pt x="443" y="823"/>
                    <a:pt x="437" y="823"/>
                  </a:cubicBezTo>
                  <a:cubicBezTo>
                    <a:pt x="437" y="823"/>
                    <a:pt x="437" y="823"/>
                    <a:pt x="436" y="823"/>
                  </a:cubicBezTo>
                  <a:cubicBezTo>
                    <a:pt x="433" y="823"/>
                    <a:pt x="431" y="823"/>
                    <a:pt x="428" y="823"/>
                  </a:cubicBezTo>
                  <a:cubicBezTo>
                    <a:pt x="427" y="823"/>
                    <a:pt x="426" y="823"/>
                    <a:pt x="425" y="823"/>
                  </a:cubicBezTo>
                  <a:cubicBezTo>
                    <a:pt x="424" y="823"/>
                    <a:pt x="422" y="823"/>
                    <a:pt x="421" y="823"/>
                  </a:cubicBezTo>
                  <a:cubicBezTo>
                    <a:pt x="421" y="823"/>
                    <a:pt x="420" y="823"/>
                    <a:pt x="420" y="823"/>
                  </a:cubicBezTo>
                  <a:cubicBezTo>
                    <a:pt x="417" y="823"/>
                    <a:pt x="414" y="823"/>
                    <a:pt x="411" y="823"/>
                  </a:cubicBezTo>
                  <a:cubicBezTo>
                    <a:pt x="411" y="823"/>
                    <a:pt x="410" y="823"/>
                    <a:pt x="410" y="823"/>
                  </a:cubicBezTo>
                  <a:moveTo>
                    <a:pt x="1036" y="847"/>
                  </a:moveTo>
                  <a:cubicBezTo>
                    <a:pt x="989" y="868"/>
                    <a:pt x="941" y="892"/>
                    <a:pt x="901" y="916"/>
                  </a:cubicBezTo>
                  <a:cubicBezTo>
                    <a:pt x="900" y="916"/>
                    <a:pt x="899" y="917"/>
                    <a:pt x="898" y="918"/>
                  </a:cubicBezTo>
                  <a:cubicBezTo>
                    <a:pt x="873" y="933"/>
                    <a:pt x="851" y="948"/>
                    <a:pt x="834" y="962"/>
                  </a:cubicBezTo>
                  <a:cubicBezTo>
                    <a:pt x="833" y="962"/>
                    <a:pt x="832" y="963"/>
                    <a:pt x="831" y="964"/>
                  </a:cubicBezTo>
                  <a:cubicBezTo>
                    <a:pt x="830" y="965"/>
                    <a:pt x="830" y="965"/>
                    <a:pt x="830" y="965"/>
                  </a:cubicBezTo>
                  <a:cubicBezTo>
                    <a:pt x="829" y="966"/>
                    <a:pt x="828" y="966"/>
                    <a:pt x="828" y="967"/>
                  </a:cubicBezTo>
                  <a:cubicBezTo>
                    <a:pt x="808" y="984"/>
                    <a:pt x="797" y="999"/>
                    <a:pt x="797" y="1010"/>
                  </a:cubicBezTo>
                  <a:cubicBezTo>
                    <a:pt x="797" y="1011"/>
                    <a:pt x="797" y="1011"/>
                    <a:pt x="797" y="1011"/>
                  </a:cubicBezTo>
                  <a:cubicBezTo>
                    <a:pt x="797" y="1012"/>
                    <a:pt x="797" y="1012"/>
                    <a:pt x="797" y="1012"/>
                  </a:cubicBezTo>
                  <a:cubicBezTo>
                    <a:pt x="797" y="1014"/>
                    <a:pt x="798" y="1016"/>
                    <a:pt x="799" y="1018"/>
                  </a:cubicBezTo>
                  <a:cubicBezTo>
                    <a:pt x="799" y="1018"/>
                    <a:pt x="799" y="1018"/>
                    <a:pt x="799" y="1018"/>
                  </a:cubicBezTo>
                  <a:cubicBezTo>
                    <a:pt x="799" y="1018"/>
                    <a:pt x="799" y="1018"/>
                    <a:pt x="799" y="1019"/>
                  </a:cubicBezTo>
                  <a:cubicBezTo>
                    <a:pt x="801" y="1023"/>
                    <a:pt x="806" y="1029"/>
                    <a:pt x="812" y="1037"/>
                  </a:cubicBezTo>
                  <a:cubicBezTo>
                    <a:pt x="812" y="1037"/>
                    <a:pt x="812" y="1037"/>
                    <a:pt x="813" y="1038"/>
                  </a:cubicBezTo>
                  <a:cubicBezTo>
                    <a:pt x="839" y="1072"/>
                    <a:pt x="891" y="1136"/>
                    <a:pt x="891" y="1180"/>
                  </a:cubicBezTo>
                  <a:cubicBezTo>
                    <a:pt x="891" y="1188"/>
                    <a:pt x="889" y="1196"/>
                    <a:pt x="885" y="1202"/>
                  </a:cubicBezTo>
                  <a:cubicBezTo>
                    <a:pt x="885" y="1202"/>
                    <a:pt x="885" y="1203"/>
                    <a:pt x="886" y="1203"/>
                  </a:cubicBezTo>
                  <a:cubicBezTo>
                    <a:pt x="890" y="1196"/>
                    <a:pt x="892" y="1188"/>
                    <a:pt x="892" y="1180"/>
                  </a:cubicBezTo>
                  <a:cubicBezTo>
                    <a:pt x="892" y="1136"/>
                    <a:pt x="840" y="1072"/>
                    <a:pt x="814" y="1037"/>
                  </a:cubicBezTo>
                  <a:cubicBezTo>
                    <a:pt x="814" y="1037"/>
                    <a:pt x="813" y="1037"/>
                    <a:pt x="813" y="1036"/>
                  </a:cubicBezTo>
                  <a:cubicBezTo>
                    <a:pt x="807" y="1029"/>
                    <a:pt x="802" y="1022"/>
                    <a:pt x="800" y="1018"/>
                  </a:cubicBezTo>
                  <a:cubicBezTo>
                    <a:pt x="800" y="1018"/>
                    <a:pt x="800" y="1018"/>
                    <a:pt x="800" y="1018"/>
                  </a:cubicBezTo>
                  <a:cubicBezTo>
                    <a:pt x="800" y="1017"/>
                    <a:pt x="800" y="1017"/>
                    <a:pt x="800" y="1017"/>
                  </a:cubicBezTo>
                  <a:cubicBezTo>
                    <a:pt x="799" y="1016"/>
                    <a:pt x="798" y="1014"/>
                    <a:pt x="798" y="1012"/>
                  </a:cubicBezTo>
                  <a:cubicBezTo>
                    <a:pt x="798" y="1012"/>
                    <a:pt x="798" y="1011"/>
                    <a:pt x="798" y="1011"/>
                  </a:cubicBezTo>
                  <a:cubicBezTo>
                    <a:pt x="798" y="1011"/>
                    <a:pt x="798" y="1011"/>
                    <a:pt x="798" y="1010"/>
                  </a:cubicBezTo>
                  <a:cubicBezTo>
                    <a:pt x="798" y="999"/>
                    <a:pt x="810" y="983"/>
                    <a:pt x="830" y="966"/>
                  </a:cubicBezTo>
                  <a:cubicBezTo>
                    <a:pt x="831" y="965"/>
                    <a:pt x="832" y="965"/>
                    <a:pt x="833" y="964"/>
                  </a:cubicBezTo>
                  <a:cubicBezTo>
                    <a:pt x="833" y="963"/>
                    <a:pt x="834" y="963"/>
                    <a:pt x="835" y="962"/>
                  </a:cubicBezTo>
                  <a:cubicBezTo>
                    <a:pt x="836" y="961"/>
                    <a:pt x="837" y="960"/>
                    <a:pt x="838" y="959"/>
                  </a:cubicBezTo>
                  <a:cubicBezTo>
                    <a:pt x="854" y="947"/>
                    <a:pt x="873" y="934"/>
                    <a:pt x="895" y="921"/>
                  </a:cubicBezTo>
                  <a:cubicBezTo>
                    <a:pt x="896" y="920"/>
                    <a:pt x="897" y="919"/>
                    <a:pt x="898" y="919"/>
                  </a:cubicBezTo>
                  <a:cubicBezTo>
                    <a:pt x="939" y="894"/>
                    <a:pt x="987" y="870"/>
                    <a:pt x="1035" y="848"/>
                  </a:cubicBezTo>
                  <a:cubicBezTo>
                    <a:pt x="1035" y="848"/>
                    <a:pt x="1036" y="847"/>
                    <a:pt x="1036" y="847"/>
                  </a:cubicBezTo>
                  <a:moveTo>
                    <a:pt x="9" y="874"/>
                  </a:moveTo>
                  <a:cubicBezTo>
                    <a:pt x="7" y="876"/>
                    <a:pt x="5" y="879"/>
                    <a:pt x="4" y="881"/>
                  </a:cubicBezTo>
                  <a:cubicBezTo>
                    <a:pt x="4" y="882"/>
                    <a:pt x="3" y="882"/>
                    <a:pt x="3" y="882"/>
                  </a:cubicBezTo>
                  <a:cubicBezTo>
                    <a:pt x="3" y="882"/>
                    <a:pt x="3" y="883"/>
                    <a:pt x="3" y="883"/>
                  </a:cubicBezTo>
                  <a:cubicBezTo>
                    <a:pt x="2" y="884"/>
                    <a:pt x="2" y="885"/>
                    <a:pt x="2" y="885"/>
                  </a:cubicBezTo>
                  <a:cubicBezTo>
                    <a:pt x="2" y="886"/>
                    <a:pt x="1" y="887"/>
                    <a:pt x="1" y="888"/>
                  </a:cubicBezTo>
                  <a:cubicBezTo>
                    <a:pt x="1" y="888"/>
                    <a:pt x="1" y="889"/>
                    <a:pt x="1" y="889"/>
                  </a:cubicBezTo>
                  <a:cubicBezTo>
                    <a:pt x="1" y="890"/>
                    <a:pt x="1" y="891"/>
                    <a:pt x="1" y="892"/>
                  </a:cubicBezTo>
                  <a:cubicBezTo>
                    <a:pt x="1" y="892"/>
                    <a:pt x="0" y="893"/>
                    <a:pt x="0" y="893"/>
                  </a:cubicBezTo>
                  <a:cubicBezTo>
                    <a:pt x="0" y="893"/>
                    <a:pt x="0" y="893"/>
                    <a:pt x="0" y="894"/>
                  </a:cubicBezTo>
                  <a:cubicBezTo>
                    <a:pt x="0" y="894"/>
                    <a:pt x="0" y="895"/>
                    <a:pt x="1" y="895"/>
                  </a:cubicBezTo>
                  <a:cubicBezTo>
                    <a:pt x="1" y="896"/>
                    <a:pt x="1" y="896"/>
                    <a:pt x="1" y="896"/>
                  </a:cubicBezTo>
                  <a:cubicBezTo>
                    <a:pt x="1" y="897"/>
                    <a:pt x="1" y="897"/>
                    <a:pt x="1" y="897"/>
                  </a:cubicBezTo>
                  <a:cubicBezTo>
                    <a:pt x="1" y="898"/>
                    <a:pt x="1" y="898"/>
                    <a:pt x="1" y="898"/>
                  </a:cubicBezTo>
                  <a:cubicBezTo>
                    <a:pt x="1" y="898"/>
                    <a:pt x="1" y="898"/>
                    <a:pt x="1" y="899"/>
                  </a:cubicBezTo>
                  <a:cubicBezTo>
                    <a:pt x="1" y="899"/>
                    <a:pt x="1" y="899"/>
                    <a:pt x="1" y="900"/>
                  </a:cubicBezTo>
                  <a:cubicBezTo>
                    <a:pt x="1" y="901"/>
                    <a:pt x="2" y="902"/>
                    <a:pt x="2" y="904"/>
                  </a:cubicBezTo>
                  <a:cubicBezTo>
                    <a:pt x="2" y="904"/>
                    <a:pt x="3" y="905"/>
                    <a:pt x="3" y="905"/>
                  </a:cubicBezTo>
                  <a:cubicBezTo>
                    <a:pt x="4" y="909"/>
                    <a:pt x="7" y="914"/>
                    <a:pt x="11" y="919"/>
                  </a:cubicBezTo>
                  <a:cubicBezTo>
                    <a:pt x="11" y="919"/>
                    <a:pt x="11" y="920"/>
                    <a:pt x="12" y="921"/>
                  </a:cubicBezTo>
                  <a:cubicBezTo>
                    <a:pt x="13" y="921"/>
                    <a:pt x="13" y="922"/>
                    <a:pt x="14" y="923"/>
                  </a:cubicBezTo>
                  <a:cubicBezTo>
                    <a:pt x="14" y="923"/>
                    <a:pt x="14" y="924"/>
                    <a:pt x="15" y="924"/>
                  </a:cubicBezTo>
                  <a:cubicBezTo>
                    <a:pt x="15" y="925"/>
                    <a:pt x="16" y="925"/>
                    <a:pt x="16" y="925"/>
                  </a:cubicBezTo>
                  <a:cubicBezTo>
                    <a:pt x="16" y="925"/>
                    <a:pt x="16" y="924"/>
                    <a:pt x="16" y="924"/>
                  </a:cubicBezTo>
                  <a:cubicBezTo>
                    <a:pt x="15" y="923"/>
                    <a:pt x="15" y="923"/>
                    <a:pt x="15" y="923"/>
                  </a:cubicBezTo>
                  <a:cubicBezTo>
                    <a:pt x="15" y="922"/>
                    <a:pt x="14" y="922"/>
                    <a:pt x="14" y="922"/>
                  </a:cubicBezTo>
                  <a:cubicBezTo>
                    <a:pt x="13" y="921"/>
                    <a:pt x="13" y="920"/>
                    <a:pt x="12" y="920"/>
                  </a:cubicBezTo>
                  <a:cubicBezTo>
                    <a:pt x="8" y="915"/>
                    <a:pt x="6" y="910"/>
                    <a:pt x="4" y="906"/>
                  </a:cubicBezTo>
                  <a:cubicBezTo>
                    <a:pt x="4" y="905"/>
                    <a:pt x="4" y="905"/>
                    <a:pt x="3" y="904"/>
                  </a:cubicBezTo>
                  <a:cubicBezTo>
                    <a:pt x="3" y="903"/>
                    <a:pt x="2" y="901"/>
                    <a:pt x="2" y="899"/>
                  </a:cubicBezTo>
                  <a:cubicBezTo>
                    <a:pt x="2" y="899"/>
                    <a:pt x="2" y="899"/>
                    <a:pt x="2" y="899"/>
                  </a:cubicBezTo>
                  <a:cubicBezTo>
                    <a:pt x="2" y="899"/>
                    <a:pt x="2" y="899"/>
                    <a:pt x="2" y="898"/>
                  </a:cubicBezTo>
                  <a:cubicBezTo>
                    <a:pt x="2" y="898"/>
                    <a:pt x="2" y="898"/>
                    <a:pt x="2" y="898"/>
                  </a:cubicBezTo>
                  <a:cubicBezTo>
                    <a:pt x="2" y="898"/>
                    <a:pt x="2" y="898"/>
                    <a:pt x="2" y="898"/>
                  </a:cubicBezTo>
                  <a:cubicBezTo>
                    <a:pt x="2" y="898"/>
                    <a:pt x="2" y="897"/>
                    <a:pt x="2" y="897"/>
                  </a:cubicBezTo>
                  <a:cubicBezTo>
                    <a:pt x="2" y="896"/>
                    <a:pt x="2" y="896"/>
                    <a:pt x="2" y="896"/>
                  </a:cubicBezTo>
                  <a:cubicBezTo>
                    <a:pt x="1" y="895"/>
                    <a:pt x="1" y="895"/>
                    <a:pt x="1" y="895"/>
                  </a:cubicBezTo>
                  <a:cubicBezTo>
                    <a:pt x="1" y="894"/>
                    <a:pt x="1" y="894"/>
                    <a:pt x="1" y="894"/>
                  </a:cubicBezTo>
                  <a:cubicBezTo>
                    <a:pt x="1" y="893"/>
                    <a:pt x="1" y="893"/>
                    <a:pt x="1" y="892"/>
                  </a:cubicBezTo>
                  <a:cubicBezTo>
                    <a:pt x="1" y="892"/>
                    <a:pt x="2" y="892"/>
                    <a:pt x="2" y="891"/>
                  </a:cubicBezTo>
                  <a:cubicBezTo>
                    <a:pt x="2" y="890"/>
                    <a:pt x="2" y="889"/>
                    <a:pt x="2" y="888"/>
                  </a:cubicBezTo>
                  <a:cubicBezTo>
                    <a:pt x="2" y="888"/>
                    <a:pt x="2" y="887"/>
                    <a:pt x="2" y="887"/>
                  </a:cubicBezTo>
                  <a:cubicBezTo>
                    <a:pt x="3" y="886"/>
                    <a:pt x="3" y="885"/>
                    <a:pt x="3" y="884"/>
                  </a:cubicBezTo>
                  <a:cubicBezTo>
                    <a:pt x="4" y="883"/>
                    <a:pt x="4" y="882"/>
                    <a:pt x="5" y="881"/>
                  </a:cubicBezTo>
                  <a:cubicBezTo>
                    <a:pt x="6" y="880"/>
                    <a:pt x="7" y="878"/>
                    <a:pt x="8" y="876"/>
                  </a:cubicBezTo>
                  <a:cubicBezTo>
                    <a:pt x="8" y="876"/>
                    <a:pt x="9" y="875"/>
                    <a:pt x="9" y="874"/>
                  </a:cubicBezTo>
                  <a:moveTo>
                    <a:pt x="17" y="925"/>
                  </a:moveTo>
                  <a:cubicBezTo>
                    <a:pt x="17" y="926"/>
                    <a:pt x="17" y="926"/>
                    <a:pt x="17" y="927"/>
                  </a:cubicBezTo>
                  <a:cubicBezTo>
                    <a:pt x="18" y="927"/>
                    <a:pt x="18" y="928"/>
                    <a:pt x="18" y="928"/>
                  </a:cubicBezTo>
                  <a:cubicBezTo>
                    <a:pt x="19" y="928"/>
                    <a:pt x="19" y="929"/>
                    <a:pt x="20" y="930"/>
                  </a:cubicBezTo>
                  <a:cubicBezTo>
                    <a:pt x="21" y="931"/>
                    <a:pt x="22" y="932"/>
                    <a:pt x="24" y="933"/>
                  </a:cubicBezTo>
                  <a:cubicBezTo>
                    <a:pt x="24" y="934"/>
                    <a:pt x="25" y="935"/>
                    <a:pt x="26" y="935"/>
                  </a:cubicBezTo>
                  <a:cubicBezTo>
                    <a:pt x="26" y="936"/>
                    <a:pt x="26" y="936"/>
                    <a:pt x="26" y="936"/>
                  </a:cubicBezTo>
                  <a:cubicBezTo>
                    <a:pt x="27" y="936"/>
                    <a:pt x="27" y="935"/>
                    <a:pt x="27" y="935"/>
                  </a:cubicBezTo>
                  <a:cubicBezTo>
                    <a:pt x="27" y="935"/>
                    <a:pt x="27" y="935"/>
                    <a:pt x="26" y="935"/>
                  </a:cubicBezTo>
                  <a:cubicBezTo>
                    <a:pt x="25" y="933"/>
                    <a:pt x="24" y="932"/>
                    <a:pt x="22" y="931"/>
                  </a:cubicBezTo>
                  <a:cubicBezTo>
                    <a:pt x="22" y="930"/>
                    <a:pt x="21" y="929"/>
                    <a:pt x="20" y="929"/>
                  </a:cubicBezTo>
                  <a:cubicBezTo>
                    <a:pt x="19" y="927"/>
                    <a:pt x="18" y="926"/>
                    <a:pt x="17" y="925"/>
                  </a:cubicBezTo>
                  <a:moveTo>
                    <a:pt x="28" y="936"/>
                  </a:moveTo>
                  <a:cubicBezTo>
                    <a:pt x="27" y="936"/>
                    <a:pt x="27" y="936"/>
                    <a:pt x="27" y="937"/>
                  </a:cubicBezTo>
                  <a:cubicBezTo>
                    <a:pt x="35" y="943"/>
                    <a:pt x="44" y="950"/>
                    <a:pt x="55" y="958"/>
                  </a:cubicBezTo>
                  <a:cubicBezTo>
                    <a:pt x="55" y="958"/>
                    <a:pt x="55" y="958"/>
                    <a:pt x="56" y="958"/>
                  </a:cubicBezTo>
                  <a:cubicBezTo>
                    <a:pt x="56" y="959"/>
                    <a:pt x="57" y="959"/>
                    <a:pt x="57" y="960"/>
                  </a:cubicBezTo>
                  <a:cubicBezTo>
                    <a:pt x="58" y="959"/>
                    <a:pt x="58" y="959"/>
                    <a:pt x="58" y="959"/>
                  </a:cubicBezTo>
                  <a:cubicBezTo>
                    <a:pt x="58" y="959"/>
                    <a:pt x="57" y="958"/>
                    <a:pt x="57" y="958"/>
                  </a:cubicBezTo>
                  <a:cubicBezTo>
                    <a:pt x="56" y="958"/>
                    <a:pt x="56" y="958"/>
                    <a:pt x="56" y="957"/>
                  </a:cubicBezTo>
                  <a:cubicBezTo>
                    <a:pt x="45" y="950"/>
                    <a:pt x="36" y="943"/>
                    <a:pt x="29" y="937"/>
                  </a:cubicBezTo>
                  <a:cubicBezTo>
                    <a:pt x="28" y="936"/>
                    <a:pt x="28" y="936"/>
                    <a:pt x="28" y="936"/>
                  </a:cubicBezTo>
                  <a:moveTo>
                    <a:pt x="59" y="960"/>
                  </a:moveTo>
                  <a:cubicBezTo>
                    <a:pt x="59" y="960"/>
                    <a:pt x="58" y="960"/>
                    <a:pt x="58" y="960"/>
                  </a:cubicBezTo>
                  <a:cubicBezTo>
                    <a:pt x="62" y="963"/>
                    <a:pt x="66" y="966"/>
                    <a:pt x="71" y="968"/>
                  </a:cubicBezTo>
                  <a:cubicBezTo>
                    <a:pt x="75" y="971"/>
                    <a:pt x="79" y="974"/>
                    <a:pt x="84" y="977"/>
                  </a:cubicBezTo>
                  <a:cubicBezTo>
                    <a:pt x="85" y="976"/>
                    <a:pt x="85" y="976"/>
                    <a:pt x="85" y="976"/>
                  </a:cubicBezTo>
                  <a:cubicBezTo>
                    <a:pt x="76" y="970"/>
                    <a:pt x="67" y="965"/>
                    <a:pt x="59" y="960"/>
                  </a:cubicBezTo>
                  <a:moveTo>
                    <a:pt x="86" y="977"/>
                  </a:moveTo>
                  <a:cubicBezTo>
                    <a:pt x="86" y="977"/>
                    <a:pt x="86" y="977"/>
                    <a:pt x="85" y="977"/>
                  </a:cubicBezTo>
                  <a:cubicBezTo>
                    <a:pt x="91" y="981"/>
                    <a:pt x="97" y="984"/>
                    <a:pt x="104" y="988"/>
                  </a:cubicBezTo>
                  <a:cubicBezTo>
                    <a:pt x="106" y="989"/>
                    <a:pt x="108" y="990"/>
                    <a:pt x="110" y="991"/>
                  </a:cubicBezTo>
                  <a:cubicBezTo>
                    <a:pt x="110" y="991"/>
                    <a:pt x="111" y="991"/>
                    <a:pt x="111" y="991"/>
                  </a:cubicBezTo>
                  <a:cubicBezTo>
                    <a:pt x="111" y="991"/>
                    <a:pt x="111" y="991"/>
                    <a:pt x="112" y="991"/>
                  </a:cubicBezTo>
                  <a:cubicBezTo>
                    <a:pt x="109" y="989"/>
                    <a:pt x="106" y="988"/>
                    <a:pt x="103" y="986"/>
                  </a:cubicBezTo>
                  <a:cubicBezTo>
                    <a:pt x="97" y="983"/>
                    <a:pt x="92" y="980"/>
                    <a:pt x="86" y="977"/>
                  </a:cubicBezTo>
                  <a:moveTo>
                    <a:pt x="113" y="991"/>
                  </a:moveTo>
                  <a:cubicBezTo>
                    <a:pt x="113" y="992"/>
                    <a:pt x="112" y="992"/>
                    <a:pt x="112" y="992"/>
                  </a:cubicBezTo>
                  <a:cubicBezTo>
                    <a:pt x="114" y="993"/>
                    <a:pt x="117" y="995"/>
                    <a:pt x="119" y="996"/>
                  </a:cubicBezTo>
                  <a:cubicBezTo>
                    <a:pt x="121" y="997"/>
                    <a:pt x="122" y="997"/>
                    <a:pt x="123" y="998"/>
                  </a:cubicBezTo>
                  <a:cubicBezTo>
                    <a:pt x="127" y="1000"/>
                    <a:pt x="131" y="1002"/>
                    <a:pt x="135" y="1004"/>
                  </a:cubicBezTo>
                  <a:cubicBezTo>
                    <a:pt x="136" y="1004"/>
                    <a:pt x="136" y="1004"/>
                    <a:pt x="137" y="1004"/>
                  </a:cubicBezTo>
                  <a:cubicBezTo>
                    <a:pt x="133" y="1002"/>
                    <a:pt x="130" y="1000"/>
                    <a:pt x="127" y="999"/>
                  </a:cubicBezTo>
                  <a:cubicBezTo>
                    <a:pt x="126" y="998"/>
                    <a:pt x="125" y="998"/>
                    <a:pt x="123" y="997"/>
                  </a:cubicBezTo>
                  <a:cubicBezTo>
                    <a:pt x="123" y="997"/>
                    <a:pt x="123" y="997"/>
                    <a:pt x="123" y="997"/>
                  </a:cubicBezTo>
                  <a:cubicBezTo>
                    <a:pt x="120" y="995"/>
                    <a:pt x="116" y="993"/>
                    <a:pt x="113" y="991"/>
                  </a:cubicBezTo>
                  <a:moveTo>
                    <a:pt x="138" y="1004"/>
                  </a:moveTo>
                  <a:cubicBezTo>
                    <a:pt x="138" y="1005"/>
                    <a:pt x="137" y="1005"/>
                    <a:pt x="137" y="1005"/>
                  </a:cubicBezTo>
                  <a:cubicBezTo>
                    <a:pt x="138" y="1005"/>
                    <a:pt x="139" y="1006"/>
                    <a:pt x="140" y="1006"/>
                  </a:cubicBezTo>
                  <a:cubicBezTo>
                    <a:pt x="140" y="1006"/>
                    <a:pt x="140" y="1006"/>
                    <a:pt x="140" y="1007"/>
                  </a:cubicBezTo>
                  <a:cubicBezTo>
                    <a:pt x="141" y="1007"/>
                    <a:pt x="141" y="1007"/>
                    <a:pt x="141" y="1007"/>
                  </a:cubicBezTo>
                  <a:cubicBezTo>
                    <a:pt x="142" y="1007"/>
                    <a:pt x="143" y="1008"/>
                    <a:pt x="143" y="1008"/>
                  </a:cubicBezTo>
                  <a:cubicBezTo>
                    <a:pt x="143" y="1008"/>
                    <a:pt x="143" y="1008"/>
                    <a:pt x="144" y="1008"/>
                  </a:cubicBezTo>
                  <a:cubicBezTo>
                    <a:pt x="144" y="1008"/>
                    <a:pt x="144" y="1009"/>
                    <a:pt x="145" y="1009"/>
                  </a:cubicBezTo>
                  <a:cubicBezTo>
                    <a:pt x="146" y="1010"/>
                    <a:pt x="148" y="1010"/>
                    <a:pt x="149" y="1011"/>
                  </a:cubicBezTo>
                  <a:cubicBezTo>
                    <a:pt x="150" y="1011"/>
                    <a:pt x="151" y="1012"/>
                    <a:pt x="151" y="1012"/>
                  </a:cubicBezTo>
                  <a:cubicBezTo>
                    <a:pt x="152" y="1012"/>
                    <a:pt x="153" y="1013"/>
                    <a:pt x="153" y="1013"/>
                  </a:cubicBezTo>
                  <a:cubicBezTo>
                    <a:pt x="154" y="1013"/>
                    <a:pt x="154" y="1014"/>
                    <a:pt x="155" y="1014"/>
                  </a:cubicBezTo>
                  <a:cubicBezTo>
                    <a:pt x="156" y="1014"/>
                    <a:pt x="157" y="1015"/>
                    <a:pt x="159" y="1016"/>
                  </a:cubicBezTo>
                  <a:cubicBezTo>
                    <a:pt x="159" y="1015"/>
                    <a:pt x="160" y="1015"/>
                    <a:pt x="160" y="1015"/>
                  </a:cubicBezTo>
                  <a:cubicBezTo>
                    <a:pt x="158" y="1014"/>
                    <a:pt x="156" y="1013"/>
                    <a:pt x="154" y="1012"/>
                  </a:cubicBezTo>
                  <a:cubicBezTo>
                    <a:pt x="153" y="1012"/>
                    <a:pt x="153" y="1012"/>
                    <a:pt x="152" y="1011"/>
                  </a:cubicBezTo>
                  <a:cubicBezTo>
                    <a:pt x="151" y="1011"/>
                    <a:pt x="151" y="1011"/>
                    <a:pt x="150" y="1010"/>
                  </a:cubicBezTo>
                  <a:cubicBezTo>
                    <a:pt x="149" y="1010"/>
                    <a:pt x="149" y="1010"/>
                    <a:pt x="148" y="1009"/>
                  </a:cubicBezTo>
                  <a:cubicBezTo>
                    <a:pt x="148" y="1009"/>
                    <a:pt x="147" y="1009"/>
                    <a:pt x="146" y="1008"/>
                  </a:cubicBezTo>
                  <a:cubicBezTo>
                    <a:pt x="146" y="1008"/>
                    <a:pt x="145" y="1008"/>
                    <a:pt x="145" y="1008"/>
                  </a:cubicBezTo>
                  <a:cubicBezTo>
                    <a:pt x="145" y="1008"/>
                    <a:pt x="144" y="1008"/>
                    <a:pt x="144" y="1007"/>
                  </a:cubicBezTo>
                  <a:cubicBezTo>
                    <a:pt x="144" y="1007"/>
                    <a:pt x="143" y="1007"/>
                    <a:pt x="143" y="1007"/>
                  </a:cubicBezTo>
                  <a:cubicBezTo>
                    <a:pt x="142" y="1006"/>
                    <a:pt x="142" y="1006"/>
                    <a:pt x="141" y="1006"/>
                  </a:cubicBezTo>
                  <a:cubicBezTo>
                    <a:pt x="140" y="1006"/>
                    <a:pt x="140" y="1005"/>
                    <a:pt x="140" y="1005"/>
                  </a:cubicBezTo>
                  <a:cubicBezTo>
                    <a:pt x="139" y="1005"/>
                    <a:pt x="139" y="1005"/>
                    <a:pt x="138" y="1004"/>
                  </a:cubicBezTo>
                  <a:moveTo>
                    <a:pt x="162" y="1016"/>
                  </a:moveTo>
                  <a:cubicBezTo>
                    <a:pt x="161" y="1016"/>
                    <a:pt x="161" y="1016"/>
                    <a:pt x="161" y="1017"/>
                  </a:cubicBezTo>
                  <a:cubicBezTo>
                    <a:pt x="164" y="1018"/>
                    <a:pt x="168" y="1020"/>
                    <a:pt x="172" y="1022"/>
                  </a:cubicBezTo>
                  <a:cubicBezTo>
                    <a:pt x="172" y="1022"/>
                    <a:pt x="173" y="1021"/>
                    <a:pt x="173" y="1021"/>
                  </a:cubicBezTo>
                  <a:cubicBezTo>
                    <a:pt x="172" y="1021"/>
                    <a:pt x="172" y="1021"/>
                    <a:pt x="172" y="1021"/>
                  </a:cubicBezTo>
                  <a:cubicBezTo>
                    <a:pt x="168" y="1019"/>
                    <a:pt x="165" y="1018"/>
                    <a:pt x="162" y="1016"/>
                  </a:cubicBezTo>
                  <a:moveTo>
                    <a:pt x="174" y="1022"/>
                  </a:moveTo>
                  <a:cubicBezTo>
                    <a:pt x="174" y="1022"/>
                    <a:pt x="173" y="1022"/>
                    <a:pt x="173" y="1022"/>
                  </a:cubicBezTo>
                  <a:cubicBezTo>
                    <a:pt x="173" y="1022"/>
                    <a:pt x="173" y="1022"/>
                    <a:pt x="173" y="1022"/>
                  </a:cubicBezTo>
                  <a:cubicBezTo>
                    <a:pt x="174" y="1023"/>
                    <a:pt x="175" y="1023"/>
                    <a:pt x="175" y="1024"/>
                  </a:cubicBezTo>
                  <a:cubicBezTo>
                    <a:pt x="177" y="1024"/>
                    <a:pt x="178" y="1025"/>
                    <a:pt x="179" y="1025"/>
                  </a:cubicBezTo>
                  <a:cubicBezTo>
                    <a:pt x="179" y="1025"/>
                    <a:pt x="180" y="1026"/>
                    <a:pt x="181" y="1026"/>
                  </a:cubicBezTo>
                  <a:cubicBezTo>
                    <a:pt x="181" y="1026"/>
                    <a:pt x="181" y="1026"/>
                    <a:pt x="182" y="1025"/>
                  </a:cubicBezTo>
                  <a:cubicBezTo>
                    <a:pt x="181" y="1025"/>
                    <a:pt x="180" y="1025"/>
                    <a:pt x="179" y="1024"/>
                  </a:cubicBezTo>
                  <a:cubicBezTo>
                    <a:pt x="179" y="1024"/>
                    <a:pt x="178" y="1023"/>
                    <a:pt x="177" y="1023"/>
                  </a:cubicBezTo>
                  <a:cubicBezTo>
                    <a:pt x="176" y="1023"/>
                    <a:pt x="175" y="1022"/>
                    <a:pt x="174" y="1022"/>
                  </a:cubicBezTo>
                  <a:moveTo>
                    <a:pt x="183" y="1026"/>
                  </a:moveTo>
                  <a:cubicBezTo>
                    <a:pt x="183" y="1026"/>
                    <a:pt x="182" y="1026"/>
                    <a:pt x="182" y="1027"/>
                  </a:cubicBezTo>
                  <a:cubicBezTo>
                    <a:pt x="182" y="1027"/>
                    <a:pt x="182" y="1027"/>
                    <a:pt x="182" y="1027"/>
                  </a:cubicBezTo>
                  <a:cubicBezTo>
                    <a:pt x="182" y="1027"/>
                    <a:pt x="183" y="1027"/>
                    <a:pt x="183" y="1027"/>
                  </a:cubicBezTo>
                  <a:cubicBezTo>
                    <a:pt x="184" y="1027"/>
                    <a:pt x="184" y="1027"/>
                    <a:pt x="184" y="1028"/>
                  </a:cubicBezTo>
                  <a:cubicBezTo>
                    <a:pt x="185" y="1027"/>
                    <a:pt x="185" y="1027"/>
                    <a:pt x="186" y="1027"/>
                  </a:cubicBezTo>
                  <a:cubicBezTo>
                    <a:pt x="185" y="1027"/>
                    <a:pt x="185" y="1027"/>
                    <a:pt x="185" y="1027"/>
                  </a:cubicBezTo>
                  <a:cubicBezTo>
                    <a:pt x="185" y="1027"/>
                    <a:pt x="185" y="1027"/>
                    <a:pt x="184" y="1027"/>
                  </a:cubicBezTo>
                  <a:cubicBezTo>
                    <a:pt x="184" y="1026"/>
                    <a:pt x="184" y="1026"/>
                    <a:pt x="183" y="1026"/>
                  </a:cubicBezTo>
                  <a:moveTo>
                    <a:pt x="187" y="1028"/>
                  </a:moveTo>
                  <a:cubicBezTo>
                    <a:pt x="186" y="1028"/>
                    <a:pt x="186" y="1028"/>
                    <a:pt x="186" y="1028"/>
                  </a:cubicBezTo>
                  <a:cubicBezTo>
                    <a:pt x="186" y="1028"/>
                    <a:pt x="187" y="1029"/>
                    <a:pt x="187" y="1029"/>
                  </a:cubicBezTo>
                  <a:cubicBezTo>
                    <a:pt x="188" y="1029"/>
                    <a:pt x="189" y="1030"/>
                    <a:pt x="190" y="1030"/>
                  </a:cubicBezTo>
                  <a:cubicBezTo>
                    <a:pt x="191" y="1031"/>
                    <a:pt x="192" y="1031"/>
                    <a:pt x="193" y="1032"/>
                  </a:cubicBezTo>
                  <a:cubicBezTo>
                    <a:pt x="194" y="1032"/>
                    <a:pt x="195" y="1032"/>
                    <a:pt x="196" y="1033"/>
                  </a:cubicBezTo>
                  <a:cubicBezTo>
                    <a:pt x="196" y="1033"/>
                    <a:pt x="196" y="1033"/>
                    <a:pt x="197" y="1033"/>
                  </a:cubicBezTo>
                  <a:cubicBezTo>
                    <a:pt x="197" y="1033"/>
                    <a:pt x="197" y="1034"/>
                    <a:pt x="198" y="1034"/>
                  </a:cubicBezTo>
                  <a:cubicBezTo>
                    <a:pt x="198" y="1033"/>
                    <a:pt x="198" y="1033"/>
                    <a:pt x="199" y="1033"/>
                  </a:cubicBezTo>
                  <a:cubicBezTo>
                    <a:pt x="198" y="1033"/>
                    <a:pt x="197" y="1032"/>
                    <a:pt x="196" y="1032"/>
                  </a:cubicBezTo>
                  <a:cubicBezTo>
                    <a:pt x="196" y="1032"/>
                    <a:pt x="195" y="1031"/>
                    <a:pt x="194" y="1031"/>
                  </a:cubicBezTo>
                  <a:cubicBezTo>
                    <a:pt x="193" y="1031"/>
                    <a:pt x="192" y="1030"/>
                    <a:pt x="191" y="1030"/>
                  </a:cubicBezTo>
                  <a:cubicBezTo>
                    <a:pt x="190" y="1029"/>
                    <a:pt x="189" y="1029"/>
                    <a:pt x="188" y="1028"/>
                  </a:cubicBezTo>
                  <a:cubicBezTo>
                    <a:pt x="188" y="1028"/>
                    <a:pt x="187" y="1028"/>
                    <a:pt x="187" y="1028"/>
                  </a:cubicBezTo>
                  <a:moveTo>
                    <a:pt x="200" y="1034"/>
                  </a:moveTo>
                  <a:cubicBezTo>
                    <a:pt x="200" y="1034"/>
                    <a:pt x="199" y="1034"/>
                    <a:pt x="199" y="1034"/>
                  </a:cubicBezTo>
                  <a:cubicBezTo>
                    <a:pt x="200" y="1035"/>
                    <a:pt x="200" y="1035"/>
                    <a:pt x="201" y="1035"/>
                  </a:cubicBezTo>
                  <a:cubicBezTo>
                    <a:pt x="202" y="1035"/>
                    <a:pt x="202" y="1035"/>
                    <a:pt x="202" y="1035"/>
                  </a:cubicBezTo>
                  <a:cubicBezTo>
                    <a:pt x="202" y="1034"/>
                    <a:pt x="201" y="1034"/>
                    <a:pt x="200" y="1034"/>
                  </a:cubicBezTo>
                  <a:moveTo>
                    <a:pt x="204" y="1035"/>
                  </a:moveTo>
                  <a:cubicBezTo>
                    <a:pt x="203" y="1035"/>
                    <a:pt x="203" y="1036"/>
                    <a:pt x="202" y="1036"/>
                  </a:cubicBezTo>
                  <a:cubicBezTo>
                    <a:pt x="204" y="1037"/>
                    <a:pt x="206" y="1037"/>
                    <a:pt x="208" y="1038"/>
                  </a:cubicBezTo>
                  <a:cubicBezTo>
                    <a:pt x="208" y="1038"/>
                    <a:pt x="209" y="1038"/>
                    <a:pt x="209" y="1038"/>
                  </a:cubicBezTo>
                  <a:cubicBezTo>
                    <a:pt x="207" y="1037"/>
                    <a:pt x="206" y="1036"/>
                    <a:pt x="204" y="1035"/>
                  </a:cubicBezTo>
                  <a:moveTo>
                    <a:pt x="210" y="1038"/>
                  </a:moveTo>
                  <a:cubicBezTo>
                    <a:pt x="210" y="1038"/>
                    <a:pt x="210" y="1039"/>
                    <a:pt x="209" y="1039"/>
                  </a:cubicBezTo>
                  <a:cubicBezTo>
                    <a:pt x="209" y="1039"/>
                    <a:pt x="210" y="1039"/>
                    <a:pt x="210" y="1039"/>
                  </a:cubicBezTo>
                  <a:cubicBezTo>
                    <a:pt x="210" y="1039"/>
                    <a:pt x="210" y="1039"/>
                    <a:pt x="210" y="1039"/>
                  </a:cubicBezTo>
                  <a:cubicBezTo>
                    <a:pt x="211" y="1039"/>
                    <a:pt x="211" y="1040"/>
                    <a:pt x="212" y="1040"/>
                  </a:cubicBezTo>
                  <a:cubicBezTo>
                    <a:pt x="213" y="1041"/>
                    <a:pt x="215" y="1041"/>
                    <a:pt x="217" y="1042"/>
                  </a:cubicBezTo>
                  <a:cubicBezTo>
                    <a:pt x="217" y="1042"/>
                    <a:pt x="218" y="1042"/>
                    <a:pt x="218" y="1042"/>
                  </a:cubicBezTo>
                  <a:cubicBezTo>
                    <a:pt x="216" y="1041"/>
                    <a:pt x="215" y="1040"/>
                    <a:pt x="213" y="1039"/>
                  </a:cubicBezTo>
                  <a:cubicBezTo>
                    <a:pt x="212" y="1039"/>
                    <a:pt x="212" y="1039"/>
                    <a:pt x="211" y="1039"/>
                  </a:cubicBezTo>
                  <a:cubicBezTo>
                    <a:pt x="211" y="1039"/>
                    <a:pt x="211" y="1039"/>
                    <a:pt x="211" y="1038"/>
                  </a:cubicBezTo>
                  <a:cubicBezTo>
                    <a:pt x="211" y="1038"/>
                    <a:pt x="211" y="1038"/>
                    <a:pt x="210" y="1038"/>
                  </a:cubicBezTo>
                  <a:moveTo>
                    <a:pt x="219" y="1042"/>
                  </a:moveTo>
                  <a:cubicBezTo>
                    <a:pt x="219" y="1042"/>
                    <a:pt x="218" y="1042"/>
                    <a:pt x="218" y="1043"/>
                  </a:cubicBezTo>
                  <a:cubicBezTo>
                    <a:pt x="219" y="1043"/>
                    <a:pt x="220" y="1043"/>
                    <a:pt x="220" y="1044"/>
                  </a:cubicBezTo>
                  <a:cubicBezTo>
                    <a:pt x="221" y="1044"/>
                    <a:pt x="221" y="1043"/>
                    <a:pt x="222" y="1043"/>
                  </a:cubicBezTo>
                  <a:cubicBezTo>
                    <a:pt x="221" y="1043"/>
                    <a:pt x="221" y="1043"/>
                    <a:pt x="221" y="1043"/>
                  </a:cubicBezTo>
                  <a:cubicBezTo>
                    <a:pt x="220" y="1043"/>
                    <a:pt x="220" y="1042"/>
                    <a:pt x="219" y="1042"/>
                  </a:cubicBezTo>
                  <a:moveTo>
                    <a:pt x="223" y="1044"/>
                  </a:moveTo>
                  <a:cubicBezTo>
                    <a:pt x="223" y="1044"/>
                    <a:pt x="222" y="1044"/>
                    <a:pt x="222" y="1044"/>
                  </a:cubicBezTo>
                  <a:cubicBezTo>
                    <a:pt x="222" y="1044"/>
                    <a:pt x="222" y="1045"/>
                    <a:pt x="223" y="1045"/>
                  </a:cubicBezTo>
                  <a:cubicBezTo>
                    <a:pt x="224" y="1045"/>
                    <a:pt x="225" y="1046"/>
                    <a:pt x="226" y="1046"/>
                  </a:cubicBezTo>
                  <a:cubicBezTo>
                    <a:pt x="226" y="1046"/>
                    <a:pt x="227" y="1046"/>
                    <a:pt x="227" y="1046"/>
                  </a:cubicBezTo>
                  <a:cubicBezTo>
                    <a:pt x="226" y="1045"/>
                    <a:pt x="225" y="1045"/>
                    <a:pt x="224" y="1044"/>
                  </a:cubicBezTo>
                  <a:cubicBezTo>
                    <a:pt x="224" y="1044"/>
                    <a:pt x="223" y="1044"/>
                    <a:pt x="223" y="1044"/>
                  </a:cubicBezTo>
                  <a:moveTo>
                    <a:pt x="229" y="1046"/>
                  </a:moveTo>
                  <a:cubicBezTo>
                    <a:pt x="228" y="1046"/>
                    <a:pt x="228" y="1047"/>
                    <a:pt x="227" y="1047"/>
                  </a:cubicBezTo>
                  <a:cubicBezTo>
                    <a:pt x="228" y="1047"/>
                    <a:pt x="229" y="1048"/>
                    <a:pt x="231" y="1048"/>
                  </a:cubicBezTo>
                  <a:cubicBezTo>
                    <a:pt x="231" y="1048"/>
                    <a:pt x="232" y="1049"/>
                    <a:pt x="233" y="1049"/>
                  </a:cubicBezTo>
                  <a:cubicBezTo>
                    <a:pt x="234" y="1049"/>
                    <a:pt x="234" y="1049"/>
                    <a:pt x="234" y="1049"/>
                  </a:cubicBezTo>
                  <a:cubicBezTo>
                    <a:pt x="234" y="1049"/>
                    <a:pt x="234" y="1049"/>
                    <a:pt x="234" y="1049"/>
                  </a:cubicBezTo>
                  <a:cubicBezTo>
                    <a:pt x="234" y="1049"/>
                    <a:pt x="234" y="1048"/>
                    <a:pt x="234" y="1048"/>
                  </a:cubicBezTo>
                  <a:cubicBezTo>
                    <a:pt x="233" y="1048"/>
                    <a:pt x="232" y="1048"/>
                    <a:pt x="231" y="1047"/>
                  </a:cubicBezTo>
                  <a:cubicBezTo>
                    <a:pt x="230" y="1047"/>
                    <a:pt x="230" y="1047"/>
                    <a:pt x="229" y="1047"/>
                  </a:cubicBezTo>
                  <a:cubicBezTo>
                    <a:pt x="229" y="1046"/>
                    <a:pt x="229" y="1046"/>
                    <a:pt x="229" y="1046"/>
                  </a:cubicBezTo>
                  <a:moveTo>
                    <a:pt x="236" y="1049"/>
                  </a:moveTo>
                  <a:cubicBezTo>
                    <a:pt x="235" y="1049"/>
                    <a:pt x="235" y="1050"/>
                    <a:pt x="234" y="1050"/>
                  </a:cubicBezTo>
                  <a:cubicBezTo>
                    <a:pt x="236" y="1050"/>
                    <a:pt x="237" y="1051"/>
                    <a:pt x="239" y="1052"/>
                  </a:cubicBezTo>
                  <a:cubicBezTo>
                    <a:pt x="239" y="1051"/>
                    <a:pt x="240" y="1051"/>
                    <a:pt x="240" y="1051"/>
                  </a:cubicBezTo>
                  <a:cubicBezTo>
                    <a:pt x="239" y="1050"/>
                    <a:pt x="237" y="1050"/>
                    <a:pt x="236" y="1049"/>
                  </a:cubicBezTo>
                  <a:moveTo>
                    <a:pt x="241" y="1052"/>
                  </a:moveTo>
                  <a:cubicBezTo>
                    <a:pt x="241" y="1052"/>
                    <a:pt x="241" y="1052"/>
                    <a:pt x="240" y="1052"/>
                  </a:cubicBezTo>
                  <a:cubicBezTo>
                    <a:pt x="240" y="1052"/>
                    <a:pt x="240" y="1052"/>
                    <a:pt x="240" y="1052"/>
                  </a:cubicBezTo>
                  <a:cubicBezTo>
                    <a:pt x="240" y="1052"/>
                    <a:pt x="241" y="1052"/>
                    <a:pt x="241" y="1053"/>
                  </a:cubicBezTo>
                  <a:cubicBezTo>
                    <a:pt x="242" y="1053"/>
                    <a:pt x="242" y="1053"/>
                    <a:pt x="243" y="1053"/>
                  </a:cubicBezTo>
                  <a:cubicBezTo>
                    <a:pt x="243" y="1053"/>
                    <a:pt x="244" y="1053"/>
                    <a:pt x="244" y="1053"/>
                  </a:cubicBezTo>
                  <a:cubicBezTo>
                    <a:pt x="243" y="1052"/>
                    <a:pt x="243" y="1052"/>
                    <a:pt x="242" y="1052"/>
                  </a:cubicBezTo>
                  <a:cubicBezTo>
                    <a:pt x="242" y="1052"/>
                    <a:pt x="242" y="1052"/>
                    <a:pt x="241" y="1052"/>
                  </a:cubicBezTo>
                  <a:moveTo>
                    <a:pt x="245" y="1053"/>
                  </a:moveTo>
                  <a:cubicBezTo>
                    <a:pt x="245" y="1054"/>
                    <a:pt x="245" y="1054"/>
                    <a:pt x="244" y="1054"/>
                  </a:cubicBezTo>
                  <a:cubicBezTo>
                    <a:pt x="247" y="1055"/>
                    <a:pt x="250" y="1056"/>
                    <a:pt x="252" y="1057"/>
                  </a:cubicBezTo>
                  <a:cubicBezTo>
                    <a:pt x="253" y="1058"/>
                    <a:pt x="253" y="1058"/>
                    <a:pt x="253" y="1058"/>
                  </a:cubicBezTo>
                  <a:cubicBezTo>
                    <a:pt x="254" y="1058"/>
                    <a:pt x="254" y="1058"/>
                    <a:pt x="255" y="1058"/>
                  </a:cubicBezTo>
                  <a:cubicBezTo>
                    <a:pt x="257" y="1059"/>
                    <a:pt x="258" y="1060"/>
                    <a:pt x="260" y="1061"/>
                  </a:cubicBezTo>
                  <a:cubicBezTo>
                    <a:pt x="264" y="1062"/>
                    <a:pt x="268" y="1064"/>
                    <a:pt x="272" y="1066"/>
                  </a:cubicBezTo>
                  <a:cubicBezTo>
                    <a:pt x="272" y="1066"/>
                    <a:pt x="273" y="1066"/>
                    <a:pt x="273" y="1066"/>
                  </a:cubicBezTo>
                  <a:cubicBezTo>
                    <a:pt x="278" y="1068"/>
                    <a:pt x="283" y="1070"/>
                    <a:pt x="288" y="1072"/>
                  </a:cubicBezTo>
                  <a:cubicBezTo>
                    <a:pt x="289" y="1072"/>
                    <a:pt x="289" y="1072"/>
                    <a:pt x="289" y="1072"/>
                  </a:cubicBezTo>
                  <a:cubicBezTo>
                    <a:pt x="290" y="1073"/>
                    <a:pt x="292" y="1073"/>
                    <a:pt x="293" y="1074"/>
                  </a:cubicBezTo>
                  <a:cubicBezTo>
                    <a:pt x="295" y="1075"/>
                    <a:pt x="298" y="1076"/>
                    <a:pt x="301" y="1077"/>
                  </a:cubicBezTo>
                  <a:cubicBezTo>
                    <a:pt x="301" y="1077"/>
                    <a:pt x="301" y="1077"/>
                    <a:pt x="302" y="1078"/>
                  </a:cubicBezTo>
                  <a:cubicBezTo>
                    <a:pt x="311" y="1081"/>
                    <a:pt x="320" y="1085"/>
                    <a:pt x="330" y="1089"/>
                  </a:cubicBezTo>
                  <a:cubicBezTo>
                    <a:pt x="334" y="1090"/>
                    <a:pt x="338" y="1092"/>
                    <a:pt x="341" y="1093"/>
                  </a:cubicBezTo>
                  <a:cubicBezTo>
                    <a:pt x="347" y="1095"/>
                    <a:pt x="353" y="1097"/>
                    <a:pt x="358" y="1100"/>
                  </a:cubicBezTo>
                  <a:cubicBezTo>
                    <a:pt x="359" y="1100"/>
                    <a:pt x="359" y="1100"/>
                    <a:pt x="359" y="1100"/>
                  </a:cubicBezTo>
                  <a:cubicBezTo>
                    <a:pt x="360" y="1100"/>
                    <a:pt x="361" y="1101"/>
                    <a:pt x="362" y="1101"/>
                  </a:cubicBezTo>
                  <a:cubicBezTo>
                    <a:pt x="362" y="1101"/>
                    <a:pt x="363" y="1101"/>
                    <a:pt x="363" y="1101"/>
                  </a:cubicBezTo>
                  <a:cubicBezTo>
                    <a:pt x="370" y="1104"/>
                    <a:pt x="376" y="1106"/>
                    <a:pt x="382" y="1108"/>
                  </a:cubicBezTo>
                  <a:cubicBezTo>
                    <a:pt x="396" y="1114"/>
                    <a:pt x="410" y="1119"/>
                    <a:pt x="423" y="1124"/>
                  </a:cubicBezTo>
                  <a:cubicBezTo>
                    <a:pt x="428" y="1126"/>
                    <a:pt x="433" y="1127"/>
                    <a:pt x="438" y="1129"/>
                  </a:cubicBezTo>
                  <a:cubicBezTo>
                    <a:pt x="438" y="1129"/>
                    <a:pt x="438" y="1129"/>
                    <a:pt x="439" y="1129"/>
                  </a:cubicBezTo>
                  <a:cubicBezTo>
                    <a:pt x="452" y="1134"/>
                    <a:pt x="466" y="1139"/>
                    <a:pt x="478" y="1144"/>
                  </a:cubicBezTo>
                  <a:cubicBezTo>
                    <a:pt x="479" y="1144"/>
                    <a:pt x="479" y="1144"/>
                    <a:pt x="479" y="1144"/>
                  </a:cubicBezTo>
                  <a:cubicBezTo>
                    <a:pt x="485" y="1146"/>
                    <a:pt x="491" y="1148"/>
                    <a:pt x="497" y="1150"/>
                  </a:cubicBezTo>
                  <a:cubicBezTo>
                    <a:pt x="497" y="1150"/>
                    <a:pt x="498" y="1150"/>
                    <a:pt x="498" y="1150"/>
                  </a:cubicBezTo>
                  <a:cubicBezTo>
                    <a:pt x="499" y="1151"/>
                    <a:pt x="500" y="1151"/>
                    <a:pt x="500" y="1151"/>
                  </a:cubicBezTo>
                  <a:cubicBezTo>
                    <a:pt x="486" y="1146"/>
                    <a:pt x="472" y="1141"/>
                    <a:pt x="457" y="1135"/>
                  </a:cubicBezTo>
                  <a:cubicBezTo>
                    <a:pt x="446" y="1131"/>
                    <a:pt x="435" y="1127"/>
                    <a:pt x="424" y="1123"/>
                  </a:cubicBezTo>
                  <a:cubicBezTo>
                    <a:pt x="420" y="1122"/>
                    <a:pt x="417" y="1120"/>
                    <a:pt x="413" y="1119"/>
                  </a:cubicBezTo>
                  <a:cubicBezTo>
                    <a:pt x="413" y="1119"/>
                    <a:pt x="412" y="1119"/>
                    <a:pt x="412" y="1119"/>
                  </a:cubicBezTo>
                  <a:cubicBezTo>
                    <a:pt x="408" y="1117"/>
                    <a:pt x="405" y="1116"/>
                    <a:pt x="401" y="1115"/>
                  </a:cubicBezTo>
                  <a:cubicBezTo>
                    <a:pt x="395" y="1112"/>
                    <a:pt x="389" y="1110"/>
                    <a:pt x="383" y="1108"/>
                  </a:cubicBezTo>
                  <a:cubicBezTo>
                    <a:pt x="382" y="1108"/>
                    <a:pt x="382" y="1107"/>
                    <a:pt x="381" y="1107"/>
                  </a:cubicBezTo>
                  <a:cubicBezTo>
                    <a:pt x="375" y="1105"/>
                    <a:pt x="370" y="1103"/>
                    <a:pt x="365" y="1101"/>
                  </a:cubicBezTo>
                  <a:cubicBezTo>
                    <a:pt x="364" y="1101"/>
                    <a:pt x="363" y="1100"/>
                    <a:pt x="362" y="1100"/>
                  </a:cubicBezTo>
                  <a:cubicBezTo>
                    <a:pt x="361" y="1100"/>
                    <a:pt x="360" y="1099"/>
                    <a:pt x="359" y="1099"/>
                  </a:cubicBezTo>
                  <a:cubicBezTo>
                    <a:pt x="357" y="1098"/>
                    <a:pt x="355" y="1097"/>
                    <a:pt x="353" y="1097"/>
                  </a:cubicBezTo>
                  <a:cubicBezTo>
                    <a:pt x="349" y="1095"/>
                    <a:pt x="346" y="1094"/>
                    <a:pt x="342" y="1092"/>
                  </a:cubicBezTo>
                  <a:cubicBezTo>
                    <a:pt x="330" y="1088"/>
                    <a:pt x="319" y="1083"/>
                    <a:pt x="308" y="1079"/>
                  </a:cubicBezTo>
                  <a:cubicBezTo>
                    <a:pt x="306" y="1078"/>
                    <a:pt x="303" y="1077"/>
                    <a:pt x="301" y="1076"/>
                  </a:cubicBezTo>
                  <a:cubicBezTo>
                    <a:pt x="297" y="1074"/>
                    <a:pt x="293" y="1073"/>
                    <a:pt x="289" y="1071"/>
                  </a:cubicBezTo>
                  <a:cubicBezTo>
                    <a:pt x="289" y="1071"/>
                    <a:pt x="289" y="1071"/>
                    <a:pt x="288" y="1071"/>
                  </a:cubicBezTo>
                  <a:cubicBezTo>
                    <a:pt x="283" y="1069"/>
                    <a:pt x="278" y="1067"/>
                    <a:pt x="273" y="1065"/>
                  </a:cubicBezTo>
                  <a:cubicBezTo>
                    <a:pt x="273" y="1065"/>
                    <a:pt x="273" y="1065"/>
                    <a:pt x="273" y="1065"/>
                  </a:cubicBezTo>
                  <a:cubicBezTo>
                    <a:pt x="270" y="1064"/>
                    <a:pt x="268" y="1063"/>
                    <a:pt x="265" y="1062"/>
                  </a:cubicBezTo>
                  <a:cubicBezTo>
                    <a:pt x="264" y="1061"/>
                    <a:pt x="262" y="1060"/>
                    <a:pt x="260" y="1060"/>
                  </a:cubicBezTo>
                  <a:cubicBezTo>
                    <a:pt x="258" y="1059"/>
                    <a:pt x="256" y="1058"/>
                    <a:pt x="254" y="1057"/>
                  </a:cubicBezTo>
                  <a:cubicBezTo>
                    <a:pt x="254" y="1057"/>
                    <a:pt x="253" y="1057"/>
                    <a:pt x="253" y="1057"/>
                  </a:cubicBezTo>
                  <a:cubicBezTo>
                    <a:pt x="251" y="1056"/>
                    <a:pt x="248" y="1054"/>
                    <a:pt x="245" y="1053"/>
                  </a:cubicBezTo>
                  <a:moveTo>
                    <a:pt x="501" y="1150"/>
                  </a:moveTo>
                  <a:cubicBezTo>
                    <a:pt x="504" y="1151"/>
                    <a:pt x="507" y="1152"/>
                    <a:pt x="510" y="1153"/>
                  </a:cubicBezTo>
                  <a:cubicBezTo>
                    <a:pt x="510" y="1153"/>
                    <a:pt x="510" y="1153"/>
                    <a:pt x="510" y="1153"/>
                  </a:cubicBezTo>
                  <a:cubicBezTo>
                    <a:pt x="507" y="1152"/>
                    <a:pt x="504" y="1151"/>
                    <a:pt x="501" y="1150"/>
                  </a:cubicBezTo>
                  <a:moveTo>
                    <a:pt x="512" y="1154"/>
                  </a:moveTo>
                  <a:cubicBezTo>
                    <a:pt x="512" y="1154"/>
                    <a:pt x="511" y="1154"/>
                    <a:pt x="511" y="1154"/>
                  </a:cubicBezTo>
                  <a:cubicBezTo>
                    <a:pt x="517" y="1156"/>
                    <a:pt x="524" y="1159"/>
                    <a:pt x="530" y="1161"/>
                  </a:cubicBezTo>
                  <a:cubicBezTo>
                    <a:pt x="530" y="1161"/>
                    <a:pt x="530" y="1161"/>
                    <a:pt x="531" y="1160"/>
                  </a:cubicBezTo>
                  <a:cubicBezTo>
                    <a:pt x="525" y="1158"/>
                    <a:pt x="518" y="1156"/>
                    <a:pt x="512" y="1154"/>
                  </a:cubicBezTo>
                  <a:moveTo>
                    <a:pt x="533" y="1161"/>
                  </a:moveTo>
                  <a:cubicBezTo>
                    <a:pt x="532" y="1161"/>
                    <a:pt x="532" y="1161"/>
                    <a:pt x="531" y="1161"/>
                  </a:cubicBezTo>
                  <a:cubicBezTo>
                    <a:pt x="534" y="1162"/>
                    <a:pt x="536" y="1163"/>
                    <a:pt x="539" y="1164"/>
                  </a:cubicBezTo>
                  <a:cubicBezTo>
                    <a:pt x="542" y="1165"/>
                    <a:pt x="546" y="1166"/>
                    <a:pt x="549" y="1167"/>
                  </a:cubicBezTo>
                  <a:cubicBezTo>
                    <a:pt x="550" y="1167"/>
                    <a:pt x="550" y="1167"/>
                    <a:pt x="551" y="1167"/>
                  </a:cubicBezTo>
                  <a:cubicBezTo>
                    <a:pt x="545" y="1165"/>
                    <a:pt x="540" y="1163"/>
                    <a:pt x="534" y="1161"/>
                  </a:cubicBezTo>
                  <a:cubicBezTo>
                    <a:pt x="534" y="1161"/>
                    <a:pt x="533" y="1161"/>
                    <a:pt x="533" y="1161"/>
                  </a:cubicBezTo>
                  <a:cubicBezTo>
                    <a:pt x="533" y="1161"/>
                    <a:pt x="533" y="1161"/>
                    <a:pt x="533" y="1161"/>
                  </a:cubicBezTo>
                  <a:moveTo>
                    <a:pt x="553" y="1168"/>
                  </a:moveTo>
                  <a:cubicBezTo>
                    <a:pt x="552" y="1168"/>
                    <a:pt x="551" y="1168"/>
                    <a:pt x="551" y="1168"/>
                  </a:cubicBezTo>
                  <a:cubicBezTo>
                    <a:pt x="551" y="1168"/>
                    <a:pt x="552" y="1168"/>
                    <a:pt x="552" y="1168"/>
                  </a:cubicBezTo>
                  <a:cubicBezTo>
                    <a:pt x="553" y="1169"/>
                    <a:pt x="553" y="1169"/>
                    <a:pt x="554" y="1169"/>
                  </a:cubicBezTo>
                  <a:cubicBezTo>
                    <a:pt x="556" y="1170"/>
                    <a:pt x="557" y="1170"/>
                    <a:pt x="559" y="1171"/>
                  </a:cubicBezTo>
                  <a:cubicBezTo>
                    <a:pt x="560" y="1171"/>
                    <a:pt x="560" y="1171"/>
                    <a:pt x="561" y="1171"/>
                  </a:cubicBezTo>
                  <a:cubicBezTo>
                    <a:pt x="564" y="1172"/>
                    <a:pt x="568" y="1173"/>
                    <a:pt x="571" y="1174"/>
                  </a:cubicBezTo>
                  <a:cubicBezTo>
                    <a:pt x="572" y="1174"/>
                    <a:pt x="572" y="1174"/>
                    <a:pt x="573" y="1174"/>
                  </a:cubicBezTo>
                  <a:cubicBezTo>
                    <a:pt x="569" y="1173"/>
                    <a:pt x="564" y="1171"/>
                    <a:pt x="560" y="1170"/>
                  </a:cubicBezTo>
                  <a:cubicBezTo>
                    <a:pt x="559" y="1170"/>
                    <a:pt x="559" y="1169"/>
                    <a:pt x="558" y="1169"/>
                  </a:cubicBezTo>
                  <a:cubicBezTo>
                    <a:pt x="557" y="1169"/>
                    <a:pt x="556" y="1169"/>
                    <a:pt x="555" y="1168"/>
                  </a:cubicBezTo>
                  <a:cubicBezTo>
                    <a:pt x="555" y="1168"/>
                    <a:pt x="554" y="1168"/>
                    <a:pt x="554" y="1168"/>
                  </a:cubicBezTo>
                  <a:cubicBezTo>
                    <a:pt x="553" y="1168"/>
                    <a:pt x="553" y="1168"/>
                    <a:pt x="553" y="1168"/>
                  </a:cubicBezTo>
                  <a:moveTo>
                    <a:pt x="575" y="1175"/>
                  </a:moveTo>
                  <a:cubicBezTo>
                    <a:pt x="574" y="1175"/>
                    <a:pt x="574" y="1175"/>
                    <a:pt x="573" y="1175"/>
                  </a:cubicBezTo>
                  <a:cubicBezTo>
                    <a:pt x="576" y="1176"/>
                    <a:pt x="578" y="1177"/>
                    <a:pt x="581" y="1177"/>
                  </a:cubicBezTo>
                  <a:cubicBezTo>
                    <a:pt x="581" y="1178"/>
                    <a:pt x="582" y="1178"/>
                    <a:pt x="582" y="1178"/>
                  </a:cubicBezTo>
                  <a:cubicBezTo>
                    <a:pt x="585" y="1179"/>
                    <a:pt x="588" y="1180"/>
                    <a:pt x="590" y="1180"/>
                  </a:cubicBezTo>
                  <a:cubicBezTo>
                    <a:pt x="591" y="1180"/>
                    <a:pt x="592" y="1180"/>
                    <a:pt x="592" y="1180"/>
                  </a:cubicBezTo>
                  <a:cubicBezTo>
                    <a:pt x="589" y="1179"/>
                    <a:pt x="586" y="1178"/>
                    <a:pt x="584" y="1177"/>
                  </a:cubicBezTo>
                  <a:cubicBezTo>
                    <a:pt x="583" y="1177"/>
                    <a:pt x="583" y="1177"/>
                    <a:pt x="582" y="1177"/>
                  </a:cubicBezTo>
                  <a:cubicBezTo>
                    <a:pt x="580" y="1176"/>
                    <a:pt x="577" y="1175"/>
                    <a:pt x="575" y="1175"/>
                  </a:cubicBezTo>
                  <a:moveTo>
                    <a:pt x="594" y="1181"/>
                  </a:moveTo>
                  <a:cubicBezTo>
                    <a:pt x="594" y="1181"/>
                    <a:pt x="593" y="1181"/>
                    <a:pt x="592" y="1181"/>
                  </a:cubicBezTo>
                  <a:cubicBezTo>
                    <a:pt x="598" y="1183"/>
                    <a:pt x="604" y="1184"/>
                    <a:pt x="609" y="1186"/>
                  </a:cubicBezTo>
                  <a:cubicBezTo>
                    <a:pt x="610" y="1186"/>
                    <a:pt x="611" y="1186"/>
                    <a:pt x="611" y="1186"/>
                  </a:cubicBezTo>
                  <a:cubicBezTo>
                    <a:pt x="606" y="1184"/>
                    <a:pt x="600" y="1182"/>
                    <a:pt x="594" y="1181"/>
                  </a:cubicBezTo>
                  <a:moveTo>
                    <a:pt x="613" y="1186"/>
                  </a:moveTo>
                  <a:cubicBezTo>
                    <a:pt x="612" y="1186"/>
                    <a:pt x="612" y="1186"/>
                    <a:pt x="611" y="1187"/>
                  </a:cubicBezTo>
                  <a:cubicBezTo>
                    <a:pt x="616" y="1188"/>
                    <a:pt x="621" y="1189"/>
                    <a:pt x="625" y="1191"/>
                  </a:cubicBezTo>
                  <a:cubicBezTo>
                    <a:pt x="626" y="1191"/>
                    <a:pt x="626" y="1191"/>
                    <a:pt x="627" y="1191"/>
                  </a:cubicBezTo>
                  <a:cubicBezTo>
                    <a:pt x="629" y="1192"/>
                    <a:pt x="631" y="1192"/>
                    <a:pt x="633" y="1193"/>
                  </a:cubicBezTo>
                  <a:cubicBezTo>
                    <a:pt x="634" y="1193"/>
                    <a:pt x="634" y="1193"/>
                    <a:pt x="635" y="1192"/>
                  </a:cubicBezTo>
                  <a:cubicBezTo>
                    <a:pt x="633" y="1192"/>
                    <a:pt x="631" y="1191"/>
                    <a:pt x="629" y="1191"/>
                  </a:cubicBezTo>
                  <a:cubicBezTo>
                    <a:pt x="628" y="1190"/>
                    <a:pt x="627" y="1190"/>
                    <a:pt x="627" y="1190"/>
                  </a:cubicBezTo>
                  <a:cubicBezTo>
                    <a:pt x="622" y="1189"/>
                    <a:pt x="618" y="1188"/>
                    <a:pt x="613" y="1186"/>
                  </a:cubicBezTo>
                  <a:moveTo>
                    <a:pt x="637" y="1193"/>
                  </a:moveTo>
                  <a:cubicBezTo>
                    <a:pt x="636" y="1193"/>
                    <a:pt x="635" y="1193"/>
                    <a:pt x="635" y="1193"/>
                  </a:cubicBezTo>
                  <a:cubicBezTo>
                    <a:pt x="640" y="1195"/>
                    <a:pt x="645" y="1196"/>
                    <a:pt x="650" y="1198"/>
                  </a:cubicBezTo>
                  <a:cubicBezTo>
                    <a:pt x="651" y="1198"/>
                    <a:pt x="651" y="1198"/>
                    <a:pt x="652" y="1198"/>
                  </a:cubicBezTo>
                  <a:cubicBezTo>
                    <a:pt x="652" y="1198"/>
                    <a:pt x="652" y="1198"/>
                    <a:pt x="652" y="1198"/>
                  </a:cubicBezTo>
                  <a:cubicBezTo>
                    <a:pt x="653" y="1198"/>
                    <a:pt x="654" y="1198"/>
                    <a:pt x="654" y="1198"/>
                  </a:cubicBezTo>
                  <a:cubicBezTo>
                    <a:pt x="653" y="1197"/>
                    <a:pt x="652" y="1197"/>
                    <a:pt x="650" y="1197"/>
                  </a:cubicBezTo>
                  <a:cubicBezTo>
                    <a:pt x="650" y="1196"/>
                    <a:pt x="649" y="1196"/>
                    <a:pt x="648" y="1196"/>
                  </a:cubicBezTo>
                  <a:cubicBezTo>
                    <a:pt x="645" y="1195"/>
                    <a:pt x="641" y="1194"/>
                    <a:pt x="637" y="1193"/>
                  </a:cubicBezTo>
                  <a:moveTo>
                    <a:pt x="656" y="1198"/>
                  </a:moveTo>
                  <a:cubicBezTo>
                    <a:pt x="656" y="1198"/>
                    <a:pt x="655" y="1199"/>
                    <a:pt x="654" y="1199"/>
                  </a:cubicBezTo>
                  <a:cubicBezTo>
                    <a:pt x="660" y="1200"/>
                    <a:pt x="666" y="1202"/>
                    <a:pt x="671" y="1203"/>
                  </a:cubicBezTo>
                  <a:cubicBezTo>
                    <a:pt x="672" y="1203"/>
                    <a:pt x="673" y="1203"/>
                    <a:pt x="673" y="1203"/>
                  </a:cubicBezTo>
                  <a:cubicBezTo>
                    <a:pt x="668" y="1201"/>
                    <a:pt x="662" y="1200"/>
                    <a:pt x="656" y="1198"/>
                  </a:cubicBezTo>
                  <a:moveTo>
                    <a:pt x="675" y="1203"/>
                  </a:moveTo>
                  <a:cubicBezTo>
                    <a:pt x="675" y="1203"/>
                    <a:pt x="674" y="1203"/>
                    <a:pt x="673" y="1204"/>
                  </a:cubicBezTo>
                  <a:cubicBezTo>
                    <a:pt x="678" y="1205"/>
                    <a:pt x="683" y="1206"/>
                    <a:pt x="687" y="1207"/>
                  </a:cubicBezTo>
                  <a:cubicBezTo>
                    <a:pt x="688" y="1207"/>
                    <a:pt x="688" y="1207"/>
                    <a:pt x="689" y="1207"/>
                  </a:cubicBezTo>
                  <a:cubicBezTo>
                    <a:pt x="689" y="1207"/>
                    <a:pt x="689" y="1208"/>
                    <a:pt x="690" y="1208"/>
                  </a:cubicBezTo>
                  <a:cubicBezTo>
                    <a:pt x="691" y="1207"/>
                    <a:pt x="691" y="1207"/>
                    <a:pt x="692" y="1207"/>
                  </a:cubicBezTo>
                  <a:cubicBezTo>
                    <a:pt x="691" y="1207"/>
                    <a:pt x="691" y="1207"/>
                    <a:pt x="690" y="1207"/>
                  </a:cubicBezTo>
                  <a:cubicBezTo>
                    <a:pt x="690" y="1207"/>
                    <a:pt x="689" y="1206"/>
                    <a:pt x="689" y="1206"/>
                  </a:cubicBezTo>
                  <a:cubicBezTo>
                    <a:pt x="684" y="1205"/>
                    <a:pt x="680" y="1204"/>
                    <a:pt x="675" y="1203"/>
                  </a:cubicBezTo>
                  <a:moveTo>
                    <a:pt x="884" y="1203"/>
                  </a:moveTo>
                  <a:cubicBezTo>
                    <a:pt x="884" y="1203"/>
                    <a:pt x="884" y="1204"/>
                    <a:pt x="884" y="1204"/>
                  </a:cubicBezTo>
                  <a:cubicBezTo>
                    <a:pt x="884" y="1204"/>
                    <a:pt x="884" y="1204"/>
                    <a:pt x="885" y="1204"/>
                  </a:cubicBezTo>
                  <a:cubicBezTo>
                    <a:pt x="885" y="1204"/>
                    <a:pt x="885" y="1204"/>
                    <a:pt x="885" y="1204"/>
                  </a:cubicBezTo>
                  <a:cubicBezTo>
                    <a:pt x="885" y="1203"/>
                    <a:pt x="884" y="1203"/>
                    <a:pt x="884" y="1203"/>
                  </a:cubicBezTo>
                  <a:moveTo>
                    <a:pt x="883" y="1205"/>
                  </a:moveTo>
                  <a:cubicBezTo>
                    <a:pt x="882" y="1206"/>
                    <a:pt x="881" y="1207"/>
                    <a:pt x="880" y="1208"/>
                  </a:cubicBezTo>
                  <a:cubicBezTo>
                    <a:pt x="880" y="1208"/>
                    <a:pt x="880" y="1209"/>
                    <a:pt x="880" y="1209"/>
                  </a:cubicBezTo>
                  <a:cubicBezTo>
                    <a:pt x="882" y="1208"/>
                    <a:pt x="883" y="1206"/>
                    <a:pt x="884" y="1205"/>
                  </a:cubicBezTo>
                  <a:cubicBezTo>
                    <a:pt x="884" y="1205"/>
                    <a:pt x="883" y="1205"/>
                    <a:pt x="883" y="1205"/>
                  </a:cubicBezTo>
                  <a:moveTo>
                    <a:pt x="694" y="1208"/>
                  </a:moveTo>
                  <a:cubicBezTo>
                    <a:pt x="694" y="1208"/>
                    <a:pt x="693" y="1208"/>
                    <a:pt x="692" y="1208"/>
                  </a:cubicBezTo>
                  <a:cubicBezTo>
                    <a:pt x="694" y="1209"/>
                    <a:pt x="697" y="1209"/>
                    <a:pt x="699" y="1210"/>
                  </a:cubicBezTo>
                  <a:cubicBezTo>
                    <a:pt x="700" y="1210"/>
                    <a:pt x="701" y="1210"/>
                    <a:pt x="702" y="1209"/>
                  </a:cubicBezTo>
                  <a:cubicBezTo>
                    <a:pt x="699" y="1209"/>
                    <a:pt x="697" y="1208"/>
                    <a:pt x="694" y="1208"/>
                  </a:cubicBezTo>
                  <a:moveTo>
                    <a:pt x="879" y="1209"/>
                  </a:moveTo>
                  <a:cubicBezTo>
                    <a:pt x="877" y="1211"/>
                    <a:pt x="875" y="1212"/>
                    <a:pt x="873" y="1214"/>
                  </a:cubicBezTo>
                  <a:cubicBezTo>
                    <a:pt x="873" y="1214"/>
                    <a:pt x="873" y="1214"/>
                    <a:pt x="874" y="1214"/>
                  </a:cubicBezTo>
                  <a:cubicBezTo>
                    <a:pt x="876" y="1213"/>
                    <a:pt x="878" y="1211"/>
                    <a:pt x="880" y="1209"/>
                  </a:cubicBezTo>
                  <a:cubicBezTo>
                    <a:pt x="880" y="1209"/>
                    <a:pt x="879" y="1209"/>
                    <a:pt x="879" y="1209"/>
                  </a:cubicBezTo>
                  <a:moveTo>
                    <a:pt x="706" y="1210"/>
                  </a:moveTo>
                  <a:cubicBezTo>
                    <a:pt x="706" y="1210"/>
                    <a:pt x="706" y="1210"/>
                    <a:pt x="706" y="1210"/>
                  </a:cubicBezTo>
                  <a:cubicBezTo>
                    <a:pt x="706" y="1210"/>
                    <a:pt x="705" y="1210"/>
                    <a:pt x="705" y="1211"/>
                  </a:cubicBezTo>
                  <a:cubicBezTo>
                    <a:pt x="706" y="1210"/>
                    <a:pt x="706" y="1210"/>
                    <a:pt x="707" y="1210"/>
                  </a:cubicBezTo>
                  <a:cubicBezTo>
                    <a:pt x="706" y="1210"/>
                    <a:pt x="706" y="1210"/>
                    <a:pt x="706" y="1210"/>
                  </a:cubicBezTo>
                  <a:moveTo>
                    <a:pt x="711" y="1211"/>
                  </a:moveTo>
                  <a:cubicBezTo>
                    <a:pt x="709" y="1211"/>
                    <a:pt x="708" y="1211"/>
                    <a:pt x="707" y="1211"/>
                  </a:cubicBezTo>
                  <a:cubicBezTo>
                    <a:pt x="708" y="1212"/>
                    <a:pt x="710" y="1212"/>
                    <a:pt x="712" y="1213"/>
                  </a:cubicBezTo>
                  <a:cubicBezTo>
                    <a:pt x="714" y="1213"/>
                    <a:pt x="716" y="1213"/>
                    <a:pt x="718" y="1213"/>
                  </a:cubicBezTo>
                  <a:cubicBezTo>
                    <a:pt x="715" y="1212"/>
                    <a:pt x="713" y="1212"/>
                    <a:pt x="711" y="1211"/>
                  </a:cubicBezTo>
                  <a:moveTo>
                    <a:pt x="718" y="1214"/>
                  </a:moveTo>
                  <a:cubicBezTo>
                    <a:pt x="728" y="1216"/>
                    <a:pt x="738" y="1218"/>
                    <a:pt x="747" y="1219"/>
                  </a:cubicBezTo>
                  <a:cubicBezTo>
                    <a:pt x="747" y="1219"/>
                    <a:pt x="747" y="1219"/>
                    <a:pt x="747" y="1218"/>
                  </a:cubicBezTo>
                  <a:cubicBezTo>
                    <a:pt x="740" y="1217"/>
                    <a:pt x="733" y="1216"/>
                    <a:pt x="725" y="1214"/>
                  </a:cubicBezTo>
                  <a:cubicBezTo>
                    <a:pt x="723" y="1214"/>
                    <a:pt x="720" y="1214"/>
                    <a:pt x="718" y="1214"/>
                  </a:cubicBezTo>
                  <a:moveTo>
                    <a:pt x="872" y="1214"/>
                  </a:moveTo>
                  <a:cubicBezTo>
                    <a:pt x="871" y="1215"/>
                    <a:pt x="871" y="1215"/>
                    <a:pt x="870" y="1215"/>
                  </a:cubicBezTo>
                  <a:cubicBezTo>
                    <a:pt x="870" y="1215"/>
                    <a:pt x="870" y="1216"/>
                    <a:pt x="871" y="1216"/>
                  </a:cubicBezTo>
                  <a:cubicBezTo>
                    <a:pt x="871" y="1216"/>
                    <a:pt x="872" y="1215"/>
                    <a:pt x="873" y="1215"/>
                  </a:cubicBezTo>
                  <a:cubicBezTo>
                    <a:pt x="872" y="1215"/>
                    <a:pt x="872" y="1214"/>
                    <a:pt x="872" y="1214"/>
                  </a:cubicBezTo>
                  <a:moveTo>
                    <a:pt x="869" y="1216"/>
                  </a:moveTo>
                  <a:cubicBezTo>
                    <a:pt x="865" y="1218"/>
                    <a:pt x="861" y="1219"/>
                    <a:pt x="856" y="1221"/>
                  </a:cubicBezTo>
                  <a:cubicBezTo>
                    <a:pt x="856" y="1221"/>
                    <a:pt x="856" y="1221"/>
                    <a:pt x="856" y="1221"/>
                  </a:cubicBezTo>
                  <a:cubicBezTo>
                    <a:pt x="857" y="1221"/>
                    <a:pt x="857" y="1221"/>
                    <a:pt x="857" y="1221"/>
                  </a:cubicBezTo>
                  <a:cubicBezTo>
                    <a:pt x="862" y="1220"/>
                    <a:pt x="866" y="1218"/>
                    <a:pt x="870" y="1216"/>
                  </a:cubicBezTo>
                  <a:cubicBezTo>
                    <a:pt x="869" y="1216"/>
                    <a:pt x="869" y="1216"/>
                    <a:pt x="869" y="1216"/>
                  </a:cubicBezTo>
                  <a:moveTo>
                    <a:pt x="748" y="1219"/>
                  </a:moveTo>
                  <a:cubicBezTo>
                    <a:pt x="748" y="1219"/>
                    <a:pt x="748" y="1219"/>
                    <a:pt x="748" y="1220"/>
                  </a:cubicBezTo>
                  <a:cubicBezTo>
                    <a:pt x="754" y="1221"/>
                    <a:pt x="760" y="1221"/>
                    <a:pt x="765" y="1222"/>
                  </a:cubicBezTo>
                  <a:cubicBezTo>
                    <a:pt x="765" y="1222"/>
                    <a:pt x="765" y="1221"/>
                    <a:pt x="765" y="1221"/>
                  </a:cubicBezTo>
                  <a:cubicBezTo>
                    <a:pt x="759" y="1220"/>
                    <a:pt x="754" y="1220"/>
                    <a:pt x="748" y="1219"/>
                  </a:cubicBezTo>
                  <a:moveTo>
                    <a:pt x="855" y="1221"/>
                  </a:moveTo>
                  <a:cubicBezTo>
                    <a:pt x="849" y="1223"/>
                    <a:pt x="842" y="1224"/>
                    <a:pt x="835" y="1224"/>
                  </a:cubicBezTo>
                  <a:cubicBezTo>
                    <a:pt x="835" y="1225"/>
                    <a:pt x="835" y="1225"/>
                    <a:pt x="835" y="1225"/>
                  </a:cubicBezTo>
                  <a:cubicBezTo>
                    <a:pt x="835" y="1225"/>
                    <a:pt x="835" y="1225"/>
                    <a:pt x="836" y="1225"/>
                  </a:cubicBezTo>
                  <a:cubicBezTo>
                    <a:pt x="843" y="1224"/>
                    <a:pt x="850" y="1223"/>
                    <a:pt x="856" y="1222"/>
                  </a:cubicBezTo>
                  <a:cubicBezTo>
                    <a:pt x="856" y="1222"/>
                    <a:pt x="856" y="1222"/>
                    <a:pt x="856" y="1222"/>
                  </a:cubicBezTo>
                  <a:cubicBezTo>
                    <a:pt x="855" y="1221"/>
                    <a:pt x="855" y="1221"/>
                    <a:pt x="855" y="1221"/>
                  </a:cubicBezTo>
                  <a:moveTo>
                    <a:pt x="766" y="1221"/>
                  </a:moveTo>
                  <a:cubicBezTo>
                    <a:pt x="766" y="1222"/>
                    <a:pt x="766" y="1222"/>
                    <a:pt x="766" y="1222"/>
                  </a:cubicBezTo>
                  <a:cubicBezTo>
                    <a:pt x="768" y="1223"/>
                    <a:pt x="769" y="1223"/>
                    <a:pt x="771" y="1223"/>
                  </a:cubicBezTo>
                  <a:cubicBezTo>
                    <a:pt x="769" y="1222"/>
                    <a:pt x="768" y="1222"/>
                    <a:pt x="766" y="1221"/>
                  </a:cubicBezTo>
                  <a:moveTo>
                    <a:pt x="772" y="1222"/>
                  </a:moveTo>
                  <a:cubicBezTo>
                    <a:pt x="773" y="1222"/>
                    <a:pt x="774" y="1223"/>
                    <a:pt x="776" y="1224"/>
                  </a:cubicBezTo>
                  <a:cubicBezTo>
                    <a:pt x="778" y="1224"/>
                    <a:pt x="780" y="1224"/>
                    <a:pt x="783" y="1224"/>
                  </a:cubicBezTo>
                  <a:cubicBezTo>
                    <a:pt x="782" y="1224"/>
                    <a:pt x="782" y="1224"/>
                    <a:pt x="782" y="1223"/>
                  </a:cubicBezTo>
                  <a:cubicBezTo>
                    <a:pt x="779" y="1223"/>
                    <a:pt x="775" y="1222"/>
                    <a:pt x="772" y="1222"/>
                  </a:cubicBezTo>
                  <a:moveTo>
                    <a:pt x="783" y="1223"/>
                  </a:moveTo>
                  <a:cubicBezTo>
                    <a:pt x="783" y="1224"/>
                    <a:pt x="784" y="1224"/>
                    <a:pt x="784" y="1224"/>
                  </a:cubicBezTo>
                  <a:cubicBezTo>
                    <a:pt x="789" y="1225"/>
                    <a:pt x="795" y="1225"/>
                    <a:pt x="800" y="1226"/>
                  </a:cubicBezTo>
                  <a:cubicBezTo>
                    <a:pt x="800" y="1225"/>
                    <a:pt x="800" y="1225"/>
                    <a:pt x="799" y="1225"/>
                  </a:cubicBezTo>
                  <a:cubicBezTo>
                    <a:pt x="794" y="1224"/>
                    <a:pt x="789" y="1224"/>
                    <a:pt x="783" y="1223"/>
                  </a:cubicBezTo>
                  <a:moveTo>
                    <a:pt x="832" y="1225"/>
                  </a:moveTo>
                  <a:cubicBezTo>
                    <a:pt x="828" y="1225"/>
                    <a:pt x="823" y="1225"/>
                    <a:pt x="818" y="1225"/>
                  </a:cubicBezTo>
                  <a:cubicBezTo>
                    <a:pt x="818" y="1225"/>
                    <a:pt x="818" y="1226"/>
                    <a:pt x="818" y="1226"/>
                  </a:cubicBezTo>
                  <a:cubicBezTo>
                    <a:pt x="824" y="1226"/>
                    <a:pt x="829" y="1226"/>
                    <a:pt x="834" y="1225"/>
                  </a:cubicBezTo>
                  <a:cubicBezTo>
                    <a:pt x="833" y="1225"/>
                    <a:pt x="833" y="1225"/>
                    <a:pt x="832" y="1225"/>
                  </a:cubicBezTo>
                  <a:moveTo>
                    <a:pt x="801" y="1225"/>
                  </a:moveTo>
                  <a:cubicBezTo>
                    <a:pt x="801" y="1225"/>
                    <a:pt x="801" y="1225"/>
                    <a:pt x="801" y="1226"/>
                  </a:cubicBezTo>
                  <a:cubicBezTo>
                    <a:pt x="803" y="1226"/>
                    <a:pt x="805" y="1226"/>
                    <a:pt x="807" y="1226"/>
                  </a:cubicBezTo>
                  <a:cubicBezTo>
                    <a:pt x="806" y="1226"/>
                    <a:pt x="806" y="1225"/>
                    <a:pt x="805" y="1225"/>
                  </a:cubicBezTo>
                  <a:cubicBezTo>
                    <a:pt x="804" y="1225"/>
                    <a:pt x="802" y="1225"/>
                    <a:pt x="801" y="1225"/>
                  </a:cubicBezTo>
                  <a:moveTo>
                    <a:pt x="808" y="1225"/>
                  </a:moveTo>
                  <a:cubicBezTo>
                    <a:pt x="808" y="1225"/>
                    <a:pt x="809" y="1226"/>
                    <a:pt x="810" y="1226"/>
                  </a:cubicBezTo>
                  <a:cubicBezTo>
                    <a:pt x="812" y="1226"/>
                    <a:pt x="814" y="1226"/>
                    <a:pt x="816" y="1226"/>
                  </a:cubicBezTo>
                  <a:cubicBezTo>
                    <a:pt x="816" y="1226"/>
                    <a:pt x="817" y="1226"/>
                    <a:pt x="817" y="1226"/>
                  </a:cubicBezTo>
                  <a:cubicBezTo>
                    <a:pt x="817" y="1226"/>
                    <a:pt x="817" y="1225"/>
                    <a:pt x="817" y="1225"/>
                  </a:cubicBezTo>
                  <a:cubicBezTo>
                    <a:pt x="816" y="1225"/>
                    <a:pt x="816" y="1225"/>
                    <a:pt x="816" y="1225"/>
                  </a:cubicBezTo>
                  <a:cubicBezTo>
                    <a:pt x="813" y="1225"/>
                    <a:pt x="810" y="1225"/>
                    <a:pt x="808" y="1225"/>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54" name="Freeform 83"/>
            <p:cNvSpPr>
              <a:spLocks noEditPoints="1"/>
            </p:cNvSpPr>
            <p:nvPr userDrawn="1"/>
          </p:nvSpPr>
          <p:spPr bwMode="auto">
            <a:xfrm>
              <a:off x="1913" y="2884"/>
              <a:ext cx="3849" cy="2703"/>
            </a:xfrm>
            <a:custGeom>
              <a:avLst/>
              <a:gdLst>
                <a:gd name="T0" fmla="*/ 2147483646 w 1899"/>
                <a:gd name="T1" fmla="*/ 2147483646 h 1333"/>
                <a:gd name="T2" fmla="*/ 2147483646 w 1899"/>
                <a:gd name="T3" fmla="*/ 2147483646 h 1333"/>
                <a:gd name="T4" fmla="*/ 2147483646 w 1899"/>
                <a:gd name="T5" fmla="*/ 2147483646 h 1333"/>
                <a:gd name="T6" fmla="*/ 2147483646 w 1899"/>
                <a:gd name="T7" fmla="*/ 2147483646 h 1333"/>
                <a:gd name="T8" fmla="*/ 2147483646 w 1899"/>
                <a:gd name="T9" fmla="*/ 2147483646 h 1333"/>
                <a:gd name="T10" fmla="*/ 2147483646 w 1899"/>
                <a:gd name="T11" fmla="*/ 2147483646 h 1333"/>
                <a:gd name="T12" fmla="*/ 2147483646 w 1899"/>
                <a:gd name="T13" fmla="*/ 2147483646 h 1333"/>
                <a:gd name="T14" fmla="*/ 2147483646 w 1899"/>
                <a:gd name="T15" fmla="*/ 2147483646 h 1333"/>
                <a:gd name="T16" fmla="*/ 2147483646 w 1899"/>
                <a:gd name="T17" fmla="*/ 2147483646 h 1333"/>
                <a:gd name="T18" fmla="*/ 2147483646 w 1899"/>
                <a:gd name="T19" fmla="*/ 2147483646 h 1333"/>
                <a:gd name="T20" fmla="*/ 2147483646 w 1899"/>
                <a:gd name="T21" fmla="*/ 2147483646 h 1333"/>
                <a:gd name="T22" fmla="*/ 2147483646 w 1899"/>
                <a:gd name="T23" fmla="*/ 2147483646 h 1333"/>
                <a:gd name="T24" fmla="*/ 2147483646 w 1899"/>
                <a:gd name="T25" fmla="*/ 2147483646 h 1333"/>
                <a:gd name="T26" fmla="*/ 2147483646 w 1899"/>
                <a:gd name="T27" fmla="*/ 2147483646 h 1333"/>
                <a:gd name="T28" fmla="*/ 2147483646 w 1899"/>
                <a:gd name="T29" fmla="*/ 2147483646 h 1333"/>
                <a:gd name="T30" fmla="*/ 2147483646 w 1899"/>
                <a:gd name="T31" fmla="*/ 2147483646 h 1333"/>
                <a:gd name="T32" fmla="*/ 2147483646 w 1899"/>
                <a:gd name="T33" fmla="*/ 2147483646 h 1333"/>
                <a:gd name="T34" fmla="*/ 2147483646 w 1899"/>
                <a:gd name="T35" fmla="*/ 2147483646 h 1333"/>
                <a:gd name="T36" fmla="*/ 2147483646 w 1899"/>
                <a:gd name="T37" fmla="*/ 2147483646 h 1333"/>
                <a:gd name="T38" fmla="*/ 2147483646 w 1899"/>
                <a:gd name="T39" fmla="*/ 2147483646 h 1333"/>
                <a:gd name="T40" fmla="*/ 2147483646 w 1899"/>
                <a:gd name="T41" fmla="*/ 2147483646 h 1333"/>
                <a:gd name="T42" fmla="*/ 2147483646 w 1899"/>
                <a:gd name="T43" fmla="*/ 2147483646 h 1333"/>
                <a:gd name="T44" fmla="*/ 2147483646 w 1899"/>
                <a:gd name="T45" fmla="*/ 2147483646 h 1333"/>
                <a:gd name="T46" fmla="*/ 2147483646 w 1899"/>
                <a:gd name="T47" fmla="*/ 2147483646 h 1333"/>
                <a:gd name="T48" fmla="*/ 2147483646 w 1899"/>
                <a:gd name="T49" fmla="*/ 2147483646 h 1333"/>
                <a:gd name="T50" fmla="*/ 2147483646 w 1899"/>
                <a:gd name="T51" fmla="*/ 2147483646 h 1333"/>
                <a:gd name="T52" fmla="*/ 2147483646 w 1899"/>
                <a:gd name="T53" fmla="*/ 2147483646 h 1333"/>
                <a:gd name="T54" fmla="*/ 2147483646 w 1899"/>
                <a:gd name="T55" fmla="*/ 2147483646 h 1333"/>
                <a:gd name="T56" fmla="*/ 2147483646 w 1899"/>
                <a:gd name="T57" fmla="*/ 2147483646 h 1333"/>
                <a:gd name="T58" fmla="*/ 2147483646 w 1899"/>
                <a:gd name="T59" fmla="*/ 2147483646 h 1333"/>
                <a:gd name="T60" fmla="*/ 2147483646 w 1899"/>
                <a:gd name="T61" fmla="*/ 2147483646 h 1333"/>
                <a:gd name="T62" fmla="*/ 2147483646 w 1899"/>
                <a:gd name="T63" fmla="*/ 2147483646 h 1333"/>
                <a:gd name="T64" fmla="*/ 2147483646 w 1899"/>
                <a:gd name="T65" fmla="*/ 2147483646 h 1333"/>
                <a:gd name="T66" fmla="*/ 2147483646 w 1899"/>
                <a:gd name="T67" fmla="*/ 2147483646 h 1333"/>
                <a:gd name="T68" fmla="*/ 2147483646 w 1899"/>
                <a:gd name="T69" fmla="*/ 2147483646 h 1333"/>
                <a:gd name="T70" fmla="*/ 2147483646 w 1899"/>
                <a:gd name="T71" fmla="*/ 2147483646 h 1333"/>
                <a:gd name="T72" fmla="*/ 2147483646 w 1899"/>
                <a:gd name="T73" fmla="*/ 2147483646 h 1333"/>
                <a:gd name="T74" fmla="*/ 2147483646 w 1899"/>
                <a:gd name="T75" fmla="*/ 2147483646 h 1333"/>
                <a:gd name="T76" fmla="*/ 2147483646 w 1899"/>
                <a:gd name="T77" fmla="*/ 2147483646 h 1333"/>
                <a:gd name="T78" fmla="*/ 2147483646 w 1899"/>
                <a:gd name="T79" fmla="*/ 2147483646 h 1333"/>
                <a:gd name="T80" fmla="*/ 2147483646 w 1899"/>
                <a:gd name="T81" fmla="*/ 2147483646 h 1333"/>
                <a:gd name="T82" fmla="*/ 2147483646 w 1899"/>
                <a:gd name="T83" fmla="*/ 2147483646 h 1333"/>
                <a:gd name="T84" fmla="*/ 2147483646 w 1899"/>
                <a:gd name="T85" fmla="*/ 2147483646 h 1333"/>
                <a:gd name="T86" fmla="*/ 2147483646 w 1899"/>
                <a:gd name="T87" fmla="*/ 2147483646 h 1333"/>
                <a:gd name="T88" fmla="*/ 2147483646 w 1899"/>
                <a:gd name="T89" fmla="*/ 2147483646 h 1333"/>
                <a:gd name="T90" fmla="*/ 2147483646 w 1899"/>
                <a:gd name="T91" fmla="*/ 2147483646 h 1333"/>
                <a:gd name="T92" fmla="*/ 2147483646 w 1899"/>
                <a:gd name="T93" fmla="*/ 2147483646 h 1333"/>
                <a:gd name="T94" fmla="*/ 2147483646 w 1899"/>
                <a:gd name="T95" fmla="*/ 2147483646 h 1333"/>
                <a:gd name="T96" fmla="*/ 2147483646 w 1899"/>
                <a:gd name="T97" fmla="*/ 2147483646 h 1333"/>
                <a:gd name="T98" fmla="*/ 2147483646 w 1899"/>
                <a:gd name="T99" fmla="*/ 2147483646 h 1333"/>
                <a:gd name="T100" fmla="*/ 2147483646 w 1899"/>
                <a:gd name="T101" fmla="*/ 2147483646 h 1333"/>
                <a:gd name="T102" fmla="*/ 2147483646 w 1899"/>
                <a:gd name="T103" fmla="*/ 2147483646 h 1333"/>
                <a:gd name="T104" fmla="*/ 2147483646 w 1899"/>
                <a:gd name="T105" fmla="*/ 2147483646 h 1333"/>
                <a:gd name="T106" fmla="*/ 2147483646 w 1899"/>
                <a:gd name="T107" fmla="*/ 2147483646 h 1333"/>
                <a:gd name="T108" fmla="*/ 2147483646 w 1899"/>
                <a:gd name="T109" fmla="*/ 2147483646 h 1333"/>
                <a:gd name="T110" fmla="*/ 2147483646 w 1899"/>
                <a:gd name="T111" fmla="*/ 2147483646 h 1333"/>
                <a:gd name="T112" fmla="*/ 2147483646 w 1899"/>
                <a:gd name="T113" fmla="*/ 2147483646 h 1333"/>
                <a:gd name="T114" fmla="*/ 2147483646 w 1899"/>
                <a:gd name="T115" fmla="*/ 2147483646 h 1333"/>
                <a:gd name="T116" fmla="*/ 2147483646 w 1899"/>
                <a:gd name="T117" fmla="*/ 2147483646 h 1333"/>
                <a:gd name="T118" fmla="*/ 2147483646 w 1899"/>
                <a:gd name="T119" fmla="*/ 2147483646 h 1333"/>
                <a:gd name="T120" fmla="*/ 2147483646 w 1899"/>
                <a:gd name="T121" fmla="*/ 2147483646 h 1333"/>
                <a:gd name="T122" fmla="*/ 2147483646 w 1899"/>
                <a:gd name="T123" fmla="*/ 2147483646 h 1333"/>
                <a:gd name="T124" fmla="*/ 2147483646 w 1899"/>
                <a:gd name="T125" fmla="*/ 2147483646 h 133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899" h="1333">
                  <a:moveTo>
                    <a:pt x="1740" y="0"/>
                  </a:moveTo>
                  <a:cubicBezTo>
                    <a:pt x="1740" y="0"/>
                    <a:pt x="1740" y="0"/>
                    <a:pt x="1740" y="0"/>
                  </a:cubicBezTo>
                  <a:cubicBezTo>
                    <a:pt x="1669" y="0"/>
                    <a:pt x="1591" y="58"/>
                    <a:pt x="1518" y="139"/>
                  </a:cubicBezTo>
                  <a:cubicBezTo>
                    <a:pt x="1516" y="141"/>
                    <a:pt x="1513" y="143"/>
                    <a:pt x="1511" y="146"/>
                  </a:cubicBezTo>
                  <a:cubicBezTo>
                    <a:pt x="1502" y="156"/>
                    <a:pt x="1493" y="166"/>
                    <a:pt x="1484" y="177"/>
                  </a:cubicBezTo>
                  <a:cubicBezTo>
                    <a:pt x="1483" y="178"/>
                    <a:pt x="1483" y="179"/>
                    <a:pt x="1482" y="180"/>
                  </a:cubicBezTo>
                  <a:cubicBezTo>
                    <a:pt x="1470" y="195"/>
                    <a:pt x="1457" y="210"/>
                    <a:pt x="1445" y="225"/>
                  </a:cubicBezTo>
                  <a:cubicBezTo>
                    <a:pt x="1445" y="226"/>
                    <a:pt x="1444" y="226"/>
                    <a:pt x="1444" y="227"/>
                  </a:cubicBezTo>
                  <a:cubicBezTo>
                    <a:pt x="1428" y="248"/>
                    <a:pt x="1411" y="270"/>
                    <a:pt x="1396" y="293"/>
                  </a:cubicBezTo>
                  <a:cubicBezTo>
                    <a:pt x="1395" y="293"/>
                    <a:pt x="1395" y="293"/>
                    <a:pt x="1395" y="294"/>
                  </a:cubicBezTo>
                  <a:cubicBezTo>
                    <a:pt x="1373" y="325"/>
                    <a:pt x="1352" y="356"/>
                    <a:pt x="1332" y="386"/>
                  </a:cubicBezTo>
                  <a:cubicBezTo>
                    <a:pt x="1333" y="385"/>
                    <a:pt x="1335" y="383"/>
                    <a:pt x="1336" y="382"/>
                  </a:cubicBezTo>
                  <a:cubicBezTo>
                    <a:pt x="1355" y="353"/>
                    <a:pt x="1375" y="323"/>
                    <a:pt x="1396" y="294"/>
                  </a:cubicBezTo>
                  <a:cubicBezTo>
                    <a:pt x="1396" y="294"/>
                    <a:pt x="1396" y="293"/>
                    <a:pt x="1397" y="293"/>
                  </a:cubicBezTo>
                  <a:cubicBezTo>
                    <a:pt x="1413" y="270"/>
                    <a:pt x="1429" y="248"/>
                    <a:pt x="1446" y="226"/>
                  </a:cubicBezTo>
                  <a:cubicBezTo>
                    <a:pt x="1446" y="226"/>
                    <a:pt x="1447" y="225"/>
                    <a:pt x="1447" y="225"/>
                  </a:cubicBezTo>
                  <a:cubicBezTo>
                    <a:pt x="1460" y="209"/>
                    <a:pt x="1472" y="193"/>
                    <a:pt x="1485" y="177"/>
                  </a:cubicBezTo>
                  <a:cubicBezTo>
                    <a:pt x="1486" y="176"/>
                    <a:pt x="1487" y="176"/>
                    <a:pt x="1487" y="175"/>
                  </a:cubicBezTo>
                  <a:cubicBezTo>
                    <a:pt x="1498" y="163"/>
                    <a:pt x="1508" y="151"/>
                    <a:pt x="1519" y="139"/>
                  </a:cubicBezTo>
                  <a:cubicBezTo>
                    <a:pt x="1520" y="137"/>
                    <a:pt x="1522" y="135"/>
                    <a:pt x="1524" y="133"/>
                  </a:cubicBezTo>
                  <a:cubicBezTo>
                    <a:pt x="1596" y="56"/>
                    <a:pt x="1671" y="1"/>
                    <a:pt x="1740" y="1"/>
                  </a:cubicBezTo>
                  <a:cubicBezTo>
                    <a:pt x="1774" y="1"/>
                    <a:pt x="1807" y="14"/>
                    <a:pt x="1837" y="44"/>
                  </a:cubicBezTo>
                  <a:cubicBezTo>
                    <a:pt x="1879" y="87"/>
                    <a:pt x="1898" y="138"/>
                    <a:pt x="1898" y="193"/>
                  </a:cubicBezTo>
                  <a:cubicBezTo>
                    <a:pt x="1898" y="247"/>
                    <a:pt x="1880" y="305"/>
                    <a:pt x="1848" y="364"/>
                  </a:cubicBezTo>
                  <a:cubicBezTo>
                    <a:pt x="1846" y="368"/>
                    <a:pt x="1844" y="373"/>
                    <a:pt x="1842" y="377"/>
                  </a:cubicBezTo>
                  <a:cubicBezTo>
                    <a:pt x="1879" y="313"/>
                    <a:pt x="1899" y="251"/>
                    <a:pt x="1899" y="193"/>
                  </a:cubicBezTo>
                  <a:cubicBezTo>
                    <a:pt x="1899" y="137"/>
                    <a:pt x="1880" y="86"/>
                    <a:pt x="1838" y="44"/>
                  </a:cubicBezTo>
                  <a:cubicBezTo>
                    <a:pt x="1807" y="13"/>
                    <a:pt x="1774" y="0"/>
                    <a:pt x="1740" y="0"/>
                  </a:cubicBezTo>
                  <a:moveTo>
                    <a:pt x="1841" y="377"/>
                  </a:moveTo>
                  <a:cubicBezTo>
                    <a:pt x="1838" y="383"/>
                    <a:pt x="1834" y="389"/>
                    <a:pt x="1830" y="395"/>
                  </a:cubicBezTo>
                  <a:cubicBezTo>
                    <a:pt x="1829" y="398"/>
                    <a:pt x="1828" y="400"/>
                    <a:pt x="1827" y="402"/>
                  </a:cubicBezTo>
                  <a:cubicBezTo>
                    <a:pt x="1829" y="398"/>
                    <a:pt x="1832" y="394"/>
                    <a:pt x="1834" y="391"/>
                  </a:cubicBezTo>
                  <a:cubicBezTo>
                    <a:pt x="1837" y="386"/>
                    <a:pt x="1839" y="381"/>
                    <a:pt x="1841" y="377"/>
                  </a:cubicBezTo>
                  <a:moveTo>
                    <a:pt x="1333" y="387"/>
                  </a:moveTo>
                  <a:cubicBezTo>
                    <a:pt x="1332" y="387"/>
                    <a:pt x="1332" y="388"/>
                    <a:pt x="1332" y="388"/>
                  </a:cubicBezTo>
                  <a:cubicBezTo>
                    <a:pt x="1332" y="388"/>
                    <a:pt x="1332" y="388"/>
                    <a:pt x="1332" y="387"/>
                  </a:cubicBezTo>
                  <a:cubicBezTo>
                    <a:pt x="1333" y="387"/>
                    <a:pt x="1333" y="387"/>
                    <a:pt x="1333" y="387"/>
                  </a:cubicBezTo>
                  <a:moveTo>
                    <a:pt x="1331" y="390"/>
                  </a:moveTo>
                  <a:cubicBezTo>
                    <a:pt x="1330" y="391"/>
                    <a:pt x="1329" y="392"/>
                    <a:pt x="1328" y="393"/>
                  </a:cubicBezTo>
                  <a:cubicBezTo>
                    <a:pt x="1327" y="394"/>
                    <a:pt x="1326" y="396"/>
                    <a:pt x="1324" y="398"/>
                  </a:cubicBezTo>
                  <a:cubicBezTo>
                    <a:pt x="1324" y="398"/>
                    <a:pt x="1324" y="399"/>
                    <a:pt x="1324" y="399"/>
                  </a:cubicBezTo>
                  <a:cubicBezTo>
                    <a:pt x="1323" y="400"/>
                    <a:pt x="1322" y="402"/>
                    <a:pt x="1321" y="403"/>
                  </a:cubicBezTo>
                  <a:cubicBezTo>
                    <a:pt x="1321" y="403"/>
                    <a:pt x="1322" y="402"/>
                    <a:pt x="1322" y="402"/>
                  </a:cubicBezTo>
                  <a:cubicBezTo>
                    <a:pt x="1324" y="400"/>
                    <a:pt x="1325" y="398"/>
                    <a:pt x="1327" y="396"/>
                  </a:cubicBezTo>
                  <a:cubicBezTo>
                    <a:pt x="1328" y="394"/>
                    <a:pt x="1329" y="392"/>
                    <a:pt x="1331" y="390"/>
                  </a:cubicBezTo>
                  <a:moveTo>
                    <a:pt x="1825" y="403"/>
                  </a:moveTo>
                  <a:cubicBezTo>
                    <a:pt x="1820" y="411"/>
                    <a:pt x="1815" y="419"/>
                    <a:pt x="1809" y="428"/>
                  </a:cubicBezTo>
                  <a:cubicBezTo>
                    <a:pt x="1809" y="428"/>
                    <a:pt x="1808" y="429"/>
                    <a:pt x="1808" y="430"/>
                  </a:cubicBezTo>
                  <a:cubicBezTo>
                    <a:pt x="1813" y="423"/>
                    <a:pt x="1818" y="416"/>
                    <a:pt x="1823" y="409"/>
                  </a:cubicBezTo>
                  <a:cubicBezTo>
                    <a:pt x="1824" y="407"/>
                    <a:pt x="1824" y="406"/>
                    <a:pt x="1825" y="404"/>
                  </a:cubicBezTo>
                  <a:cubicBezTo>
                    <a:pt x="1825" y="404"/>
                    <a:pt x="1825" y="403"/>
                    <a:pt x="1825" y="403"/>
                  </a:cubicBezTo>
                  <a:moveTo>
                    <a:pt x="1320" y="405"/>
                  </a:moveTo>
                  <a:cubicBezTo>
                    <a:pt x="1320" y="405"/>
                    <a:pt x="1320" y="405"/>
                    <a:pt x="1320" y="405"/>
                  </a:cubicBezTo>
                  <a:cubicBezTo>
                    <a:pt x="1319" y="406"/>
                    <a:pt x="1319" y="406"/>
                    <a:pt x="1319" y="407"/>
                  </a:cubicBezTo>
                  <a:cubicBezTo>
                    <a:pt x="1319" y="406"/>
                    <a:pt x="1320" y="405"/>
                    <a:pt x="1320" y="405"/>
                  </a:cubicBezTo>
                  <a:moveTo>
                    <a:pt x="1320" y="407"/>
                  </a:moveTo>
                  <a:cubicBezTo>
                    <a:pt x="1316" y="412"/>
                    <a:pt x="1313" y="416"/>
                    <a:pt x="1310" y="421"/>
                  </a:cubicBezTo>
                  <a:cubicBezTo>
                    <a:pt x="1309" y="421"/>
                    <a:pt x="1309" y="421"/>
                    <a:pt x="1309" y="422"/>
                  </a:cubicBezTo>
                  <a:cubicBezTo>
                    <a:pt x="1310" y="422"/>
                    <a:pt x="1310" y="421"/>
                    <a:pt x="1311" y="421"/>
                  </a:cubicBezTo>
                  <a:cubicBezTo>
                    <a:pt x="1314" y="416"/>
                    <a:pt x="1317" y="412"/>
                    <a:pt x="1320" y="407"/>
                  </a:cubicBezTo>
                  <a:moveTo>
                    <a:pt x="1310" y="423"/>
                  </a:moveTo>
                  <a:cubicBezTo>
                    <a:pt x="1309" y="423"/>
                    <a:pt x="1308" y="423"/>
                    <a:pt x="1308" y="424"/>
                  </a:cubicBezTo>
                  <a:cubicBezTo>
                    <a:pt x="1303" y="431"/>
                    <a:pt x="1299" y="438"/>
                    <a:pt x="1294" y="445"/>
                  </a:cubicBezTo>
                  <a:cubicBezTo>
                    <a:pt x="1295" y="445"/>
                    <a:pt x="1295" y="444"/>
                    <a:pt x="1296" y="444"/>
                  </a:cubicBezTo>
                  <a:cubicBezTo>
                    <a:pt x="1300" y="437"/>
                    <a:pt x="1305" y="430"/>
                    <a:pt x="1310" y="423"/>
                  </a:cubicBezTo>
                  <a:moveTo>
                    <a:pt x="1807" y="430"/>
                  </a:moveTo>
                  <a:cubicBezTo>
                    <a:pt x="1802" y="438"/>
                    <a:pt x="1796" y="446"/>
                    <a:pt x="1790" y="454"/>
                  </a:cubicBezTo>
                  <a:cubicBezTo>
                    <a:pt x="1790" y="455"/>
                    <a:pt x="1789" y="455"/>
                    <a:pt x="1789" y="456"/>
                  </a:cubicBezTo>
                  <a:cubicBezTo>
                    <a:pt x="1795" y="448"/>
                    <a:pt x="1801" y="440"/>
                    <a:pt x="1807" y="433"/>
                  </a:cubicBezTo>
                  <a:cubicBezTo>
                    <a:pt x="1807" y="432"/>
                    <a:pt x="1807" y="431"/>
                    <a:pt x="1807" y="430"/>
                  </a:cubicBezTo>
                  <a:moveTo>
                    <a:pt x="1295" y="446"/>
                  </a:moveTo>
                  <a:cubicBezTo>
                    <a:pt x="1294" y="446"/>
                    <a:pt x="1294" y="446"/>
                    <a:pt x="1293" y="446"/>
                  </a:cubicBezTo>
                  <a:cubicBezTo>
                    <a:pt x="1290" y="452"/>
                    <a:pt x="1286" y="458"/>
                    <a:pt x="1282" y="464"/>
                  </a:cubicBezTo>
                  <a:cubicBezTo>
                    <a:pt x="1283" y="464"/>
                    <a:pt x="1283" y="463"/>
                    <a:pt x="1284" y="463"/>
                  </a:cubicBezTo>
                  <a:cubicBezTo>
                    <a:pt x="1287" y="458"/>
                    <a:pt x="1291" y="452"/>
                    <a:pt x="1295" y="446"/>
                  </a:cubicBezTo>
                  <a:moveTo>
                    <a:pt x="1074" y="451"/>
                  </a:moveTo>
                  <a:cubicBezTo>
                    <a:pt x="1060" y="451"/>
                    <a:pt x="1043" y="455"/>
                    <a:pt x="1025" y="464"/>
                  </a:cubicBezTo>
                  <a:cubicBezTo>
                    <a:pt x="1024" y="464"/>
                    <a:pt x="1024" y="465"/>
                    <a:pt x="1023" y="465"/>
                  </a:cubicBezTo>
                  <a:cubicBezTo>
                    <a:pt x="1015" y="469"/>
                    <a:pt x="1008" y="473"/>
                    <a:pt x="1000" y="479"/>
                  </a:cubicBezTo>
                  <a:cubicBezTo>
                    <a:pt x="1000" y="479"/>
                    <a:pt x="1000" y="479"/>
                    <a:pt x="999" y="479"/>
                  </a:cubicBezTo>
                  <a:cubicBezTo>
                    <a:pt x="992" y="485"/>
                    <a:pt x="984" y="491"/>
                    <a:pt x="977" y="498"/>
                  </a:cubicBezTo>
                  <a:cubicBezTo>
                    <a:pt x="977" y="498"/>
                    <a:pt x="977" y="498"/>
                    <a:pt x="976" y="499"/>
                  </a:cubicBezTo>
                  <a:cubicBezTo>
                    <a:pt x="969" y="506"/>
                    <a:pt x="961" y="515"/>
                    <a:pt x="955" y="524"/>
                  </a:cubicBezTo>
                  <a:cubicBezTo>
                    <a:pt x="955" y="524"/>
                    <a:pt x="955" y="525"/>
                    <a:pt x="955" y="525"/>
                  </a:cubicBezTo>
                  <a:cubicBezTo>
                    <a:pt x="944" y="541"/>
                    <a:pt x="937" y="559"/>
                    <a:pt x="935" y="579"/>
                  </a:cubicBezTo>
                  <a:cubicBezTo>
                    <a:pt x="935" y="578"/>
                    <a:pt x="936" y="577"/>
                    <a:pt x="936" y="576"/>
                  </a:cubicBezTo>
                  <a:cubicBezTo>
                    <a:pt x="938" y="558"/>
                    <a:pt x="945" y="541"/>
                    <a:pt x="955" y="526"/>
                  </a:cubicBezTo>
                  <a:cubicBezTo>
                    <a:pt x="956" y="525"/>
                    <a:pt x="956" y="525"/>
                    <a:pt x="956" y="525"/>
                  </a:cubicBezTo>
                  <a:cubicBezTo>
                    <a:pt x="962" y="516"/>
                    <a:pt x="969" y="507"/>
                    <a:pt x="977" y="499"/>
                  </a:cubicBezTo>
                  <a:cubicBezTo>
                    <a:pt x="978" y="499"/>
                    <a:pt x="978" y="499"/>
                    <a:pt x="978" y="498"/>
                  </a:cubicBezTo>
                  <a:cubicBezTo>
                    <a:pt x="981" y="496"/>
                    <a:pt x="983" y="494"/>
                    <a:pt x="986" y="491"/>
                  </a:cubicBezTo>
                  <a:cubicBezTo>
                    <a:pt x="991" y="487"/>
                    <a:pt x="996" y="483"/>
                    <a:pt x="1001" y="480"/>
                  </a:cubicBezTo>
                  <a:cubicBezTo>
                    <a:pt x="1001" y="479"/>
                    <a:pt x="1001" y="479"/>
                    <a:pt x="1002" y="479"/>
                  </a:cubicBezTo>
                  <a:cubicBezTo>
                    <a:pt x="1010" y="474"/>
                    <a:pt x="1017" y="469"/>
                    <a:pt x="1025" y="465"/>
                  </a:cubicBezTo>
                  <a:cubicBezTo>
                    <a:pt x="1026" y="465"/>
                    <a:pt x="1027" y="464"/>
                    <a:pt x="1028" y="464"/>
                  </a:cubicBezTo>
                  <a:cubicBezTo>
                    <a:pt x="1044" y="456"/>
                    <a:pt x="1061" y="452"/>
                    <a:pt x="1074" y="452"/>
                  </a:cubicBezTo>
                  <a:cubicBezTo>
                    <a:pt x="1095" y="452"/>
                    <a:pt x="1109" y="461"/>
                    <a:pt x="1109" y="483"/>
                  </a:cubicBezTo>
                  <a:cubicBezTo>
                    <a:pt x="1109" y="488"/>
                    <a:pt x="1108" y="493"/>
                    <a:pt x="1107" y="498"/>
                  </a:cubicBezTo>
                  <a:cubicBezTo>
                    <a:pt x="1107" y="499"/>
                    <a:pt x="1106" y="499"/>
                    <a:pt x="1106" y="499"/>
                  </a:cubicBezTo>
                  <a:cubicBezTo>
                    <a:pt x="1105" y="505"/>
                    <a:pt x="1103" y="511"/>
                    <a:pt x="1100" y="518"/>
                  </a:cubicBezTo>
                  <a:cubicBezTo>
                    <a:pt x="1100" y="519"/>
                    <a:pt x="1100" y="520"/>
                    <a:pt x="1100" y="521"/>
                  </a:cubicBezTo>
                  <a:cubicBezTo>
                    <a:pt x="1103" y="513"/>
                    <a:pt x="1106" y="506"/>
                    <a:pt x="1107" y="499"/>
                  </a:cubicBezTo>
                  <a:cubicBezTo>
                    <a:pt x="1108" y="499"/>
                    <a:pt x="1108" y="499"/>
                    <a:pt x="1108" y="498"/>
                  </a:cubicBezTo>
                  <a:cubicBezTo>
                    <a:pt x="1109" y="493"/>
                    <a:pt x="1110" y="488"/>
                    <a:pt x="1110" y="483"/>
                  </a:cubicBezTo>
                  <a:cubicBezTo>
                    <a:pt x="1110" y="461"/>
                    <a:pt x="1095" y="451"/>
                    <a:pt x="1074" y="451"/>
                  </a:cubicBezTo>
                  <a:moveTo>
                    <a:pt x="1788" y="456"/>
                  </a:moveTo>
                  <a:cubicBezTo>
                    <a:pt x="1782" y="463"/>
                    <a:pt x="1776" y="471"/>
                    <a:pt x="1770" y="479"/>
                  </a:cubicBezTo>
                  <a:cubicBezTo>
                    <a:pt x="1770" y="479"/>
                    <a:pt x="1770" y="480"/>
                    <a:pt x="1770" y="481"/>
                  </a:cubicBezTo>
                  <a:cubicBezTo>
                    <a:pt x="1776" y="473"/>
                    <a:pt x="1782" y="466"/>
                    <a:pt x="1788" y="458"/>
                  </a:cubicBezTo>
                  <a:cubicBezTo>
                    <a:pt x="1788" y="457"/>
                    <a:pt x="1788" y="456"/>
                    <a:pt x="1788" y="456"/>
                  </a:cubicBezTo>
                  <a:moveTo>
                    <a:pt x="1283" y="465"/>
                  </a:moveTo>
                  <a:cubicBezTo>
                    <a:pt x="1282" y="465"/>
                    <a:pt x="1282" y="465"/>
                    <a:pt x="1282" y="465"/>
                  </a:cubicBezTo>
                  <a:cubicBezTo>
                    <a:pt x="1276" y="474"/>
                    <a:pt x="1270" y="484"/>
                    <a:pt x="1264" y="493"/>
                  </a:cubicBezTo>
                  <a:cubicBezTo>
                    <a:pt x="1264" y="493"/>
                    <a:pt x="1265" y="493"/>
                    <a:pt x="1265" y="493"/>
                  </a:cubicBezTo>
                  <a:cubicBezTo>
                    <a:pt x="1271" y="484"/>
                    <a:pt x="1277" y="474"/>
                    <a:pt x="1283" y="465"/>
                  </a:cubicBezTo>
                  <a:moveTo>
                    <a:pt x="1769" y="480"/>
                  </a:moveTo>
                  <a:cubicBezTo>
                    <a:pt x="1763" y="487"/>
                    <a:pt x="1756" y="495"/>
                    <a:pt x="1750" y="502"/>
                  </a:cubicBezTo>
                  <a:cubicBezTo>
                    <a:pt x="1750" y="503"/>
                    <a:pt x="1750" y="503"/>
                    <a:pt x="1750" y="504"/>
                  </a:cubicBezTo>
                  <a:cubicBezTo>
                    <a:pt x="1756" y="497"/>
                    <a:pt x="1762" y="489"/>
                    <a:pt x="1768" y="482"/>
                  </a:cubicBezTo>
                  <a:cubicBezTo>
                    <a:pt x="1768" y="482"/>
                    <a:pt x="1769" y="481"/>
                    <a:pt x="1769" y="480"/>
                  </a:cubicBezTo>
                  <a:moveTo>
                    <a:pt x="1263" y="494"/>
                  </a:moveTo>
                  <a:cubicBezTo>
                    <a:pt x="1260" y="499"/>
                    <a:pt x="1257" y="503"/>
                    <a:pt x="1254" y="508"/>
                  </a:cubicBezTo>
                  <a:cubicBezTo>
                    <a:pt x="1251" y="513"/>
                    <a:pt x="1248" y="519"/>
                    <a:pt x="1245" y="524"/>
                  </a:cubicBezTo>
                  <a:cubicBezTo>
                    <a:pt x="1251" y="514"/>
                    <a:pt x="1258" y="504"/>
                    <a:pt x="1265" y="494"/>
                  </a:cubicBezTo>
                  <a:cubicBezTo>
                    <a:pt x="1264" y="494"/>
                    <a:pt x="1264" y="494"/>
                    <a:pt x="1263" y="494"/>
                  </a:cubicBezTo>
                  <a:moveTo>
                    <a:pt x="1749" y="503"/>
                  </a:moveTo>
                  <a:cubicBezTo>
                    <a:pt x="1743" y="510"/>
                    <a:pt x="1736" y="518"/>
                    <a:pt x="1730" y="524"/>
                  </a:cubicBezTo>
                  <a:cubicBezTo>
                    <a:pt x="1730" y="525"/>
                    <a:pt x="1730" y="526"/>
                    <a:pt x="1730" y="526"/>
                  </a:cubicBezTo>
                  <a:cubicBezTo>
                    <a:pt x="1736" y="519"/>
                    <a:pt x="1742" y="512"/>
                    <a:pt x="1749" y="505"/>
                  </a:cubicBezTo>
                  <a:cubicBezTo>
                    <a:pt x="1749" y="505"/>
                    <a:pt x="1749" y="504"/>
                    <a:pt x="1749" y="503"/>
                  </a:cubicBezTo>
                  <a:moveTo>
                    <a:pt x="1099" y="521"/>
                  </a:moveTo>
                  <a:cubicBezTo>
                    <a:pt x="1098" y="523"/>
                    <a:pt x="1097" y="524"/>
                    <a:pt x="1097" y="526"/>
                  </a:cubicBezTo>
                  <a:cubicBezTo>
                    <a:pt x="1095" y="530"/>
                    <a:pt x="1093" y="533"/>
                    <a:pt x="1092" y="536"/>
                  </a:cubicBezTo>
                  <a:cubicBezTo>
                    <a:pt x="1093" y="536"/>
                    <a:pt x="1093" y="536"/>
                    <a:pt x="1093" y="536"/>
                  </a:cubicBezTo>
                  <a:cubicBezTo>
                    <a:pt x="1095" y="533"/>
                    <a:pt x="1096" y="530"/>
                    <a:pt x="1097" y="527"/>
                  </a:cubicBezTo>
                  <a:cubicBezTo>
                    <a:pt x="1098" y="526"/>
                    <a:pt x="1098" y="525"/>
                    <a:pt x="1099" y="524"/>
                  </a:cubicBezTo>
                  <a:cubicBezTo>
                    <a:pt x="1099" y="523"/>
                    <a:pt x="1099" y="522"/>
                    <a:pt x="1099" y="521"/>
                  </a:cubicBezTo>
                  <a:moveTo>
                    <a:pt x="1244" y="524"/>
                  </a:moveTo>
                  <a:cubicBezTo>
                    <a:pt x="1244" y="525"/>
                    <a:pt x="1243" y="526"/>
                    <a:pt x="1242" y="528"/>
                  </a:cubicBezTo>
                  <a:cubicBezTo>
                    <a:pt x="1242" y="528"/>
                    <a:pt x="1242" y="528"/>
                    <a:pt x="1242" y="528"/>
                  </a:cubicBezTo>
                  <a:cubicBezTo>
                    <a:pt x="1243" y="526"/>
                    <a:pt x="1244" y="525"/>
                    <a:pt x="1244" y="524"/>
                  </a:cubicBezTo>
                  <a:moveTo>
                    <a:pt x="1729" y="526"/>
                  </a:moveTo>
                  <a:cubicBezTo>
                    <a:pt x="1722" y="532"/>
                    <a:pt x="1716" y="539"/>
                    <a:pt x="1709" y="546"/>
                  </a:cubicBezTo>
                  <a:cubicBezTo>
                    <a:pt x="1709" y="546"/>
                    <a:pt x="1709" y="547"/>
                    <a:pt x="1709" y="547"/>
                  </a:cubicBezTo>
                  <a:cubicBezTo>
                    <a:pt x="1716" y="541"/>
                    <a:pt x="1722" y="534"/>
                    <a:pt x="1728" y="527"/>
                  </a:cubicBezTo>
                  <a:cubicBezTo>
                    <a:pt x="1729" y="527"/>
                    <a:pt x="1729" y="526"/>
                    <a:pt x="1729" y="526"/>
                  </a:cubicBezTo>
                  <a:moveTo>
                    <a:pt x="1241" y="529"/>
                  </a:moveTo>
                  <a:cubicBezTo>
                    <a:pt x="1233" y="542"/>
                    <a:pt x="1225" y="553"/>
                    <a:pt x="1219" y="563"/>
                  </a:cubicBezTo>
                  <a:cubicBezTo>
                    <a:pt x="1219" y="564"/>
                    <a:pt x="1219" y="564"/>
                    <a:pt x="1220" y="564"/>
                  </a:cubicBezTo>
                  <a:cubicBezTo>
                    <a:pt x="1225" y="555"/>
                    <a:pt x="1231" y="546"/>
                    <a:pt x="1238" y="536"/>
                  </a:cubicBezTo>
                  <a:cubicBezTo>
                    <a:pt x="1239" y="534"/>
                    <a:pt x="1240" y="531"/>
                    <a:pt x="1242" y="529"/>
                  </a:cubicBezTo>
                  <a:cubicBezTo>
                    <a:pt x="1241" y="529"/>
                    <a:pt x="1241" y="529"/>
                    <a:pt x="1241" y="529"/>
                  </a:cubicBezTo>
                  <a:moveTo>
                    <a:pt x="1093" y="537"/>
                  </a:moveTo>
                  <a:cubicBezTo>
                    <a:pt x="1092" y="537"/>
                    <a:pt x="1092" y="537"/>
                    <a:pt x="1092" y="537"/>
                  </a:cubicBezTo>
                  <a:cubicBezTo>
                    <a:pt x="1091" y="539"/>
                    <a:pt x="1090" y="540"/>
                    <a:pt x="1090" y="542"/>
                  </a:cubicBezTo>
                  <a:cubicBezTo>
                    <a:pt x="1090" y="543"/>
                    <a:pt x="1090" y="543"/>
                    <a:pt x="1090" y="544"/>
                  </a:cubicBezTo>
                  <a:cubicBezTo>
                    <a:pt x="1091" y="542"/>
                    <a:pt x="1092" y="539"/>
                    <a:pt x="1093" y="537"/>
                  </a:cubicBezTo>
                  <a:moveTo>
                    <a:pt x="1089" y="544"/>
                  </a:moveTo>
                  <a:cubicBezTo>
                    <a:pt x="1088" y="547"/>
                    <a:pt x="1086" y="551"/>
                    <a:pt x="1085" y="554"/>
                  </a:cubicBezTo>
                  <a:cubicBezTo>
                    <a:pt x="1086" y="553"/>
                    <a:pt x="1086" y="553"/>
                    <a:pt x="1087" y="552"/>
                  </a:cubicBezTo>
                  <a:cubicBezTo>
                    <a:pt x="1088" y="550"/>
                    <a:pt x="1088" y="548"/>
                    <a:pt x="1089" y="546"/>
                  </a:cubicBezTo>
                  <a:cubicBezTo>
                    <a:pt x="1089" y="546"/>
                    <a:pt x="1089" y="545"/>
                    <a:pt x="1089" y="544"/>
                  </a:cubicBezTo>
                  <a:moveTo>
                    <a:pt x="1708" y="547"/>
                  </a:moveTo>
                  <a:cubicBezTo>
                    <a:pt x="1702" y="553"/>
                    <a:pt x="1695" y="560"/>
                    <a:pt x="1688" y="566"/>
                  </a:cubicBezTo>
                  <a:cubicBezTo>
                    <a:pt x="1688" y="567"/>
                    <a:pt x="1688" y="567"/>
                    <a:pt x="1688" y="568"/>
                  </a:cubicBezTo>
                  <a:cubicBezTo>
                    <a:pt x="1695" y="561"/>
                    <a:pt x="1702" y="555"/>
                    <a:pt x="1708" y="548"/>
                  </a:cubicBezTo>
                  <a:cubicBezTo>
                    <a:pt x="1708" y="548"/>
                    <a:pt x="1708" y="547"/>
                    <a:pt x="1708" y="547"/>
                  </a:cubicBezTo>
                  <a:moveTo>
                    <a:pt x="1086" y="554"/>
                  </a:moveTo>
                  <a:cubicBezTo>
                    <a:pt x="1086" y="555"/>
                    <a:pt x="1085" y="555"/>
                    <a:pt x="1085" y="555"/>
                  </a:cubicBezTo>
                  <a:cubicBezTo>
                    <a:pt x="1085" y="555"/>
                    <a:pt x="1085" y="555"/>
                    <a:pt x="1086" y="555"/>
                  </a:cubicBezTo>
                  <a:cubicBezTo>
                    <a:pt x="1086" y="555"/>
                    <a:pt x="1086" y="555"/>
                    <a:pt x="1086" y="554"/>
                  </a:cubicBezTo>
                  <a:moveTo>
                    <a:pt x="1085" y="556"/>
                  </a:moveTo>
                  <a:cubicBezTo>
                    <a:pt x="1085" y="556"/>
                    <a:pt x="1085" y="557"/>
                    <a:pt x="1084" y="557"/>
                  </a:cubicBezTo>
                  <a:cubicBezTo>
                    <a:pt x="1084" y="557"/>
                    <a:pt x="1084" y="558"/>
                    <a:pt x="1084" y="559"/>
                  </a:cubicBezTo>
                  <a:cubicBezTo>
                    <a:pt x="1081" y="568"/>
                    <a:pt x="1079" y="577"/>
                    <a:pt x="1078" y="585"/>
                  </a:cubicBezTo>
                  <a:cubicBezTo>
                    <a:pt x="1078" y="585"/>
                    <a:pt x="1078" y="585"/>
                    <a:pt x="1078" y="585"/>
                  </a:cubicBezTo>
                  <a:cubicBezTo>
                    <a:pt x="1079" y="583"/>
                    <a:pt x="1079" y="581"/>
                    <a:pt x="1080" y="579"/>
                  </a:cubicBezTo>
                  <a:cubicBezTo>
                    <a:pt x="1081" y="572"/>
                    <a:pt x="1083" y="565"/>
                    <a:pt x="1085" y="556"/>
                  </a:cubicBezTo>
                  <a:moveTo>
                    <a:pt x="1218" y="564"/>
                  </a:moveTo>
                  <a:cubicBezTo>
                    <a:pt x="1216" y="567"/>
                    <a:pt x="1215" y="570"/>
                    <a:pt x="1213" y="572"/>
                  </a:cubicBezTo>
                  <a:cubicBezTo>
                    <a:pt x="1211" y="575"/>
                    <a:pt x="1209" y="578"/>
                    <a:pt x="1206" y="581"/>
                  </a:cubicBezTo>
                  <a:cubicBezTo>
                    <a:pt x="1206" y="583"/>
                    <a:pt x="1205" y="584"/>
                    <a:pt x="1204" y="585"/>
                  </a:cubicBezTo>
                  <a:cubicBezTo>
                    <a:pt x="1208" y="581"/>
                    <a:pt x="1211" y="577"/>
                    <a:pt x="1214" y="573"/>
                  </a:cubicBezTo>
                  <a:cubicBezTo>
                    <a:pt x="1216" y="570"/>
                    <a:pt x="1217" y="567"/>
                    <a:pt x="1219" y="565"/>
                  </a:cubicBezTo>
                  <a:cubicBezTo>
                    <a:pt x="1219" y="564"/>
                    <a:pt x="1218" y="564"/>
                    <a:pt x="1218" y="564"/>
                  </a:cubicBezTo>
                  <a:moveTo>
                    <a:pt x="1687" y="567"/>
                  </a:moveTo>
                  <a:cubicBezTo>
                    <a:pt x="1681" y="574"/>
                    <a:pt x="1674" y="580"/>
                    <a:pt x="1667" y="586"/>
                  </a:cubicBezTo>
                  <a:cubicBezTo>
                    <a:pt x="1667" y="587"/>
                    <a:pt x="1667" y="587"/>
                    <a:pt x="1667" y="588"/>
                  </a:cubicBezTo>
                  <a:cubicBezTo>
                    <a:pt x="1674" y="581"/>
                    <a:pt x="1681" y="575"/>
                    <a:pt x="1687" y="569"/>
                  </a:cubicBezTo>
                  <a:cubicBezTo>
                    <a:pt x="1687" y="568"/>
                    <a:pt x="1687" y="568"/>
                    <a:pt x="1687" y="567"/>
                  </a:cubicBezTo>
                  <a:moveTo>
                    <a:pt x="936" y="579"/>
                  </a:moveTo>
                  <a:cubicBezTo>
                    <a:pt x="935" y="580"/>
                    <a:pt x="935" y="581"/>
                    <a:pt x="934" y="582"/>
                  </a:cubicBezTo>
                  <a:cubicBezTo>
                    <a:pt x="934" y="585"/>
                    <a:pt x="934" y="587"/>
                    <a:pt x="934" y="589"/>
                  </a:cubicBezTo>
                  <a:cubicBezTo>
                    <a:pt x="934" y="590"/>
                    <a:pt x="934" y="591"/>
                    <a:pt x="934" y="593"/>
                  </a:cubicBezTo>
                  <a:cubicBezTo>
                    <a:pt x="935" y="592"/>
                    <a:pt x="935" y="592"/>
                    <a:pt x="935" y="591"/>
                  </a:cubicBezTo>
                  <a:cubicBezTo>
                    <a:pt x="935" y="590"/>
                    <a:pt x="935" y="590"/>
                    <a:pt x="935" y="589"/>
                  </a:cubicBezTo>
                  <a:cubicBezTo>
                    <a:pt x="935" y="586"/>
                    <a:pt x="935" y="582"/>
                    <a:pt x="936" y="579"/>
                  </a:cubicBezTo>
                  <a:moveTo>
                    <a:pt x="1203" y="585"/>
                  </a:moveTo>
                  <a:cubicBezTo>
                    <a:pt x="1203" y="586"/>
                    <a:pt x="1202" y="587"/>
                    <a:pt x="1201" y="587"/>
                  </a:cubicBezTo>
                  <a:cubicBezTo>
                    <a:pt x="1201" y="587"/>
                    <a:pt x="1202" y="587"/>
                    <a:pt x="1202" y="587"/>
                  </a:cubicBezTo>
                  <a:cubicBezTo>
                    <a:pt x="1203" y="587"/>
                    <a:pt x="1203" y="586"/>
                    <a:pt x="1203" y="585"/>
                  </a:cubicBezTo>
                  <a:moveTo>
                    <a:pt x="1079" y="586"/>
                  </a:moveTo>
                  <a:cubicBezTo>
                    <a:pt x="1079" y="586"/>
                    <a:pt x="1079" y="586"/>
                    <a:pt x="1079" y="586"/>
                  </a:cubicBezTo>
                  <a:cubicBezTo>
                    <a:pt x="1079" y="586"/>
                    <a:pt x="1078" y="587"/>
                    <a:pt x="1078" y="588"/>
                  </a:cubicBezTo>
                  <a:cubicBezTo>
                    <a:pt x="1078" y="588"/>
                    <a:pt x="1078" y="588"/>
                    <a:pt x="1078" y="589"/>
                  </a:cubicBezTo>
                  <a:cubicBezTo>
                    <a:pt x="1078" y="588"/>
                    <a:pt x="1079" y="588"/>
                    <a:pt x="1079" y="588"/>
                  </a:cubicBezTo>
                  <a:cubicBezTo>
                    <a:pt x="1079" y="587"/>
                    <a:pt x="1079" y="586"/>
                    <a:pt x="1079" y="586"/>
                  </a:cubicBezTo>
                  <a:moveTo>
                    <a:pt x="1666" y="587"/>
                  </a:moveTo>
                  <a:cubicBezTo>
                    <a:pt x="1651" y="601"/>
                    <a:pt x="1635" y="615"/>
                    <a:pt x="1619" y="628"/>
                  </a:cubicBezTo>
                  <a:cubicBezTo>
                    <a:pt x="1619" y="629"/>
                    <a:pt x="1619" y="629"/>
                    <a:pt x="1619" y="630"/>
                  </a:cubicBezTo>
                  <a:cubicBezTo>
                    <a:pt x="1635" y="616"/>
                    <a:pt x="1651" y="603"/>
                    <a:pt x="1666" y="589"/>
                  </a:cubicBezTo>
                  <a:cubicBezTo>
                    <a:pt x="1666" y="588"/>
                    <a:pt x="1666" y="588"/>
                    <a:pt x="1666" y="587"/>
                  </a:cubicBezTo>
                  <a:moveTo>
                    <a:pt x="1200" y="588"/>
                  </a:moveTo>
                  <a:cubicBezTo>
                    <a:pt x="1200" y="589"/>
                    <a:pt x="1200" y="589"/>
                    <a:pt x="1199" y="590"/>
                  </a:cubicBezTo>
                  <a:cubicBezTo>
                    <a:pt x="1199" y="590"/>
                    <a:pt x="1198" y="591"/>
                    <a:pt x="1198" y="591"/>
                  </a:cubicBezTo>
                  <a:cubicBezTo>
                    <a:pt x="1193" y="596"/>
                    <a:pt x="1189" y="600"/>
                    <a:pt x="1185" y="604"/>
                  </a:cubicBezTo>
                  <a:cubicBezTo>
                    <a:pt x="1184" y="605"/>
                    <a:pt x="1184" y="605"/>
                    <a:pt x="1184" y="606"/>
                  </a:cubicBezTo>
                  <a:cubicBezTo>
                    <a:pt x="1188" y="602"/>
                    <a:pt x="1193" y="598"/>
                    <a:pt x="1197" y="594"/>
                  </a:cubicBezTo>
                  <a:cubicBezTo>
                    <a:pt x="1197" y="593"/>
                    <a:pt x="1198" y="593"/>
                    <a:pt x="1198" y="592"/>
                  </a:cubicBezTo>
                  <a:cubicBezTo>
                    <a:pt x="1200" y="591"/>
                    <a:pt x="1201" y="590"/>
                    <a:pt x="1202" y="588"/>
                  </a:cubicBezTo>
                  <a:cubicBezTo>
                    <a:pt x="1202" y="588"/>
                    <a:pt x="1202" y="588"/>
                    <a:pt x="1202" y="588"/>
                  </a:cubicBezTo>
                  <a:cubicBezTo>
                    <a:pt x="1201" y="588"/>
                    <a:pt x="1201" y="588"/>
                    <a:pt x="1200" y="588"/>
                  </a:cubicBezTo>
                  <a:moveTo>
                    <a:pt x="1078" y="590"/>
                  </a:moveTo>
                  <a:cubicBezTo>
                    <a:pt x="1078" y="590"/>
                    <a:pt x="1078" y="590"/>
                    <a:pt x="1078" y="590"/>
                  </a:cubicBezTo>
                  <a:cubicBezTo>
                    <a:pt x="1078" y="590"/>
                    <a:pt x="1077" y="591"/>
                    <a:pt x="1077" y="591"/>
                  </a:cubicBezTo>
                  <a:cubicBezTo>
                    <a:pt x="1078" y="591"/>
                    <a:pt x="1078" y="591"/>
                    <a:pt x="1078" y="591"/>
                  </a:cubicBezTo>
                  <a:cubicBezTo>
                    <a:pt x="1078" y="590"/>
                    <a:pt x="1078" y="590"/>
                    <a:pt x="1078" y="590"/>
                  </a:cubicBezTo>
                  <a:moveTo>
                    <a:pt x="1078" y="593"/>
                  </a:moveTo>
                  <a:cubicBezTo>
                    <a:pt x="1078" y="593"/>
                    <a:pt x="1078" y="594"/>
                    <a:pt x="1077" y="594"/>
                  </a:cubicBezTo>
                  <a:cubicBezTo>
                    <a:pt x="1077" y="594"/>
                    <a:pt x="1077" y="594"/>
                    <a:pt x="1077" y="594"/>
                  </a:cubicBezTo>
                  <a:cubicBezTo>
                    <a:pt x="1077" y="595"/>
                    <a:pt x="1077" y="596"/>
                    <a:pt x="1077" y="596"/>
                  </a:cubicBezTo>
                  <a:cubicBezTo>
                    <a:pt x="1077" y="597"/>
                    <a:pt x="1077" y="597"/>
                    <a:pt x="1078" y="598"/>
                  </a:cubicBezTo>
                  <a:cubicBezTo>
                    <a:pt x="1078" y="599"/>
                    <a:pt x="1078" y="601"/>
                    <a:pt x="1078" y="602"/>
                  </a:cubicBezTo>
                  <a:cubicBezTo>
                    <a:pt x="1078" y="600"/>
                    <a:pt x="1078" y="598"/>
                    <a:pt x="1078" y="597"/>
                  </a:cubicBezTo>
                  <a:cubicBezTo>
                    <a:pt x="1078" y="595"/>
                    <a:pt x="1078" y="594"/>
                    <a:pt x="1078" y="593"/>
                  </a:cubicBezTo>
                  <a:moveTo>
                    <a:pt x="935" y="593"/>
                  </a:moveTo>
                  <a:cubicBezTo>
                    <a:pt x="935" y="594"/>
                    <a:pt x="934" y="594"/>
                    <a:pt x="934" y="595"/>
                  </a:cubicBezTo>
                  <a:cubicBezTo>
                    <a:pt x="934" y="600"/>
                    <a:pt x="933" y="606"/>
                    <a:pt x="932" y="612"/>
                  </a:cubicBezTo>
                  <a:cubicBezTo>
                    <a:pt x="932" y="612"/>
                    <a:pt x="933" y="612"/>
                    <a:pt x="933" y="612"/>
                  </a:cubicBezTo>
                  <a:cubicBezTo>
                    <a:pt x="934" y="605"/>
                    <a:pt x="935" y="599"/>
                    <a:pt x="935" y="593"/>
                  </a:cubicBezTo>
                  <a:moveTo>
                    <a:pt x="1079" y="602"/>
                  </a:moveTo>
                  <a:cubicBezTo>
                    <a:pt x="1079" y="603"/>
                    <a:pt x="1079" y="604"/>
                    <a:pt x="1078" y="606"/>
                  </a:cubicBezTo>
                  <a:cubicBezTo>
                    <a:pt x="1079" y="609"/>
                    <a:pt x="1080" y="612"/>
                    <a:pt x="1081" y="614"/>
                  </a:cubicBezTo>
                  <a:cubicBezTo>
                    <a:pt x="1081" y="614"/>
                    <a:pt x="1082" y="614"/>
                    <a:pt x="1082" y="614"/>
                  </a:cubicBezTo>
                  <a:cubicBezTo>
                    <a:pt x="1081" y="611"/>
                    <a:pt x="1079" y="607"/>
                    <a:pt x="1079" y="602"/>
                  </a:cubicBezTo>
                  <a:moveTo>
                    <a:pt x="1183" y="606"/>
                  </a:moveTo>
                  <a:cubicBezTo>
                    <a:pt x="1177" y="610"/>
                    <a:pt x="1172" y="614"/>
                    <a:pt x="1166" y="618"/>
                  </a:cubicBezTo>
                  <a:cubicBezTo>
                    <a:pt x="1166" y="618"/>
                    <a:pt x="1166" y="619"/>
                    <a:pt x="1166" y="619"/>
                  </a:cubicBezTo>
                  <a:cubicBezTo>
                    <a:pt x="1171" y="616"/>
                    <a:pt x="1177" y="612"/>
                    <a:pt x="1182" y="608"/>
                  </a:cubicBezTo>
                  <a:cubicBezTo>
                    <a:pt x="1182" y="607"/>
                    <a:pt x="1183" y="606"/>
                    <a:pt x="1183" y="606"/>
                  </a:cubicBezTo>
                  <a:moveTo>
                    <a:pt x="933" y="613"/>
                  </a:moveTo>
                  <a:cubicBezTo>
                    <a:pt x="932" y="613"/>
                    <a:pt x="932" y="613"/>
                    <a:pt x="932" y="613"/>
                  </a:cubicBezTo>
                  <a:cubicBezTo>
                    <a:pt x="931" y="616"/>
                    <a:pt x="931" y="618"/>
                    <a:pt x="930" y="620"/>
                  </a:cubicBezTo>
                  <a:cubicBezTo>
                    <a:pt x="930" y="620"/>
                    <a:pt x="931" y="619"/>
                    <a:pt x="931" y="619"/>
                  </a:cubicBezTo>
                  <a:cubicBezTo>
                    <a:pt x="932" y="617"/>
                    <a:pt x="932" y="615"/>
                    <a:pt x="933" y="613"/>
                  </a:cubicBezTo>
                  <a:moveTo>
                    <a:pt x="1081" y="615"/>
                  </a:moveTo>
                  <a:cubicBezTo>
                    <a:pt x="1082" y="616"/>
                    <a:pt x="1082" y="616"/>
                    <a:pt x="1082" y="617"/>
                  </a:cubicBezTo>
                  <a:cubicBezTo>
                    <a:pt x="1082" y="617"/>
                    <a:pt x="1082" y="618"/>
                    <a:pt x="1083" y="618"/>
                  </a:cubicBezTo>
                  <a:cubicBezTo>
                    <a:pt x="1084" y="620"/>
                    <a:pt x="1085" y="622"/>
                    <a:pt x="1086" y="624"/>
                  </a:cubicBezTo>
                  <a:cubicBezTo>
                    <a:pt x="1087" y="624"/>
                    <a:pt x="1087" y="624"/>
                    <a:pt x="1087" y="624"/>
                  </a:cubicBezTo>
                  <a:cubicBezTo>
                    <a:pt x="1088" y="625"/>
                    <a:pt x="1089" y="626"/>
                    <a:pt x="1090" y="627"/>
                  </a:cubicBezTo>
                  <a:cubicBezTo>
                    <a:pt x="1090" y="627"/>
                    <a:pt x="1090" y="626"/>
                    <a:pt x="1090" y="626"/>
                  </a:cubicBezTo>
                  <a:cubicBezTo>
                    <a:pt x="1089" y="625"/>
                    <a:pt x="1088" y="624"/>
                    <a:pt x="1088" y="623"/>
                  </a:cubicBezTo>
                  <a:cubicBezTo>
                    <a:pt x="1087" y="623"/>
                    <a:pt x="1087" y="623"/>
                    <a:pt x="1087" y="622"/>
                  </a:cubicBezTo>
                  <a:cubicBezTo>
                    <a:pt x="1086" y="621"/>
                    <a:pt x="1084" y="619"/>
                    <a:pt x="1083" y="617"/>
                  </a:cubicBezTo>
                  <a:cubicBezTo>
                    <a:pt x="1083" y="617"/>
                    <a:pt x="1083" y="616"/>
                    <a:pt x="1083" y="616"/>
                  </a:cubicBezTo>
                  <a:cubicBezTo>
                    <a:pt x="1083" y="616"/>
                    <a:pt x="1083" y="616"/>
                    <a:pt x="1083" y="615"/>
                  </a:cubicBezTo>
                  <a:cubicBezTo>
                    <a:pt x="1082" y="615"/>
                    <a:pt x="1082" y="615"/>
                    <a:pt x="1081" y="615"/>
                  </a:cubicBezTo>
                  <a:moveTo>
                    <a:pt x="1165" y="619"/>
                  </a:moveTo>
                  <a:cubicBezTo>
                    <a:pt x="1164" y="619"/>
                    <a:pt x="1162" y="620"/>
                    <a:pt x="1161" y="621"/>
                  </a:cubicBezTo>
                  <a:cubicBezTo>
                    <a:pt x="1162" y="621"/>
                    <a:pt x="1162" y="621"/>
                    <a:pt x="1163" y="621"/>
                  </a:cubicBezTo>
                  <a:cubicBezTo>
                    <a:pt x="1163" y="621"/>
                    <a:pt x="1164" y="620"/>
                    <a:pt x="1164" y="620"/>
                  </a:cubicBezTo>
                  <a:cubicBezTo>
                    <a:pt x="1164" y="620"/>
                    <a:pt x="1165" y="619"/>
                    <a:pt x="1165" y="619"/>
                  </a:cubicBezTo>
                  <a:moveTo>
                    <a:pt x="931" y="621"/>
                  </a:moveTo>
                  <a:cubicBezTo>
                    <a:pt x="930" y="621"/>
                    <a:pt x="930" y="622"/>
                    <a:pt x="929" y="622"/>
                  </a:cubicBezTo>
                  <a:cubicBezTo>
                    <a:pt x="929" y="623"/>
                    <a:pt x="929" y="623"/>
                    <a:pt x="929" y="623"/>
                  </a:cubicBezTo>
                  <a:cubicBezTo>
                    <a:pt x="930" y="623"/>
                    <a:pt x="930" y="623"/>
                    <a:pt x="930" y="623"/>
                  </a:cubicBezTo>
                  <a:cubicBezTo>
                    <a:pt x="931" y="622"/>
                    <a:pt x="931" y="621"/>
                    <a:pt x="931" y="621"/>
                  </a:cubicBezTo>
                  <a:moveTo>
                    <a:pt x="1160" y="622"/>
                  </a:moveTo>
                  <a:cubicBezTo>
                    <a:pt x="1156" y="624"/>
                    <a:pt x="1152" y="625"/>
                    <a:pt x="1149" y="627"/>
                  </a:cubicBezTo>
                  <a:cubicBezTo>
                    <a:pt x="1149" y="628"/>
                    <a:pt x="1148" y="628"/>
                    <a:pt x="1148" y="628"/>
                  </a:cubicBezTo>
                  <a:cubicBezTo>
                    <a:pt x="1153" y="627"/>
                    <a:pt x="1157" y="624"/>
                    <a:pt x="1162" y="622"/>
                  </a:cubicBezTo>
                  <a:cubicBezTo>
                    <a:pt x="1161" y="622"/>
                    <a:pt x="1160" y="622"/>
                    <a:pt x="1160" y="622"/>
                  </a:cubicBezTo>
                  <a:moveTo>
                    <a:pt x="930" y="624"/>
                  </a:moveTo>
                  <a:cubicBezTo>
                    <a:pt x="930" y="624"/>
                    <a:pt x="929" y="624"/>
                    <a:pt x="929" y="624"/>
                  </a:cubicBezTo>
                  <a:cubicBezTo>
                    <a:pt x="928" y="627"/>
                    <a:pt x="927" y="630"/>
                    <a:pt x="926" y="634"/>
                  </a:cubicBezTo>
                  <a:cubicBezTo>
                    <a:pt x="926" y="636"/>
                    <a:pt x="925" y="637"/>
                    <a:pt x="925" y="639"/>
                  </a:cubicBezTo>
                  <a:cubicBezTo>
                    <a:pt x="925" y="639"/>
                    <a:pt x="925" y="639"/>
                    <a:pt x="925" y="639"/>
                  </a:cubicBezTo>
                  <a:cubicBezTo>
                    <a:pt x="926" y="638"/>
                    <a:pt x="926" y="636"/>
                    <a:pt x="926" y="635"/>
                  </a:cubicBezTo>
                  <a:cubicBezTo>
                    <a:pt x="927" y="633"/>
                    <a:pt x="928" y="632"/>
                    <a:pt x="928" y="630"/>
                  </a:cubicBezTo>
                  <a:cubicBezTo>
                    <a:pt x="929" y="628"/>
                    <a:pt x="929" y="626"/>
                    <a:pt x="930" y="624"/>
                  </a:cubicBezTo>
                  <a:moveTo>
                    <a:pt x="1091" y="627"/>
                  </a:moveTo>
                  <a:cubicBezTo>
                    <a:pt x="1091" y="627"/>
                    <a:pt x="1091" y="627"/>
                    <a:pt x="1091" y="628"/>
                  </a:cubicBezTo>
                  <a:cubicBezTo>
                    <a:pt x="1091" y="628"/>
                    <a:pt x="1092" y="629"/>
                    <a:pt x="1093" y="629"/>
                  </a:cubicBezTo>
                  <a:cubicBezTo>
                    <a:pt x="1093" y="629"/>
                    <a:pt x="1093" y="630"/>
                    <a:pt x="1094" y="630"/>
                  </a:cubicBezTo>
                  <a:cubicBezTo>
                    <a:pt x="1098" y="633"/>
                    <a:pt x="1104" y="635"/>
                    <a:pt x="1110" y="635"/>
                  </a:cubicBezTo>
                  <a:cubicBezTo>
                    <a:pt x="1110" y="635"/>
                    <a:pt x="1111" y="635"/>
                    <a:pt x="1111" y="635"/>
                  </a:cubicBezTo>
                  <a:cubicBezTo>
                    <a:pt x="1113" y="636"/>
                    <a:pt x="1114" y="636"/>
                    <a:pt x="1116" y="636"/>
                  </a:cubicBezTo>
                  <a:cubicBezTo>
                    <a:pt x="1120" y="636"/>
                    <a:pt x="1125" y="635"/>
                    <a:pt x="1130" y="634"/>
                  </a:cubicBezTo>
                  <a:cubicBezTo>
                    <a:pt x="1130" y="634"/>
                    <a:pt x="1130" y="634"/>
                    <a:pt x="1130" y="633"/>
                  </a:cubicBezTo>
                  <a:cubicBezTo>
                    <a:pt x="1125" y="634"/>
                    <a:pt x="1120" y="635"/>
                    <a:pt x="1116" y="635"/>
                  </a:cubicBezTo>
                  <a:cubicBezTo>
                    <a:pt x="1115" y="635"/>
                    <a:pt x="1113" y="635"/>
                    <a:pt x="1112" y="635"/>
                  </a:cubicBezTo>
                  <a:cubicBezTo>
                    <a:pt x="1111" y="635"/>
                    <a:pt x="1111" y="634"/>
                    <a:pt x="1111" y="634"/>
                  </a:cubicBezTo>
                  <a:cubicBezTo>
                    <a:pt x="1104" y="634"/>
                    <a:pt x="1099" y="632"/>
                    <a:pt x="1094" y="629"/>
                  </a:cubicBezTo>
                  <a:cubicBezTo>
                    <a:pt x="1094" y="629"/>
                    <a:pt x="1094" y="629"/>
                    <a:pt x="1093" y="629"/>
                  </a:cubicBezTo>
                  <a:cubicBezTo>
                    <a:pt x="1093" y="628"/>
                    <a:pt x="1092" y="627"/>
                    <a:pt x="1091" y="627"/>
                  </a:cubicBezTo>
                  <a:moveTo>
                    <a:pt x="1147" y="628"/>
                  </a:moveTo>
                  <a:cubicBezTo>
                    <a:pt x="1143" y="629"/>
                    <a:pt x="1139" y="631"/>
                    <a:pt x="1135" y="632"/>
                  </a:cubicBezTo>
                  <a:cubicBezTo>
                    <a:pt x="1134" y="632"/>
                    <a:pt x="1133" y="633"/>
                    <a:pt x="1132" y="633"/>
                  </a:cubicBezTo>
                  <a:cubicBezTo>
                    <a:pt x="1132" y="633"/>
                    <a:pt x="1132" y="633"/>
                    <a:pt x="1131" y="633"/>
                  </a:cubicBezTo>
                  <a:cubicBezTo>
                    <a:pt x="1131" y="633"/>
                    <a:pt x="1131" y="634"/>
                    <a:pt x="1131" y="634"/>
                  </a:cubicBezTo>
                  <a:cubicBezTo>
                    <a:pt x="1131" y="634"/>
                    <a:pt x="1132" y="634"/>
                    <a:pt x="1133" y="634"/>
                  </a:cubicBezTo>
                  <a:cubicBezTo>
                    <a:pt x="1137" y="632"/>
                    <a:pt x="1142" y="631"/>
                    <a:pt x="1147" y="629"/>
                  </a:cubicBezTo>
                  <a:cubicBezTo>
                    <a:pt x="1147" y="629"/>
                    <a:pt x="1147" y="628"/>
                    <a:pt x="1147" y="628"/>
                  </a:cubicBezTo>
                  <a:moveTo>
                    <a:pt x="1618" y="629"/>
                  </a:moveTo>
                  <a:cubicBezTo>
                    <a:pt x="1596" y="647"/>
                    <a:pt x="1574" y="664"/>
                    <a:pt x="1551" y="681"/>
                  </a:cubicBezTo>
                  <a:cubicBezTo>
                    <a:pt x="1551" y="681"/>
                    <a:pt x="1551" y="682"/>
                    <a:pt x="1551" y="683"/>
                  </a:cubicBezTo>
                  <a:cubicBezTo>
                    <a:pt x="1574" y="666"/>
                    <a:pt x="1596" y="649"/>
                    <a:pt x="1618" y="631"/>
                  </a:cubicBezTo>
                  <a:cubicBezTo>
                    <a:pt x="1618" y="630"/>
                    <a:pt x="1618" y="630"/>
                    <a:pt x="1618" y="629"/>
                  </a:cubicBezTo>
                  <a:moveTo>
                    <a:pt x="924" y="640"/>
                  </a:moveTo>
                  <a:cubicBezTo>
                    <a:pt x="923" y="640"/>
                    <a:pt x="923" y="641"/>
                    <a:pt x="923" y="642"/>
                  </a:cubicBezTo>
                  <a:cubicBezTo>
                    <a:pt x="922" y="643"/>
                    <a:pt x="922" y="644"/>
                    <a:pt x="921" y="646"/>
                  </a:cubicBezTo>
                  <a:cubicBezTo>
                    <a:pt x="922" y="645"/>
                    <a:pt x="922" y="644"/>
                    <a:pt x="923" y="642"/>
                  </a:cubicBezTo>
                  <a:cubicBezTo>
                    <a:pt x="923" y="642"/>
                    <a:pt x="923" y="641"/>
                    <a:pt x="924" y="640"/>
                  </a:cubicBezTo>
                  <a:moveTo>
                    <a:pt x="922" y="647"/>
                  </a:moveTo>
                  <a:cubicBezTo>
                    <a:pt x="922" y="647"/>
                    <a:pt x="922" y="647"/>
                    <a:pt x="922" y="647"/>
                  </a:cubicBezTo>
                  <a:close/>
                  <a:moveTo>
                    <a:pt x="921" y="648"/>
                  </a:moveTo>
                  <a:cubicBezTo>
                    <a:pt x="921" y="648"/>
                    <a:pt x="921" y="648"/>
                    <a:pt x="921" y="648"/>
                  </a:cubicBezTo>
                  <a:cubicBezTo>
                    <a:pt x="920" y="650"/>
                    <a:pt x="919" y="652"/>
                    <a:pt x="918" y="655"/>
                  </a:cubicBezTo>
                  <a:cubicBezTo>
                    <a:pt x="918" y="655"/>
                    <a:pt x="918" y="655"/>
                    <a:pt x="918" y="655"/>
                  </a:cubicBezTo>
                  <a:cubicBezTo>
                    <a:pt x="919" y="653"/>
                    <a:pt x="920" y="650"/>
                    <a:pt x="921" y="648"/>
                  </a:cubicBezTo>
                  <a:moveTo>
                    <a:pt x="917" y="656"/>
                  </a:moveTo>
                  <a:cubicBezTo>
                    <a:pt x="916" y="657"/>
                    <a:pt x="915" y="658"/>
                    <a:pt x="914" y="660"/>
                  </a:cubicBezTo>
                  <a:cubicBezTo>
                    <a:pt x="913" y="662"/>
                    <a:pt x="912" y="664"/>
                    <a:pt x="911" y="666"/>
                  </a:cubicBezTo>
                  <a:cubicBezTo>
                    <a:pt x="909" y="670"/>
                    <a:pt x="907" y="673"/>
                    <a:pt x="905" y="676"/>
                  </a:cubicBezTo>
                  <a:cubicBezTo>
                    <a:pt x="906" y="676"/>
                    <a:pt x="906" y="676"/>
                    <a:pt x="907" y="676"/>
                  </a:cubicBezTo>
                  <a:cubicBezTo>
                    <a:pt x="908" y="674"/>
                    <a:pt x="909" y="673"/>
                    <a:pt x="909" y="671"/>
                  </a:cubicBezTo>
                  <a:cubicBezTo>
                    <a:pt x="910" y="670"/>
                    <a:pt x="911" y="668"/>
                    <a:pt x="912" y="667"/>
                  </a:cubicBezTo>
                  <a:cubicBezTo>
                    <a:pt x="913" y="665"/>
                    <a:pt x="913" y="664"/>
                    <a:pt x="914" y="663"/>
                  </a:cubicBezTo>
                  <a:cubicBezTo>
                    <a:pt x="915" y="660"/>
                    <a:pt x="916" y="658"/>
                    <a:pt x="917" y="656"/>
                  </a:cubicBezTo>
                  <a:moveTo>
                    <a:pt x="905" y="677"/>
                  </a:moveTo>
                  <a:cubicBezTo>
                    <a:pt x="899" y="687"/>
                    <a:pt x="892" y="696"/>
                    <a:pt x="885" y="706"/>
                  </a:cubicBezTo>
                  <a:cubicBezTo>
                    <a:pt x="885" y="706"/>
                    <a:pt x="885" y="706"/>
                    <a:pt x="886" y="706"/>
                  </a:cubicBezTo>
                  <a:cubicBezTo>
                    <a:pt x="893" y="696"/>
                    <a:pt x="900" y="687"/>
                    <a:pt x="906" y="677"/>
                  </a:cubicBezTo>
                  <a:cubicBezTo>
                    <a:pt x="906" y="677"/>
                    <a:pt x="905" y="677"/>
                    <a:pt x="905" y="677"/>
                  </a:cubicBezTo>
                  <a:moveTo>
                    <a:pt x="1550" y="682"/>
                  </a:moveTo>
                  <a:cubicBezTo>
                    <a:pt x="1527" y="699"/>
                    <a:pt x="1503" y="715"/>
                    <a:pt x="1478" y="730"/>
                  </a:cubicBezTo>
                  <a:cubicBezTo>
                    <a:pt x="1478" y="731"/>
                    <a:pt x="1478" y="731"/>
                    <a:pt x="1478" y="732"/>
                  </a:cubicBezTo>
                  <a:cubicBezTo>
                    <a:pt x="1502" y="716"/>
                    <a:pt x="1526" y="700"/>
                    <a:pt x="1549" y="684"/>
                  </a:cubicBezTo>
                  <a:cubicBezTo>
                    <a:pt x="1549" y="683"/>
                    <a:pt x="1550" y="682"/>
                    <a:pt x="1550" y="682"/>
                  </a:cubicBezTo>
                  <a:moveTo>
                    <a:pt x="884" y="707"/>
                  </a:moveTo>
                  <a:cubicBezTo>
                    <a:pt x="884" y="707"/>
                    <a:pt x="884" y="707"/>
                    <a:pt x="884" y="707"/>
                  </a:cubicBezTo>
                  <a:cubicBezTo>
                    <a:pt x="883" y="708"/>
                    <a:pt x="883" y="709"/>
                    <a:pt x="883" y="709"/>
                  </a:cubicBezTo>
                  <a:cubicBezTo>
                    <a:pt x="884" y="709"/>
                    <a:pt x="884" y="708"/>
                    <a:pt x="885" y="707"/>
                  </a:cubicBezTo>
                  <a:cubicBezTo>
                    <a:pt x="885" y="707"/>
                    <a:pt x="884" y="707"/>
                    <a:pt x="884" y="707"/>
                  </a:cubicBezTo>
                  <a:moveTo>
                    <a:pt x="882" y="709"/>
                  </a:moveTo>
                  <a:cubicBezTo>
                    <a:pt x="876" y="716"/>
                    <a:pt x="870" y="724"/>
                    <a:pt x="863" y="731"/>
                  </a:cubicBezTo>
                  <a:cubicBezTo>
                    <a:pt x="863" y="732"/>
                    <a:pt x="862" y="732"/>
                    <a:pt x="862" y="732"/>
                  </a:cubicBezTo>
                  <a:cubicBezTo>
                    <a:pt x="861" y="733"/>
                    <a:pt x="860" y="734"/>
                    <a:pt x="859" y="736"/>
                  </a:cubicBezTo>
                  <a:cubicBezTo>
                    <a:pt x="859" y="736"/>
                    <a:pt x="860" y="736"/>
                    <a:pt x="860" y="736"/>
                  </a:cubicBezTo>
                  <a:cubicBezTo>
                    <a:pt x="861" y="735"/>
                    <a:pt x="862" y="734"/>
                    <a:pt x="863" y="733"/>
                  </a:cubicBezTo>
                  <a:cubicBezTo>
                    <a:pt x="863" y="733"/>
                    <a:pt x="863" y="733"/>
                    <a:pt x="863" y="732"/>
                  </a:cubicBezTo>
                  <a:cubicBezTo>
                    <a:pt x="870" y="725"/>
                    <a:pt x="876" y="718"/>
                    <a:pt x="881" y="711"/>
                  </a:cubicBezTo>
                  <a:cubicBezTo>
                    <a:pt x="882" y="711"/>
                    <a:pt x="882" y="710"/>
                    <a:pt x="882" y="709"/>
                  </a:cubicBezTo>
                  <a:moveTo>
                    <a:pt x="1477" y="731"/>
                  </a:moveTo>
                  <a:cubicBezTo>
                    <a:pt x="1453" y="746"/>
                    <a:pt x="1429" y="760"/>
                    <a:pt x="1404" y="774"/>
                  </a:cubicBezTo>
                  <a:cubicBezTo>
                    <a:pt x="1404" y="774"/>
                    <a:pt x="1404" y="775"/>
                    <a:pt x="1403" y="775"/>
                  </a:cubicBezTo>
                  <a:cubicBezTo>
                    <a:pt x="1428" y="762"/>
                    <a:pt x="1452" y="748"/>
                    <a:pt x="1476" y="733"/>
                  </a:cubicBezTo>
                  <a:cubicBezTo>
                    <a:pt x="1476" y="732"/>
                    <a:pt x="1476" y="732"/>
                    <a:pt x="1477" y="731"/>
                  </a:cubicBezTo>
                  <a:moveTo>
                    <a:pt x="858" y="737"/>
                  </a:moveTo>
                  <a:cubicBezTo>
                    <a:pt x="855" y="739"/>
                    <a:pt x="853" y="742"/>
                    <a:pt x="850" y="744"/>
                  </a:cubicBezTo>
                  <a:cubicBezTo>
                    <a:pt x="850" y="745"/>
                    <a:pt x="850" y="745"/>
                    <a:pt x="849" y="745"/>
                  </a:cubicBezTo>
                  <a:cubicBezTo>
                    <a:pt x="848" y="747"/>
                    <a:pt x="846" y="749"/>
                    <a:pt x="844" y="750"/>
                  </a:cubicBezTo>
                  <a:cubicBezTo>
                    <a:pt x="844" y="751"/>
                    <a:pt x="844" y="751"/>
                    <a:pt x="843" y="751"/>
                  </a:cubicBezTo>
                  <a:cubicBezTo>
                    <a:pt x="841" y="753"/>
                    <a:pt x="839" y="755"/>
                    <a:pt x="837" y="757"/>
                  </a:cubicBezTo>
                  <a:cubicBezTo>
                    <a:pt x="837" y="757"/>
                    <a:pt x="837" y="758"/>
                    <a:pt x="836" y="758"/>
                  </a:cubicBezTo>
                  <a:cubicBezTo>
                    <a:pt x="835" y="759"/>
                    <a:pt x="834" y="760"/>
                    <a:pt x="834" y="760"/>
                  </a:cubicBezTo>
                  <a:cubicBezTo>
                    <a:pt x="833" y="761"/>
                    <a:pt x="833" y="761"/>
                    <a:pt x="833" y="761"/>
                  </a:cubicBezTo>
                  <a:cubicBezTo>
                    <a:pt x="831" y="763"/>
                    <a:pt x="829" y="765"/>
                    <a:pt x="827" y="767"/>
                  </a:cubicBezTo>
                  <a:cubicBezTo>
                    <a:pt x="826" y="767"/>
                    <a:pt x="826" y="767"/>
                    <a:pt x="826" y="767"/>
                  </a:cubicBezTo>
                  <a:cubicBezTo>
                    <a:pt x="826" y="768"/>
                    <a:pt x="825" y="768"/>
                    <a:pt x="825" y="768"/>
                  </a:cubicBezTo>
                  <a:cubicBezTo>
                    <a:pt x="825" y="768"/>
                    <a:pt x="825" y="768"/>
                    <a:pt x="824" y="769"/>
                  </a:cubicBezTo>
                  <a:cubicBezTo>
                    <a:pt x="822" y="771"/>
                    <a:pt x="820" y="773"/>
                    <a:pt x="817" y="775"/>
                  </a:cubicBezTo>
                  <a:cubicBezTo>
                    <a:pt x="817" y="775"/>
                    <a:pt x="817" y="775"/>
                    <a:pt x="816" y="775"/>
                  </a:cubicBezTo>
                  <a:cubicBezTo>
                    <a:pt x="814" y="777"/>
                    <a:pt x="812" y="779"/>
                    <a:pt x="810" y="781"/>
                  </a:cubicBezTo>
                  <a:cubicBezTo>
                    <a:pt x="809" y="781"/>
                    <a:pt x="809" y="781"/>
                    <a:pt x="809" y="781"/>
                  </a:cubicBezTo>
                  <a:cubicBezTo>
                    <a:pt x="809" y="782"/>
                    <a:pt x="809" y="782"/>
                    <a:pt x="809" y="783"/>
                  </a:cubicBezTo>
                  <a:cubicBezTo>
                    <a:pt x="809" y="783"/>
                    <a:pt x="809" y="783"/>
                    <a:pt x="810" y="782"/>
                  </a:cubicBezTo>
                  <a:cubicBezTo>
                    <a:pt x="810" y="782"/>
                    <a:pt x="810" y="782"/>
                    <a:pt x="810" y="782"/>
                  </a:cubicBezTo>
                  <a:cubicBezTo>
                    <a:pt x="813" y="780"/>
                    <a:pt x="815" y="778"/>
                    <a:pt x="817" y="776"/>
                  </a:cubicBezTo>
                  <a:cubicBezTo>
                    <a:pt x="817" y="776"/>
                    <a:pt x="818" y="776"/>
                    <a:pt x="818" y="775"/>
                  </a:cubicBezTo>
                  <a:cubicBezTo>
                    <a:pt x="820" y="773"/>
                    <a:pt x="823" y="771"/>
                    <a:pt x="825" y="769"/>
                  </a:cubicBezTo>
                  <a:cubicBezTo>
                    <a:pt x="825" y="769"/>
                    <a:pt x="825" y="769"/>
                    <a:pt x="826" y="769"/>
                  </a:cubicBezTo>
                  <a:cubicBezTo>
                    <a:pt x="826" y="768"/>
                    <a:pt x="826" y="768"/>
                    <a:pt x="827" y="768"/>
                  </a:cubicBezTo>
                  <a:cubicBezTo>
                    <a:pt x="827" y="767"/>
                    <a:pt x="827" y="767"/>
                    <a:pt x="828" y="767"/>
                  </a:cubicBezTo>
                  <a:cubicBezTo>
                    <a:pt x="830" y="765"/>
                    <a:pt x="832" y="764"/>
                    <a:pt x="834" y="762"/>
                  </a:cubicBezTo>
                  <a:cubicBezTo>
                    <a:pt x="834" y="762"/>
                    <a:pt x="834" y="761"/>
                    <a:pt x="834" y="761"/>
                  </a:cubicBezTo>
                  <a:cubicBezTo>
                    <a:pt x="835" y="760"/>
                    <a:pt x="836" y="759"/>
                    <a:pt x="837" y="758"/>
                  </a:cubicBezTo>
                  <a:cubicBezTo>
                    <a:pt x="837" y="758"/>
                    <a:pt x="838" y="758"/>
                    <a:pt x="838" y="758"/>
                  </a:cubicBezTo>
                  <a:cubicBezTo>
                    <a:pt x="840" y="756"/>
                    <a:pt x="842" y="754"/>
                    <a:pt x="844" y="752"/>
                  </a:cubicBezTo>
                  <a:cubicBezTo>
                    <a:pt x="844" y="752"/>
                    <a:pt x="845" y="751"/>
                    <a:pt x="845" y="751"/>
                  </a:cubicBezTo>
                  <a:cubicBezTo>
                    <a:pt x="846" y="750"/>
                    <a:pt x="848" y="748"/>
                    <a:pt x="850" y="746"/>
                  </a:cubicBezTo>
                  <a:cubicBezTo>
                    <a:pt x="850" y="746"/>
                    <a:pt x="850" y="746"/>
                    <a:pt x="850" y="746"/>
                  </a:cubicBezTo>
                  <a:cubicBezTo>
                    <a:pt x="854" y="743"/>
                    <a:pt x="856" y="740"/>
                    <a:pt x="859" y="737"/>
                  </a:cubicBezTo>
                  <a:cubicBezTo>
                    <a:pt x="859" y="737"/>
                    <a:pt x="858" y="737"/>
                    <a:pt x="858" y="737"/>
                  </a:cubicBezTo>
                  <a:moveTo>
                    <a:pt x="1402" y="775"/>
                  </a:moveTo>
                  <a:cubicBezTo>
                    <a:pt x="1378" y="788"/>
                    <a:pt x="1353" y="801"/>
                    <a:pt x="1328" y="812"/>
                  </a:cubicBezTo>
                  <a:cubicBezTo>
                    <a:pt x="1328" y="813"/>
                    <a:pt x="1327" y="813"/>
                    <a:pt x="1327" y="814"/>
                  </a:cubicBezTo>
                  <a:cubicBezTo>
                    <a:pt x="1352" y="802"/>
                    <a:pt x="1377" y="790"/>
                    <a:pt x="1401" y="777"/>
                  </a:cubicBezTo>
                  <a:cubicBezTo>
                    <a:pt x="1402" y="776"/>
                    <a:pt x="1402" y="775"/>
                    <a:pt x="1402" y="775"/>
                  </a:cubicBezTo>
                  <a:moveTo>
                    <a:pt x="808" y="782"/>
                  </a:moveTo>
                  <a:cubicBezTo>
                    <a:pt x="806" y="784"/>
                    <a:pt x="804" y="786"/>
                    <a:pt x="802" y="787"/>
                  </a:cubicBezTo>
                  <a:cubicBezTo>
                    <a:pt x="801" y="788"/>
                    <a:pt x="801" y="788"/>
                    <a:pt x="800" y="789"/>
                  </a:cubicBezTo>
                  <a:cubicBezTo>
                    <a:pt x="799" y="789"/>
                    <a:pt x="799" y="789"/>
                    <a:pt x="799" y="790"/>
                  </a:cubicBezTo>
                  <a:cubicBezTo>
                    <a:pt x="799" y="790"/>
                    <a:pt x="798" y="790"/>
                    <a:pt x="798" y="790"/>
                  </a:cubicBezTo>
                  <a:cubicBezTo>
                    <a:pt x="798" y="790"/>
                    <a:pt x="798" y="790"/>
                    <a:pt x="798" y="790"/>
                  </a:cubicBezTo>
                  <a:cubicBezTo>
                    <a:pt x="792" y="795"/>
                    <a:pt x="786" y="799"/>
                    <a:pt x="780" y="804"/>
                  </a:cubicBezTo>
                  <a:cubicBezTo>
                    <a:pt x="779" y="804"/>
                    <a:pt x="779" y="804"/>
                    <a:pt x="779" y="804"/>
                  </a:cubicBezTo>
                  <a:cubicBezTo>
                    <a:pt x="776" y="806"/>
                    <a:pt x="773" y="808"/>
                    <a:pt x="771" y="810"/>
                  </a:cubicBezTo>
                  <a:cubicBezTo>
                    <a:pt x="769" y="811"/>
                    <a:pt x="768" y="812"/>
                    <a:pt x="766" y="813"/>
                  </a:cubicBezTo>
                  <a:cubicBezTo>
                    <a:pt x="764" y="814"/>
                    <a:pt x="762" y="815"/>
                    <a:pt x="760" y="817"/>
                  </a:cubicBezTo>
                  <a:cubicBezTo>
                    <a:pt x="760" y="817"/>
                    <a:pt x="760" y="817"/>
                    <a:pt x="759" y="817"/>
                  </a:cubicBezTo>
                  <a:cubicBezTo>
                    <a:pt x="754" y="821"/>
                    <a:pt x="749" y="824"/>
                    <a:pt x="743" y="827"/>
                  </a:cubicBezTo>
                  <a:cubicBezTo>
                    <a:pt x="743" y="828"/>
                    <a:pt x="743" y="828"/>
                    <a:pt x="743" y="828"/>
                  </a:cubicBezTo>
                  <a:cubicBezTo>
                    <a:pt x="749" y="825"/>
                    <a:pt x="754" y="821"/>
                    <a:pt x="760" y="818"/>
                  </a:cubicBezTo>
                  <a:cubicBezTo>
                    <a:pt x="760" y="818"/>
                    <a:pt x="761" y="818"/>
                    <a:pt x="761" y="817"/>
                  </a:cubicBezTo>
                  <a:cubicBezTo>
                    <a:pt x="762" y="817"/>
                    <a:pt x="762" y="816"/>
                    <a:pt x="763" y="816"/>
                  </a:cubicBezTo>
                  <a:cubicBezTo>
                    <a:pt x="764" y="815"/>
                    <a:pt x="766" y="814"/>
                    <a:pt x="767" y="813"/>
                  </a:cubicBezTo>
                  <a:cubicBezTo>
                    <a:pt x="771" y="811"/>
                    <a:pt x="775" y="808"/>
                    <a:pt x="780" y="805"/>
                  </a:cubicBezTo>
                  <a:cubicBezTo>
                    <a:pt x="780" y="805"/>
                    <a:pt x="780" y="804"/>
                    <a:pt x="780" y="804"/>
                  </a:cubicBezTo>
                  <a:cubicBezTo>
                    <a:pt x="786" y="800"/>
                    <a:pt x="792" y="796"/>
                    <a:pt x="798" y="791"/>
                  </a:cubicBezTo>
                  <a:cubicBezTo>
                    <a:pt x="799" y="791"/>
                    <a:pt x="799" y="791"/>
                    <a:pt x="799" y="791"/>
                  </a:cubicBezTo>
                  <a:cubicBezTo>
                    <a:pt x="799" y="790"/>
                    <a:pt x="800" y="790"/>
                    <a:pt x="800" y="790"/>
                  </a:cubicBezTo>
                  <a:cubicBezTo>
                    <a:pt x="801" y="789"/>
                    <a:pt x="801" y="789"/>
                    <a:pt x="801" y="789"/>
                  </a:cubicBezTo>
                  <a:cubicBezTo>
                    <a:pt x="804" y="787"/>
                    <a:pt x="806" y="785"/>
                    <a:pt x="808" y="784"/>
                  </a:cubicBezTo>
                  <a:cubicBezTo>
                    <a:pt x="808" y="783"/>
                    <a:pt x="808" y="783"/>
                    <a:pt x="808" y="782"/>
                  </a:cubicBezTo>
                  <a:moveTo>
                    <a:pt x="1326" y="813"/>
                  </a:moveTo>
                  <a:cubicBezTo>
                    <a:pt x="1305" y="823"/>
                    <a:pt x="1285" y="832"/>
                    <a:pt x="1264" y="840"/>
                  </a:cubicBezTo>
                  <a:cubicBezTo>
                    <a:pt x="1263" y="841"/>
                    <a:pt x="1263" y="841"/>
                    <a:pt x="1262" y="842"/>
                  </a:cubicBezTo>
                  <a:cubicBezTo>
                    <a:pt x="1283" y="833"/>
                    <a:pt x="1304" y="824"/>
                    <a:pt x="1325" y="815"/>
                  </a:cubicBezTo>
                  <a:cubicBezTo>
                    <a:pt x="1325" y="814"/>
                    <a:pt x="1326" y="814"/>
                    <a:pt x="1326" y="813"/>
                  </a:cubicBezTo>
                  <a:moveTo>
                    <a:pt x="742" y="828"/>
                  </a:moveTo>
                  <a:cubicBezTo>
                    <a:pt x="742" y="828"/>
                    <a:pt x="741" y="828"/>
                    <a:pt x="741" y="828"/>
                  </a:cubicBezTo>
                  <a:cubicBezTo>
                    <a:pt x="741" y="829"/>
                    <a:pt x="740" y="829"/>
                    <a:pt x="740" y="829"/>
                  </a:cubicBezTo>
                  <a:cubicBezTo>
                    <a:pt x="740" y="829"/>
                    <a:pt x="740" y="829"/>
                    <a:pt x="739" y="829"/>
                  </a:cubicBezTo>
                  <a:cubicBezTo>
                    <a:pt x="739" y="830"/>
                    <a:pt x="739" y="830"/>
                    <a:pt x="738" y="830"/>
                  </a:cubicBezTo>
                  <a:cubicBezTo>
                    <a:pt x="731" y="834"/>
                    <a:pt x="724" y="838"/>
                    <a:pt x="716" y="842"/>
                  </a:cubicBezTo>
                  <a:cubicBezTo>
                    <a:pt x="716" y="842"/>
                    <a:pt x="715" y="843"/>
                    <a:pt x="715" y="843"/>
                  </a:cubicBezTo>
                  <a:cubicBezTo>
                    <a:pt x="704" y="849"/>
                    <a:pt x="692" y="854"/>
                    <a:pt x="680" y="859"/>
                  </a:cubicBezTo>
                  <a:cubicBezTo>
                    <a:pt x="680" y="860"/>
                    <a:pt x="680" y="860"/>
                    <a:pt x="680" y="860"/>
                  </a:cubicBezTo>
                  <a:cubicBezTo>
                    <a:pt x="692" y="855"/>
                    <a:pt x="703" y="850"/>
                    <a:pt x="715" y="844"/>
                  </a:cubicBezTo>
                  <a:cubicBezTo>
                    <a:pt x="715" y="844"/>
                    <a:pt x="716" y="844"/>
                    <a:pt x="716" y="843"/>
                  </a:cubicBezTo>
                  <a:cubicBezTo>
                    <a:pt x="724" y="839"/>
                    <a:pt x="732" y="835"/>
                    <a:pt x="739" y="831"/>
                  </a:cubicBezTo>
                  <a:cubicBezTo>
                    <a:pt x="740" y="830"/>
                    <a:pt x="740" y="830"/>
                    <a:pt x="740" y="830"/>
                  </a:cubicBezTo>
                  <a:cubicBezTo>
                    <a:pt x="740" y="830"/>
                    <a:pt x="741" y="830"/>
                    <a:pt x="741" y="830"/>
                  </a:cubicBezTo>
                  <a:cubicBezTo>
                    <a:pt x="741" y="829"/>
                    <a:pt x="742" y="829"/>
                    <a:pt x="742" y="829"/>
                  </a:cubicBezTo>
                  <a:cubicBezTo>
                    <a:pt x="742" y="829"/>
                    <a:pt x="742" y="829"/>
                    <a:pt x="742" y="829"/>
                  </a:cubicBezTo>
                  <a:cubicBezTo>
                    <a:pt x="742" y="828"/>
                    <a:pt x="742" y="828"/>
                    <a:pt x="742" y="828"/>
                  </a:cubicBezTo>
                  <a:moveTo>
                    <a:pt x="1262" y="841"/>
                  </a:moveTo>
                  <a:cubicBezTo>
                    <a:pt x="1242" y="848"/>
                    <a:pt x="1223" y="856"/>
                    <a:pt x="1204" y="862"/>
                  </a:cubicBezTo>
                  <a:cubicBezTo>
                    <a:pt x="1203" y="862"/>
                    <a:pt x="1203" y="863"/>
                    <a:pt x="1202" y="863"/>
                  </a:cubicBezTo>
                  <a:cubicBezTo>
                    <a:pt x="1222" y="857"/>
                    <a:pt x="1241" y="850"/>
                    <a:pt x="1260" y="842"/>
                  </a:cubicBezTo>
                  <a:cubicBezTo>
                    <a:pt x="1261" y="842"/>
                    <a:pt x="1261" y="841"/>
                    <a:pt x="1262" y="841"/>
                  </a:cubicBezTo>
                  <a:moveTo>
                    <a:pt x="679" y="860"/>
                  </a:moveTo>
                  <a:cubicBezTo>
                    <a:pt x="659" y="868"/>
                    <a:pt x="638" y="876"/>
                    <a:pt x="617" y="881"/>
                  </a:cubicBezTo>
                  <a:cubicBezTo>
                    <a:pt x="617" y="881"/>
                    <a:pt x="617" y="882"/>
                    <a:pt x="617" y="882"/>
                  </a:cubicBezTo>
                  <a:cubicBezTo>
                    <a:pt x="638" y="877"/>
                    <a:pt x="659" y="869"/>
                    <a:pt x="679" y="861"/>
                  </a:cubicBezTo>
                  <a:cubicBezTo>
                    <a:pt x="679" y="860"/>
                    <a:pt x="679" y="860"/>
                    <a:pt x="679" y="860"/>
                  </a:cubicBezTo>
                  <a:moveTo>
                    <a:pt x="1202" y="863"/>
                  </a:moveTo>
                  <a:cubicBezTo>
                    <a:pt x="1201" y="863"/>
                    <a:pt x="1201" y="863"/>
                    <a:pt x="1201" y="863"/>
                  </a:cubicBezTo>
                  <a:cubicBezTo>
                    <a:pt x="1182" y="869"/>
                    <a:pt x="1163" y="876"/>
                    <a:pt x="1145" y="883"/>
                  </a:cubicBezTo>
                  <a:cubicBezTo>
                    <a:pt x="1144" y="884"/>
                    <a:pt x="1144" y="884"/>
                    <a:pt x="1143" y="885"/>
                  </a:cubicBezTo>
                  <a:cubicBezTo>
                    <a:pt x="1162" y="877"/>
                    <a:pt x="1182" y="870"/>
                    <a:pt x="1201" y="864"/>
                  </a:cubicBezTo>
                  <a:cubicBezTo>
                    <a:pt x="1201" y="864"/>
                    <a:pt x="1201" y="863"/>
                    <a:pt x="1202" y="863"/>
                  </a:cubicBezTo>
                  <a:moveTo>
                    <a:pt x="616" y="881"/>
                  </a:moveTo>
                  <a:cubicBezTo>
                    <a:pt x="600" y="885"/>
                    <a:pt x="584" y="888"/>
                    <a:pt x="569" y="890"/>
                  </a:cubicBezTo>
                  <a:cubicBezTo>
                    <a:pt x="566" y="890"/>
                    <a:pt x="563" y="891"/>
                    <a:pt x="560" y="891"/>
                  </a:cubicBezTo>
                  <a:cubicBezTo>
                    <a:pt x="556" y="891"/>
                    <a:pt x="552" y="892"/>
                    <a:pt x="548" y="892"/>
                  </a:cubicBezTo>
                  <a:cubicBezTo>
                    <a:pt x="548" y="892"/>
                    <a:pt x="548" y="892"/>
                    <a:pt x="548" y="893"/>
                  </a:cubicBezTo>
                  <a:cubicBezTo>
                    <a:pt x="549" y="893"/>
                    <a:pt x="550" y="893"/>
                    <a:pt x="551" y="893"/>
                  </a:cubicBezTo>
                  <a:cubicBezTo>
                    <a:pt x="554" y="892"/>
                    <a:pt x="557" y="892"/>
                    <a:pt x="560" y="892"/>
                  </a:cubicBezTo>
                  <a:cubicBezTo>
                    <a:pt x="578" y="890"/>
                    <a:pt x="597" y="887"/>
                    <a:pt x="616" y="882"/>
                  </a:cubicBezTo>
                  <a:cubicBezTo>
                    <a:pt x="616" y="882"/>
                    <a:pt x="616" y="882"/>
                    <a:pt x="616" y="881"/>
                  </a:cubicBezTo>
                  <a:moveTo>
                    <a:pt x="1143" y="884"/>
                  </a:moveTo>
                  <a:cubicBezTo>
                    <a:pt x="1121" y="893"/>
                    <a:pt x="1099" y="902"/>
                    <a:pt x="1078" y="912"/>
                  </a:cubicBezTo>
                  <a:cubicBezTo>
                    <a:pt x="1078" y="913"/>
                    <a:pt x="1077" y="913"/>
                    <a:pt x="1076" y="914"/>
                  </a:cubicBezTo>
                  <a:cubicBezTo>
                    <a:pt x="1097" y="904"/>
                    <a:pt x="1119" y="894"/>
                    <a:pt x="1141" y="886"/>
                  </a:cubicBezTo>
                  <a:cubicBezTo>
                    <a:pt x="1142" y="885"/>
                    <a:pt x="1142" y="885"/>
                    <a:pt x="1143" y="884"/>
                  </a:cubicBezTo>
                  <a:moveTo>
                    <a:pt x="340" y="889"/>
                  </a:moveTo>
                  <a:cubicBezTo>
                    <a:pt x="206" y="890"/>
                    <a:pt x="53" y="896"/>
                    <a:pt x="11" y="935"/>
                  </a:cubicBezTo>
                  <a:cubicBezTo>
                    <a:pt x="11" y="935"/>
                    <a:pt x="11" y="935"/>
                    <a:pt x="10" y="936"/>
                  </a:cubicBezTo>
                  <a:cubicBezTo>
                    <a:pt x="10" y="936"/>
                    <a:pt x="10" y="936"/>
                    <a:pt x="10" y="937"/>
                  </a:cubicBezTo>
                  <a:cubicBezTo>
                    <a:pt x="9" y="937"/>
                    <a:pt x="9" y="937"/>
                    <a:pt x="9" y="937"/>
                  </a:cubicBezTo>
                  <a:cubicBezTo>
                    <a:pt x="9" y="938"/>
                    <a:pt x="8" y="938"/>
                    <a:pt x="8" y="938"/>
                  </a:cubicBezTo>
                  <a:cubicBezTo>
                    <a:pt x="8" y="938"/>
                    <a:pt x="8" y="939"/>
                    <a:pt x="8" y="939"/>
                  </a:cubicBezTo>
                  <a:cubicBezTo>
                    <a:pt x="7" y="939"/>
                    <a:pt x="7" y="939"/>
                    <a:pt x="7" y="940"/>
                  </a:cubicBezTo>
                  <a:cubicBezTo>
                    <a:pt x="7" y="940"/>
                    <a:pt x="6" y="940"/>
                    <a:pt x="6" y="940"/>
                  </a:cubicBezTo>
                  <a:cubicBezTo>
                    <a:pt x="6" y="941"/>
                    <a:pt x="5" y="941"/>
                    <a:pt x="5" y="942"/>
                  </a:cubicBezTo>
                  <a:cubicBezTo>
                    <a:pt x="5" y="942"/>
                    <a:pt x="5" y="943"/>
                    <a:pt x="5" y="943"/>
                  </a:cubicBezTo>
                  <a:cubicBezTo>
                    <a:pt x="3" y="945"/>
                    <a:pt x="3" y="946"/>
                    <a:pt x="2" y="948"/>
                  </a:cubicBezTo>
                  <a:cubicBezTo>
                    <a:pt x="2" y="949"/>
                    <a:pt x="1" y="950"/>
                    <a:pt x="1" y="950"/>
                  </a:cubicBezTo>
                  <a:cubicBezTo>
                    <a:pt x="1" y="951"/>
                    <a:pt x="1" y="952"/>
                    <a:pt x="0" y="953"/>
                  </a:cubicBezTo>
                  <a:cubicBezTo>
                    <a:pt x="0" y="953"/>
                    <a:pt x="0" y="954"/>
                    <a:pt x="0" y="954"/>
                  </a:cubicBezTo>
                  <a:cubicBezTo>
                    <a:pt x="0" y="955"/>
                    <a:pt x="0" y="956"/>
                    <a:pt x="0" y="957"/>
                  </a:cubicBezTo>
                  <a:cubicBezTo>
                    <a:pt x="0" y="957"/>
                    <a:pt x="0" y="957"/>
                    <a:pt x="0" y="958"/>
                  </a:cubicBezTo>
                  <a:cubicBezTo>
                    <a:pt x="0" y="958"/>
                    <a:pt x="0" y="958"/>
                    <a:pt x="0" y="958"/>
                  </a:cubicBezTo>
                  <a:cubicBezTo>
                    <a:pt x="0" y="958"/>
                    <a:pt x="0" y="959"/>
                    <a:pt x="0" y="959"/>
                  </a:cubicBezTo>
                  <a:cubicBezTo>
                    <a:pt x="0" y="960"/>
                    <a:pt x="0" y="961"/>
                    <a:pt x="0" y="962"/>
                  </a:cubicBezTo>
                  <a:cubicBezTo>
                    <a:pt x="0" y="963"/>
                    <a:pt x="0" y="963"/>
                    <a:pt x="0" y="963"/>
                  </a:cubicBezTo>
                  <a:cubicBezTo>
                    <a:pt x="1" y="964"/>
                    <a:pt x="1" y="965"/>
                    <a:pt x="1" y="966"/>
                  </a:cubicBezTo>
                  <a:cubicBezTo>
                    <a:pt x="1" y="966"/>
                    <a:pt x="1" y="967"/>
                    <a:pt x="1" y="967"/>
                  </a:cubicBezTo>
                  <a:cubicBezTo>
                    <a:pt x="1" y="967"/>
                    <a:pt x="2" y="968"/>
                    <a:pt x="2" y="968"/>
                  </a:cubicBezTo>
                  <a:cubicBezTo>
                    <a:pt x="2" y="969"/>
                    <a:pt x="2" y="969"/>
                    <a:pt x="2" y="969"/>
                  </a:cubicBezTo>
                  <a:cubicBezTo>
                    <a:pt x="2" y="969"/>
                    <a:pt x="2" y="970"/>
                    <a:pt x="2" y="970"/>
                  </a:cubicBezTo>
                  <a:cubicBezTo>
                    <a:pt x="2" y="970"/>
                    <a:pt x="2" y="971"/>
                    <a:pt x="3" y="971"/>
                  </a:cubicBezTo>
                  <a:cubicBezTo>
                    <a:pt x="4" y="973"/>
                    <a:pt x="5" y="975"/>
                    <a:pt x="6" y="978"/>
                  </a:cubicBezTo>
                  <a:cubicBezTo>
                    <a:pt x="6" y="978"/>
                    <a:pt x="7" y="979"/>
                    <a:pt x="7" y="979"/>
                  </a:cubicBezTo>
                  <a:cubicBezTo>
                    <a:pt x="8" y="981"/>
                    <a:pt x="9" y="982"/>
                    <a:pt x="9" y="983"/>
                  </a:cubicBezTo>
                  <a:cubicBezTo>
                    <a:pt x="10" y="983"/>
                    <a:pt x="10" y="982"/>
                    <a:pt x="10" y="982"/>
                  </a:cubicBezTo>
                  <a:cubicBezTo>
                    <a:pt x="9" y="981"/>
                    <a:pt x="9" y="981"/>
                    <a:pt x="9" y="980"/>
                  </a:cubicBezTo>
                  <a:cubicBezTo>
                    <a:pt x="8" y="980"/>
                    <a:pt x="8" y="979"/>
                    <a:pt x="8" y="979"/>
                  </a:cubicBezTo>
                  <a:cubicBezTo>
                    <a:pt x="6" y="976"/>
                    <a:pt x="5" y="973"/>
                    <a:pt x="4" y="971"/>
                  </a:cubicBezTo>
                  <a:cubicBezTo>
                    <a:pt x="3" y="970"/>
                    <a:pt x="3" y="970"/>
                    <a:pt x="3" y="970"/>
                  </a:cubicBezTo>
                  <a:cubicBezTo>
                    <a:pt x="3" y="969"/>
                    <a:pt x="3" y="969"/>
                    <a:pt x="3" y="969"/>
                  </a:cubicBezTo>
                  <a:cubicBezTo>
                    <a:pt x="3" y="969"/>
                    <a:pt x="3" y="968"/>
                    <a:pt x="3" y="968"/>
                  </a:cubicBezTo>
                  <a:cubicBezTo>
                    <a:pt x="2" y="967"/>
                    <a:pt x="2" y="967"/>
                    <a:pt x="2" y="967"/>
                  </a:cubicBezTo>
                  <a:cubicBezTo>
                    <a:pt x="2" y="966"/>
                    <a:pt x="2" y="966"/>
                    <a:pt x="2" y="966"/>
                  </a:cubicBezTo>
                  <a:cubicBezTo>
                    <a:pt x="2" y="965"/>
                    <a:pt x="1" y="964"/>
                    <a:pt x="1" y="963"/>
                  </a:cubicBezTo>
                  <a:cubicBezTo>
                    <a:pt x="1" y="962"/>
                    <a:pt x="1" y="962"/>
                    <a:pt x="1" y="962"/>
                  </a:cubicBezTo>
                  <a:cubicBezTo>
                    <a:pt x="1" y="961"/>
                    <a:pt x="1" y="960"/>
                    <a:pt x="1" y="959"/>
                  </a:cubicBezTo>
                  <a:cubicBezTo>
                    <a:pt x="1" y="959"/>
                    <a:pt x="1" y="958"/>
                    <a:pt x="1" y="958"/>
                  </a:cubicBezTo>
                  <a:cubicBezTo>
                    <a:pt x="1" y="958"/>
                    <a:pt x="1" y="958"/>
                    <a:pt x="1" y="958"/>
                  </a:cubicBezTo>
                  <a:cubicBezTo>
                    <a:pt x="1" y="958"/>
                    <a:pt x="1" y="957"/>
                    <a:pt x="1" y="957"/>
                  </a:cubicBezTo>
                  <a:cubicBezTo>
                    <a:pt x="1" y="956"/>
                    <a:pt x="1" y="955"/>
                    <a:pt x="1" y="954"/>
                  </a:cubicBezTo>
                  <a:cubicBezTo>
                    <a:pt x="1" y="953"/>
                    <a:pt x="1" y="953"/>
                    <a:pt x="2" y="952"/>
                  </a:cubicBezTo>
                  <a:cubicBezTo>
                    <a:pt x="2" y="951"/>
                    <a:pt x="2" y="950"/>
                    <a:pt x="3" y="949"/>
                  </a:cubicBezTo>
                  <a:cubicBezTo>
                    <a:pt x="3" y="948"/>
                    <a:pt x="3" y="947"/>
                    <a:pt x="4" y="946"/>
                  </a:cubicBezTo>
                  <a:cubicBezTo>
                    <a:pt x="4" y="945"/>
                    <a:pt x="5" y="944"/>
                    <a:pt x="5" y="943"/>
                  </a:cubicBezTo>
                  <a:cubicBezTo>
                    <a:pt x="6" y="943"/>
                    <a:pt x="6" y="943"/>
                    <a:pt x="6" y="942"/>
                  </a:cubicBezTo>
                  <a:cubicBezTo>
                    <a:pt x="6" y="942"/>
                    <a:pt x="7" y="941"/>
                    <a:pt x="7" y="941"/>
                  </a:cubicBezTo>
                  <a:cubicBezTo>
                    <a:pt x="7" y="941"/>
                    <a:pt x="7" y="940"/>
                    <a:pt x="8" y="940"/>
                  </a:cubicBezTo>
                  <a:cubicBezTo>
                    <a:pt x="8" y="940"/>
                    <a:pt x="8" y="940"/>
                    <a:pt x="8" y="939"/>
                  </a:cubicBezTo>
                  <a:cubicBezTo>
                    <a:pt x="9" y="939"/>
                    <a:pt x="9" y="939"/>
                    <a:pt x="9" y="939"/>
                  </a:cubicBezTo>
                  <a:cubicBezTo>
                    <a:pt x="9" y="938"/>
                    <a:pt x="9" y="938"/>
                    <a:pt x="10" y="938"/>
                  </a:cubicBezTo>
                  <a:cubicBezTo>
                    <a:pt x="10" y="938"/>
                    <a:pt x="10" y="937"/>
                    <a:pt x="10" y="937"/>
                  </a:cubicBezTo>
                  <a:cubicBezTo>
                    <a:pt x="11" y="937"/>
                    <a:pt x="11" y="937"/>
                    <a:pt x="11" y="936"/>
                  </a:cubicBezTo>
                  <a:cubicBezTo>
                    <a:pt x="12" y="936"/>
                    <a:pt x="12" y="936"/>
                    <a:pt x="12" y="936"/>
                  </a:cubicBezTo>
                  <a:cubicBezTo>
                    <a:pt x="29" y="920"/>
                    <a:pt x="65" y="909"/>
                    <a:pt x="111" y="903"/>
                  </a:cubicBezTo>
                  <a:cubicBezTo>
                    <a:pt x="177" y="893"/>
                    <a:pt x="261" y="890"/>
                    <a:pt x="340" y="890"/>
                  </a:cubicBezTo>
                  <a:cubicBezTo>
                    <a:pt x="341" y="890"/>
                    <a:pt x="341" y="890"/>
                    <a:pt x="342" y="890"/>
                  </a:cubicBezTo>
                  <a:cubicBezTo>
                    <a:pt x="342" y="890"/>
                    <a:pt x="343" y="890"/>
                    <a:pt x="343" y="890"/>
                  </a:cubicBezTo>
                  <a:cubicBezTo>
                    <a:pt x="351" y="890"/>
                    <a:pt x="359" y="890"/>
                    <a:pt x="367" y="890"/>
                  </a:cubicBezTo>
                  <a:cubicBezTo>
                    <a:pt x="368" y="890"/>
                    <a:pt x="368" y="890"/>
                    <a:pt x="368" y="890"/>
                  </a:cubicBezTo>
                  <a:cubicBezTo>
                    <a:pt x="376" y="891"/>
                    <a:pt x="383" y="891"/>
                    <a:pt x="391" y="891"/>
                  </a:cubicBezTo>
                  <a:cubicBezTo>
                    <a:pt x="391" y="891"/>
                    <a:pt x="391" y="891"/>
                    <a:pt x="392" y="891"/>
                  </a:cubicBezTo>
                  <a:cubicBezTo>
                    <a:pt x="392" y="891"/>
                    <a:pt x="393" y="891"/>
                    <a:pt x="394" y="891"/>
                  </a:cubicBezTo>
                  <a:cubicBezTo>
                    <a:pt x="395" y="891"/>
                    <a:pt x="396" y="891"/>
                    <a:pt x="396" y="891"/>
                  </a:cubicBezTo>
                  <a:cubicBezTo>
                    <a:pt x="401" y="891"/>
                    <a:pt x="406" y="891"/>
                    <a:pt x="411" y="891"/>
                  </a:cubicBezTo>
                  <a:cubicBezTo>
                    <a:pt x="412" y="891"/>
                    <a:pt x="413" y="891"/>
                    <a:pt x="413" y="891"/>
                  </a:cubicBezTo>
                  <a:cubicBezTo>
                    <a:pt x="418" y="891"/>
                    <a:pt x="423" y="891"/>
                    <a:pt x="428" y="891"/>
                  </a:cubicBezTo>
                  <a:cubicBezTo>
                    <a:pt x="429" y="891"/>
                    <a:pt x="429" y="891"/>
                    <a:pt x="429" y="891"/>
                  </a:cubicBezTo>
                  <a:cubicBezTo>
                    <a:pt x="430" y="891"/>
                    <a:pt x="431" y="891"/>
                    <a:pt x="432" y="891"/>
                  </a:cubicBezTo>
                  <a:cubicBezTo>
                    <a:pt x="433" y="891"/>
                    <a:pt x="434" y="891"/>
                    <a:pt x="435" y="891"/>
                  </a:cubicBezTo>
                  <a:cubicBezTo>
                    <a:pt x="438" y="891"/>
                    <a:pt x="442" y="891"/>
                    <a:pt x="445" y="892"/>
                  </a:cubicBezTo>
                  <a:cubicBezTo>
                    <a:pt x="445" y="892"/>
                    <a:pt x="446" y="892"/>
                    <a:pt x="446" y="892"/>
                  </a:cubicBezTo>
                  <a:cubicBezTo>
                    <a:pt x="449" y="892"/>
                    <a:pt x="452" y="892"/>
                    <a:pt x="456" y="892"/>
                  </a:cubicBezTo>
                  <a:cubicBezTo>
                    <a:pt x="456" y="892"/>
                    <a:pt x="456" y="892"/>
                    <a:pt x="457" y="892"/>
                  </a:cubicBezTo>
                  <a:cubicBezTo>
                    <a:pt x="459" y="892"/>
                    <a:pt x="461" y="892"/>
                    <a:pt x="463" y="892"/>
                  </a:cubicBezTo>
                  <a:cubicBezTo>
                    <a:pt x="463" y="892"/>
                    <a:pt x="464" y="892"/>
                    <a:pt x="464" y="892"/>
                  </a:cubicBezTo>
                  <a:cubicBezTo>
                    <a:pt x="465" y="892"/>
                    <a:pt x="465" y="892"/>
                    <a:pt x="466" y="892"/>
                  </a:cubicBezTo>
                  <a:cubicBezTo>
                    <a:pt x="467" y="892"/>
                    <a:pt x="468" y="892"/>
                    <a:pt x="469" y="892"/>
                  </a:cubicBezTo>
                  <a:cubicBezTo>
                    <a:pt x="470" y="892"/>
                    <a:pt x="471" y="892"/>
                    <a:pt x="472" y="892"/>
                  </a:cubicBezTo>
                  <a:cubicBezTo>
                    <a:pt x="471" y="892"/>
                    <a:pt x="471" y="891"/>
                    <a:pt x="471" y="891"/>
                  </a:cubicBezTo>
                  <a:cubicBezTo>
                    <a:pt x="470" y="891"/>
                    <a:pt x="469" y="891"/>
                    <a:pt x="469" y="891"/>
                  </a:cubicBezTo>
                  <a:cubicBezTo>
                    <a:pt x="467" y="891"/>
                    <a:pt x="465" y="891"/>
                    <a:pt x="464" y="891"/>
                  </a:cubicBezTo>
                  <a:cubicBezTo>
                    <a:pt x="464" y="891"/>
                    <a:pt x="463" y="891"/>
                    <a:pt x="463" y="891"/>
                  </a:cubicBezTo>
                  <a:cubicBezTo>
                    <a:pt x="461" y="891"/>
                    <a:pt x="459" y="891"/>
                    <a:pt x="458" y="891"/>
                  </a:cubicBezTo>
                  <a:cubicBezTo>
                    <a:pt x="457" y="891"/>
                    <a:pt x="457" y="891"/>
                    <a:pt x="456" y="891"/>
                  </a:cubicBezTo>
                  <a:cubicBezTo>
                    <a:pt x="453" y="891"/>
                    <a:pt x="449" y="891"/>
                    <a:pt x="446" y="891"/>
                  </a:cubicBezTo>
                  <a:cubicBezTo>
                    <a:pt x="445" y="891"/>
                    <a:pt x="445" y="891"/>
                    <a:pt x="445" y="891"/>
                  </a:cubicBezTo>
                  <a:cubicBezTo>
                    <a:pt x="442" y="890"/>
                    <a:pt x="440" y="890"/>
                    <a:pt x="437" y="890"/>
                  </a:cubicBezTo>
                  <a:cubicBezTo>
                    <a:pt x="436" y="890"/>
                    <a:pt x="435" y="890"/>
                    <a:pt x="435" y="890"/>
                  </a:cubicBezTo>
                  <a:cubicBezTo>
                    <a:pt x="433" y="890"/>
                    <a:pt x="431" y="890"/>
                    <a:pt x="429" y="890"/>
                  </a:cubicBezTo>
                  <a:cubicBezTo>
                    <a:pt x="429" y="890"/>
                    <a:pt x="429" y="890"/>
                    <a:pt x="428" y="890"/>
                  </a:cubicBezTo>
                  <a:cubicBezTo>
                    <a:pt x="424" y="890"/>
                    <a:pt x="419" y="890"/>
                    <a:pt x="415" y="890"/>
                  </a:cubicBezTo>
                  <a:cubicBezTo>
                    <a:pt x="414" y="890"/>
                    <a:pt x="413" y="890"/>
                    <a:pt x="413" y="890"/>
                  </a:cubicBezTo>
                  <a:cubicBezTo>
                    <a:pt x="413" y="890"/>
                    <a:pt x="413" y="890"/>
                    <a:pt x="412" y="890"/>
                  </a:cubicBezTo>
                  <a:cubicBezTo>
                    <a:pt x="412" y="890"/>
                    <a:pt x="412" y="890"/>
                    <a:pt x="411" y="890"/>
                  </a:cubicBezTo>
                  <a:cubicBezTo>
                    <a:pt x="407" y="890"/>
                    <a:pt x="403" y="890"/>
                    <a:pt x="399" y="890"/>
                  </a:cubicBezTo>
                  <a:cubicBezTo>
                    <a:pt x="398" y="890"/>
                    <a:pt x="397" y="890"/>
                    <a:pt x="396" y="890"/>
                  </a:cubicBezTo>
                  <a:cubicBezTo>
                    <a:pt x="395" y="890"/>
                    <a:pt x="393" y="890"/>
                    <a:pt x="391" y="890"/>
                  </a:cubicBezTo>
                  <a:cubicBezTo>
                    <a:pt x="391" y="890"/>
                    <a:pt x="390" y="890"/>
                    <a:pt x="390" y="890"/>
                  </a:cubicBezTo>
                  <a:cubicBezTo>
                    <a:pt x="383" y="890"/>
                    <a:pt x="375" y="890"/>
                    <a:pt x="368" y="889"/>
                  </a:cubicBezTo>
                  <a:cubicBezTo>
                    <a:pt x="367" y="889"/>
                    <a:pt x="367" y="889"/>
                    <a:pt x="367" y="889"/>
                  </a:cubicBezTo>
                  <a:cubicBezTo>
                    <a:pt x="359" y="889"/>
                    <a:pt x="351" y="889"/>
                    <a:pt x="343" y="889"/>
                  </a:cubicBezTo>
                  <a:cubicBezTo>
                    <a:pt x="342" y="889"/>
                    <a:pt x="342" y="889"/>
                    <a:pt x="341" y="889"/>
                  </a:cubicBezTo>
                  <a:cubicBezTo>
                    <a:pt x="340" y="889"/>
                    <a:pt x="340" y="889"/>
                    <a:pt x="340" y="889"/>
                  </a:cubicBezTo>
                  <a:moveTo>
                    <a:pt x="472" y="891"/>
                  </a:moveTo>
                  <a:cubicBezTo>
                    <a:pt x="472" y="891"/>
                    <a:pt x="472" y="892"/>
                    <a:pt x="473" y="892"/>
                  </a:cubicBezTo>
                  <a:cubicBezTo>
                    <a:pt x="476" y="892"/>
                    <a:pt x="478" y="892"/>
                    <a:pt x="481" y="892"/>
                  </a:cubicBezTo>
                  <a:cubicBezTo>
                    <a:pt x="482" y="892"/>
                    <a:pt x="482" y="892"/>
                    <a:pt x="482" y="892"/>
                  </a:cubicBezTo>
                  <a:cubicBezTo>
                    <a:pt x="483" y="892"/>
                    <a:pt x="483" y="892"/>
                    <a:pt x="483" y="892"/>
                  </a:cubicBezTo>
                  <a:cubicBezTo>
                    <a:pt x="486" y="892"/>
                    <a:pt x="488" y="892"/>
                    <a:pt x="491" y="892"/>
                  </a:cubicBezTo>
                  <a:cubicBezTo>
                    <a:pt x="491" y="892"/>
                    <a:pt x="491" y="892"/>
                    <a:pt x="491" y="892"/>
                  </a:cubicBezTo>
                  <a:cubicBezTo>
                    <a:pt x="492" y="892"/>
                    <a:pt x="492" y="892"/>
                    <a:pt x="492" y="892"/>
                  </a:cubicBezTo>
                  <a:cubicBezTo>
                    <a:pt x="493" y="892"/>
                    <a:pt x="493" y="892"/>
                    <a:pt x="494" y="892"/>
                  </a:cubicBezTo>
                  <a:cubicBezTo>
                    <a:pt x="495" y="892"/>
                    <a:pt x="496" y="892"/>
                    <a:pt x="497" y="893"/>
                  </a:cubicBezTo>
                  <a:cubicBezTo>
                    <a:pt x="504" y="893"/>
                    <a:pt x="511" y="893"/>
                    <a:pt x="517" y="893"/>
                  </a:cubicBezTo>
                  <a:cubicBezTo>
                    <a:pt x="518" y="893"/>
                    <a:pt x="520" y="893"/>
                    <a:pt x="521" y="893"/>
                  </a:cubicBezTo>
                  <a:cubicBezTo>
                    <a:pt x="526" y="893"/>
                    <a:pt x="531" y="893"/>
                    <a:pt x="536" y="893"/>
                  </a:cubicBezTo>
                  <a:cubicBezTo>
                    <a:pt x="536" y="893"/>
                    <a:pt x="536" y="893"/>
                    <a:pt x="536" y="893"/>
                  </a:cubicBezTo>
                  <a:cubicBezTo>
                    <a:pt x="538" y="893"/>
                    <a:pt x="539" y="893"/>
                    <a:pt x="541" y="893"/>
                  </a:cubicBezTo>
                  <a:cubicBezTo>
                    <a:pt x="543" y="893"/>
                    <a:pt x="545" y="893"/>
                    <a:pt x="547" y="893"/>
                  </a:cubicBezTo>
                  <a:cubicBezTo>
                    <a:pt x="547" y="892"/>
                    <a:pt x="547" y="892"/>
                    <a:pt x="547" y="892"/>
                  </a:cubicBezTo>
                  <a:cubicBezTo>
                    <a:pt x="546" y="892"/>
                    <a:pt x="546" y="892"/>
                    <a:pt x="545" y="892"/>
                  </a:cubicBezTo>
                  <a:cubicBezTo>
                    <a:pt x="544" y="892"/>
                    <a:pt x="542" y="892"/>
                    <a:pt x="541" y="892"/>
                  </a:cubicBezTo>
                  <a:cubicBezTo>
                    <a:pt x="539" y="892"/>
                    <a:pt x="537" y="892"/>
                    <a:pt x="536" y="892"/>
                  </a:cubicBezTo>
                  <a:cubicBezTo>
                    <a:pt x="532" y="892"/>
                    <a:pt x="528" y="892"/>
                    <a:pt x="524" y="892"/>
                  </a:cubicBezTo>
                  <a:cubicBezTo>
                    <a:pt x="523" y="892"/>
                    <a:pt x="522" y="892"/>
                    <a:pt x="520" y="892"/>
                  </a:cubicBezTo>
                  <a:cubicBezTo>
                    <a:pt x="514" y="892"/>
                    <a:pt x="507" y="892"/>
                    <a:pt x="499" y="892"/>
                  </a:cubicBezTo>
                  <a:cubicBezTo>
                    <a:pt x="499" y="892"/>
                    <a:pt x="498" y="892"/>
                    <a:pt x="497" y="892"/>
                  </a:cubicBezTo>
                  <a:cubicBezTo>
                    <a:pt x="496" y="892"/>
                    <a:pt x="496" y="892"/>
                    <a:pt x="495" y="892"/>
                  </a:cubicBezTo>
                  <a:cubicBezTo>
                    <a:pt x="495" y="891"/>
                    <a:pt x="495" y="891"/>
                    <a:pt x="494" y="891"/>
                  </a:cubicBezTo>
                  <a:cubicBezTo>
                    <a:pt x="494" y="891"/>
                    <a:pt x="493" y="891"/>
                    <a:pt x="493" y="891"/>
                  </a:cubicBezTo>
                  <a:cubicBezTo>
                    <a:pt x="492" y="891"/>
                    <a:pt x="492" y="891"/>
                    <a:pt x="492" y="891"/>
                  </a:cubicBezTo>
                  <a:cubicBezTo>
                    <a:pt x="491" y="891"/>
                    <a:pt x="491" y="891"/>
                    <a:pt x="491" y="891"/>
                  </a:cubicBezTo>
                  <a:cubicBezTo>
                    <a:pt x="488" y="891"/>
                    <a:pt x="486" y="891"/>
                    <a:pt x="483" y="891"/>
                  </a:cubicBezTo>
                  <a:cubicBezTo>
                    <a:pt x="483" y="891"/>
                    <a:pt x="483" y="891"/>
                    <a:pt x="483" y="891"/>
                  </a:cubicBezTo>
                  <a:cubicBezTo>
                    <a:pt x="483" y="891"/>
                    <a:pt x="482" y="891"/>
                    <a:pt x="482" y="891"/>
                  </a:cubicBezTo>
                  <a:cubicBezTo>
                    <a:pt x="479" y="891"/>
                    <a:pt x="475" y="891"/>
                    <a:pt x="472" y="891"/>
                  </a:cubicBezTo>
                  <a:moveTo>
                    <a:pt x="1076" y="913"/>
                  </a:moveTo>
                  <a:cubicBezTo>
                    <a:pt x="1043" y="929"/>
                    <a:pt x="1013" y="946"/>
                    <a:pt x="986" y="963"/>
                  </a:cubicBezTo>
                  <a:cubicBezTo>
                    <a:pt x="976" y="971"/>
                    <a:pt x="966" y="978"/>
                    <a:pt x="956" y="984"/>
                  </a:cubicBezTo>
                  <a:cubicBezTo>
                    <a:pt x="949" y="990"/>
                    <a:pt x="943" y="995"/>
                    <a:pt x="936" y="1001"/>
                  </a:cubicBezTo>
                  <a:cubicBezTo>
                    <a:pt x="936" y="1002"/>
                    <a:pt x="935" y="1003"/>
                    <a:pt x="935" y="1004"/>
                  </a:cubicBezTo>
                  <a:cubicBezTo>
                    <a:pt x="968" y="973"/>
                    <a:pt x="1018" y="942"/>
                    <a:pt x="1074" y="915"/>
                  </a:cubicBezTo>
                  <a:cubicBezTo>
                    <a:pt x="1074" y="915"/>
                    <a:pt x="1075" y="914"/>
                    <a:pt x="1076" y="913"/>
                  </a:cubicBezTo>
                  <a:moveTo>
                    <a:pt x="10" y="983"/>
                  </a:moveTo>
                  <a:cubicBezTo>
                    <a:pt x="10" y="983"/>
                    <a:pt x="10" y="984"/>
                    <a:pt x="10" y="984"/>
                  </a:cubicBezTo>
                  <a:cubicBezTo>
                    <a:pt x="10" y="984"/>
                    <a:pt x="10" y="984"/>
                    <a:pt x="10" y="985"/>
                  </a:cubicBezTo>
                  <a:cubicBezTo>
                    <a:pt x="11" y="985"/>
                    <a:pt x="11" y="986"/>
                    <a:pt x="12" y="986"/>
                  </a:cubicBezTo>
                  <a:cubicBezTo>
                    <a:pt x="14" y="989"/>
                    <a:pt x="16" y="991"/>
                    <a:pt x="18" y="994"/>
                  </a:cubicBezTo>
                  <a:cubicBezTo>
                    <a:pt x="18" y="994"/>
                    <a:pt x="18" y="994"/>
                    <a:pt x="19" y="995"/>
                  </a:cubicBezTo>
                  <a:cubicBezTo>
                    <a:pt x="21" y="997"/>
                    <a:pt x="23" y="999"/>
                    <a:pt x="26" y="1001"/>
                  </a:cubicBezTo>
                  <a:cubicBezTo>
                    <a:pt x="26" y="1001"/>
                    <a:pt x="26" y="1001"/>
                    <a:pt x="26" y="1001"/>
                  </a:cubicBezTo>
                  <a:cubicBezTo>
                    <a:pt x="24" y="998"/>
                    <a:pt x="22" y="996"/>
                    <a:pt x="20" y="994"/>
                  </a:cubicBezTo>
                  <a:cubicBezTo>
                    <a:pt x="20" y="994"/>
                    <a:pt x="19" y="994"/>
                    <a:pt x="19" y="993"/>
                  </a:cubicBezTo>
                  <a:cubicBezTo>
                    <a:pt x="17" y="991"/>
                    <a:pt x="15" y="989"/>
                    <a:pt x="14" y="987"/>
                  </a:cubicBezTo>
                  <a:cubicBezTo>
                    <a:pt x="13" y="987"/>
                    <a:pt x="13" y="986"/>
                    <a:pt x="12" y="985"/>
                  </a:cubicBezTo>
                  <a:cubicBezTo>
                    <a:pt x="12" y="985"/>
                    <a:pt x="11" y="984"/>
                    <a:pt x="10" y="983"/>
                  </a:cubicBezTo>
                  <a:moveTo>
                    <a:pt x="27" y="1001"/>
                  </a:moveTo>
                  <a:cubicBezTo>
                    <a:pt x="27" y="1001"/>
                    <a:pt x="26" y="1002"/>
                    <a:pt x="26" y="1002"/>
                  </a:cubicBezTo>
                  <a:cubicBezTo>
                    <a:pt x="28" y="1003"/>
                    <a:pt x="29" y="1005"/>
                    <a:pt x="31" y="1006"/>
                  </a:cubicBezTo>
                  <a:cubicBezTo>
                    <a:pt x="32" y="1007"/>
                    <a:pt x="33" y="1008"/>
                    <a:pt x="34" y="1009"/>
                  </a:cubicBezTo>
                  <a:cubicBezTo>
                    <a:pt x="36" y="1010"/>
                    <a:pt x="37" y="1012"/>
                    <a:pt x="39" y="1013"/>
                  </a:cubicBezTo>
                  <a:cubicBezTo>
                    <a:pt x="40" y="1014"/>
                    <a:pt x="41" y="1014"/>
                    <a:pt x="41" y="1015"/>
                  </a:cubicBezTo>
                  <a:cubicBezTo>
                    <a:pt x="45" y="1018"/>
                    <a:pt x="50" y="1021"/>
                    <a:pt x="55" y="1025"/>
                  </a:cubicBezTo>
                  <a:cubicBezTo>
                    <a:pt x="56" y="1026"/>
                    <a:pt x="58" y="1027"/>
                    <a:pt x="60" y="1028"/>
                  </a:cubicBezTo>
                  <a:cubicBezTo>
                    <a:pt x="60" y="1028"/>
                    <a:pt x="60" y="1028"/>
                    <a:pt x="61" y="1028"/>
                  </a:cubicBezTo>
                  <a:cubicBezTo>
                    <a:pt x="60" y="1028"/>
                    <a:pt x="60" y="1028"/>
                    <a:pt x="60" y="1027"/>
                  </a:cubicBezTo>
                  <a:cubicBezTo>
                    <a:pt x="55" y="1024"/>
                    <a:pt x="49" y="1020"/>
                    <a:pt x="45" y="1016"/>
                  </a:cubicBezTo>
                  <a:cubicBezTo>
                    <a:pt x="44" y="1015"/>
                    <a:pt x="43" y="1015"/>
                    <a:pt x="42" y="1014"/>
                  </a:cubicBezTo>
                  <a:cubicBezTo>
                    <a:pt x="41" y="1013"/>
                    <a:pt x="40" y="1012"/>
                    <a:pt x="39" y="1011"/>
                  </a:cubicBezTo>
                  <a:cubicBezTo>
                    <a:pt x="37" y="1010"/>
                    <a:pt x="36" y="1009"/>
                    <a:pt x="35" y="1008"/>
                  </a:cubicBezTo>
                  <a:cubicBezTo>
                    <a:pt x="32" y="1006"/>
                    <a:pt x="29" y="1004"/>
                    <a:pt x="27" y="1001"/>
                  </a:cubicBezTo>
                  <a:moveTo>
                    <a:pt x="934" y="1003"/>
                  </a:moveTo>
                  <a:cubicBezTo>
                    <a:pt x="909" y="1027"/>
                    <a:pt x="893" y="1051"/>
                    <a:pt x="893" y="1073"/>
                  </a:cubicBezTo>
                  <a:cubicBezTo>
                    <a:pt x="893" y="1086"/>
                    <a:pt x="898" y="1098"/>
                    <a:pt x="909" y="1109"/>
                  </a:cubicBezTo>
                  <a:cubicBezTo>
                    <a:pt x="941" y="1141"/>
                    <a:pt x="1007" y="1220"/>
                    <a:pt x="1007" y="1275"/>
                  </a:cubicBezTo>
                  <a:cubicBezTo>
                    <a:pt x="1007" y="1306"/>
                    <a:pt x="985" y="1330"/>
                    <a:pt x="922" y="1332"/>
                  </a:cubicBezTo>
                  <a:cubicBezTo>
                    <a:pt x="922" y="1332"/>
                    <a:pt x="923" y="1333"/>
                    <a:pt x="923" y="1333"/>
                  </a:cubicBezTo>
                  <a:cubicBezTo>
                    <a:pt x="953" y="1332"/>
                    <a:pt x="973" y="1326"/>
                    <a:pt x="987" y="1317"/>
                  </a:cubicBezTo>
                  <a:cubicBezTo>
                    <a:pt x="1002" y="1306"/>
                    <a:pt x="1008" y="1292"/>
                    <a:pt x="1008" y="1275"/>
                  </a:cubicBezTo>
                  <a:cubicBezTo>
                    <a:pt x="1008" y="1219"/>
                    <a:pt x="942" y="1140"/>
                    <a:pt x="910" y="1108"/>
                  </a:cubicBezTo>
                  <a:cubicBezTo>
                    <a:pt x="899" y="1097"/>
                    <a:pt x="894" y="1085"/>
                    <a:pt x="894" y="1073"/>
                  </a:cubicBezTo>
                  <a:cubicBezTo>
                    <a:pt x="894" y="1052"/>
                    <a:pt x="909" y="1029"/>
                    <a:pt x="933" y="1005"/>
                  </a:cubicBezTo>
                  <a:cubicBezTo>
                    <a:pt x="933" y="1005"/>
                    <a:pt x="934" y="1004"/>
                    <a:pt x="934" y="1003"/>
                  </a:cubicBezTo>
                  <a:moveTo>
                    <a:pt x="61" y="1028"/>
                  </a:moveTo>
                  <a:cubicBezTo>
                    <a:pt x="61" y="1028"/>
                    <a:pt x="61" y="1029"/>
                    <a:pt x="60" y="1029"/>
                  </a:cubicBezTo>
                  <a:cubicBezTo>
                    <a:pt x="68" y="1034"/>
                    <a:pt x="77" y="1040"/>
                    <a:pt x="87" y="1046"/>
                  </a:cubicBezTo>
                  <a:cubicBezTo>
                    <a:pt x="88" y="1046"/>
                    <a:pt x="88" y="1046"/>
                    <a:pt x="88" y="1046"/>
                  </a:cubicBezTo>
                  <a:cubicBezTo>
                    <a:pt x="80" y="1041"/>
                    <a:pt x="72" y="1036"/>
                    <a:pt x="65" y="1031"/>
                  </a:cubicBezTo>
                  <a:cubicBezTo>
                    <a:pt x="64" y="1030"/>
                    <a:pt x="63" y="1029"/>
                    <a:pt x="61" y="1028"/>
                  </a:cubicBezTo>
                  <a:moveTo>
                    <a:pt x="89" y="1046"/>
                  </a:moveTo>
                  <a:cubicBezTo>
                    <a:pt x="89" y="1046"/>
                    <a:pt x="89" y="1047"/>
                    <a:pt x="88" y="1047"/>
                  </a:cubicBezTo>
                  <a:cubicBezTo>
                    <a:pt x="94" y="1050"/>
                    <a:pt x="100" y="1053"/>
                    <a:pt x="106" y="1057"/>
                  </a:cubicBezTo>
                  <a:cubicBezTo>
                    <a:pt x="106" y="1057"/>
                    <a:pt x="107" y="1057"/>
                    <a:pt x="107" y="1058"/>
                  </a:cubicBezTo>
                  <a:cubicBezTo>
                    <a:pt x="109" y="1059"/>
                    <a:pt x="111" y="1060"/>
                    <a:pt x="114" y="1061"/>
                  </a:cubicBezTo>
                  <a:cubicBezTo>
                    <a:pt x="114" y="1061"/>
                    <a:pt x="114" y="1061"/>
                    <a:pt x="115" y="1061"/>
                  </a:cubicBezTo>
                  <a:cubicBezTo>
                    <a:pt x="113" y="1060"/>
                    <a:pt x="110" y="1058"/>
                    <a:pt x="108" y="1057"/>
                  </a:cubicBezTo>
                  <a:cubicBezTo>
                    <a:pt x="108" y="1057"/>
                    <a:pt x="108" y="1057"/>
                    <a:pt x="107" y="1057"/>
                  </a:cubicBezTo>
                  <a:cubicBezTo>
                    <a:pt x="101" y="1053"/>
                    <a:pt x="95" y="1050"/>
                    <a:pt x="89" y="1046"/>
                  </a:cubicBezTo>
                  <a:moveTo>
                    <a:pt x="116" y="1062"/>
                  </a:moveTo>
                  <a:cubicBezTo>
                    <a:pt x="116" y="1062"/>
                    <a:pt x="115" y="1062"/>
                    <a:pt x="115" y="1062"/>
                  </a:cubicBezTo>
                  <a:cubicBezTo>
                    <a:pt x="119" y="1064"/>
                    <a:pt x="124" y="1067"/>
                    <a:pt x="129" y="1070"/>
                  </a:cubicBezTo>
                  <a:cubicBezTo>
                    <a:pt x="130" y="1070"/>
                    <a:pt x="131" y="1071"/>
                    <a:pt x="132" y="1071"/>
                  </a:cubicBezTo>
                  <a:cubicBezTo>
                    <a:pt x="132" y="1071"/>
                    <a:pt x="132" y="1071"/>
                    <a:pt x="132" y="1071"/>
                  </a:cubicBezTo>
                  <a:cubicBezTo>
                    <a:pt x="133" y="1072"/>
                    <a:pt x="133" y="1072"/>
                    <a:pt x="133" y="1072"/>
                  </a:cubicBezTo>
                  <a:cubicBezTo>
                    <a:pt x="135" y="1073"/>
                    <a:pt x="137" y="1074"/>
                    <a:pt x="138" y="1075"/>
                  </a:cubicBezTo>
                  <a:cubicBezTo>
                    <a:pt x="139" y="1074"/>
                    <a:pt x="139" y="1074"/>
                    <a:pt x="140" y="1074"/>
                  </a:cubicBezTo>
                  <a:cubicBezTo>
                    <a:pt x="139" y="1074"/>
                    <a:pt x="139" y="1074"/>
                    <a:pt x="139" y="1074"/>
                  </a:cubicBezTo>
                  <a:cubicBezTo>
                    <a:pt x="138" y="1074"/>
                    <a:pt x="138" y="1073"/>
                    <a:pt x="137" y="1073"/>
                  </a:cubicBezTo>
                  <a:cubicBezTo>
                    <a:pt x="136" y="1072"/>
                    <a:pt x="134" y="1071"/>
                    <a:pt x="133" y="1070"/>
                  </a:cubicBezTo>
                  <a:cubicBezTo>
                    <a:pt x="132" y="1070"/>
                    <a:pt x="132" y="1070"/>
                    <a:pt x="131" y="1070"/>
                  </a:cubicBezTo>
                  <a:cubicBezTo>
                    <a:pt x="131" y="1069"/>
                    <a:pt x="130" y="1069"/>
                    <a:pt x="130" y="1069"/>
                  </a:cubicBezTo>
                  <a:cubicBezTo>
                    <a:pt x="130" y="1069"/>
                    <a:pt x="129" y="1069"/>
                    <a:pt x="129" y="1069"/>
                  </a:cubicBezTo>
                  <a:cubicBezTo>
                    <a:pt x="128" y="1068"/>
                    <a:pt x="127" y="1067"/>
                    <a:pt x="126" y="1067"/>
                  </a:cubicBezTo>
                  <a:cubicBezTo>
                    <a:pt x="122" y="1065"/>
                    <a:pt x="119" y="1063"/>
                    <a:pt x="116" y="1062"/>
                  </a:cubicBezTo>
                  <a:moveTo>
                    <a:pt x="141" y="1075"/>
                  </a:moveTo>
                  <a:cubicBezTo>
                    <a:pt x="140" y="1075"/>
                    <a:pt x="140" y="1075"/>
                    <a:pt x="139" y="1075"/>
                  </a:cubicBezTo>
                  <a:cubicBezTo>
                    <a:pt x="140" y="1075"/>
                    <a:pt x="140" y="1075"/>
                    <a:pt x="140" y="1076"/>
                  </a:cubicBezTo>
                  <a:cubicBezTo>
                    <a:pt x="141" y="1076"/>
                    <a:pt x="141" y="1076"/>
                    <a:pt x="142" y="1077"/>
                  </a:cubicBezTo>
                  <a:cubicBezTo>
                    <a:pt x="143" y="1077"/>
                    <a:pt x="144" y="1078"/>
                    <a:pt x="145" y="1078"/>
                  </a:cubicBezTo>
                  <a:cubicBezTo>
                    <a:pt x="146" y="1078"/>
                    <a:pt x="146" y="1078"/>
                    <a:pt x="146" y="1078"/>
                  </a:cubicBezTo>
                  <a:cubicBezTo>
                    <a:pt x="146" y="1079"/>
                    <a:pt x="147" y="1079"/>
                    <a:pt x="147" y="1079"/>
                  </a:cubicBezTo>
                  <a:cubicBezTo>
                    <a:pt x="150" y="1080"/>
                    <a:pt x="152" y="1082"/>
                    <a:pt x="155" y="1083"/>
                  </a:cubicBezTo>
                  <a:cubicBezTo>
                    <a:pt x="156" y="1084"/>
                    <a:pt x="157" y="1084"/>
                    <a:pt x="157" y="1084"/>
                  </a:cubicBezTo>
                  <a:cubicBezTo>
                    <a:pt x="158" y="1085"/>
                    <a:pt x="158" y="1085"/>
                    <a:pt x="159" y="1085"/>
                  </a:cubicBezTo>
                  <a:cubicBezTo>
                    <a:pt x="160" y="1086"/>
                    <a:pt x="160" y="1086"/>
                    <a:pt x="161" y="1086"/>
                  </a:cubicBezTo>
                  <a:cubicBezTo>
                    <a:pt x="161" y="1086"/>
                    <a:pt x="162" y="1086"/>
                    <a:pt x="162" y="1086"/>
                  </a:cubicBezTo>
                  <a:cubicBezTo>
                    <a:pt x="162" y="1086"/>
                    <a:pt x="162" y="1085"/>
                    <a:pt x="161" y="1085"/>
                  </a:cubicBezTo>
                  <a:cubicBezTo>
                    <a:pt x="161" y="1085"/>
                    <a:pt x="160" y="1085"/>
                    <a:pt x="160" y="1084"/>
                  </a:cubicBezTo>
                  <a:cubicBezTo>
                    <a:pt x="159" y="1084"/>
                    <a:pt x="158" y="1084"/>
                    <a:pt x="157" y="1083"/>
                  </a:cubicBezTo>
                  <a:cubicBezTo>
                    <a:pt x="157" y="1083"/>
                    <a:pt x="156" y="1083"/>
                    <a:pt x="156" y="1082"/>
                  </a:cubicBezTo>
                  <a:cubicBezTo>
                    <a:pt x="155" y="1082"/>
                    <a:pt x="154" y="1082"/>
                    <a:pt x="154" y="1081"/>
                  </a:cubicBezTo>
                  <a:cubicBezTo>
                    <a:pt x="152" y="1081"/>
                    <a:pt x="151" y="1080"/>
                    <a:pt x="149" y="1079"/>
                  </a:cubicBezTo>
                  <a:cubicBezTo>
                    <a:pt x="148" y="1078"/>
                    <a:pt x="147" y="1078"/>
                    <a:pt x="146" y="1077"/>
                  </a:cubicBezTo>
                  <a:cubicBezTo>
                    <a:pt x="144" y="1077"/>
                    <a:pt x="142" y="1076"/>
                    <a:pt x="141" y="1075"/>
                  </a:cubicBezTo>
                  <a:moveTo>
                    <a:pt x="164" y="1086"/>
                  </a:moveTo>
                  <a:cubicBezTo>
                    <a:pt x="164" y="1086"/>
                    <a:pt x="164" y="1086"/>
                    <a:pt x="164" y="1086"/>
                  </a:cubicBezTo>
                  <a:cubicBezTo>
                    <a:pt x="163" y="1087"/>
                    <a:pt x="163" y="1087"/>
                    <a:pt x="162" y="1087"/>
                  </a:cubicBezTo>
                  <a:cubicBezTo>
                    <a:pt x="163" y="1087"/>
                    <a:pt x="163" y="1087"/>
                    <a:pt x="163" y="1087"/>
                  </a:cubicBezTo>
                  <a:cubicBezTo>
                    <a:pt x="164" y="1088"/>
                    <a:pt x="165" y="1088"/>
                    <a:pt x="166" y="1089"/>
                  </a:cubicBezTo>
                  <a:cubicBezTo>
                    <a:pt x="167" y="1089"/>
                    <a:pt x="167" y="1089"/>
                    <a:pt x="168" y="1090"/>
                  </a:cubicBezTo>
                  <a:cubicBezTo>
                    <a:pt x="169" y="1090"/>
                    <a:pt x="170" y="1091"/>
                    <a:pt x="171" y="1091"/>
                  </a:cubicBezTo>
                  <a:cubicBezTo>
                    <a:pt x="172" y="1091"/>
                    <a:pt x="172" y="1092"/>
                    <a:pt x="173" y="1092"/>
                  </a:cubicBezTo>
                  <a:cubicBezTo>
                    <a:pt x="173" y="1092"/>
                    <a:pt x="174" y="1092"/>
                    <a:pt x="174" y="1092"/>
                  </a:cubicBezTo>
                  <a:cubicBezTo>
                    <a:pt x="173" y="1091"/>
                    <a:pt x="172" y="1091"/>
                    <a:pt x="171" y="1090"/>
                  </a:cubicBezTo>
                  <a:cubicBezTo>
                    <a:pt x="170" y="1090"/>
                    <a:pt x="169" y="1089"/>
                    <a:pt x="169" y="1089"/>
                  </a:cubicBezTo>
                  <a:cubicBezTo>
                    <a:pt x="168" y="1088"/>
                    <a:pt x="167" y="1088"/>
                    <a:pt x="166" y="1087"/>
                  </a:cubicBezTo>
                  <a:cubicBezTo>
                    <a:pt x="165" y="1087"/>
                    <a:pt x="165" y="1087"/>
                    <a:pt x="164" y="1087"/>
                  </a:cubicBezTo>
                  <a:cubicBezTo>
                    <a:pt x="164" y="1087"/>
                    <a:pt x="164" y="1086"/>
                    <a:pt x="164" y="1086"/>
                  </a:cubicBezTo>
                  <a:moveTo>
                    <a:pt x="175" y="1092"/>
                  </a:moveTo>
                  <a:cubicBezTo>
                    <a:pt x="175" y="1092"/>
                    <a:pt x="175" y="1093"/>
                    <a:pt x="174" y="1093"/>
                  </a:cubicBezTo>
                  <a:cubicBezTo>
                    <a:pt x="174" y="1093"/>
                    <a:pt x="175" y="1093"/>
                    <a:pt x="175" y="1093"/>
                  </a:cubicBezTo>
                  <a:cubicBezTo>
                    <a:pt x="176" y="1094"/>
                    <a:pt x="177" y="1094"/>
                    <a:pt x="179" y="1095"/>
                  </a:cubicBezTo>
                  <a:cubicBezTo>
                    <a:pt x="180" y="1095"/>
                    <a:pt x="181" y="1096"/>
                    <a:pt x="182" y="1097"/>
                  </a:cubicBezTo>
                  <a:cubicBezTo>
                    <a:pt x="183" y="1097"/>
                    <a:pt x="183" y="1096"/>
                    <a:pt x="184" y="1096"/>
                  </a:cubicBezTo>
                  <a:cubicBezTo>
                    <a:pt x="181" y="1095"/>
                    <a:pt x="178" y="1094"/>
                    <a:pt x="175" y="1092"/>
                  </a:cubicBezTo>
                  <a:cubicBezTo>
                    <a:pt x="175" y="1092"/>
                    <a:pt x="175" y="1092"/>
                    <a:pt x="175" y="1092"/>
                  </a:cubicBezTo>
                  <a:moveTo>
                    <a:pt x="185" y="1097"/>
                  </a:moveTo>
                  <a:cubicBezTo>
                    <a:pt x="185" y="1097"/>
                    <a:pt x="184" y="1097"/>
                    <a:pt x="184" y="1097"/>
                  </a:cubicBezTo>
                  <a:cubicBezTo>
                    <a:pt x="184" y="1097"/>
                    <a:pt x="184" y="1097"/>
                    <a:pt x="184" y="1097"/>
                  </a:cubicBezTo>
                  <a:cubicBezTo>
                    <a:pt x="184" y="1098"/>
                    <a:pt x="185" y="1098"/>
                    <a:pt x="185" y="1098"/>
                  </a:cubicBezTo>
                  <a:cubicBezTo>
                    <a:pt x="186" y="1098"/>
                    <a:pt x="186" y="1098"/>
                    <a:pt x="187" y="1098"/>
                  </a:cubicBezTo>
                  <a:cubicBezTo>
                    <a:pt x="186" y="1097"/>
                    <a:pt x="186" y="1097"/>
                    <a:pt x="185" y="1097"/>
                  </a:cubicBezTo>
                  <a:cubicBezTo>
                    <a:pt x="185" y="1097"/>
                    <a:pt x="185" y="1097"/>
                    <a:pt x="185" y="1097"/>
                  </a:cubicBezTo>
                  <a:moveTo>
                    <a:pt x="188" y="1098"/>
                  </a:moveTo>
                  <a:cubicBezTo>
                    <a:pt x="187" y="1098"/>
                    <a:pt x="187" y="1099"/>
                    <a:pt x="187" y="1099"/>
                  </a:cubicBezTo>
                  <a:cubicBezTo>
                    <a:pt x="191" y="1101"/>
                    <a:pt x="195" y="1102"/>
                    <a:pt x="199" y="1104"/>
                  </a:cubicBezTo>
                  <a:cubicBezTo>
                    <a:pt x="199" y="1104"/>
                    <a:pt x="199" y="1104"/>
                    <a:pt x="200" y="1104"/>
                  </a:cubicBezTo>
                  <a:cubicBezTo>
                    <a:pt x="196" y="1102"/>
                    <a:pt x="192" y="1100"/>
                    <a:pt x="188" y="1098"/>
                  </a:cubicBezTo>
                  <a:moveTo>
                    <a:pt x="201" y="1104"/>
                  </a:moveTo>
                  <a:cubicBezTo>
                    <a:pt x="201" y="1105"/>
                    <a:pt x="200" y="1105"/>
                    <a:pt x="200" y="1105"/>
                  </a:cubicBezTo>
                  <a:cubicBezTo>
                    <a:pt x="201" y="1105"/>
                    <a:pt x="201" y="1106"/>
                    <a:pt x="202" y="1106"/>
                  </a:cubicBezTo>
                  <a:cubicBezTo>
                    <a:pt x="203" y="1106"/>
                    <a:pt x="203" y="1106"/>
                    <a:pt x="204" y="1106"/>
                  </a:cubicBezTo>
                  <a:cubicBezTo>
                    <a:pt x="203" y="1105"/>
                    <a:pt x="202" y="1105"/>
                    <a:pt x="201" y="1104"/>
                  </a:cubicBezTo>
                  <a:moveTo>
                    <a:pt x="205" y="1106"/>
                  </a:moveTo>
                  <a:cubicBezTo>
                    <a:pt x="205" y="1106"/>
                    <a:pt x="204" y="1107"/>
                    <a:pt x="204" y="1107"/>
                  </a:cubicBezTo>
                  <a:cubicBezTo>
                    <a:pt x="205" y="1107"/>
                    <a:pt x="207" y="1108"/>
                    <a:pt x="208" y="1109"/>
                  </a:cubicBezTo>
                  <a:cubicBezTo>
                    <a:pt x="208" y="1109"/>
                    <a:pt x="208" y="1109"/>
                    <a:pt x="209" y="1109"/>
                  </a:cubicBezTo>
                  <a:cubicBezTo>
                    <a:pt x="209" y="1109"/>
                    <a:pt x="209" y="1109"/>
                    <a:pt x="210" y="1109"/>
                  </a:cubicBezTo>
                  <a:cubicBezTo>
                    <a:pt x="210" y="1109"/>
                    <a:pt x="210" y="1108"/>
                    <a:pt x="210" y="1108"/>
                  </a:cubicBezTo>
                  <a:cubicBezTo>
                    <a:pt x="209" y="1108"/>
                    <a:pt x="209" y="1108"/>
                    <a:pt x="209" y="1108"/>
                  </a:cubicBezTo>
                  <a:cubicBezTo>
                    <a:pt x="208" y="1108"/>
                    <a:pt x="206" y="1107"/>
                    <a:pt x="205" y="1106"/>
                  </a:cubicBezTo>
                  <a:moveTo>
                    <a:pt x="211" y="1109"/>
                  </a:moveTo>
                  <a:cubicBezTo>
                    <a:pt x="211" y="1109"/>
                    <a:pt x="210" y="1109"/>
                    <a:pt x="210" y="1110"/>
                  </a:cubicBezTo>
                  <a:cubicBezTo>
                    <a:pt x="210" y="1110"/>
                    <a:pt x="210" y="1110"/>
                    <a:pt x="210" y="1110"/>
                  </a:cubicBezTo>
                  <a:cubicBezTo>
                    <a:pt x="212" y="1111"/>
                    <a:pt x="215" y="1112"/>
                    <a:pt x="217" y="1113"/>
                  </a:cubicBezTo>
                  <a:cubicBezTo>
                    <a:pt x="218" y="1113"/>
                    <a:pt x="218" y="1113"/>
                    <a:pt x="219" y="1113"/>
                  </a:cubicBezTo>
                  <a:cubicBezTo>
                    <a:pt x="216" y="1111"/>
                    <a:pt x="214" y="1110"/>
                    <a:pt x="211" y="1109"/>
                  </a:cubicBezTo>
                  <a:moveTo>
                    <a:pt x="220" y="1113"/>
                  </a:moveTo>
                  <a:cubicBezTo>
                    <a:pt x="219" y="1113"/>
                    <a:pt x="219" y="1113"/>
                    <a:pt x="218" y="1114"/>
                  </a:cubicBezTo>
                  <a:cubicBezTo>
                    <a:pt x="219" y="1114"/>
                    <a:pt x="220" y="1114"/>
                    <a:pt x="220" y="1114"/>
                  </a:cubicBezTo>
                  <a:cubicBezTo>
                    <a:pt x="221" y="1115"/>
                    <a:pt x="221" y="1115"/>
                    <a:pt x="221" y="1115"/>
                  </a:cubicBezTo>
                  <a:cubicBezTo>
                    <a:pt x="222" y="1115"/>
                    <a:pt x="222" y="1114"/>
                    <a:pt x="222" y="1114"/>
                  </a:cubicBezTo>
                  <a:cubicBezTo>
                    <a:pt x="222" y="1114"/>
                    <a:pt x="222" y="1114"/>
                    <a:pt x="221" y="1114"/>
                  </a:cubicBezTo>
                  <a:cubicBezTo>
                    <a:pt x="221" y="1114"/>
                    <a:pt x="220" y="1113"/>
                    <a:pt x="220" y="1113"/>
                  </a:cubicBezTo>
                  <a:moveTo>
                    <a:pt x="224" y="1115"/>
                  </a:moveTo>
                  <a:cubicBezTo>
                    <a:pt x="223" y="1115"/>
                    <a:pt x="223" y="1115"/>
                    <a:pt x="222" y="1115"/>
                  </a:cubicBezTo>
                  <a:cubicBezTo>
                    <a:pt x="223" y="1116"/>
                    <a:pt x="224" y="1116"/>
                    <a:pt x="225" y="1117"/>
                  </a:cubicBezTo>
                  <a:cubicBezTo>
                    <a:pt x="226" y="1117"/>
                    <a:pt x="226" y="1117"/>
                    <a:pt x="226" y="1117"/>
                  </a:cubicBezTo>
                  <a:cubicBezTo>
                    <a:pt x="227" y="1117"/>
                    <a:pt x="227" y="1117"/>
                    <a:pt x="228" y="1117"/>
                  </a:cubicBezTo>
                  <a:cubicBezTo>
                    <a:pt x="228" y="1117"/>
                    <a:pt x="227" y="1117"/>
                    <a:pt x="227" y="1117"/>
                  </a:cubicBezTo>
                  <a:cubicBezTo>
                    <a:pt x="227" y="1116"/>
                    <a:pt x="227" y="1116"/>
                    <a:pt x="226" y="1116"/>
                  </a:cubicBezTo>
                  <a:cubicBezTo>
                    <a:pt x="225" y="1116"/>
                    <a:pt x="225" y="1115"/>
                    <a:pt x="224" y="1115"/>
                  </a:cubicBezTo>
                  <a:moveTo>
                    <a:pt x="229" y="1117"/>
                  </a:moveTo>
                  <a:cubicBezTo>
                    <a:pt x="228" y="1117"/>
                    <a:pt x="228" y="1118"/>
                    <a:pt x="228" y="1118"/>
                  </a:cubicBezTo>
                  <a:cubicBezTo>
                    <a:pt x="228" y="1118"/>
                    <a:pt x="229" y="1118"/>
                    <a:pt x="229" y="1119"/>
                  </a:cubicBezTo>
                  <a:cubicBezTo>
                    <a:pt x="230" y="1119"/>
                    <a:pt x="231" y="1119"/>
                    <a:pt x="232" y="1120"/>
                  </a:cubicBezTo>
                  <a:cubicBezTo>
                    <a:pt x="233" y="1120"/>
                    <a:pt x="233" y="1120"/>
                    <a:pt x="233" y="1120"/>
                  </a:cubicBezTo>
                  <a:cubicBezTo>
                    <a:pt x="234" y="1120"/>
                    <a:pt x="234" y="1120"/>
                    <a:pt x="235" y="1120"/>
                  </a:cubicBezTo>
                  <a:cubicBezTo>
                    <a:pt x="234" y="1119"/>
                    <a:pt x="233" y="1119"/>
                    <a:pt x="232" y="1119"/>
                  </a:cubicBezTo>
                  <a:cubicBezTo>
                    <a:pt x="232" y="1119"/>
                    <a:pt x="232" y="1119"/>
                    <a:pt x="231" y="1118"/>
                  </a:cubicBezTo>
                  <a:cubicBezTo>
                    <a:pt x="231" y="1118"/>
                    <a:pt x="230" y="1118"/>
                    <a:pt x="229" y="1117"/>
                  </a:cubicBezTo>
                  <a:moveTo>
                    <a:pt x="236" y="1120"/>
                  </a:moveTo>
                  <a:cubicBezTo>
                    <a:pt x="235" y="1121"/>
                    <a:pt x="235" y="1121"/>
                    <a:pt x="235" y="1121"/>
                  </a:cubicBezTo>
                  <a:cubicBezTo>
                    <a:pt x="235" y="1121"/>
                    <a:pt x="236" y="1122"/>
                    <a:pt x="237" y="1122"/>
                  </a:cubicBezTo>
                  <a:cubicBezTo>
                    <a:pt x="237" y="1122"/>
                    <a:pt x="238" y="1122"/>
                    <a:pt x="238" y="1122"/>
                  </a:cubicBezTo>
                  <a:cubicBezTo>
                    <a:pt x="238" y="1122"/>
                    <a:pt x="238" y="1123"/>
                    <a:pt x="239" y="1123"/>
                  </a:cubicBezTo>
                  <a:cubicBezTo>
                    <a:pt x="239" y="1123"/>
                    <a:pt x="239" y="1123"/>
                    <a:pt x="239" y="1123"/>
                  </a:cubicBezTo>
                  <a:cubicBezTo>
                    <a:pt x="239" y="1123"/>
                    <a:pt x="240" y="1122"/>
                    <a:pt x="240" y="1122"/>
                  </a:cubicBezTo>
                  <a:cubicBezTo>
                    <a:pt x="240" y="1122"/>
                    <a:pt x="239" y="1122"/>
                    <a:pt x="239" y="1122"/>
                  </a:cubicBezTo>
                  <a:cubicBezTo>
                    <a:pt x="238" y="1121"/>
                    <a:pt x="238" y="1121"/>
                    <a:pt x="238" y="1121"/>
                  </a:cubicBezTo>
                  <a:cubicBezTo>
                    <a:pt x="237" y="1121"/>
                    <a:pt x="236" y="1121"/>
                    <a:pt x="236" y="1120"/>
                  </a:cubicBezTo>
                  <a:moveTo>
                    <a:pt x="241" y="1123"/>
                  </a:moveTo>
                  <a:cubicBezTo>
                    <a:pt x="241" y="1123"/>
                    <a:pt x="241" y="1123"/>
                    <a:pt x="240" y="1123"/>
                  </a:cubicBezTo>
                  <a:cubicBezTo>
                    <a:pt x="241" y="1124"/>
                    <a:pt x="241" y="1124"/>
                    <a:pt x="241" y="1124"/>
                  </a:cubicBezTo>
                  <a:cubicBezTo>
                    <a:pt x="242" y="1124"/>
                    <a:pt x="242" y="1124"/>
                    <a:pt x="243" y="1125"/>
                  </a:cubicBezTo>
                  <a:cubicBezTo>
                    <a:pt x="243" y="1124"/>
                    <a:pt x="244" y="1124"/>
                    <a:pt x="244" y="1124"/>
                  </a:cubicBezTo>
                  <a:cubicBezTo>
                    <a:pt x="243" y="1124"/>
                    <a:pt x="242" y="1123"/>
                    <a:pt x="242" y="1123"/>
                  </a:cubicBezTo>
                  <a:cubicBezTo>
                    <a:pt x="242" y="1123"/>
                    <a:pt x="241" y="1123"/>
                    <a:pt x="241" y="1123"/>
                  </a:cubicBezTo>
                  <a:moveTo>
                    <a:pt x="245" y="1125"/>
                  </a:moveTo>
                  <a:cubicBezTo>
                    <a:pt x="245" y="1125"/>
                    <a:pt x="244" y="1125"/>
                    <a:pt x="244" y="1125"/>
                  </a:cubicBezTo>
                  <a:cubicBezTo>
                    <a:pt x="246" y="1126"/>
                    <a:pt x="247" y="1127"/>
                    <a:pt x="249" y="1127"/>
                  </a:cubicBezTo>
                  <a:cubicBezTo>
                    <a:pt x="249" y="1127"/>
                    <a:pt x="249" y="1127"/>
                    <a:pt x="250" y="1128"/>
                  </a:cubicBezTo>
                  <a:cubicBezTo>
                    <a:pt x="255" y="1130"/>
                    <a:pt x="261" y="1133"/>
                    <a:pt x="267" y="1135"/>
                  </a:cubicBezTo>
                  <a:cubicBezTo>
                    <a:pt x="267" y="1135"/>
                    <a:pt x="268" y="1135"/>
                    <a:pt x="268" y="1136"/>
                  </a:cubicBezTo>
                  <a:cubicBezTo>
                    <a:pt x="270" y="1136"/>
                    <a:pt x="271" y="1137"/>
                    <a:pt x="273" y="1138"/>
                  </a:cubicBezTo>
                  <a:cubicBezTo>
                    <a:pt x="274" y="1138"/>
                    <a:pt x="276" y="1139"/>
                    <a:pt x="277" y="1140"/>
                  </a:cubicBezTo>
                  <a:cubicBezTo>
                    <a:pt x="279" y="1140"/>
                    <a:pt x="280" y="1141"/>
                    <a:pt x="282" y="1142"/>
                  </a:cubicBezTo>
                  <a:cubicBezTo>
                    <a:pt x="282" y="1142"/>
                    <a:pt x="283" y="1142"/>
                    <a:pt x="283" y="1142"/>
                  </a:cubicBezTo>
                  <a:cubicBezTo>
                    <a:pt x="287" y="1144"/>
                    <a:pt x="290" y="1145"/>
                    <a:pt x="294" y="1147"/>
                  </a:cubicBezTo>
                  <a:cubicBezTo>
                    <a:pt x="294" y="1147"/>
                    <a:pt x="294" y="1147"/>
                    <a:pt x="295" y="1147"/>
                  </a:cubicBezTo>
                  <a:cubicBezTo>
                    <a:pt x="298" y="1148"/>
                    <a:pt x="301" y="1150"/>
                    <a:pt x="304" y="1151"/>
                  </a:cubicBezTo>
                  <a:cubicBezTo>
                    <a:pt x="305" y="1151"/>
                    <a:pt x="306" y="1152"/>
                    <a:pt x="307" y="1152"/>
                  </a:cubicBezTo>
                  <a:cubicBezTo>
                    <a:pt x="310" y="1153"/>
                    <a:pt x="312" y="1154"/>
                    <a:pt x="315" y="1156"/>
                  </a:cubicBezTo>
                  <a:cubicBezTo>
                    <a:pt x="317" y="1156"/>
                    <a:pt x="319" y="1157"/>
                    <a:pt x="322" y="1158"/>
                  </a:cubicBezTo>
                  <a:cubicBezTo>
                    <a:pt x="333" y="1163"/>
                    <a:pt x="345" y="1168"/>
                    <a:pt x="357" y="1173"/>
                  </a:cubicBezTo>
                  <a:cubicBezTo>
                    <a:pt x="360" y="1174"/>
                    <a:pt x="363" y="1175"/>
                    <a:pt x="366" y="1176"/>
                  </a:cubicBezTo>
                  <a:cubicBezTo>
                    <a:pt x="370" y="1178"/>
                    <a:pt x="374" y="1179"/>
                    <a:pt x="378" y="1181"/>
                  </a:cubicBezTo>
                  <a:cubicBezTo>
                    <a:pt x="378" y="1181"/>
                    <a:pt x="379" y="1182"/>
                    <a:pt x="380" y="1182"/>
                  </a:cubicBezTo>
                  <a:cubicBezTo>
                    <a:pt x="380" y="1182"/>
                    <a:pt x="381" y="1182"/>
                    <a:pt x="381" y="1182"/>
                  </a:cubicBezTo>
                  <a:cubicBezTo>
                    <a:pt x="383" y="1183"/>
                    <a:pt x="384" y="1183"/>
                    <a:pt x="386" y="1184"/>
                  </a:cubicBezTo>
                  <a:cubicBezTo>
                    <a:pt x="387" y="1185"/>
                    <a:pt x="388" y="1185"/>
                    <a:pt x="390" y="1186"/>
                  </a:cubicBezTo>
                  <a:cubicBezTo>
                    <a:pt x="391" y="1186"/>
                    <a:pt x="391" y="1186"/>
                    <a:pt x="392" y="1187"/>
                  </a:cubicBezTo>
                  <a:cubicBezTo>
                    <a:pt x="393" y="1187"/>
                    <a:pt x="393" y="1187"/>
                    <a:pt x="394" y="1187"/>
                  </a:cubicBezTo>
                  <a:cubicBezTo>
                    <a:pt x="395" y="1188"/>
                    <a:pt x="396" y="1188"/>
                    <a:pt x="397" y="1188"/>
                  </a:cubicBezTo>
                  <a:cubicBezTo>
                    <a:pt x="401" y="1190"/>
                    <a:pt x="405" y="1192"/>
                    <a:pt x="409" y="1193"/>
                  </a:cubicBezTo>
                  <a:cubicBezTo>
                    <a:pt x="417" y="1196"/>
                    <a:pt x="424" y="1199"/>
                    <a:pt x="432" y="1202"/>
                  </a:cubicBezTo>
                  <a:cubicBezTo>
                    <a:pt x="438" y="1204"/>
                    <a:pt x="444" y="1207"/>
                    <a:pt x="450" y="1209"/>
                  </a:cubicBezTo>
                  <a:cubicBezTo>
                    <a:pt x="465" y="1215"/>
                    <a:pt x="479" y="1220"/>
                    <a:pt x="493" y="1225"/>
                  </a:cubicBezTo>
                  <a:cubicBezTo>
                    <a:pt x="496" y="1226"/>
                    <a:pt x="498" y="1227"/>
                    <a:pt x="501" y="1228"/>
                  </a:cubicBezTo>
                  <a:cubicBezTo>
                    <a:pt x="501" y="1228"/>
                    <a:pt x="502" y="1228"/>
                    <a:pt x="503" y="1227"/>
                  </a:cubicBezTo>
                  <a:cubicBezTo>
                    <a:pt x="500" y="1226"/>
                    <a:pt x="497" y="1225"/>
                    <a:pt x="494" y="1224"/>
                  </a:cubicBezTo>
                  <a:cubicBezTo>
                    <a:pt x="493" y="1224"/>
                    <a:pt x="492" y="1224"/>
                    <a:pt x="491" y="1223"/>
                  </a:cubicBezTo>
                  <a:cubicBezTo>
                    <a:pt x="490" y="1223"/>
                    <a:pt x="490" y="1223"/>
                    <a:pt x="489" y="1223"/>
                  </a:cubicBezTo>
                  <a:cubicBezTo>
                    <a:pt x="484" y="1221"/>
                    <a:pt x="479" y="1219"/>
                    <a:pt x="473" y="1217"/>
                  </a:cubicBezTo>
                  <a:cubicBezTo>
                    <a:pt x="473" y="1216"/>
                    <a:pt x="473" y="1216"/>
                    <a:pt x="472" y="1216"/>
                  </a:cubicBezTo>
                  <a:cubicBezTo>
                    <a:pt x="472" y="1216"/>
                    <a:pt x="472" y="1216"/>
                    <a:pt x="472" y="1216"/>
                  </a:cubicBezTo>
                  <a:cubicBezTo>
                    <a:pt x="465" y="1214"/>
                    <a:pt x="459" y="1211"/>
                    <a:pt x="452" y="1209"/>
                  </a:cubicBezTo>
                  <a:cubicBezTo>
                    <a:pt x="446" y="1206"/>
                    <a:pt x="440" y="1204"/>
                    <a:pt x="434" y="1202"/>
                  </a:cubicBezTo>
                  <a:cubicBezTo>
                    <a:pt x="433" y="1202"/>
                    <a:pt x="433" y="1201"/>
                    <a:pt x="433" y="1201"/>
                  </a:cubicBezTo>
                  <a:cubicBezTo>
                    <a:pt x="429" y="1200"/>
                    <a:pt x="426" y="1199"/>
                    <a:pt x="422" y="1197"/>
                  </a:cubicBezTo>
                  <a:cubicBezTo>
                    <a:pt x="418" y="1196"/>
                    <a:pt x="414" y="1194"/>
                    <a:pt x="410" y="1192"/>
                  </a:cubicBezTo>
                  <a:cubicBezTo>
                    <a:pt x="409" y="1192"/>
                    <a:pt x="409" y="1192"/>
                    <a:pt x="408" y="1192"/>
                  </a:cubicBezTo>
                  <a:cubicBezTo>
                    <a:pt x="408" y="1192"/>
                    <a:pt x="408" y="1192"/>
                    <a:pt x="407" y="1191"/>
                  </a:cubicBezTo>
                  <a:cubicBezTo>
                    <a:pt x="404" y="1190"/>
                    <a:pt x="400" y="1189"/>
                    <a:pt x="396" y="1187"/>
                  </a:cubicBezTo>
                  <a:cubicBezTo>
                    <a:pt x="396" y="1187"/>
                    <a:pt x="395" y="1187"/>
                    <a:pt x="395" y="1187"/>
                  </a:cubicBezTo>
                  <a:cubicBezTo>
                    <a:pt x="394" y="1186"/>
                    <a:pt x="393" y="1186"/>
                    <a:pt x="392" y="1186"/>
                  </a:cubicBezTo>
                  <a:cubicBezTo>
                    <a:pt x="390" y="1185"/>
                    <a:pt x="388" y="1184"/>
                    <a:pt x="386" y="1183"/>
                  </a:cubicBezTo>
                  <a:cubicBezTo>
                    <a:pt x="385" y="1183"/>
                    <a:pt x="385" y="1183"/>
                    <a:pt x="384" y="1182"/>
                  </a:cubicBezTo>
                  <a:cubicBezTo>
                    <a:pt x="383" y="1182"/>
                    <a:pt x="383" y="1182"/>
                    <a:pt x="383" y="1182"/>
                  </a:cubicBezTo>
                  <a:cubicBezTo>
                    <a:pt x="382" y="1181"/>
                    <a:pt x="381" y="1181"/>
                    <a:pt x="380" y="1181"/>
                  </a:cubicBezTo>
                  <a:cubicBezTo>
                    <a:pt x="378" y="1180"/>
                    <a:pt x="376" y="1179"/>
                    <a:pt x="374" y="1179"/>
                  </a:cubicBezTo>
                  <a:cubicBezTo>
                    <a:pt x="372" y="1177"/>
                    <a:pt x="369" y="1176"/>
                    <a:pt x="366" y="1175"/>
                  </a:cubicBezTo>
                  <a:cubicBezTo>
                    <a:pt x="366" y="1175"/>
                    <a:pt x="366" y="1175"/>
                    <a:pt x="365" y="1175"/>
                  </a:cubicBezTo>
                  <a:cubicBezTo>
                    <a:pt x="364" y="1175"/>
                    <a:pt x="364" y="1174"/>
                    <a:pt x="363" y="1174"/>
                  </a:cubicBezTo>
                  <a:cubicBezTo>
                    <a:pt x="351" y="1169"/>
                    <a:pt x="339" y="1164"/>
                    <a:pt x="328" y="1160"/>
                  </a:cubicBezTo>
                  <a:cubicBezTo>
                    <a:pt x="326" y="1159"/>
                    <a:pt x="324" y="1158"/>
                    <a:pt x="322" y="1157"/>
                  </a:cubicBezTo>
                  <a:cubicBezTo>
                    <a:pt x="318" y="1156"/>
                    <a:pt x="314" y="1154"/>
                    <a:pt x="310" y="1152"/>
                  </a:cubicBezTo>
                  <a:cubicBezTo>
                    <a:pt x="309" y="1152"/>
                    <a:pt x="308" y="1151"/>
                    <a:pt x="307" y="1151"/>
                  </a:cubicBezTo>
                  <a:cubicBezTo>
                    <a:pt x="303" y="1149"/>
                    <a:pt x="299" y="1148"/>
                    <a:pt x="295" y="1146"/>
                  </a:cubicBezTo>
                  <a:cubicBezTo>
                    <a:pt x="294" y="1146"/>
                    <a:pt x="294" y="1146"/>
                    <a:pt x="294" y="1146"/>
                  </a:cubicBezTo>
                  <a:cubicBezTo>
                    <a:pt x="290" y="1144"/>
                    <a:pt x="287" y="1143"/>
                    <a:pt x="283" y="1141"/>
                  </a:cubicBezTo>
                  <a:cubicBezTo>
                    <a:pt x="283" y="1141"/>
                    <a:pt x="282" y="1141"/>
                    <a:pt x="282" y="1141"/>
                  </a:cubicBezTo>
                  <a:cubicBezTo>
                    <a:pt x="282" y="1141"/>
                    <a:pt x="282" y="1140"/>
                    <a:pt x="282" y="1140"/>
                  </a:cubicBezTo>
                  <a:cubicBezTo>
                    <a:pt x="280" y="1140"/>
                    <a:pt x="279" y="1139"/>
                    <a:pt x="277" y="1139"/>
                  </a:cubicBezTo>
                  <a:cubicBezTo>
                    <a:pt x="274" y="1137"/>
                    <a:pt x="271" y="1136"/>
                    <a:pt x="268" y="1135"/>
                  </a:cubicBezTo>
                  <a:cubicBezTo>
                    <a:pt x="268" y="1135"/>
                    <a:pt x="268" y="1134"/>
                    <a:pt x="267" y="1134"/>
                  </a:cubicBezTo>
                  <a:cubicBezTo>
                    <a:pt x="262" y="1132"/>
                    <a:pt x="256" y="1129"/>
                    <a:pt x="250" y="1127"/>
                  </a:cubicBezTo>
                  <a:cubicBezTo>
                    <a:pt x="250" y="1127"/>
                    <a:pt x="250" y="1127"/>
                    <a:pt x="249" y="1126"/>
                  </a:cubicBezTo>
                  <a:cubicBezTo>
                    <a:pt x="248" y="1126"/>
                    <a:pt x="247" y="1125"/>
                    <a:pt x="245" y="1125"/>
                  </a:cubicBezTo>
                  <a:moveTo>
                    <a:pt x="504" y="1228"/>
                  </a:moveTo>
                  <a:cubicBezTo>
                    <a:pt x="504" y="1228"/>
                    <a:pt x="503" y="1228"/>
                    <a:pt x="503" y="1229"/>
                  </a:cubicBezTo>
                  <a:cubicBezTo>
                    <a:pt x="509" y="1231"/>
                    <a:pt x="515" y="1233"/>
                    <a:pt x="521" y="1235"/>
                  </a:cubicBezTo>
                  <a:cubicBezTo>
                    <a:pt x="521" y="1235"/>
                    <a:pt x="522" y="1235"/>
                    <a:pt x="523" y="1235"/>
                  </a:cubicBezTo>
                  <a:cubicBezTo>
                    <a:pt x="517" y="1233"/>
                    <a:pt x="510" y="1230"/>
                    <a:pt x="504" y="1228"/>
                  </a:cubicBezTo>
                  <a:moveTo>
                    <a:pt x="524" y="1235"/>
                  </a:moveTo>
                  <a:cubicBezTo>
                    <a:pt x="524" y="1235"/>
                    <a:pt x="523" y="1236"/>
                    <a:pt x="522" y="1236"/>
                  </a:cubicBezTo>
                  <a:cubicBezTo>
                    <a:pt x="523" y="1236"/>
                    <a:pt x="523" y="1236"/>
                    <a:pt x="523" y="1236"/>
                  </a:cubicBezTo>
                  <a:cubicBezTo>
                    <a:pt x="524" y="1236"/>
                    <a:pt x="524" y="1236"/>
                    <a:pt x="525" y="1237"/>
                  </a:cubicBezTo>
                  <a:cubicBezTo>
                    <a:pt x="530" y="1238"/>
                    <a:pt x="535" y="1240"/>
                    <a:pt x="540" y="1242"/>
                  </a:cubicBezTo>
                  <a:cubicBezTo>
                    <a:pt x="541" y="1242"/>
                    <a:pt x="541" y="1242"/>
                    <a:pt x="542" y="1242"/>
                  </a:cubicBezTo>
                  <a:cubicBezTo>
                    <a:pt x="538" y="1240"/>
                    <a:pt x="535" y="1239"/>
                    <a:pt x="532" y="1238"/>
                  </a:cubicBezTo>
                  <a:cubicBezTo>
                    <a:pt x="529" y="1237"/>
                    <a:pt x="527" y="1236"/>
                    <a:pt x="524" y="1235"/>
                  </a:cubicBezTo>
                  <a:moveTo>
                    <a:pt x="543" y="1242"/>
                  </a:moveTo>
                  <a:cubicBezTo>
                    <a:pt x="543" y="1242"/>
                    <a:pt x="542" y="1242"/>
                    <a:pt x="542" y="1243"/>
                  </a:cubicBezTo>
                  <a:cubicBezTo>
                    <a:pt x="542" y="1243"/>
                    <a:pt x="543" y="1243"/>
                    <a:pt x="544" y="1243"/>
                  </a:cubicBezTo>
                  <a:cubicBezTo>
                    <a:pt x="544" y="1243"/>
                    <a:pt x="545" y="1244"/>
                    <a:pt x="545" y="1244"/>
                  </a:cubicBezTo>
                  <a:cubicBezTo>
                    <a:pt x="548" y="1245"/>
                    <a:pt x="551" y="1246"/>
                    <a:pt x="554" y="1247"/>
                  </a:cubicBezTo>
                  <a:cubicBezTo>
                    <a:pt x="555" y="1247"/>
                    <a:pt x="555" y="1247"/>
                    <a:pt x="556" y="1248"/>
                  </a:cubicBezTo>
                  <a:cubicBezTo>
                    <a:pt x="558" y="1248"/>
                    <a:pt x="559" y="1249"/>
                    <a:pt x="561" y="1249"/>
                  </a:cubicBezTo>
                  <a:cubicBezTo>
                    <a:pt x="561" y="1249"/>
                    <a:pt x="562" y="1249"/>
                    <a:pt x="563" y="1249"/>
                  </a:cubicBezTo>
                  <a:cubicBezTo>
                    <a:pt x="560" y="1248"/>
                    <a:pt x="557" y="1247"/>
                    <a:pt x="555" y="1246"/>
                  </a:cubicBezTo>
                  <a:cubicBezTo>
                    <a:pt x="554" y="1246"/>
                    <a:pt x="553" y="1246"/>
                    <a:pt x="553" y="1246"/>
                  </a:cubicBezTo>
                  <a:cubicBezTo>
                    <a:pt x="551" y="1245"/>
                    <a:pt x="548" y="1244"/>
                    <a:pt x="546" y="1243"/>
                  </a:cubicBezTo>
                  <a:cubicBezTo>
                    <a:pt x="546" y="1243"/>
                    <a:pt x="545" y="1243"/>
                    <a:pt x="545" y="1243"/>
                  </a:cubicBezTo>
                  <a:cubicBezTo>
                    <a:pt x="544" y="1243"/>
                    <a:pt x="544" y="1242"/>
                    <a:pt x="543" y="1242"/>
                  </a:cubicBezTo>
                  <a:moveTo>
                    <a:pt x="564" y="1249"/>
                  </a:moveTo>
                  <a:cubicBezTo>
                    <a:pt x="564" y="1250"/>
                    <a:pt x="563" y="1250"/>
                    <a:pt x="563" y="1250"/>
                  </a:cubicBezTo>
                  <a:cubicBezTo>
                    <a:pt x="565" y="1251"/>
                    <a:pt x="568" y="1252"/>
                    <a:pt x="571" y="1253"/>
                  </a:cubicBezTo>
                  <a:cubicBezTo>
                    <a:pt x="571" y="1253"/>
                    <a:pt x="572" y="1253"/>
                    <a:pt x="572" y="1253"/>
                  </a:cubicBezTo>
                  <a:cubicBezTo>
                    <a:pt x="574" y="1254"/>
                    <a:pt x="577" y="1255"/>
                    <a:pt x="579" y="1256"/>
                  </a:cubicBezTo>
                  <a:cubicBezTo>
                    <a:pt x="580" y="1255"/>
                    <a:pt x="580" y="1255"/>
                    <a:pt x="581" y="1255"/>
                  </a:cubicBezTo>
                  <a:cubicBezTo>
                    <a:pt x="578" y="1254"/>
                    <a:pt x="576" y="1253"/>
                    <a:pt x="573" y="1253"/>
                  </a:cubicBezTo>
                  <a:cubicBezTo>
                    <a:pt x="573" y="1252"/>
                    <a:pt x="572" y="1252"/>
                    <a:pt x="572" y="1252"/>
                  </a:cubicBezTo>
                  <a:cubicBezTo>
                    <a:pt x="569" y="1251"/>
                    <a:pt x="567" y="1250"/>
                    <a:pt x="564" y="1249"/>
                  </a:cubicBezTo>
                  <a:moveTo>
                    <a:pt x="582" y="1256"/>
                  </a:moveTo>
                  <a:cubicBezTo>
                    <a:pt x="582" y="1256"/>
                    <a:pt x="581" y="1256"/>
                    <a:pt x="581" y="1256"/>
                  </a:cubicBezTo>
                  <a:cubicBezTo>
                    <a:pt x="582" y="1257"/>
                    <a:pt x="584" y="1257"/>
                    <a:pt x="585" y="1258"/>
                  </a:cubicBezTo>
                  <a:cubicBezTo>
                    <a:pt x="590" y="1259"/>
                    <a:pt x="594" y="1260"/>
                    <a:pt x="598" y="1261"/>
                  </a:cubicBezTo>
                  <a:cubicBezTo>
                    <a:pt x="598" y="1261"/>
                    <a:pt x="598" y="1261"/>
                    <a:pt x="598" y="1261"/>
                  </a:cubicBezTo>
                  <a:cubicBezTo>
                    <a:pt x="593" y="1259"/>
                    <a:pt x="588" y="1258"/>
                    <a:pt x="582" y="1256"/>
                  </a:cubicBezTo>
                  <a:moveTo>
                    <a:pt x="600" y="1263"/>
                  </a:moveTo>
                  <a:cubicBezTo>
                    <a:pt x="601" y="1263"/>
                    <a:pt x="603" y="1264"/>
                    <a:pt x="605" y="1264"/>
                  </a:cubicBezTo>
                  <a:cubicBezTo>
                    <a:pt x="606" y="1265"/>
                    <a:pt x="608" y="1265"/>
                    <a:pt x="610" y="1265"/>
                  </a:cubicBezTo>
                  <a:cubicBezTo>
                    <a:pt x="606" y="1264"/>
                    <a:pt x="603" y="1263"/>
                    <a:pt x="600" y="1263"/>
                  </a:cubicBezTo>
                  <a:moveTo>
                    <a:pt x="613" y="1267"/>
                  </a:moveTo>
                  <a:cubicBezTo>
                    <a:pt x="613" y="1267"/>
                    <a:pt x="613" y="1267"/>
                    <a:pt x="613" y="1267"/>
                  </a:cubicBezTo>
                  <a:cubicBezTo>
                    <a:pt x="613" y="1267"/>
                    <a:pt x="614" y="1267"/>
                    <a:pt x="614" y="1267"/>
                  </a:cubicBezTo>
                  <a:cubicBezTo>
                    <a:pt x="616" y="1268"/>
                    <a:pt x="617" y="1268"/>
                    <a:pt x="618" y="1269"/>
                  </a:cubicBezTo>
                  <a:cubicBezTo>
                    <a:pt x="619" y="1269"/>
                    <a:pt x="619" y="1268"/>
                    <a:pt x="620" y="1268"/>
                  </a:cubicBezTo>
                  <a:cubicBezTo>
                    <a:pt x="618" y="1268"/>
                    <a:pt x="615" y="1267"/>
                    <a:pt x="613" y="1267"/>
                  </a:cubicBezTo>
                  <a:moveTo>
                    <a:pt x="622" y="1269"/>
                  </a:moveTo>
                  <a:cubicBezTo>
                    <a:pt x="621" y="1269"/>
                    <a:pt x="621" y="1269"/>
                    <a:pt x="620" y="1269"/>
                  </a:cubicBezTo>
                  <a:cubicBezTo>
                    <a:pt x="626" y="1271"/>
                    <a:pt x="631" y="1273"/>
                    <a:pt x="636" y="1274"/>
                  </a:cubicBezTo>
                  <a:cubicBezTo>
                    <a:pt x="637" y="1274"/>
                    <a:pt x="637" y="1274"/>
                    <a:pt x="638" y="1274"/>
                  </a:cubicBezTo>
                  <a:cubicBezTo>
                    <a:pt x="633" y="1272"/>
                    <a:pt x="627" y="1271"/>
                    <a:pt x="622" y="1269"/>
                  </a:cubicBezTo>
                  <a:moveTo>
                    <a:pt x="640" y="1275"/>
                  </a:moveTo>
                  <a:cubicBezTo>
                    <a:pt x="639" y="1275"/>
                    <a:pt x="638" y="1275"/>
                    <a:pt x="638" y="1275"/>
                  </a:cubicBezTo>
                  <a:cubicBezTo>
                    <a:pt x="642" y="1276"/>
                    <a:pt x="646" y="1278"/>
                    <a:pt x="650" y="1279"/>
                  </a:cubicBezTo>
                  <a:cubicBezTo>
                    <a:pt x="651" y="1279"/>
                    <a:pt x="652" y="1279"/>
                    <a:pt x="653" y="1280"/>
                  </a:cubicBezTo>
                  <a:cubicBezTo>
                    <a:pt x="653" y="1280"/>
                    <a:pt x="653" y="1280"/>
                    <a:pt x="653" y="1280"/>
                  </a:cubicBezTo>
                  <a:cubicBezTo>
                    <a:pt x="654" y="1280"/>
                    <a:pt x="654" y="1279"/>
                    <a:pt x="655" y="1279"/>
                  </a:cubicBezTo>
                  <a:cubicBezTo>
                    <a:pt x="654" y="1279"/>
                    <a:pt x="652" y="1279"/>
                    <a:pt x="651" y="1278"/>
                  </a:cubicBezTo>
                  <a:cubicBezTo>
                    <a:pt x="650" y="1278"/>
                    <a:pt x="650" y="1278"/>
                    <a:pt x="649" y="1277"/>
                  </a:cubicBezTo>
                  <a:cubicBezTo>
                    <a:pt x="646" y="1277"/>
                    <a:pt x="643" y="1276"/>
                    <a:pt x="640" y="1275"/>
                  </a:cubicBezTo>
                  <a:moveTo>
                    <a:pt x="657" y="1280"/>
                  </a:moveTo>
                  <a:cubicBezTo>
                    <a:pt x="656" y="1280"/>
                    <a:pt x="655" y="1280"/>
                    <a:pt x="655" y="1280"/>
                  </a:cubicBezTo>
                  <a:cubicBezTo>
                    <a:pt x="660" y="1282"/>
                    <a:pt x="664" y="1283"/>
                    <a:pt x="669" y="1285"/>
                  </a:cubicBezTo>
                  <a:cubicBezTo>
                    <a:pt x="670" y="1285"/>
                    <a:pt x="670" y="1284"/>
                    <a:pt x="671" y="1284"/>
                  </a:cubicBezTo>
                  <a:cubicBezTo>
                    <a:pt x="666" y="1283"/>
                    <a:pt x="662" y="1281"/>
                    <a:pt x="657" y="1280"/>
                  </a:cubicBezTo>
                  <a:moveTo>
                    <a:pt x="673" y="1285"/>
                  </a:moveTo>
                  <a:cubicBezTo>
                    <a:pt x="672" y="1285"/>
                    <a:pt x="672" y="1285"/>
                    <a:pt x="671" y="1285"/>
                  </a:cubicBezTo>
                  <a:cubicBezTo>
                    <a:pt x="672" y="1285"/>
                    <a:pt x="672" y="1286"/>
                    <a:pt x="672" y="1286"/>
                  </a:cubicBezTo>
                  <a:cubicBezTo>
                    <a:pt x="673" y="1286"/>
                    <a:pt x="673" y="1286"/>
                    <a:pt x="673" y="1286"/>
                  </a:cubicBezTo>
                  <a:cubicBezTo>
                    <a:pt x="674" y="1286"/>
                    <a:pt x="675" y="1286"/>
                    <a:pt x="675" y="1286"/>
                  </a:cubicBezTo>
                  <a:cubicBezTo>
                    <a:pt x="676" y="1286"/>
                    <a:pt x="676" y="1286"/>
                    <a:pt x="676" y="1286"/>
                  </a:cubicBezTo>
                  <a:cubicBezTo>
                    <a:pt x="675" y="1286"/>
                    <a:pt x="675" y="1285"/>
                    <a:pt x="674" y="1285"/>
                  </a:cubicBezTo>
                  <a:cubicBezTo>
                    <a:pt x="674" y="1285"/>
                    <a:pt x="673" y="1285"/>
                    <a:pt x="673" y="1285"/>
                  </a:cubicBezTo>
                  <a:moveTo>
                    <a:pt x="682" y="1288"/>
                  </a:moveTo>
                  <a:cubicBezTo>
                    <a:pt x="683" y="1289"/>
                    <a:pt x="684" y="1289"/>
                    <a:pt x="685" y="1289"/>
                  </a:cubicBezTo>
                  <a:cubicBezTo>
                    <a:pt x="687" y="1290"/>
                    <a:pt x="688" y="1290"/>
                    <a:pt x="690" y="1290"/>
                  </a:cubicBezTo>
                  <a:cubicBezTo>
                    <a:pt x="689" y="1290"/>
                    <a:pt x="687" y="1289"/>
                    <a:pt x="686" y="1289"/>
                  </a:cubicBezTo>
                  <a:cubicBezTo>
                    <a:pt x="685" y="1289"/>
                    <a:pt x="683" y="1289"/>
                    <a:pt x="682" y="1288"/>
                  </a:cubicBezTo>
                  <a:moveTo>
                    <a:pt x="694" y="1292"/>
                  </a:moveTo>
                  <a:cubicBezTo>
                    <a:pt x="695" y="1292"/>
                    <a:pt x="696" y="1293"/>
                    <a:pt x="697" y="1293"/>
                  </a:cubicBezTo>
                  <a:cubicBezTo>
                    <a:pt x="697" y="1293"/>
                    <a:pt x="696" y="1293"/>
                    <a:pt x="695" y="1292"/>
                  </a:cubicBezTo>
                  <a:cubicBezTo>
                    <a:pt x="695" y="1292"/>
                    <a:pt x="694" y="1292"/>
                    <a:pt x="694" y="1292"/>
                  </a:cubicBezTo>
                  <a:moveTo>
                    <a:pt x="701" y="1294"/>
                  </a:moveTo>
                  <a:cubicBezTo>
                    <a:pt x="703" y="1294"/>
                    <a:pt x="704" y="1295"/>
                    <a:pt x="706" y="1296"/>
                  </a:cubicBezTo>
                  <a:cubicBezTo>
                    <a:pt x="712" y="1297"/>
                    <a:pt x="718" y="1299"/>
                    <a:pt x="723" y="1300"/>
                  </a:cubicBezTo>
                  <a:cubicBezTo>
                    <a:pt x="722" y="1300"/>
                    <a:pt x="721" y="1299"/>
                    <a:pt x="720" y="1299"/>
                  </a:cubicBezTo>
                  <a:cubicBezTo>
                    <a:pt x="714" y="1297"/>
                    <a:pt x="708" y="1295"/>
                    <a:pt x="701" y="1294"/>
                  </a:cubicBezTo>
                  <a:moveTo>
                    <a:pt x="729" y="1301"/>
                  </a:moveTo>
                  <a:cubicBezTo>
                    <a:pt x="731" y="1302"/>
                    <a:pt x="733" y="1303"/>
                    <a:pt x="735" y="1304"/>
                  </a:cubicBezTo>
                  <a:cubicBezTo>
                    <a:pt x="738" y="1304"/>
                    <a:pt x="740" y="1305"/>
                    <a:pt x="742" y="1305"/>
                  </a:cubicBezTo>
                  <a:cubicBezTo>
                    <a:pt x="742" y="1305"/>
                    <a:pt x="742" y="1305"/>
                    <a:pt x="742" y="1304"/>
                  </a:cubicBezTo>
                  <a:cubicBezTo>
                    <a:pt x="738" y="1303"/>
                    <a:pt x="733" y="1302"/>
                    <a:pt x="729" y="1301"/>
                  </a:cubicBezTo>
                  <a:moveTo>
                    <a:pt x="727" y="1301"/>
                  </a:moveTo>
                  <a:cubicBezTo>
                    <a:pt x="727" y="1301"/>
                    <a:pt x="728" y="1301"/>
                    <a:pt x="728" y="1302"/>
                  </a:cubicBezTo>
                  <a:cubicBezTo>
                    <a:pt x="728" y="1302"/>
                    <a:pt x="728" y="1302"/>
                    <a:pt x="729" y="1302"/>
                  </a:cubicBezTo>
                  <a:cubicBezTo>
                    <a:pt x="728" y="1302"/>
                    <a:pt x="728" y="1301"/>
                    <a:pt x="727" y="1301"/>
                  </a:cubicBezTo>
                  <a:moveTo>
                    <a:pt x="743" y="1305"/>
                  </a:moveTo>
                  <a:cubicBezTo>
                    <a:pt x="743" y="1305"/>
                    <a:pt x="743" y="1305"/>
                    <a:pt x="743" y="1306"/>
                  </a:cubicBezTo>
                  <a:cubicBezTo>
                    <a:pt x="749" y="1307"/>
                    <a:pt x="755" y="1309"/>
                    <a:pt x="761" y="1310"/>
                  </a:cubicBezTo>
                  <a:cubicBezTo>
                    <a:pt x="761" y="1310"/>
                    <a:pt x="761" y="1309"/>
                    <a:pt x="761" y="1309"/>
                  </a:cubicBezTo>
                  <a:cubicBezTo>
                    <a:pt x="755" y="1308"/>
                    <a:pt x="749" y="1306"/>
                    <a:pt x="743" y="1305"/>
                  </a:cubicBezTo>
                  <a:moveTo>
                    <a:pt x="762" y="1309"/>
                  </a:moveTo>
                  <a:cubicBezTo>
                    <a:pt x="762" y="1309"/>
                    <a:pt x="762" y="1310"/>
                    <a:pt x="762" y="1310"/>
                  </a:cubicBezTo>
                  <a:cubicBezTo>
                    <a:pt x="765" y="1311"/>
                    <a:pt x="768" y="1312"/>
                    <a:pt x="770" y="1312"/>
                  </a:cubicBezTo>
                  <a:cubicBezTo>
                    <a:pt x="770" y="1312"/>
                    <a:pt x="769" y="1311"/>
                    <a:pt x="768" y="1311"/>
                  </a:cubicBezTo>
                  <a:cubicBezTo>
                    <a:pt x="766" y="1310"/>
                    <a:pt x="764" y="1310"/>
                    <a:pt x="762" y="1309"/>
                  </a:cubicBezTo>
                  <a:moveTo>
                    <a:pt x="771" y="1311"/>
                  </a:moveTo>
                  <a:cubicBezTo>
                    <a:pt x="772" y="1312"/>
                    <a:pt x="772" y="1312"/>
                    <a:pt x="773" y="1313"/>
                  </a:cubicBezTo>
                  <a:cubicBezTo>
                    <a:pt x="775" y="1313"/>
                    <a:pt x="777" y="1314"/>
                    <a:pt x="780" y="1314"/>
                  </a:cubicBezTo>
                  <a:cubicBezTo>
                    <a:pt x="779" y="1314"/>
                    <a:pt x="779" y="1314"/>
                    <a:pt x="779" y="1313"/>
                  </a:cubicBezTo>
                  <a:cubicBezTo>
                    <a:pt x="777" y="1313"/>
                    <a:pt x="774" y="1312"/>
                    <a:pt x="771" y="1311"/>
                  </a:cubicBezTo>
                  <a:moveTo>
                    <a:pt x="780" y="1314"/>
                  </a:moveTo>
                  <a:cubicBezTo>
                    <a:pt x="780" y="1314"/>
                    <a:pt x="781" y="1314"/>
                    <a:pt x="781" y="1315"/>
                  </a:cubicBezTo>
                  <a:cubicBezTo>
                    <a:pt x="787" y="1316"/>
                    <a:pt x="793" y="1317"/>
                    <a:pt x="798" y="1319"/>
                  </a:cubicBezTo>
                  <a:cubicBezTo>
                    <a:pt x="798" y="1318"/>
                    <a:pt x="798" y="1318"/>
                    <a:pt x="798" y="1317"/>
                  </a:cubicBezTo>
                  <a:cubicBezTo>
                    <a:pt x="792" y="1316"/>
                    <a:pt x="786" y="1315"/>
                    <a:pt x="780" y="1314"/>
                  </a:cubicBezTo>
                  <a:moveTo>
                    <a:pt x="799" y="1318"/>
                  </a:moveTo>
                  <a:cubicBezTo>
                    <a:pt x="799" y="1318"/>
                    <a:pt x="799" y="1318"/>
                    <a:pt x="800" y="1319"/>
                  </a:cubicBezTo>
                  <a:cubicBezTo>
                    <a:pt x="800" y="1319"/>
                    <a:pt x="801" y="1319"/>
                    <a:pt x="802" y="1319"/>
                  </a:cubicBezTo>
                  <a:cubicBezTo>
                    <a:pt x="801" y="1319"/>
                    <a:pt x="801" y="1318"/>
                    <a:pt x="801" y="1318"/>
                  </a:cubicBezTo>
                  <a:cubicBezTo>
                    <a:pt x="800" y="1318"/>
                    <a:pt x="800" y="1318"/>
                    <a:pt x="799" y="1318"/>
                  </a:cubicBezTo>
                  <a:moveTo>
                    <a:pt x="802" y="1318"/>
                  </a:moveTo>
                  <a:cubicBezTo>
                    <a:pt x="803" y="1319"/>
                    <a:pt x="803" y="1319"/>
                    <a:pt x="804" y="1320"/>
                  </a:cubicBezTo>
                  <a:cubicBezTo>
                    <a:pt x="809" y="1321"/>
                    <a:pt x="813" y="1322"/>
                    <a:pt x="818" y="1322"/>
                  </a:cubicBezTo>
                  <a:cubicBezTo>
                    <a:pt x="818" y="1322"/>
                    <a:pt x="818" y="1322"/>
                    <a:pt x="818" y="1321"/>
                  </a:cubicBezTo>
                  <a:cubicBezTo>
                    <a:pt x="813" y="1320"/>
                    <a:pt x="808" y="1319"/>
                    <a:pt x="802" y="1318"/>
                  </a:cubicBezTo>
                  <a:moveTo>
                    <a:pt x="819" y="1322"/>
                  </a:moveTo>
                  <a:cubicBezTo>
                    <a:pt x="819" y="1322"/>
                    <a:pt x="819" y="1322"/>
                    <a:pt x="819" y="1323"/>
                  </a:cubicBezTo>
                  <a:cubicBezTo>
                    <a:pt x="823" y="1323"/>
                    <a:pt x="826" y="1324"/>
                    <a:pt x="829" y="1324"/>
                  </a:cubicBezTo>
                  <a:cubicBezTo>
                    <a:pt x="829" y="1324"/>
                    <a:pt x="829" y="1324"/>
                    <a:pt x="828" y="1323"/>
                  </a:cubicBezTo>
                  <a:cubicBezTo>
                    <a:pt x="825" y="1323"/>
                    <a:pt x="822" y="1322"/>
                    <a:pt x="819" y="1322"/>
                  </a:cubicBezTo>
                  <a:moveTo>
                    <a:pt x="830" y="1324"/>
                  </a:moveTo>
                  <a:cubicBezTo>
                    <a:pt x="830" y="1324"/>
                    <a:pt x="830" y="1324"/>
                    <a:pt x="830" y="1325"/>
                  </a:cubicBezTo>
                  <a:cubicBezTo>
                    <a:pt x="833" y="1325"/>
                    <a:pt x="836" y="1326"/>
                    <a:pt x="838" y="1326"/>
                  </a:cubicBezTo>
                  <a:cubicBezTo>
                    <a:pt x="838" y="1326"/>
                    <a:pt x="838" y="1325"/>
                    <a:pt x="838" y="1325"/>
                  </a:cubicBezTo>
                  <a:cubicBezTo>
                    <a:pt x="835" y="1324"/>
                    <a:pt x="832" y="1324"/>
                    <a:pt x="830" y="1324"/>
                  </a:cubicBezTo>
                  <a:moveTo>
                    <a:pt x="839" y="1325"/>
                  </a:moveTo>
                  <a:cubicBezTo>
                    <a:pt x="839" y="1325"/>
                    <a:pt x="839" y="1326"/>
                    <a:pt x="839" y="1326"/>
                  </a:cubicBezTo>
                  <a:cubicBezTo>
                    <a:pt x="844" y="1327"/>
                    <a:pt x="849" y="1328"/>
                    <a:pt x="854" y="1328"/>
                  </a:cubicBezTo>
                  <a:cubicBezTo>
                    <a:pt x="854" y="1328"/>
                    <a:pt x="854" y="1328"/>
                    <a:pt x="853" y="1327"/>
                  </a:cubicBezTo>
                  <a:cubicBezTo>
                    <a:pt x="849" y="1327"/>
                    <a:pt x="844" y="1326"/>
                    <a:pt x="839" y="1325"/>
                  </a:cubicBezTo>
                  <a:moveTo>
                    <a:pt x="855" y="1327"/>
                  </a:moveTo>
                  <a:cubicBezTo>
                    <a:pt x="855" y="1328"/>
                    <a:pt x="855" y="1328"/>
                    <a:pt x="855" y="1329"/>
                  </a:cubicBezTo>
                  <a:cubicBezTo>
                    <a:pt x="856" y="1329"/>
                    <a:pt x="857" y="1329"/>
                    <a:pt x="858" y="1329"/>
                  </a:cubicBezTo>
                  <a:cubicBezTo>
                    <a:pt x="858" y="1329"/>
                    <a:pt x="858" y="1328"/>
                    <a:pt x="858" y="1328"/>
                  </a:cubicBezTo>
                  <a:cubicBezTo>
                    <a:pt x="857" y="1328"/>
                    <a:pt x="856" y="1328"/>
                    <a:pt x="855" y="1327"/>
                  </a:cubicBezTo>
                  <a:moveTo>
                    <a:pt x="859" y="1328"/>
                  </a:moveTo>
                  <a:cubicBezTo>
                    <a:pt x="859" y="1328"/>
                    <a:pt x="859" y="1329"/>
                    <a:pt x="859" y="1329"/>
                  </a:cubicBezTo>
                  <a:cubicBezTo>
                    <a:pt x="865" y="1330"/>
                    <a:pt x="872" y="1331"/>
                    <a:pt x="877" y="1331"/>
                  </a:cubicBezTo>
                  <a:cubicBezTo>
                    <a:pt x="877" y="1331"/>
                    <a:pt x="877" y="1330"/>
                    <a:pt x="877" y="1330"/>
                  </a:cubicBezTo>
                  <a:cubicBezTo>
                    <a:pt x="871" y="1330"/>
                    <a:pt x="865" y="1329"/>
                    <a:pt x="859" y="1328"/>
                  </a:cubicBezTo>
                  <a:moveTo>
                    <a:pt x="878" y="1330"/>
                  </a:moveTo>
                  <a:cubicBezTo>
                    <a:pt x="878" y="1330"/>
                    <a:pt x="878" y="1331"/>
                    <a:pt x="878" y="1331"/>
                  </a:cubicBezTo>
                  <a:cubicBezTo>
                    <a:pt x="878" y="1331"/>
                    <a:pt x="879" y="1331"/>
                    <a:pt x="879" y="1331"/>
                  </a:cubicBezTo>
                  <a:cubicBezTo>
                    <a:pt x="885" y="1332"/>
                    <a:pt x="891" y="1332"/>
                    <a:pt x="897" y="1333"/>
                  </a:cubicBezTo>
                  <a:cubicBezTo>
                    <a:pt x="897" y="1332"/>
                    <a:pt x="897" y="1332"/>
                    <a:pt x="897" y="1332"/>
                  </a:cubicBezTo>
                  <a:cubicBezTo>
                    <a:pt x="891" y="1331"/>
                    <a:pt x="885" y="1331"/>
                    <a:pt x="878" y="1330"/>
                  </a:cubicBezTo>
                  <a:moveTo>
                    <a:pt x="898" y="1332"/>
                  </a:moveTo>
                  <a:cubicBezTo>
                    <a:pt x="898" y="1332"/>
                    <a:pt x="898" y="1332"/>
                    <a:pt x="898" y="1333"/>
                  </a:cubicBezTo>
                  <a:cubicBezTo>
                    <a:pt x="899" y="1333"/>
                    <a:pt x="899" y="1333"/>
                    <a:pt x="900" y="1333"/>
                  </a:cubicBezTo>
                  <a:cubicBezTo>
                    <a:pt x="900" y="1332"/>
                    <a:pt x="900" y="1332"/>
                    <a:pt x="900" y="1332"/>
                  </a:cubicBezTo>
                  <a:cubicBezTo>
                    <a:pt x="899" y="1332"/>
                    <a:pt x="898" y="1332"/>
                    <a:pt x="898" y="1332"/>
                  </a:cubicBezTo>
                  <a:moveTo>
                    <a:pt x="901" y="1332"/>
                  </a:moveTo>
                  <a:cubicBezTo>
                    <a:pt x="901" y="1332"/>
                    <a:pt x="901" y="1332"/>
                    <a:pt x="901" y="1333"/>
                  </a:cubicBezTo>
                  <a:cubicBezTo>
                    <a:pt x="905" y="1333"/>
                    <a:pt x="910" y="1333"/>
                    <a:pt x="914" y="1333"/>
                  </a:cubicBezTo>
                  <a:cubicBezTo>
                    <a:pt x="915" y="1333"/>
                    <a:pt x="915" y="1333"/>
                    <a:pt x="916" y="1333"/>
                  </a:cubicBezTo>
                  <a:cubicBezTo>
                    <a:pt x="916" y="1333"/>
                    <a:pt x="916" y="1332"/>
                    <a:pt x="916" y="1332"/>
                  </a:cubicBezTo>
                  <a:cubicBezTo>
                    <a:pt x="915" y="1332"/>
                    <a:pt x="915" y="1332"/>
                    <a:pt x="914" y="1332"/>
                  </a:cubicBezTo>
                  <a:cubicBezTo>
                    <a:pt x="910" y="1332"/>
                    <a:pt x="905" y="1332"/>
                    <a:pt x="901" y="1332"/>
                  </a:cubicBezTo>
                  <a:moveTo>
                    <a:pt x="921" y="1332"/>
                  </a:moveTo>
                  <a:cubicBezTo>
                    <a:pt x="920" y="1332"/>
                    <a:pt x="918" y="1332"/>
                    <a:pt x="917" y="1332"/>
                  </a:cubicBezTo>
                  <a:cubicBezTo>
                    <a:pt x="917" y="1332"/>
                    <a:pt x="917" y="1333"/>
                    <a:pt x="917" y="1333"/>
                  </a:cubicBezTo>
                  <a:cubicBezTo>
                    <a:pt x="919" y="1333"/>
                    <a:pt x="920" y="1333"/>
                    <a:pt x="922" y="1333"/>
                  </a:cubicBezTo>
                  <a:cubicBezTo>
                    <a:pt x="922" y="1333"/>
                    <a:pt x="921" y="1332"/>
                    <a:pt x="921" y="1332"/>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55" name="Freeform 84"/>
            <p:cNvSpPr>
              <a:spLocks noEditPoints="1"/>
            </p:cNvSpPr>
            <p:nvPr userDrawn="1"/>
          </p:nvSpPr>
          <p:spPr bwMode="auto">
            <a:xfrm>
              <a:off x="1930" y="2973"/>
              <a:ext cx="3789" cy="2685"/>
            </a:xfrm>
            <a:custGeom>
              <a:avLst/>
              <a:gdLst>
                <a:gd name="T0" fmla="*/ 2147483646 w 1870"/>
                <a:gd name="T1" fmla="*/ 2147483646 h 1324"/>
                <a:gd name="T2" fmla="*/ 2147483646 w 1870"/>
                <a:gd name="T3" fmla="*/ 2147483646 h 1324"/>
                <a:gd name="T4" fmla="*/ 2147483646 w 1870"/>
                <a:gd name="T5" fmla="*/ 2147483646 h 1324"/>
                <a:gd name="T6" fmla="*/ 2147483646 w 1870"/>
                <a:gd name="T7" fmla="*/ 2147483646 h 1324"/>
                <a:gd name="T8" fmla="*/ 2147483646 w 1870"/>
                <a:gd name="T9" fmla="*/ 2147483646 h 1324"/>
                <a:gd name="T10" fmla="*/ 2147483646 w 1870"/>
                <a:gd name="T11" fmla="*/ 2147483646 h 1324"/>
                <a:gd name="T12" fmla="*/ 2147483646 w 1870"/>
                <a:gd name="T13" fmla="*/ 2147483646 h 1324"/>
                <a:gd name="T14" fmla="*/ 2147483646 w 1870"/>
                <a:gd name="T15" fmla="*/ 2147483646 h 1324"/>
                <a:gd name="T16" fmla="*/ 2147483646 w 1870"/>
                <a:gd name="T17" fmla="*/ 2147483646 h 1324"/>
                <a:gd name="T18" fmla="*/ 2147483646 w 1870"/>
                <a:gd name="T19" fmla="*/ 2147483646 h 1324"/>
                <a:gd name="T20" fmla="*/ 2147483646 w 1870"/>
                <a:gd name="T21" fmla="*/ 2147483646 h 1324"/>
                <a:gd name="T22" fmla="*/ 2147483646 w 1870"/>
                <a:gd name="T23" fmla="*/ 2147483646 h 1324"/>
                <a:gd name="T24" fmla="*/ 2147483646 w 1870"/>
                <a:gd name="T25" fmla="*/ 2147483646 h 1324"/>
                <a:gd name="T26" fmla="*/ 2147483646 w 1870"/>
                <a:gd name="T27" fmla="*/ 2147483646 h 1324"/>
                <a:gd name="T28" fmla="*/ 2147483646 w 1870"/>
                <a:gd name="T29" fmla="*/ 2147483646 h 1324"/>
                <a:gd name="T30" fmla="*/ 2147483646 w 1870"/>
                <a:gd name="T31" fmla="*/ 2147483646 h 1324"/>
                <a:gd name="T32" fmla="*/ 2147483646 w 1870"/>
                <a:gd name="T33" fmla="*/ 2147483646 h 1324"/>
                <a:gd name="T34" fmla="*/ 2147483646 w 1870"/>
                <a:gd name="T35" fmla="*/ 2147483646 h 1324"/>
                <a:gd name="T36" fmla="*/ 2147483646 w 1870"/>
                <a:gd name="T37" fmla="*/ 2147483646 h 1324"/>
                <a:gd name="T38" fmla="*/ 2147483646 w 1870"/>
                <a:gd name="T39" fmla="*/ 2147483646 h 1324"/>
                <a:gd name="T40" fmla="*/ 2147483646 w 1870"/>
                <a:gd name="T41" fmla="*/ 2147483646 h 1324"/>
                <a:gd name="T42" fmla="*/ 2147483646 w 1870"/>
                <a:gd name="T43" fmla="*/ 2147483646 h 1324"/>
                <a:gd name="T44" fmla="*/ 2147483646 w 1870"/>
                <a:gd name="T45" fmla="*/ 2147483646 h 1324"/>
                <a:gd name="T46" fmla="*/ 2147483646 w 1870"/>
                <a:gd name="T47" fmla="*/ 2147483646 h 1324"/>
                <a:gd name="T48" fmla="*/ 2147483646 w 1870"/>
                <a:gd name="T49" fmla="*/ 2147483646 h 1324"/>
                <a:gd name="T50" fmla="*/ 2147483646 w 1870"/>
                <a:gd name="T51" fmla="*/ 2147483646 h 1324"/>
                <a:gd name="T52" fmla="*/ 2147483646 w 1870"/>
                <a:gd name="T53" fmla="*/ 2147483646 h 1324"/>
                <a:gd name="T54" fmla="*/ 2147483646 w 1870"/>
                <a:gd name="T55" fmla="*/ 2147483646 h 1324"/>
                <a:gd name="T56" fmla="*/ 2147483646 w 1870"/>
                <a:gd name="T57" fmla="*/ 2147483646 h 1324"/>
                <a:gd name="T58" fmla="*/ 2147483646 w 1870"/>
                <a:gd name="T59" fmla="*/ 2147483646 h 1324"/>
                <a:gd name="T60" fmla="*/ 2147483646 w 1870"/>
                <a:gd name="T61" fmla="*/ 2147483646 h 1324"/>
                <a:gd name="T62" fmla="*/ 2147483646 w 1870"/>
                <a:gd name="T63" fmla="*/ 2147483646 h 1324"/>
                <a:gd name="T64" fmla="*/ 2147483646 w 1870"/>
                <a:gd name="T65" fmla="*/ 2147483646 h 1324"/>
                <a:gd name="T66" fmla="*/ 2147483646 w 1870"/>
                <a:gd name="T67" fmla="*/ 2147483646 h 1324"/>
                <a:gd name="T68" fmla="*/ 2147483646 w 1870"/>
                <a:gd name="T69" fmla="*/ 2147483646 h 1324"/>
                <a:gd name="T70" fmla="*/ 2147483646 w 1870"/>
                <a:gd name="T71" fmla="*/ 2147483646 h 1324"/>
                <a:gd name="T72" fmla="*/ 2147483646 w 1870"/>
                <a:gd name="T73" fmla="*/ 2147483646 h 1324"/>
                <a:gd name="T74" fmla="*/ 2147483646 w 1870"/>
                <a:gd name="T75" fmla="*/ 2147483646 h 1324"/>
                <a:gd name="T76" fmla="*/ 2147483646 w 1870"/>
                <a:gd name="T77" fmla="*/ 2147483646 h 1324"/>
                <a:gd name="T78" fmla="*/ 2147483646 w 1870"/>
                <a:gd name="T79" fmla="*/ 2147483646 h 1324"/>
                <a:gd name="T80" fmla="*/ 2147483646 w 1870"/>
                <a:gd name="T81" fmla="*/ 2147483646 h 1324"/>
                <a:gd name="T82" fmla="*/ 2147483646 w 1870"/>
                <a:gd name="T83" fmla="*/ 2147483646 h 1324"/>
                <a:gd name="T84" fmla="*/ 2147483646 w 1870"/>
                <a:gd name="T85" fmla="*/ 2147483646 h 1324"/>
                <a:gd name="T86" fmla="*/ 2147483646 w 1870"/>
                <a:gd name="T87" fmla="*/ 2147483646 h 1324"/>
                <a:gd name="T88" fmla="*/ 2147483646 w 1870"/>
                <a:gd name="T89" fmla="*/ 2147483646 h 1324"/>
                <a:gd name="T90" fmla="*/ 2147483646 w 1870"/>
                <a:gd name="T91" fmla="*/ 2147483646 h 1324"/>
                <a:gd name="T92" fmla="*/ 2147483646 w 1870"/>
                <a:gd name="T93" fmla="*/ 2147483646 h 1324"/>
                <a:gd name="T94" fmla="*/ 2147483646 w 1870"/>
                <a:gd name="T95" fmla="*/ 2147483646 h 1324"/>
                <a:gd name="T96" fmla="*/ 2147483646 w 1870"/>
                <a:gd name="T97" fmla="*/ 2147483646 h 1324"/>
                <a:gd name="T98" fmla="*/ 2147483646 w 1870"/>
                <a:gd name="T99" fmla="*/ 2147483646 h 1324"/>
                <a:gd name="T100" fmla="*/ 2147483646 w 1870"/>
                <a:gd name="T101" fmla="*/ 2147483646 h 1324"/>
                <a:gd name="T102" fmla="*/ 2147483646 w 1870"/>
                <a:gd name="T103" fmla="*/ 2147483646 h 1324"/>
                <a:gd name="T104" fmla="*/ 2147483646 w 1870"/>
                <a:gd name="T105" fmla="*/ 2147483646 h 1324"/>
                <a:gd name="T106" fmla="*/ 2147483646 w 1870"/>
                <a:gd name="T107" fmla="*/ 2147483646 h 1324"/>
                <a:gd name="T108" fmla="*/ 2147483646 w 1870"/>
                <a:gd name="T109" fmla="*/ 2147483646 h 1324"/>
                <a:gd name="T110" fmla="*/ 2147483646 w 1870"/>
                <a:gd name="T111" fmla="*/ 2147483646 h 1324"/>
                <a:gd name="T112" fmla="*/ 2147483646 w 1870"/>
                <a:gd name="T113" fmla="*/ 2147483646 h 1324"/>
                <a:gd name="T114" fmla="*/ 2147483646 w 1870"/>
                <a:gd name="T115" fmla="*/ 2147483646 h 1324"/>
                <a:gd name="T116" fmla="*/ 2147483646 w 1870"/>
                <a:gd name="T117" fmla="*/ 2147483646 h 1324"/>
                <a:gd name="T118" fmla="*/ 2147483646 w 1870"/>
                <a:gd name="T119" fmla="*/ 2147483646 h 1324"/>
                <a:gd name="T120" fmla="*/ 2147483646 w 1870"/>
                <a:gd name="T121" fmla="*/ 2147483646 h 1324"/>
                <a:gd name="T122" fmla="*/ 2147483646 w 1870"/>
                <a:gd name="T123" fmla="*/ 2147483646 h 1324"/>
                <a:gd name="T124" fmla="*/ 2147483646 w 1870"/>
                <a:gd name="T125" fmla="*/ 2147483646 h 13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870" h="1324">
                  <a:moveTo>
                    <a:pt x="1700" y="0"/>
                  </a:moveTo>
                  <a:cubicBezTo>
                    <a:pt x="1657" y="0"/>
                    <a:pt x="1613" y="19"/>
                    <a:pt x="1570" y="52"/>
                  </a:cubicBezTo>
                  <a:cubicBezTo>
                    <a:pt x="1568" y="53"/>
                    <a:pt x="1566" y="55"/>
                    <a:pt x="1564" y="56"/>
                  </a:cubicBezTo>
                  <a:cubicBezTo>
                    <a:pt x="1539" y="75"/>
                    <a:pt x="1515" y="98"/>
                    <a:pt x="1491" y="123"/>
                  </a:cubicBezTo>
                  <a:cubicBezTo>
                    <a:pt x="1490" y="124"/>
                    <a:pt x="1489" y="125"/>
                    <a:pt x="1489" y="126"/>
                  </a:cubicBezTo>
                  <a:cubicBezTo>
                    <a:pt x="1473" y="143"/>
                    <a:pt x="1457" y="161"/>
                    <a:pt x="1442" y="180"/>
                  </a:cubicBezTo>
                  <a:cubicBezTo>
                    <a:pt x="1442" y="180"/>
                    <a:pt x="1442" y="181"/>
                    <a:pt x="1441" y="181"/>
                  </a:cubicBezTo>
                  <a:cubicBezTo>
                    <a:pt x="1423" y="203"/>
                    <a:pt x="1406" y="226"/>
                    <a:pt x="1389" y="249"/>
                  </a:cubicBezTo>
                  <a:cubicBezTo>
                    <a:pt x="1389" y="250"/>
                    <a:pt x="1389" y="250"/>
                    <a:pt x="1389" y="250"/>
                  </a:cubicBezTo>
                  <a:cubicBezTo>
                    <a:pt x="1379" y="264"/>
                    <a:pt x="1369" y="278"/>
                    <a:pt x="1360" y="292"/>
                  </a:cubicBezTo>
                  <a:cubicBezTo>
                    <a:pt x="1375" y="270"/>
                    <a:pt x="1390" y="249"/>
                    <a:pt x="1406" y="228"/>
                  </a:cubicBezTo>
                  <a:cubicBezTo>
                    <a:pt x="1418" y="212"/>
                    <a:pt x="1430" y="196"/>
                    <a:pt x="1443" y="180"/>
                  </a:cubicBezTo>
                  <a:cubicBezTo>
                    <a:pt x="1443" y="180"/>
                    <a:pt x="1444" y="179"/>
                    <a:pt x="1444" y="179"/>
                  </a:cubicBezTo>
                  <a:cubicBezTo>
                    <a:pt x="1460" y="160"/>
                    <a:pt x="1476" y="141"/>
                    <a:pt x="1492" y="124"/>
                  </a:cubicBezTo>
                  <a:cubicBezTo>
                    <a:pt x="1493" y="123"/>
                    <a:pt x="1493" y="122"/>
                    <a:pt x="1494" y="122"/>
                  </a:cubicBezTo>
                  <a:cubicBezTo>
                    <a:pt x="1519" y="95"/>
                    <a:pt x="1545" y="72"/>
                    <a:pt x="1570" y="52"/>
                  </a:cubicBezTo>
                  <a:cubicBezTo>
                    <a:pt x="1572" y="51"/>
                    <a:pt x="1574" y="50"/>
                    <a:pt x="1576" y="48"/>
                  </a:cubicBezTo>
                  <a:cubicBezTo>
                    <a:pt x="1617" y="19"/>
                    <a:pt x="1659" y="1"/>
                    <a:pt x="1700" y="1"/>
                  </a:cubicBezTo>
                  <a:cubicBezTo>
                    <a:pt x="1733" y="1"/>
                    <a:pt x="1765" y="12"/>
                    <a:pt x="1796" y="39"/>
                  </a:cubicBezTo>
                  <a:cubicBezTo>
                    <a:pt x="1847" y="83"/>
                    <a:pt x="1869" y="136"/>
                    <a:pt x="1869" y="194"/>
                  </a:cubicBezTo>
                  <a:cubicBezTo>
                    <a:pt x="1869" y="238"/>
                    <a:pt x="1857" y="285"/>
                    <a:pt x="1833" y="333"/>
                  </a:cubicBezTo>
                  <a:cubicBezTo>
                    <a:pt x="1831" y="337"/>
                    <a:pt x="1829" y="342"/>
                    <a:pt x="1826" y="347"/>
                  </a:cubicBezTo>
                  <a:cubicBezTo>
                    <a:pt x="1823" y="352"/>
                    <a:pt x="1820" y="357"/>
                    <a:pt x="1817" y="363"/>
                  </a:cubicBezTo>
                  <a:cubicBezTo>
                    <a:pt x="1817" y="364"/>
                    <a:pt x="1816" y="366"/>
                    <a:pt x="1816" y="367"/>
                  </a:cubicBezTo>
                  <a:cubicBezTo>
                    <a:pt x="1823" y="356"/>
                    <a:pt x="1829" y="344"/>
                    <a:pt x="1834" y="333"/>
                  </a:cubicBezTo>
                  <a:cubicBezTo>
                    <a:pt x="1836" y="329"/>
                    <a:pt x="1838" y="324"/>
                    <a:pt x="1840" y="320"/>
                  </a:cubicBezTo>
                  <a:cubicBezTo>
                    <a:pt x="1860" y="277"/>
                    <a:pt x="1870" y="235"/>
                    <a:pt x="1870" y="194"/>
                  </a:cubicBezTo>
                  <a:cubicBezTo>
                    <a:pt x="1870" y="136"/>
                    <a:pt x="1848" y="82"/>
                    <a:pt x="1796" y="38"/>
                  </a:cubicBezTo>
                  <a:cubicBezTo>
                    <a:pt x="1765" y="12"/>
                    <a:pt x="1733" y="0"/>
                    <a:pt x="1700" y="0"/>
                  </a:cubicBezTo>
                  <a:moveTo>
                    <a:pt x="1360" y="293"/>
                  </a:moveTo>
                  <a:cubicBezTo>
                    <a:pt x="1351" y="306"/>
                    <a:pt x="1342" y="319"/>
                    <a:pt x="1333" y="333"/>
                  </a:cubicBezTo>
                  <a:cubicBezTo>
                    <a:pt x="1333" y="333"/>
                    <a:pt x="1334" y="332"/>
                    <a:pt x="1334" y="332"/>
                  </a:cubicBezTo>
                  <a:cubicBezTo>
                    <a:pt x="1342" y="319"/>
                    <a:pt x="1351" y="306"/>
                    <a:pt x="1360" y="293"/>
                  </a:cubicBezTo>
                  <a:moveTo>
                    <a:pt x="1331" y="336"/>
                  </a:moveTo>
                  <a:cubicBezTo>
                    <a:pt x="1331" y="337"/>
                    <a:pt x="1331" y="337"/>
                    <a:pt x="1331" y="337"/>
                  </a:cubicBezTo>
                  <a:cubicBezTo>
                    <a:pt x="1330" y="338"/>
                    <a:pt x="1329" y="339"/>
                    <a:pt x="1329" y="340"/>
                  </a:cubicBezTo>
                  <a:cubicBezTo>
                    <a:pt x="1329" y="340"/>
                    <a:pt x="1329" y="339"/>
                    <a:pt x="1329" y="339"/>
                  </a:cubicBezTo>
                  <a:cubicBezTo>
                    <a:pt x="1330" y="338"/>
                    <a:pt x="1331" y="337"/>
                    <a:pt x="1331" y="336"/>
                  </a:cubicBezTo>
                  <a:moveTo>
                    <a:pt x="1324" y="347"/>
                  </a:moveTo>
                  <a:cubicBezTo>
                    <a:pt x="1324" y="347"/>
                    <a:pt x="1324" y="347"/>
                    <a:pt x="1324" y="348"/>
                  </a:cubicBezTo>
                  <a:cubicBezTo>
                    <a:pt x="1322" y="350"/>
                    <a:pt x="1320" y="353"/>
                    <a:pt x="1319" y="355"/>
                  </a:cubicBezTo>
                  <a:cubicBezTo>
                    <a:pt x="1319" y="355"/>
                    <a:pt x="1319" y="355"/>
                    <a:pt x="1319" y="355"/>
                  </a:cubicBezTo>
                  <a:cubicBezTo>
                    <a:pt x="1321" y="352"/>
                    <a:pt x="1323" y="349"/>
                    <a:pt x="1324" y="347"/>
                  </a:cubicBezTo>
                  <a:moveTo>
                    <a:pt x="1318" y="357"/>
                  </a:moveTo>
                  <a:cubicBezTo>
                    <a:pt x="1318" y="357"/>
                    <a:pt x="1318" y="357"/>
                    <a:pt x="1318" y="357"/>
                  </a:cubicBezTo>
                  <a:cubicBezTo>
                    <a:pt x="1314" y="363"/>
                    <a:pt x="1310" y="369"/>
                    <a:pt x="1306" y="375"/>
                  </a:cubicBezTo>
                  <a:cubicBezTo>
                    <a:pt x="1306" y="375"/>
                    <a:pt x="1306" y="375"/>
                    <a:pt x="1306" y="375"/>
                  </a:cubicBezTo>
                  <a:cubicBezTo>
                    <a:pt x="1310" y="370"/>
                    <a:pt x="1313" y="365"/>
                    <a:pt x="1316" y="359"/>
                  </a:cubicBezTo>
                  <a:cubicBezTo>
                    <a:pt x="1317" y="359"/>
                    <a:pt x="1317" y="358"/>
                    <a:pt x="1317" y="358"/>
                  </a:cubicBezTo>
                  <a:cubicBezTo>
                    <a:pt x="1317" y="358"/>
                    <a:pt x="1318" y="357"/>
                    <a:pt x="1318" y="357"/>
                  </a:cubicBezTo>
                  <a:moveTo>
                    <a:pt x="1815" y="367"/>
                  </a:moveTo>
                  <a:cubicBezTo>
                    <a:pt x="1815" y="367"/>
                    <a:pt x="1814" y="368"/>
                    <a:pt x="1814" y="368"/>
                  </a:cubicBezTo>
                  <a:cubicBezTo>
                    <a:pt x="1812" y="373"/>
                    <a:pt x="1809" y="378"/>
                    <a:pt x="1807" y="382"/>
                  </a:cubicBezTo>
                  <a:cubicBezTo>
                    <a:pt x="1809" y="379"/>
                    <a:pt x="1811" y="375"/>
                    <a:pt x="1813" y="372"/>
                  </a:cubicBezTo>
                  <a:cubicBezTo>
                    <a:pt x="1814" y="370"/>
                    <a:pt x="1814" y="368"/>
                    <a:pt x="1815" y="367"/>
                  </a:cubicBezTo>
                  <a:moveTo>
                    <a:pt x="1305" y="377"/>
                  </a:moveTo>
                  <a:cubicBezTo>
                    <a:pt x="1305" y="377"/>
                    <a:pt x="1305" y="377"/>
                    <a:pt x="1305" y="377"/>
                  </a:cubicBezTo>
                  <a:cubicBezTo>
                    <a:pt x="1305" y="378"/>
                    <a:pt x="1304" y="379"/>
                    <a:pt x="1303" y="380"/>
                  </a:cubicBezTo>
                  <a:cubicBezTo>
                    <a:pt x="1304" y="379"/>
                    <a:pt x="1305" y="378"/>
                    <a:pt x="1305" y="377"/>
                  </a:cubicBezTo>
                  <a:moveTo>
                    <a:pt x="1302" y="380"/>
                  </a:moveTo>
                  <a:cubicBezTo>
                    <a:pt x="1298" y="386"/>
                    <a:pt x="1294" y="393"/>
                    <a:pt x="1290" y="399"/>
                  </a:cubicBezTo>
                  <a:cubicBezTo>
                    <a:pt x="1290" y="399"/>
                    <a:pt x="1290" y="399"/>
                    <a:pt x="1290" y="399"/>
                  </a:cubicBezTo>
                  <a:cubicBezTo>
                    <a:pt x="1294" y="393"/>
                    <a:pt x="1298" y="386"/>
                    <a:pt x="1302" y="380"/>
                  </a:cubicBezTo>
                  <a:moveTo>
                    <a:pt x="1806" y="382"/>
                  </a:moveTo>
                  <a:cubicBezTo>
                    <a:pt x="1804" y="386"/>
                    <a:pt x="1801" y="390"/>
                    <a:pt x="1798" y="394"/>
                  </a:cubicBezTo>
                  <a:cubicBezTo>
                    <a:pt x="1798" y="395"/>
                    <a:pt x="1797" y="396"/>
                    <a:pt x="1797" y="397"/>
                  </a:cubicBezTo>
                  <a:cubicBezTo>
                    <a:pt x="1797" y="397"/>
                    <a:pt x="1797" y="397"/>
                    <a:pt x="1798" y="397"/>
                  </a:cubicBezTo>
                  <a:cubicBezTo>
                    <a:pt x="1800" y="392"/>
                    <a:pt x="1803" y="387"/>
                    <a:pt x="1806" y="382"/>
                  </a:cubicBezTo>
                  <a:moveTo>
                    <a:pt x="1796" y="397"/>
                  </a:moveTo>
                  <a:cubicBezTo>
                    <a:pt x="1791" y="405"/>
                    <a:pt x="1785" y="414"/>
                    <a:pt x="1779" y="422"/>
                  </a:cubicBezTo>
                  <a:cubicBezTo>
                    <a:pt x="1779" y="423"/>
                    <a:pt x="1778" y="424"/>
                    <a:pt x="1778" y="425"/>
                  </a:cubicBezTo>
                  <a:cubicBezTo>
                    <a:pt x="1784" y="417"/>
                    <a:pt x="1790" y="408"/>
                    <a:pt x="1795" y="400"/>
                  </a:cubicBezTo>
                  <a:cubicBezTo>
                    <a:pt x="1795" y="399"/>
                    <a:pt x="1796" y="398"/>
                    <a:pt x="1796" y="397"/>
                  </a:cubicBezTo>
                  <a:moveTo>
                    <a:pt x="1289" y="401"/>
                  </a:moveTo>
                  <a:cubicBezTo>
                    <a:pt x="1289" y="401"/>
                    <a:pt x="1289" y="401"/>
                    <a:pt x="1289" y="401"/>
                  </a:cubicBezTo>
                  <a:cubicBezTo>
                    <a:pt x="1285" y="407"/>
                    <a:pt x="1281" y="413"/>
                    <a:pt x="1278" y="419"/>
                  </a:cubicBezTo>
                  <a:cubicBezTo>
                    <a:pt x="1278" y="419"/>
                    <a:pt x="1278" y="419"/>
                    <a:pt x="1278" y="419"/>
                  </a:cubicBezTo>
                  <a:cubicBezTo>
                    <a:pt x="1282" y="413"/>
                    <a:pt x="1286" y="407"/>
                    <a:pt x="1289" y="401"/>
                  </a:cubicBezTo>
                  <a:moveTo>
                    <a:pt x="1278" y="420"/>
                  </a:moveTo>
                  <a:cubicBezTo>
                    <a:pt x="1277" y="420"/>
                    <a:pt x="1277" y="420"/>
                    <a:pt x="1277" y="420"/>
                  </a:cubicBezTo>
                  <a:cubicBezTo>
                    <a:pt x="1271" y="430"/>
                    <a:pt x="1265" y="439"/>
                    <a:pt x="1260" y="449"/>
                  </a:cubicBezTo>
                  <a:cubicBezTo>
                    <a:pt x="1260" y="449"/>
                    <a:pt x="1260" y="449"/>
                    <a:pt x="1261" y="449"/>
                  </a:cubicBezTo>
                  <a:cubicBezTo>
                    <a:pt x="1266" y="439"/>
                    <a:pt x="1272" y="430"/>
                    <a:pt x="1278" y="420"/>
                  </a:cubicBezTo>
                  <a:moveTo>
                    <a:pt x="1777" y="424"/>
                  </a:moveTo>
                  <a:cubicBezTo>
                    <a:pt x="1771" y="432"/>
                    <a:pt x="1765" y="440"/>
                    <a:pt x="1759" y="447"/>
                  </a:cubicBezTo>
                  <a:cubicBezTo>
                    <a:pt x="1759" y="448"/>
                    <a:pt x="1759" y="449"/>
                    <a:pt x="1759" y="450"/>
                  </a:cubicBezTo>
                  <a:cubicBezTo>
                    <a:pt x="1765" y="442"/>
                    <a:pt x="1771" y="435"/>
                    <a:pt x="1776" y="427"/>
                  </a:cubicBezTo>
                  <a:cubicBezTo>
                    <a:pt x="1777" y="426"/>
                    <a:pt x="1777" y="425"/>
                    <a:pt x="1777" y="424"/>
                  </a:cubicBezTo>
                  <a:moveTo>
                    <a:pt x="1057" y="440"/>
                  </a:moveTo>
                  <a:cubicBezTo>
                    <a:pt x="1046" y="440"/>
                    <a:pt x="1033" y="442"/>
                    <a:pt x="1020" y="448"/>
                  </a:cubicBezTo>
                  <a:cubicBezTo>
                    <a:pt x="1019" y="448"/>
                    <a:pt x="1019" y="448"/>
                    <a:pt x="1019" y="448"/>
                  </a:cubicBezTo>
                  <a:cubicBezTo>
                    <a:pt x="1008" y="452"/>
                    <a:pt x="996" y="458"/>
                    <a:pt x="986" y="466"/>
                  </a:cubicBezTo>
                  <a:cubicBezTo>
                    <a:pt x="985" y="466"/>
                    <a:pt x="985" y="466"/>
                    <a:pt x="985" y="466"/>
                  </a:cubicBezTo>
                  <a:cubicBezTo>
                    <a:pt x="974" y="474"/>
                    <a:pt x="964" y="482"/>
                    <a:pt x="955" y="491"/>
                  </a:cubicBezTo>
                  <a:cubicBezTo>
                    <a:pt x="955" y="492"/>
                    <a:pt x="955" y="492"/>
                    <a:pt x="955" y="492"/>
                  </a:cubicBezTo>
                  <a:cubicBezTo>
                    <a:pt x="944" y="504"/>
                    <a:pt x="934" y="517"/>
                    <a:pt x="928" y="532"/>
                  </a:cubicBezTo>
                  <a:cubicBezTo>
                    <a:pt x="928" y="533"/>
                    <a:pt x="927" y="534"/>
                    <a:pt x="927" y="535"/>
                  </a:cubicBezTo>
                  <a:cubicBezTo>
                    <a:pt x="923" y="543"/>
                    <a:pt x="921" y="552"/>
                    <a:pt x="920" y="561"/>
                  </a:cubicBezTo>
                  <a:cubicBezTo>
                    <a:pt x="920" y="560"/>
                    <a:pt x="921" y="559"/>
                    <a:pt x="921" y="558"/>
                  </a:cubicBezTo>
                  <a:cubicBezTo>
                    <a:pt x="922" y="551"/>
                    <a:pt x="924" y="545"/>
                    <a:pt x="926" y="538"/>
                  </a:cubicBezTo>
                  <a:cubicBezTo>
                    <a:pt x="927" y="537"/>
                    <a:pt x="927" y="536"/>
                    <a:pt x="928" y="535"/>
                  </a:cubicBezTo>
                  <a:cubicBezTo>
                    <a:pt x="934" y="520"/>
                    <a:pt x="944" y="506"/>
                    <a:pt x="955" y="493"/>
                  </a:cubicBezTo>
                  <a:cubicBezTo>
                    <a:pt x="955" y="493"/>
                    <a:pt x="956" y="493"/>
                    <a:pt x="956" y="492"/>
                  </a:cubicBezTo>
                  <a:cubicBezTo>
                    <a:pt x="965" y="483"/>
                    <a:pt x="975" y="474"/>
                    <a:pt x="985" y="467"/>
                  </a:cubicBezTo>
                  <a:cubicBezTo>
                    <a:pt x="986" y="467"/>
                    <a:pt x="986" y="467"/>
                    <a:pt x="986" y="467"/>
                  </a:cubicBezTo>
                  <a:cubicBezTo>
                    <a:pt x="997" y="459"/>
                    <a:pt x="1008" y="453"/>
                    <a:pt x="1020" y="449"/>
                  </a:cubicBezTo>
                  <a:cubicBezTo>
                    <a:pt x="1020" y="449"/>
                    <a:pt x="1020" y="448"/>
                    <a:pt x="1021" y="448"/>
                  </a:cubicBezTo>
                  <a:cubicBezTo>
                    <a:pt x="1034" y="443"/>
                    <a:pt x="1046" y="441"/>
                    <a:pt x="1057" y="441"/>
                  </a:cubicBezTo>
                  <a:cubicBezTo>
                    <a:pt x="1059" y="441"/>
                    <a:pt x="1060" y="441"/>
                    <a:pt x="1062" y="441"/>
                  </a:cubicBezTo>
                  <a:cubicBezTo>
                    <a:pt x="1062" y="441"/>
                    <a:pt x="1063" y="441"/>
                    <a:pt x="1063" y="441"/>
                  </a:cubicBezTo>
                  <a:cubicBezTo>
                    <a:pt x="1076" y="442"/>
                    <a:pt x="1085" y="448"/>
                    <a:pt x="1089" y="459"/>
                  </a:cubicBezTo>
                  <a:cubicBezTo>
                    <a:pt x="1089" y="459"/>
                    <a:pt x="1089" y="459"/>
                    <a:pt x="1089" y="460"/>
                  </a:cubicBezTo>
                  <a:cubicBezTo>
                    <a:pt x="1091" y="463"/>
                    <a:pt x="1091" y="467"/>
                    <a:pt x="1091" y="472"/>
                  </a:cubicBezTo>
                  <a:cubicBezTo>
                    <a:pt x="1091" y="473"/>
                    <a:pt x="1091" y="475"/>
                    <a:pt x="1091" y="477"/>
                  </a:cubicBezTo>
                  <a:cubicBezTo>
                    <a:pt x="1091" y="478"/>
                    <a:pt x="1091" y="479"/>
                    <a:pt x="1091" y="480"/>
                  </a:cubicBezTo>
                  <a:cubicBezTo>
                    <a:pt x="1090" y="483"/>
                    <a:pt x="1089" y="487"/>
                    <a:pt x="1088" y="491"/>
                  </a:cubicBezTo>
                  <a:cubicBezTo>
                    <a:pt x="1089" y="491"/>
                    <a:pt x="1089" y="491"/>
                    <a:pt x="1090" y="490"/>
                  </a:cubicBezTo>
                  <a:cubicBezTo>
                    <a:pt x="1091" y="486"/>
                    <a:pt x="1092" y="481"/>
                    <a:pt x="1092" y="477"/>
                  </a:cubicBezTo>
                  <a:cubicBezTo>
                    <a:pt x="1092" y="476"/>
                    <a:pt x="1092" y="475"/>
                    <a:pt x="1092" y="474"/>
                  </a:cubicBezTo>
                  <a:cubicBezTo>
                    <a:pt x="1092" y="473"/>
                    <a:pt x="1092" y="473"/>
                    <a:pt x="1092" y="472"/>
                  </a:cubicBezTo>
                  <a:cubicBezTo>
                    <a:pt x="1092" y="467"/>
                    <a:pt x="1092" y="463"/>
                    <a:pt x="1090" y="459"/>
                  </a:cubicBezTo>
                  <a:cubicBezTo>
                    <a:pt x="1090" y="459"/>
                    <a:pt x="1090" y="459"/>
                    <a:pt x="1090" y="458"/>
                  </a:cubicBezTo>
                  <a:cubicBezTo>
                    <a:pt x="1086" y="447"/>
                    <a:pt x="1076" y="441"/>
                    <a:pt x="1063" y="440"/>
                  </a:cubicBezTo>
                  <a:cubicBezTo>
                    <a:pt x="1062" y="440"/>
                    <a:pt x="1062" y="440"/>
                    <a:pt x="1061" y="440"/>
                  </a:cubicBezTo>
                  <a:cubicBezTo>
                    <a:pt x="1060" y="440"/>
                    <a:pt x="1058" y="440"/>
                    <a:pt x="1057" y="440"/>
                  </a:cubicBezTo>
                  <a:moveTo>
                    <a:pt x="1758" y="449"/>
                  </a:moveTo>
                  <a:cubicBezTo>
                    <a:pt x="1752" y="457"/>
                    <a:pt x="1746" y="464"/>
                    <a:pt x="1740" y="471"/>
                  </a:cubicBezTo>
                  <a:cubicBezTo>
                    <a:pt x="1739" y="472"/>
                    <a:pt x="1739" y="473"/>
                    <a:pt x="1739" y="473"/>
                  </a:cubicBezTo>
                  <a:cubicBezTo>
                    <a:pt x="1745" y="466"/>
                    <a:pt x="1751" y="459"/>
                    <a:pt x="1757" y="452"/>
                  </a:cubicBezTo>
                  <a:cubicBezTo>
                    <a:pt x="1757" y="451"/>
                    <a:pt x="1758" y="450"/>
                    <a:pt x="1758" y="449"/>
                  </a:cubicBezTo>
                  <a:moveTo>
                    <a:pt x="1259" y="450"/>
                  </a:moveTo>
                  <a:cubicBezTo>
                    <a:pt x="1252" y="462"/>
                    <a:pt x="1245" y="473"/>
                    <a:pt x="1238" y="484"/>
                  </a:cubicBezTo>
                  <a:cubicBezTo>
                    <a:pt x="1238" y="484"/>
                    <a:pt x="1239" y="484"/>
                    <a:pt x="1239" y="485"/>
                  </a:cubicBezTo>
                  <a:cubicBezTo>
                    <a:pt x="1244" y="476"/>
                    <a:pt x="1249" y="468"/>
                    <a:pt x="1254" y="460"/>
                  </a:cubicBezTo>
                  <a:cubicBezTo>
                    <a:pt x="1256" y="456"/>
                    <a:pt x="1258" y="453"/>
                    <a:pt x="1260" y="450"/>
                  </a:cubicBezTo>
                  <a:cubicBezTo>
                    <a:pt x="1260" y="450"/>
                    <a:pt x="1259" y="450"/>
                    <a:pt x="1259" y="450"/>
                  </a:cubicBezTo>
                  <a:moveTo>
                    <a:pt x="1738" y="473"/>
                  </a:moveTo>
                  <a:cubicBezTo>
                    <a:pt x="1733" y="479"/>
                    <a:pt x="1727" y="485"/>
                    <a:pt x="1722" y="491"/>
                  </a:cubicBezTo>
                  <a:cubicBezTo>
                    <a:pt x="1721" y="492"/>
                    <a:pt x="1720" y="493"/>
                    <a:pt x="1720" y="493"/>
                  </a:cubicBezTo>
                  <a:cubicBezTo>
                    <a:pt x="1720" y="494"/>
                    <a:pt x="1720" y="495"/>
                    <a:pt x="1719" y="495"/>
                  </a:cubicBezTo>
                  <a:cubicBezTo>
                    <a:pt x="1720" y="494"/>
                    <a:pt x="1722" y="493"/>
                    <a:pt x="1723" y="492"/>
                  </a:cubicBezTo>
                  <a:cubicBezTo>
                    <a:pt x="1728" y="486"/>
                    <a:pt x="1733" y="481"/>
                    <a:pt x="1738" y="475"/>
                  </a:cubicBezTo>
                  <a:cubicBezTo>
                    <a:pt x="1738" y="474"/>
                    <a:pt x="1738" y="473"/>
                    <a:pt x="1738" y="473"/>
                  </a:cubicBezTo>
                  <a:moveTo>
                    <a:pt x="1238" y="485"/>
                  </a:moveTo>
                  <a:cubicBezTo>
                    <a:pt x="1230" y="498"/>
                    <a:pt x="1223" y="509"/>
                    <a:pt x="1216" y="520"/>
                  </a:cubicBezTo>
                  <a:cubicBezTo>
                    <a:pt x="1217" y="520"/>
                    <a:pt x="1217" y="520"/>
                    <a:pt x="1217" y="520"/>
                  </a:cubicBezTo>
                  <a:cubicBezTo>
                    <a:pt x="1224" y="510"/>
                    <a:pt x="1231" y="498"/>
                    <a:pt x="1239" y="485"/>
                  </a:cubicBezTo>
                  <a:cubicBezTo>
                    <a:pt x="1238" y="485"/>
                    <a:pt x="1238" y="485"/>
                    <a:pt x="1238" y="485"/>
                  </a:cubicBezTo>
                  <a:moveTo>
                    <a:pt x="1089" y="492"/>
                  </a:moveTo>
                  <a:cubicBezTo>
                    <a:pt x="1089" y="492"/>
                    <a:pt x="1088" y="492"/>
                    <a:pt x="1088" y="492"/>
                  </a:cubicBezTo>
                  <a:cubicBezTo>
                    <a:pt x="1087" y="495"/>
                    <a:pt x="1086" y="497"/>
                    <a:pt x="1085" y="500"/>
                  </a:cubicBezTo>
                  <a:cubicBezTo>
                    <a:pt x="1085" y="501"/>
                    <a:pt x="1085" y="502"/>
                    <a:pt x="1084" y="503"/>
                  </a:cubicBezTo>
                  <a:cubicBezTo>
                    <a:pt x="1085" y="503"/>
                    <a:pt x="1085" y="502"/>
                    <a:pt x="1086" y="502"/>
                  </a:cubicBezTo>
                  <a:cubicBezTo>
                    <a:pt x="1086" y="501"/>
                    <a:pt x="1086" y="501"/>
                    <a:pt x="1086" y="501"/>
                  </a:cubicBezTo>
                  <a:cubicBezTo>
                    <a:pt x="1087" y="500"/>
                    <a:pt x="1087" y="499"/>
                    <a:pt x="1087" y="498"/>
                  </a:cubicBezTo>
                  <a:cubicBezTo>
                    <a:pt x="1088" y="496"/>
                    <a:pt x="1089" y="493"/>
                    <a:pt x="1089" y="492"/>
                  </a:cubicBezTo>
                  <a:moveTo>
                    <a:pt x="1719" y="495"/>
                  </a:moveTo>
                  <a:cubicBezTo>
                    <a:pt x="1712" y="502"/>
                    <a:pt x="1706" y="508"/>
                    <a:pt x="1700" y="515"/>
                  </a:cubicBezTo>
                  <a:cubicBezTo>
                    <a:pt x="1700" y="516"/>
                    <a:pt x="1700" y="516"/>
                    <a:pt x="1700" y="517"/>
                  </a:cubicBezTo>
                  <a:cubicBezTo>
                    <a:pt x="1706" y="510"/>
                    <a:pt x="1712" y="503"/>
                    <a:pt x="1718" y="497"/>
                  </a:cubicBezTo>
                  <a:cubicBezTo>
                    <a:pt x="1718" y="496"/>
                    <a:pt x="1718" y="496"/>
                    <a:pt x="1719" y="495"/>
                  </a:cubicBezTo>
                  <a:moveTo>
                    <a:pt x="1085" y="504"/>
                  </a:moveTo>
                  <a:cubicBezTo>
                    <a:pt x="1085" y="504"/>
                    <a:pt x="1084" y="505"/>
                    <a:pt x="1084" y="505"/>
                  </a:cubicBezTo>
                  <a:cubicBezTo>
                    <a:pt x="1083" y="507"/>
                    <a:pt x="1082" y="508"/>
                    <a:pt x="1082" y="510"/>
                  </a:cubicBezTo>
                  <a:cubicBezTo>
                    <a:pt x="1082" y="510"/>
                    <a:pt x="1082" y="511"/>
                    <a:pt x="1082" y="511"/>
                  </a:cubicBezTo>
                  <a:cubicBezTo>
                    <a:pt x="1082" y="511"/>
                    <a:pt x="1082" y="511"/>
                    <a:pt x="1082" y="511"/>
                  </a:cubicBezTo>
                  <a:cubicBezTo>
                    <a:pt x="1083" y="509"/>
                    <a:pt x="1084" y="506"/>
                    <a:pt x="1085" y="504"/>
                  </a:cubicBezTo>
                  <a:moveTo>
                    <a:pt x="1082" y="512"/>
                  </a:moveTo>
                  <a:cubicBezTo>
                    <a:pt x="1082" y="512"/>
                    <a:pt x="1082" y="512"/>
                    <a:pt x="1081" y="512"/>
                  </a:cubicBezTo>
                  <a:cubicBezTo>
                    <a:pt x="1081" y="513"/>
                    <a:pt x="1081" y="513"/>
                    <a:pt x="1081" y="513"/>
                  </a:cubicBezTo>
                  <a:cubicBezTo>
                    <a:pt x="1081" y="513"/>
                    <a:pt x="1081" y="513"/>
                    <a:pt x="1082" y="512"/>
                  </a:cubicBezTo>
                  <a:cubicBezTo>
                    <a:pt x="1082" y="512"/>
                    <a:pt x="1082" y="512"/>
                    <a:pt x="1082" y="512"/>
                  </a:cubicBezTo>
                  <a:moveTo>
                    <a:pt x="1080" y="513"/>
                  </a:moveTo>
                  <a:cubicBezTo>
                    <a:pt x="1078" y="517"/>
                    <a:pt x="1077" y="522"/>
                    <a:pt x="1075" y="526"/>
                  </a:cubicBezTo>
                  <a:cubicBezTo>
                    <a:pt x="1074" y="529"/>
                    <a:pt x="1073" y="532"/>
                    <a:pt x="1072" y="535"/>
                  </a:cubicBezTo>
                  <a:cubicBezTo>
                    <a:pt x="1071" y="537"/>
                    <a:pt x="1071" y="539"/>
                    <a:pt x="1070" y="541"/>
                  </a:cubicBezTo>
                  <a:cubicBezTo>
                    <a:pt x="1070" y="541"/>
                    <a:pt x="1071" y="541"/>
                    <a:pt x="1071" y="541"/>
                  </a:cubicBezTo>
                  <a:cubicBezTo>
                    <a:pt x="1072" y="536"/>
                    <a:pt x="1074" y="531"/>
                    <a:pt x="1076" y="526"/>
                  </a:cubicBezTo>
                  <a:cubicBezTo>
                    <a:pt x="1077" y="523"/>
                    <a:pt x="1078" y="520"/>
                    <a:pt x="1080" y="517"/>
                  </a:cubicBezTo>
                  <a:cubicBezTo>
                    <a:pt x="1080" y="515"/>
                    <a:pt x="1080" y="514"/>
                    <a:pt x="1080" y="513"/>
                  </a:cubicBezTo>
                  <a:moveTo>
                    <a:pt x="1699" y="516"/>
                  </a:moveTo>
                  <a:cubicBezTo>
                    <a:pt x="1692" y="523"/>
                    <a:pt x="1686" y="530"/>
                    <a:pt x="1680" y="536"/>
                  </a:cubicBezTo>
                  <a:cubicBezTo>
                    <a:pt x="1679" y="537"/>
                    <a:pt x="1679" y="537"/>
                    <a:pt x="1679" y="538"/>
                  </a:cubicBezTo>
                  <a:cubicBezTo>
                    <a:pt x="1686" y="531"/>
                    <a:pt x="1692" y="525"/>
                    <a:pt x="1698" y="518"/>
                  </a:cubicBezTo>
                  <a:cubicBezTo>
                    <a:pt x="1698" y="518"/>
                    <a:pt x="1698" y="517"/>
                    <a:pt x="1699" y="516"/>
                  </a:cubicBezTo>
                  <a:moveTo>
                    <a:pt x="1216" y="521"/>
                  </a:moveTo>
                  <a:cubicBezTo>
                    <a:pt x="1215" y="522"/>
                    <a:pt x="1215" y="523"/>
                    <a:pt x="1214" y="524"/>
                  </a:cubicBezTo>
                  <a:cubicBezTo>
                    <a:pt x="1212" y="527"/>
                    <a:pt x="1211" y="531"/>
                    <a:pt x="1209" y="534"/>
                  </a:cubicBezTo>
                  <a:cubicBezTo>
                    <a:pt x="1212" y="530"/>
                    <a:pt x="1214" y="526"/>
                    <a:pt x="1217" y="521"/>
                  </a:cubicBezTo>
                  <a:cubicBezTo>
                    <a:pt x="1216" y="521"/>
                    <a:pt x="1216" y="521"/>
                    <a:pt x="1216" y="521"/>
                  </a:cubicBezTo>
                  <a:moveTo>
                    <a:pt x="1208" y="534"/>
                  </a:moveTo>
                  <a:cubicBezTo>
                    <a:pt x="1206" y="537"/>
                    <a:pt x="1204" y="541"/>
                    <a:pt x="1201" y="544"/>
                  </a:cubicBezTo>
                  <a:cubicBezTo>
                    <a:pt x="1202" y="544"/>
                    <a:pt x="1202" y="544"/>
                    <a:pt x="1203" y="544"/>
                  </a:cubicBezTo>
                  <a:cubicBezTo>
                    <a:pt x="1203" y="544"/>
                    <a:pt x="1203" y="543"/>
                    <a:pt x="1204" y="543"/>
                  </a:cubicBezTo>
                  <a:cubicBezTo>
                    <a:pt x="1205" y="540"/>
                    <a:pt x="1207" y="537"/>
                    <a:pt x="1208" y="534"/>
                  </a:cubicBezTo>
                  <a:moveTo>
                    <a:pt x="1678" y="538"/>
                  </a:moveTo>
                  <a:cubicBezTo>
                    <a:pt x="1672" y="544"/>
                    <a:pt x="1666" y="551"/>
                    <a:pt x="1659" y="557"/>
                  </a:cubicBezTo>
                  <a:cubicBezTo>
                    <a:pt x="1659" y="558"/>
                    <a:pt x="1659" y="558"/>
                    <a:pt x="1659" y="559"/>
                  </a:cubicBezTo>
                  <a:cubicBezTo>
                    <a:pt x="1665" y="552"/>
                    <a:pt x="1672" y="546"/>
                    <a:pt x="1678" y="539"/>
                  </a:cubicBezTo>
                  <a:cubicBezTo>
                    <a:pt x="1678" y="539"/>
                    <a:pt x="1678" y="538"/>
                    <a:pt x="1678" y="538"/>
                  </a:cubicBezTo>
                  <a:moveTo>
                    <a:pt x="1071" y="542"/>
                  </a:moveTo>
                  <a:cubicBezTo>
                    <a:pt x="1070" y="542"/>
                    <a:pt x="1070" y="542"/>
                    <a:pt x="1070" y="542"/>
                  </a:cubicBezTo>
                  <a:cubicBezTo>
                    <a:pt x="1070" y="542"/>
                    <a:pt x="1070" y="542"/>
                    <a:pt x="1070" y="542"/>
                  </a:cubicBezTo>
                  <a:cubicBezTo>
                    <a:pt x="1070" y="542"/>
                    <a:pt x="1070" y="543"/>
                    <a:pt x="1070" y="544"/>
                  </a:cubicBezTo>
                  <a:cubicBezTo>
                    <a:pt x="1070" y="543"/>
                    <a:pt x="1071" y="542"/>
                    <a:pt x="1071" y="542"/>
                  </a:cubicBezTo>
                  <a:moveTo>
                    <a:pt x="1069" y="544"/>
                  </a:moveTo>
                  <a:cubicBezTo>
                    <a:pt x="1068" y="548"/>
                    <a:pt x="1067" y="552"/>
                    <a:pt x="1066" y="556"/>
                  </a:cubicBezTo>
                  <a:cubicBezTo>
                    <a:pt x="1067" y="555"/>
                    <a:pt x="1067" y="555"/>
                    <a:pt x="1067" y="554"/>
                  </a:cubicBezTo>
                  <a:cubicBezTo>
                    <a:pt x="1068" y="552"/>
                    <a:pt x="1068" y="550"/>
                    <a:pt x="1069" y="548"/>
                  </a:cubicBezTo>
                  <a:cubicBezTo>
                    <a:pt x="1069" y="547"/>
                    <a:pt x="1069" y="547"/>
                    <a:pt x="1070" y="546"/>
                  </a:cubicBezTo>
                  <a:cubicBezTo>
                    <a:pt x="1070" y="546"/>
                    <a:pt x="1070" y="546"/>
                    <a:pt x="1070" y="546"/>
                  </a:cubicBezTo>
                  <a:cubicBezTo>
                    <a:pt x="1069" y="545"/>
                    <a:pt x="1069" y="544"/>
                    <a:pt x="1069" y="544"/>
                  </a:cubicBezTo>
                  <a:moveTo>
                    <a:pt x="1201" y="545"/>
                  </a:moveTo>
                  <a:cubicBezTo>
                    <a:pt x="1199" y="548"/>
                    <a:pt x="1197" y="551"/>
                    <a:pt x="1195" y="554"/>
                  </a:cubicBezTo>
                  <a:cubicBezTo>
                    <a:pt x="1191" y="561"/>
                    <a:pt x="1187" y="566"/>
                    <a:pt x="1182" y="572"/>
                  </a:cubicBezTo>
                  <a:cubicBezTo>
                    <a:pt x="1181" y="573"/>
                    <a:pt x="1181" y="574"/>
                    <a:pt x="1180" y="575"/>
                  </a:cubicBezTo>
                  <a:cubicBezTo>
                    <a:pt x="1181" y="575"/>
                    <a:pt x="1181" y="575"/>
                    <a:pt x="1181" y="575"/>
                  </a:cubicBezTo>
                  <a:cubicBezTo>
                    <a:pt x="1186" y="569"/>
                    <a:pt x="1191" y="562"/>
                    <a:pt x="1196" y="555"/>
                  </a:cubicBezTo>
                  <a:cubicBezTo>
                    <a:pt x="1198" y="552"/>
                    <a:pt x="1200" y="549"/>
                    <a:pt x="1202" y="545"/>
                  </a:cubicBezTo>
                  <a:cubicBezTo>
                    <a:pt x="1202" y="545"/>
                    <a:pt x="1201" y="545"/>
                    <a:pt x="1201" y="545"/>
                  </a:cubicBezTo>
                  <a:moveTo>
                    <a:pt x="1067" y="556"/>
                  </a:moveTo>
                  <a:cubicBezTo>
                    <a:pt x="1067" y="558"/>
                    <a:pt x="1066" y="560"/>
                    <a:pt x="1065" y="563"/>
                  </a:cubicBezTo>
                  <a:cubicBezTo>
                    <a:pt x="1065" y="565"/>
                    <a:pt x="1065" y="568"/>
                    <a:pt x="1065" y="570"/>
                  </a:cubicBezTo>
                  <a:cubicBezTo>
                    <a:pt x="1065" y="570"/>
                    <a:pt x="1065" y="570"/>
                    <a:pt x="1066" y="570"/>
                  </a:cubicBezTo>
                  <a:cubicBezTo>
                    <a:pt x="1066" y="566"/>
                    <a:pt x="1066" y="562"/>
                    <a:pt x="1067" y="557"/>
                  </a:cubicBezTo>
                  <a:cubicBezTo>
                    <a:pt x="1067" y="557"/>
                    <a:pt x="1067" y="556"/>
                    <a:pt x="1067" y="556"/>
                  </a:cubicBezTo>
                  <a:moveTo>
                    <a:pt x="1658" y="558"/>
                  </a:moveTo>
                  <a:cubicBezTo>
                    <a:pt x="1641" y="575"/>
                    <a:pt x="1624" y="591"/>
                    <a:pt x="1606" y="607"/>
                  </a:cubicBezTo>
                  <a:cubicBezTo>
                    <a:pt x="1606" y="608"/>
                    <a:pt x="1606" y="608"/>
                    <a:pt x="1606" y="609"/>
                  </a:cubicBezTo>
                  <a:cubicBezTo>
                    <a:pt x="1624" y="593"/>
                    <a:pt x="1641" y="576"/>
                    <a:pt x="1658" y="560"/>
                  </a:cubicBezTo>
                  <a:cubicBezTo>
                    <a:pt x="1658" y="559"/>
                    <a:pt x="1658" y="559"/>
                    <a:pt x="1658" y="558"/>
                  </a:cubicBezTo>
                  <a:moveTo>
                    <a:pt x="921" y="561"/>
                  </a:moveTo>
                  <a:cubicBezTo>
                    <a:pt x="920" y="562"/>
                    <a:pt x="920" y="563"/>
                    <a:pt x="919" y="565"/>
                  </a:cubicBezTo>
                  <a:cubicBezTo>
                    <a:pt x="919" y="566"/>
                    <a:pt x="919" y="568"/>
                    <a:pt x="919" y="570"/>
                  </a:cubicBezTo>
                  <a:cubicBezTo>
                    <a:pt x="919" y="570"/>
                    <a:pt x="920" y="570"/>
                    <a:pt x="920" y="570"/>
                  </a:cubicBezTo>
                  <a:cubicBezTo>
                    <a:pt x="920" y="567"/>
                    <a:pt x="920" y="564"/>
                    <a:pt x="921" y="561"/>
                  </a:cubicBezTo>
                  <a:moveTo>
                    <a:pt x="920" y="571"/>
                  </a:moveTo>
                  <a:cubicBezTo>
                    <a:pt x="920" y="571"/>
                    <a:pt x="919" y="571"/>
                    <a:pt x="919" y="571"/>
                  </a:cubicBezTo>
                  <a:cubicBezTo>
                    <a:pt x="919" y="571"/>
                    <a:pt x="919" y="572"/>
                    <a:pt x="919" y="572"/>
                  </a:cubicBezTo>
                  <a:cubicBezTo>
                    <a:pt x="919" y="574"/>
                    <a:pt x="919" y="577"/>
                    <a:pt x="918" y="579"/>
                  </a:cubicBezTo>
                  <a:cubicBezTo>
                    <a:pt x="919" y="579"/>
                    <a:pt x="919" y="579"/>
                    <a:pt x="919" y="579"/>
                  </a:cubicBezTo>
                  <a:cubicBezTo>
                    <a:pt x="919" y="579"/>
                    <a:pt x="919" y="579"/>
                    <a:pt x="919" y="579"/>
                  </a:cubicBezTo>
                  <a:cubicBezTo>
                    <a:pt x="920" y="577"/>
                    <a:pt x="920" y="574"/>
                    <a:pt x="920" y="572"/>
                  </a:cubicBezTo>
                  <a:cubicBezTo>
                    <a:pt x="920" y="571"/>
                    <a:pt x="920" y="571"/>
                    <a:pt x="920" y="571"/>
                  </a:cubicBezTo>
                  <a:moveTo>
                    <a:pt x="1065" y="571"/>
                  </a:moveTo>
                  <a:cubicBezTo>
                    <a:pt x="1064" y="572"/>
                    <a:pt x="1064" y="574"/>
                    <a:pt x="1064" y="575"/>
                  </a:cubicBezTo>
                  <a:cubicBezTo>
                    <a:pt x="1064" y="577"/>
                    <a:pt x="1065" y="578"/>
                    <a:pt x="1065" y="580"/>
                  </a:cubicBezTo>
                  <a:cubicBezTo>
                    <a:pt x="1065" y="579"/>
                    <a:pt x="1065" y="579"/>
                    <a:pt x="1066" y="578"/>
                  </a:cubicBezTo>
                  <a:cubicBezTo>
                    <a:pt x="1065" y="577"/>
                    <a:pt x="1065" y="576"/>
                    <a:pt x="1065" y="575"/>
                  </a:cubicBezTo>
                  <a:cubicBezTo>
                    <a:pt x="1065" y="574"/>
                    <a:pt x="1065" y="572"/>
                    <a:pt x="1065" y="571"/>
                  </a:cubicBezTo>
                  <a:cubicBezTo>
                    <a:pt x="1065" y="571"/>
                    <a:pt x="1065" y="571"/>
                    <a:pt x="1065" y="571"/>
                  </a:cubicBezTo>
                  <a:moveTo>
                    <a:pt x="1180" y="574"/>
                  </a:moveTo>
                  <a:cubicBezTo>
                    <a:pt x="1178" y="576"/>
                    <a:pt x="1176" y="578"/>
                    <a:pt x="1174" y="580"/>
                  </a:cubicBezTo>
                  <a:cubicBezTo>
                    <a:pt x="1174" y="580"/>
                    <a:pt x="1175" y="580"/>
                    <a:pt x="1175" y="581"/>
                  </a:cubicBezTo>
                  <a:cubicBezTo>
                    <a:pt x="1176" y="579"/>
                    <a:pt x="1177" y="578"/>
                    <a:pt x="1178" y="577"/>
                  </a:cubicBezTo>
                  <a:cubicBezTo>
                    <a:pt x="1179" y="576"/>
                    <a:pt x="1179" y="575"/>
                    <a:pt x="1180" y="574"/>
                  </a:cubicBezTo>
                  <a:moveTo>
                    <a:pt x="1066" y="580"/>
                  </a:moveTo>
                  <a:cubicBezTo>
                    <a:pt x="1065" y="581"/>
                    <a:pt x="1065" y="582"/>
                    <a:pt x="1065" y="583"/>
                  </a:cubicBezTo>
                  <a:cubicBezTo>
                    <a:pt x="1065" y="583"/>
                    <a:pt x="1065" y="584"/>
                    <a:pt x="1065" y="584"/>
                  </a:cubicBezTo>
                  <a:cubicBezTo>
                    <a:pt x="1065" y="584"/>
                    <a:pt x="1065" y="585"/>
                    <a:pt x="1065" y="585"/>
                  </a:cubicBezTo>
                  <a:cubicBezTo>
                    <a:pt x="1066" y="591"/>
                    <a:pt x="1068" y="596"/>
                    <a:pt x="1071" y="600"/>
                  </a:cubicBezTo>
                  <a:cubicBezTo>
                    <a:pt x="1071" y="601"/>
                    <a:pt x="1071" y="601"/>
                    <a:pt x="1071" y="601"/>
                  </a:cubicBezTo>
                  <a:cubicBezTo>
                    <a:pt x="1071" y="601"/>
                    <a:pt x="1071" y="602"/>
                    <a:pt x="1072" y="602"/>
                  </a:cubicBezTo>
                  <a:cubicBezTo>
                    <a:pt x="1072" y="603"/>
                    <a:pt x="1073" y="603"/>
                    <a:pt x="1073" y="604"/>
                  </a:cubicBezTo>
                  <a:cubicBezTo>
                    <a:pt x="1073" y="604"/>
                    <a:pt x="1073" y="603"/>
                    <a:pt x="1073" y="603"/>
                  </a:cubicBezTo>
                  <a:cubicBezTo>
                    <a:pt x="1073" y="602"/>
                    <a:pt x="1073" y="602"/>
                    <a:pt x="1072" y="601"/>
                  </a:cubicBezTo>
                  <a:cubicBezTo>
                    <a:pt x="1072" y="601"/>
                    <a:pt x="1072" y="601"/>
                    <a:pt x="1072" y="600"/>
                  </a:cubicBezTo>
                  <a:cubicBezTo>
                    <a:pt x="1071" y="600"/>
                    <a:pt x="1071" y="600"/>
                    <a:pt x="1071" y="599"/>
                  </a:cubicBezTo>
                  <a:cubicBezTo>
                    <a:pt x="1069" y="595"/>
                    <a:pt x="1067" y="590"/>
                    <a:pt x="1066" y="584"/>
                  </a:cubicBezTo>
                  <a:cubicBezTo>
                    <a:pt x="1066" y="584"/>
                    <a:pt x="1066" y="583"/>
                    <a:pt x="1066" y="583"/>
                  </a:cubicBezTo>
                  <a:cubicBezTo>
                    <a:pt x="1066" y="582"/>
                    <a:pt x="1066" y="581"/>
                    <a:pt x="1066" y="580"/>
                  </a:cubicBezTo>
                  <a:moveTo>
                    <a:pt x="918" y="580"/>
                  </a:moveTo>
                  <a:cubicBezTo>
                    <a:pt x="918" y="580"/>
                    <a:pt x="918" y="580"/>
                    <a:pt x="918" y="580"/>
                  </a:cubicBezTo>
                  <a:cubicBezTo>
                    <a:pt x="918" y="580"/>
                    <a:pt x="918" y="580"/>
                    <a:pt x="918" y="581"/>
                  </a:cubicBezTo>
                  <a:cubicBezTo>
                    <a:pt x="918" y="580"/>
                    <a:pt x="918" y="580"/>
                    <a:pt x="918" y="580"/>
                  </a:cubicBezTo>
                  <a:moveTo>
                    <a:pt x="919" y="581"/>
                  </a:moveTo>
                  <a:cubicBezTo>
                    <a:pt x="919" y="581"/>
                    <a:pt x="918" y="582"/>
                    <a:pt x="918" y="582"/>
                  </a:cubicBezTo>
                  <a:cubicBezTo>
                    <a:pt x="918" y="586"/>
                    <a:pt x="917" y="589"/>
                    <a:pt x="916" y="593"/>
                  </a:cubicBezTo>
                  <a:cubicBezTo>
                    <a:pt x="916" y="594"/>
                    <a:pt x="916" y="595"/>
                    <a:pt x="916" y="596"/>
                  </a:cubicBezTo>
                  <a:cubicBezTo>
                    <a:pt x="915" y="597"/>
                    <a:pt x="915" y="598"/>
                    <a:pt x="915" y="598"/>
                  </a:cubicBezTo>
                  <a:cubicBezTo>
                    <a:pt x="915" y="597"/>
                    <a:pt x="916" y="596"/>
                    <a:pt x="917" y="595"/>
                  </a:cubicBezTo>
                  <a:cubicBezTo>
                    <a:pt x="917" y="593"/>
                    <a:pt x="918" y="592"/>
                    <a:pt x="918" y="590"/>
                  </a:cubicBezTo>
                  <a:cubicBezTo>
                    <a:pt x="918" y="587"/>
                    <a:pt x="919" y="584"/>
                    <a:pt x="919" y="581"/>
                  </a:cubicBezTo>
                  <a:moveTo>
                    <a:pt x="1173" y="581"/>
                  </a:moveTo>
                  <a:cubicBezTo>
                    <a:pt x="1170" y="584"/>
                    <a:pt x="1167" y="587"/>
                    <a:pt x="1163" y="590"/>
                  </a:cubicBezTo>
                  <a:cubicBezTo>
                    <a:pt x="1163" y="590"/>
                    <a:pt x="1163" y="591"/>
                    <a:pt x="1163" y="592"/>
                  </a:cubicBezTo>
                  <a:cubicBezTo>
                    <a:pt x="1167" y="589"/>
                    <a:pt x="1171" y="585"/>
                    <a:pt x="1174" y="581"/>
                  </a:cubicBezTo>
                  <a:cubicBezTo>
                    <a:pt x="1174" y="581"/>
                    <a:pt x="1174" y="581"/>
                    <a:pt x="1173" y="581"/>
                  </a:cubicBezTo>
                  <a:moveTo>
                    <a:pt x="1162" y="591"/>
                  </a:moveTo>
                  <a:cubicBezTo>
                    <a:pt x="1157" y="595"/>
                    <a:pt x="1152" y="599"/>
                    <a:pt x="1147" y="602"/>
                  </a:cubicBezTo>
                  <a:cubicBezTo>
                    <a:pt x="1146" y="602"/>
                    <a:pt x="1146" y="603"/>
                    <a:pt x="1146" y="603"/>
                  </a:cubicBezTo>
                  <a:cubicBezTo>
                    <a:pt x="1151" y="600"/>
                    <a:pt x="1156" y="597"/>
                    <a:pt x="1161" y="593"/>
                  </a:cubicBezTo>
                  <a:cubicBezTo>
                    <a:pt x="1161" y="592"/>
                    <a:pt x="1162" y="592"/>
                    <a:pt x="1162" y="591"/>
                  </a:cubicBezTo>
                  <a:moveTo>
                    <a:pt x="916" y="599"/>
                  </a:moveTo>
                  <a:cubicBezTo>
                    <a:pt x="915" y="600"/>
                    <a:pt x="914" y="601"/>
                    <a:pt x="914" y="603"/>
                  </a:cubicBezTo>
                  <a:cubicBezTo>
                    <a:pt x="914" y="603"/>
                    <a:pt x="914" y="603"/>
                    <a:pt x="914" y="603"/>
                  </a:cubicBezTo>
                  <a:cubicBezTo>
                    <a:pt x="914" y="603"/>
                    <a:pt x="914" y="603"/>
                    <a:pt x="915" y="603"/>
                  </a:cubicBezTo>
                  <a:cubicBezTo>
                    <a:pt x="915" y="601"/>
                    <a:pt x="916" y="600"/>
                    <a:pt x="916" y="599"/>
                  </a:cubicBezTo>
                  <a:moveTo>
                    <a:pt x="1145" y="603"/>
                  </a:moveTo>
                  <a:cubicBezTo>
                    <a:pt x="1140" y="605"/>
                    <a:pt x="1135" y="608"/>
                    <a:pt x="1130" y="610"/>
                  </a:cubicBezTo>
                  <a:cubicBezTo>
                    <a:pt x="1130" y="610"/>
                    <a:pt x="1130" y="611"/>
                    <a:pt x="1130" y="611"/>
                  </a:cubicBezTo>
                  <a:cubicBezTo>
                    <a:pt x="1135" y="609"/>
                    <a:pt x="1140" y="607"/>
                    <a:pt x="1145" y="604"/>
                  </a:cubicBezTo>
                  <a:cubicBezTo>
                    <a:pt x="1145" y="604"/>
                    <a:pt x="1145" y="603"/>
                    <a:pt x="1145" y="603"/>
                  </a:cubicBezTo>
                  <a:moveTo>
                    <a:pt x="914" y="604"/>
                  </a:moveTo>
                  <a:cubicBezTo>
                    <a:pt x="914" y="604"/>
                    <a:pt x="914" y="604"/>
                    <a:pt x="913" y="604"/>
                  </a:cubicBezTo>
                  <a:cubicBezTo>
                    <a:pt x="912" y="608"/>
                    <a:pt x="910" y="613"/>
                    <a:pt x="909" y="618"/>
                  </a:cubicBezTo>
                  <a:cubicBezTo>
                    <a:pt x="908" y="620"/>
                    <a:pt x="907" y="622"/>
                    <a:pt x="907" y="625"/>
                  </a:cubicBezTo>
                  <a:cubicBezTo>
                    <a:pt x="910" y="618"/>
                    <a:pt x="912" y="611"/>
                    <a:pt x="914" y="604"/>
                  </a:cubicBezTo>
                  <a:moveTo>
                    <a:pt x="1074" y="604"/>
                  </a:moveTo>
                  <a:cubicBezTo>
                    <a:pt x="1074" y="604"/>
                    <a:pt x="1074" y="605"/>
                    <a:pt x="1074" y="605"/>
                  </a:cubicBezTo>
                  <a:cubicBezTo>
                    <a:pt x="1074" y="605"/>
                    <a:pt x="1075" y="605"/>
                    <a:pt x="1075" y="605"/>
                  </a:cubicBezTo>
                  <a:cubicBezTo>
                    <a:pt x="1075" y="605"/>
                    <a:pt x="1075" y="604"/>
                    <a:pt x="1074" y="604"/>
                  </a:cubicBezTo>
                  <a:moveTo>
                    <a:pt x="1075" y="606"/>
                  </a:moveTo>
                  <a:cubicBezTo>
                    <a:pt x="1076" y="608"/>
                    <a:pt x="1078" y="609"/>
                    <a:pt x="1080" y="611"/>
                  </a:cubicBezTo>
                  <a:cubicBezTo>
                    <a:pt x="1080" y="611"/>
                    <a:pt x="1081" y="611"/>
                    <a:pt x="1081" y="611"/>
                  </a:cubicBezTo>
                  <a:cubicBezTo>
                    <a:pt x="1081" y="611"/>
                    <a:pt x="1081" y="611"/>
                    <a:pt x="1081" y="611"/>
                  </a:cubicBezTo>
                  <a:cubicBezTo>
                    <a:pt x="1087" y="615"/>
                    <a:pt x="1094" y="617"/>
                    <a:pt x="1103" y="617"/>
                  </a:cubicBezTo>
                  <a:cubicBezTo>
                    <a:pt x="1106" y="617"/>
                    <a:pt x="1109" y="617"/>
                    <a:pt x="1112" y="616"/>
                  </a:cubicBezTo>
                  <a:cubicBezTo>
                    <a:pt x="1112" y="616"/>
                    <a:pt x="1112" y="615"/>
                    <a:pt x="1112" y="615"/>
                  </a:cubicBezTo>
                  <a:cubicBezTo>
                    <a:pt x="1109" y="616"/>
                    <a:pt x="1106" y="616"/>
                    <a:pt x="1103" y="616"/>
                  </a:cubicBezTo>
                  <a:cubicBezTo>
                    <a:pt x="1095" y="616"/>
                    <a:pt x="1088" y="614"/>
                    <a:pt x="1082" y="611"/>
                  </a:cubicBezTo>
                  <a:cubicBezTo>
                    <a:pt x="1082" y="611"/>
                    <a:pt x="1082" y="610"/>
                    <a:pt x="1081" y="610"/>
                  </a:cubicBezTo>
                  <a:cubicBezTo>
                    <a:pt x="1081" y="610"/>
                    <a:pt x="1081" y="610"/>
                    <a:pt x="1081" y="610"/>
                  </a:cubicBezTo>
                  <a:cubicBezTo>
                    <a:pt x="1079" y="609"/>
                    <a:pt x="1078" y="608"/>
                    <a:pt x="1076" y="606"/>
                  </a:cubicBezTo>
                  <a:cubicBezTo>
                    <a:pt x="1076" y="606"/>
                    <a:pt x="1075" y="606"/>
                    <a:pt x="1075" y="606"/>
                  </a:cubicBezTo>
                  <a:moveTo>
                    <a:pt x="1605" y="609"/>
                  </a:moveTo>
                  <a:cubicBezTo>
                    <a:pt x="1578" y="633"/>
                    <a:pt x="1551" y="656"/>
                    <a:pt x="1523" y="679"/>
                  </a:cubicBezTo>
                  <a:cubicBezTo>
                    <a:pt x="1522" y="680"/>
                    <a:pt x="1521" y="681"/>
                    <a:pt x="1521" y="681"/>
                  </a:cubicBezTo>
                  <a:cubicBezTo>
                    <a:pt x="1550" y="659"/>
                    <a:pt x="1578" y="635"/>
                    <a:pt x="1604" y="610"/>
                  </a:cubicBezTo>
                  <a:cubicBezTo>
                    <a:pt x="1605" y="610"/>
                    <a:pt x="1605" y="609"/>
                    <a:pt x="1605" y="609"/>
                  </a:cubicBezTo>
                  <a:moveTo>
                    <a:pt x="1129" y="610"/>
                  </a:moveTo>
                  <a:cubicBezTo>
                    <a:pt x="1127" y="611"/>
                    <a:pt x="1124" y="612"/>
                    <a:pt x="1122" y="613"/>
                  </a:cubicBezTo>
                  <a:cubicBezTo>
                    <a:pt x="1123" y="613"/>
                    <a:pt x="1124" y="613"/>
                    <a:pt x="1124" y="613"/>
                  </a:cubicBezTo>
                  <a:cubicBezTo>
                    <a:pt x="1126" y="613"/>
                    <a:pt x="1127" y="612"/>
                    <a:pt x="1128" y="612"/>
                  </a:cubicBezTo>
                  <a:cubicBezTo>
                    <a:pt x="1128" y="611"/>
                    <a:pt x="1129" y="611"/>
                    <a:pt x="1129" y="610"/>
                  </a:cubicBezTo>
                  <a:moveTo>
                    <a:pt x="1120" y="613"/>
                  </a:moveTo>
                  <a:cubicBezTo>
                    <a:pt x="1118" y="614"/>
                    <a:pt x="1116" y="614"/>
                    <a:pt x="1113" y="615"/>
                  </a:cubicBezTo>
                  <a:cubicBezTo>
                    <a:pt x="1113" y="615"/>
                    <a:pt x="1113" y="616"/>
                    <a:pt x="1113" y="616"/>
                  </a:cubicBezTo>
                  <a:cubicBezTo>
                    <a:pt x="1116" y="615"/>
                    <a:pt x="1119" y="615"/>
                    <a:pt x="1122" y="614"/>
                  </a:cubicBezTo>
                  <a:cubicBezTo>
                    <a:pt x="1122" y="613"/>
                    <a:pt x="1121" y="613"/>
                    <a:pt x="1120" y="613"/>
                  </a:cubicBezTo>
                  <a:moveTo>
                    <a:pt x="906" y="624"/>
                  </a:moveTo>
                  <a:cubicBezTo>
                    <a:pt x="905" y="625"/>
                    <a:pt x="905" y="626"/>
                    <a:pt x="905" y="626"/>
                  </a:cubicBezTo>
                  <a:cubicBezTo>
                    <a:pt x="905" y="627"/>
                    <a:pt x="904" y="628"/>
                    <a:pt x="904" y="629"/>
                  </a:cubicBezTo>
                  <a:cubicBezTo>
                    <a:pt x="905" y="628"/>
                    <a:pt x="905" y="626"/>
                    <a:pt x="906" y="624"/>
                  </a:cubicBezTo>
                  <a:moveTo>
                    <a:pt x="903" y="630"/>
                  </a:moveTo>
                  <a:cubicBezTo>
                    <a:pt x="903" y="631"/>
                    <a:pt x="902" y="631"/>
                    <a:pt x="902" y="632"/>
                  </a:cubicBezTo>
                  <a:cubicBezTo>
                    <a:pt x="902" y="632"/>
                    <a:pt x="902" y="632"/>
                    <a:pt x="903" y="632"/>
                  </a:cubicBezTo>
                  <a:cubicBezTo>
                    <a:pt x="903" y="631"/>
                    <a:pt x="903" y="631"/>
                    <a:pt x="903" y="630"/>
                  </a:cubicBezTo>
                  <a:moveTo>
                    <a:pt x="902" y="633"/>
                  </a:moveTo>
                  <a:cubicBezTo>
                    <a:pt x="901" y="634"/>
                    <a:pt x="901" y="635"/>
                    <a:pt x="900" y="635"/>
                  </a:cubicBezTo>
                  <a:cubicBezTo>
                    <a:pt x="900" y="637"/>
                    <a:pt x="899" y="637"/>
                    <a:pt x="899" y="639"/>
                  </a:cubicBezTo>
                  <a:cubicBezTo>
                    <a:pt x="895" y="646"/>
                    <a:pt x="890" y="654"/>
                    <a:pt x="884" y="662"/>
                  </a:cubicBezTo>
                  <a:cubicBezTo>
                    <a:pt x="885" y="662"/>
                    <a:pt x="885" y="662"/>
                    <a:pt x="886" y="662"/>
                  </a:cubicBezTo>
                  <a:cubicBezTo>
                    <a:pt x="890" y="655"/>
                    <a:pt x="895" y="648"/>
                    <a:pt x="898" y="641"/>
                  </a:cubicBezTo>
                  <a:cubicBezTo>
                    <a:pt x="899" y="641"/>
                    <a:pt x="899" y="640"/>
                    <a:pt x="900" y="639"/>
                  </a:cubicBezTo>
                  <a:cubicBezTo>
                    <a:pt x="900" y="637"/>
                    <a:pt x="901" y="635"/>
                    <a:pt x="902" y="633"/>
                  </a:cubicBezTo>
                  <a:cubicBezTo>
                    <a:pt x="902" y="633"/>
                    <a:pt x="902" y="633"/>
                    <a:pt x="902" y="633"/>
                  </a:cubicBezTo>
                  <a:moveTo>
                    <a:pt x="884" y="663"/>
                  </a:moveTo>
                  <a:cubicBezTo>
                    <a:pt x="880" y="669"/>
                    <a:pt x="876" y="674"/>
                    <a:pt x="871" y="680"/>
                  </a:cubicBezTo>
                  <a:cubicBezTo>
                    <a:pt x="871" y="681"/>
                    <a:pt x="871" y="682"/>
                    <a:pt x="871" y="682"/>
                  </a:cubicBezTo>
                  <a:cubicBezTo>
                    <a:pt x="876" y="676"/>
                    <a:pt x="880" y="670"/>
                    <a:pt x="885" y="663"/>
                  </a:cubicBezTo>
                  <a:cubicBezTo>
                    <a:pt x="884" y="663"/>
                    <a:pt x="884" y="663"/>
                    <a:pt x="884" y="663"/>
                  </a:cubicBezTo>
                  <a:moveTo>
                    <a:pt x="1520" y="681"/>
                  </a:moveTo>
                  <a:cubicBezTo>
                    <a:pt x="1487" y="707"/>
                    <a:pt x="1453" y="732"/>
                    <a:pt x="1418" y="755"/>
                  </a:cubicBezTo>
                  <a:cubicBezTo>
                    <a:pt x="1417" y="756"/>
                    <a:pt x="1415" y="758"/>
                    <a:pt x="1414" y="759"/>
                  </a:cubicBezTo>
                  <a:cubicBezTo>
                    <a:pt x="1450" y="735"/>
                    <a:pt x="1485" y="710"/>
                    <a:pt x="1518" y="683"/>
                  </a:cubicBezTo>
                  <a:cubicBezTo>
                    <a:pt x="1519" y="683"/>
                    <a:pt x="1520" y="682"/>
                    <a:pt x="1520" y="681"/>
                  </a:cubicBezTo>
                  <a:moveTo>
                    <a:pt x="870" y="682"/>
                  </a:moveTo>
                  <a:cubicBezTo>
                    <a:pt x="867" y="685"/>
                    <a:pt x="864" y="689"/>
                    <a:pt x="861" y="692"/>
                  </a:cubicBezTo>
                  <a:cubicBezTo>
                    <a:pt x="862" y="692"/>
                    <a:pt x="862" y="692"/>
                    <a:pt x="862" y="692"/>
                  </a:cubicBezTo>
                  <a:cubicBezTo>
                    <a:pt x="865" y="690"/>
                    <a:pt x="867" y="687"/>
                    <a:pt x="869" y="684"/>
                  </a:cubicBezTo>
                  <a:cubicBezTo>
                    <a:pt x="869" y="683"/>
                    <a:pt x="870" y="683"/>
                    <a:pt x="870" y="682"/>
                  </a:cubicBezTo>
                  <a:moveTo>
                    <a:pt x="860" y="693"/>
                  </a:moveTo>
                  <a:cubicBezTo>
                    <a:pt x="860" y="693"/>
                    <a:pt x="860" y="694"/>
                    <a:pt x="860" y="694"/>
                  </a:cubicBezTo>
                  <a:cubicBezTo>
                    <a:pt x="860" y="694"/>
                    <a:pt x="859" y="694"/>
                    <a:pt x="859" y="695"/>
                  </a:cubicBezTo>
                  <a:cubicBezTo>
                    <a:pt x="854" y="700"/>
                    <a:pt x="849" y="706"/>
                    <a:pt x="843" y="712"/>
                  </a:cubicBezTo>
                  <a:cubicBezTo>
                    <a:pt x="843" y="712"/>
                    <a:pt x="843" y="713"/>
                    <a:pt x="842" y="713"/>
                  </a:cubicBezTo>
                  <a:cubicBezTo>
                    <a:pt x="842" y="713"/>
                    <a:pt x="842" y="714"/>
                    <a:pt x="841" y="714"/>
                  </a:cubicBezTo>
                  <a:cubicBezTo>
                    <a:pt x="841" y="714"/>
                    <a:pt x="841" y="714"/>
                    <a:pt x="841" y="715"/>
                  </a:cubicBezTo>
                  <a:cubicBezTo>
                    <a:pt x="839" y="716"/>
                    <a:pt x="837" y="718"/>
                    <a:pt x="836" y="720"/>
                  </a:cubicBezTo>
                  <a:cubicBezTo>
                    <a:pt x="835" y="720"/>
                    <a:pt x="835" y="720"/>
                    <a:pt x="835" y="720"/>
                  </a:cubicBezTo>
                  <a:cubicBezTo>
                    <a:pt x="834" y="721"/>
                    <a:pt x="833" y="722"/>
                    <a:pt x="832" y="723"/>
                  </a:cubicBezTo>
                  <a:cubicBezTo>
                    <a:pt x="832" y="723"/>
                    <a:pt x="832" y="723"/>
                    <a:pt x="832" y="724"/>
                  </a:cubicBezTo>
                  <a:cubicBezTo>
                    <a:pt x="831" y="724"/>
                    <a:pt x="831" y="724"/>
                    <a:pt x="830" y="725"/>
                  </a:cubicBezTo>
                  <a:cubicBezTo>
                    <a:pt x="830" y="725"/>
                    <a:pt x="830" y="725"/>
                    <a:pt x="829" y="726"/>
                  </a:cubicBezTo>
                  <a:cubicBezTo>
                    <a:pt x="827" y="727"/>
                    <a:pt x="826" y="729"/>
                    <a:pt x="824" y="731"/>
                  </a:cubicBezTo>
                  <a:cubicBezTo>
                    <a:pt x="823" y="731"/>
                    <a:pt x="823" y="731"/>
                    <a:pt x="823" y="732"/>
                  </a:cubicBezTo>
                  <a:cubicBezTo>
                    <a:pt x="821" y="734"/>
                    <a:pt x="818" y="736"/>
                    <a:pt x="816" y="738"/>
                  </a:cubicBezTo>
                  <a:cubicBezTo>
                    <a:pt x="816" y="738"/>
                    <a:pt x="815" y="738"/>
                    <a:pt x="815" y="739"/>
                  </a:cubicBezTo>
                  <a:cubicBezTo>
                    <a:pt x="813" y="741"/>
                    <a:pt x="810" y="743"/>
                    <a:pt x="808" y="745"/>
                  </a:cubicBezTo>
                  <a:cubicBezTo>
                    <a:pt x="808" y="745"/>
                    <a:pt x="808" y="745"/>
                    <a:pt x="808" y="745"/>
                  </a:cubicBezTo>
                  <a:cubicBezTo>
                    <a:pt x="808" y="745"/>
                    <a:pt x="807" y="745"/>
                    <a:pt x="807" y="746"/>
                  </a:cubicBezTo>
                  <a:cubicBezTo>
                    <a:pt x="805" y="748"/>
                    <a:pt x="802" y="750"/>
                    <a:pt x="800" y="751"/>
                  </a:cubicBezTo>
                  <a:cubicBezTo>
                    <a:pt x="800" y="752"/>
                    <a:pt x="800" y="752"/>
                    <a:pt x="800" y="753"/>
                  </a:cubicBezTo>
                  <a:cubicBezTo>
                    <a:pt x="803" y="751"/>
                    <a:pt x="805" y="748"/>
                    <a:pt x="808" y="746"/>
                  </a:cubicBezTo>
                  <a:cubicBezTo>
                    <a:pt x="808" y="746"/>
                    <a:pt x="808" y="746"/>
                    <a:pt x="808" y="746"/>
                  </a:cubicBezTo>
                  <a:cubicBezTo>
                    <a:pt x="809" y="745"/>
                    <a:pt x="809" y="745"/>
                    <a:pt x="810" y="745"/>
                  </a:cubicBezTo>
                  <a:cubicBezTo>
                    <a:pt x="812" y="743"/>
                    <a:pt x="814" y="741"/>
                    <a:pt x="816" y="739"/>
                  </a:cubicBezTo>
                  <a:cubicBezTo>
                    <a:pt x="816" y="739"/>
                    <a:pt x="816" y="739"/>
                    <a:pt x="816" y="739"/>
                  </a:cubicBezTo>
                  <a:cubicBezTo>
                    <a:pt x="819" y="737"/>
                    <a:pt x="821" y="734"/>
                    <a:pt x="824" y="732"/>
                  </a:cubicBezTo>
                  <a:cubicBezTo>
                    <a:pt x="824" y="732"/>
                    <a:pt x="824" y="732"/>
                    <a:pt x="824" y="732"/>
                  </a:cubicBezTo>
                  <a:cubicBezTo>
                    <a:pt x="826" y="730"/>
                    <a:pt x="829" y="728"/>
                    <a:pt x="831" y="726"/>
                  </a:cubicBezTo>
                  <a:cubicBezTo>
                    <a:pt x="831" y="726"/>
                    <a:pt x="831" y="725"/>
                    <a:pt x="832" y="725"/>
                  </a:cubicBezTo>
                  <a:cubicBezTo>
                    <a:pt x="832" y="725"/>
                    <a:pt x="832" y="724"/>
                    <a:pt x="832" y="724"/>
                  </a:cubicBezTo>
                  <a:cubicBezTo>
                    <a:pt x="833" y="724"/>
                    <a:pt x="833" y="724"/>
                    <a:pt x="833" y="724"/>
                  </a:cubicBezTo>
                  <a:cubicBezTo>
                    <a:pt x="834" y="723"/>
                    <a:pt x="835" y="722"/>
                    <a:pt x="836" y="721"/>
                  </a:cubicBezTo>
                  <a:cubicBezTo>
                    <a:pt x="836" y="721"/>
                    <a:pt x="836" y="721"/>
                    <a:pt x="836" y="720"/>
                  </a:cubicBezTo>
                  <a:cubicBezTo>
                    <a:pt x="838" y="719"/>
                    <a:pt x="840" y="717"/>
                    <a:pt x="841" y="715"/>
                  </a:cubicBezTo>
                  <a:cubicBezTo>
                    <a:pt x="842" y="715"/>
                    <a:pt x="842" y="715"/>
                    <a:pt x="842" y="715"/>
                  </a:cubicBezTo>
                  <a:cubicBezTo>
                    <a:pt x="842" y="715"/>
                    <a:pt x="842" y="715"/>
                    <a:pt x="842" y="715"/>
                  </a:cubicBezTo>
                  <a:cubicBezTo>
                    <a:pt x="842" y="714"/>
                    <a:pt x="843" y="714"/>
                    <a:pt x="843" y="713"/>
                  </a:cubicBezTo>
                  <a:cubicBezTo>
                    <a:pt x="849" y="707"/>
                    <a:pt x="855" y="701"/>
                    <a:pt x="860" y="695"/>
                  </a:cubicBezTo>
                  <a:cubicBezTo>
                    <a:pt x="860" y="695"/>
                    <a:pt x="860" y="695"/>
                    <a:pt x="861" y="695"/>
                  </a:cubicBezTo>
                  <a:cubicBezTo>
                    <a:pt x="861" y="694"/>
                    <a:pt x="861" y="694"/>
                    <a:pt x="862" y="693"/>
                  </a:cubicBezTo>
                  <a:cubicBezTo>
                    <a:pt x="861" y="693"/>
                    <a:pt x="861" y="693"/>
                    <a:pt x="860" y="693"/>
                  </a:cubicBezTo>
                  <a:moveTo>
                    <a:pt x="799" y="752"/>
                  </a:moveTo>
                  <a:cubicBezTo>
                    <a:pt x="798" y="753"/>
                    <a:pt x="798" y="753"/>
                    <a:pt x="797" y="754"/>
                  </a:cubicBezTo>
                  <a:cubicBezTo>
                    <a:pt x="797" y="754"/>
                    <a:pt x="796" y="754"/>
                    <a:pt x="796" y="754"/>
                  </a:cubicBezTo>
                  <a:cubicBezTo>
                    <a:pt x="791" y="759"/>
                    <a:pt x="785" y="763"/>
                    <a:pt x="779" y="768"/>
                  </a:cubicBezTo>
                  <a:cubicBezTo>
                    <a:pt x="779" y="768"/>
                    <a:pt x="779" y="768"/>
                    <a:pt x="778" y="768"/>
                  </a:cubicBezTo>
                  <a:cubicBezTo>
                    <a:pt x="772" y="772"/>
                    <a:pt x="766" y="777"/>
                    <a:pt x="760" y="781"/>
                  </a:cubicBezTo>
                  <a:cubicBezTo>
                    <a:pt x="760" y="781"/>
                    <a:pt x="760" y="781"/>
                    <a:pt x="760" y="781"/>
                  </a:cubicBezTo>
                  <a:cubicBezTo>
                    <a:pt x="756" y="784"/>
                    <a:pt x="752" y="786"/>
                    <a:pt x="748" y="789"/>
                  </a:cubicBezTo>
                  <a:cubicBezTo>
                    <a:pt x="748" y="789"/>
                    <a:pt x="747" y="789"/>
                    <a:pt x="747" y="790"/>
                  </a:cubicBezTo>
                  <a:cubicBezTo>
                    <a:pt x="745" y="791"/>
                    <a:pt x="743" y="792"/>
                    <a:pt x="741" y="794"/>
                  </a:cubicBezTo>
                  <a:cubicBezTo>
                    <a:pt x="740" y="794"/>
                    <a:pt x="740" y="794"/>
                    <a:pt x="740" y="794"/>
                  </a:cubicBezTo>
                  <a:cubicBezTo>
                    <a:pt x="739" y="795"/>
                    <a:pt x="737" y="796"/>
                    <a:pt x="736" y="796"/>
                  </a:cubicBezTo>
                  <a:cubicBezTo>
                    <a:pt x="736" y="797"/>
                    <a:pt x="736" y="797"/>
                    <a:pt x="736" y="797"/>
                  </a:cubicBezTo>
                  <a:cubicBezTo>
                    <a:pt x="738" y="797"/>
                    <a:pt x="739" y="796"/>
                    <a:pt x="740" y="795"/>
                  </a:cubicBezTo>
                  <a:cubicBezTo>
                    <a:pt x="741" y="795"/>
                    <a:pt x="741" y="794"/>
                    <a:pt x="741" y="794"/>
                  </a:cubicBezTo>
                  <a:cubicBezTo>
                    <a:pt x="744" y="793"/>
                    <a:pt x="746" y="791"/>
                    <a:pt x="748" y="790"/>
                  </a:cubicBezTo>
                  <a:cubicBezTo>
                    <a:pt x="749" y="790"/>
                    <a:pt x="749" y="789"/>
                    <a:pt x="750" y="789"/>
                  </a:cubicBezTo>
                  <a:cubicBezTo>
                    <a:pt x="753" y="787"/>
                    <a:pt x="757" y="784"/>
                    <a:pt x="760" y="782"/>
                  </a:cubicBezTo>
                  <a:cubicBezTo>
                    <a:pt x="761" y="782"/>
                    <a:pt x="761" y="782"/>
                    <a:pt x="761" y="781"/>
                  </a:cubicBezTo>
                  <a:cubicBezTo>
                    <a:pt x="767" y="777"/>
                    <a:pt x="773" y="773"/>
                    <a:pt x="779" y="769"/>
                  </a:cubicBezTo>
                  <a:cubicBezTo>
                    <a:pt x="779" y="769"/>
                    <a:pt x="779" y="769"/>
                    <a:pt x="780" y="768"/>
                  </a:cubicBezTo>
                  <a:cubicBezTo>
                    <a:pt x="786" y="764"/>
                    <a:pt x="791" y="760"/>
                    <a:pt x="797" y="755"/>
                  </a:cubicBezTo>
                  <a:cubicBezTo>
                    <a:pt x="797" y="755"/>
                    <a:pt x="797" y="755"/>
                    <a:pt x="798" y="755"/>
                  </a:cubicBezTo>
                  <a:cubicBezTo>
                    <a:pt x="798" y="754"/>
                    <a:pt x="798" y="754"/>
                    <a:pt x="799" y="754"/>
                  </a:cubicBezTo>
                  <a:cubicBezTo>
                    <a:pt x="799" y="753"/>
                    <a:pt x="799" y="753"/>
                    <a:pt x="799" y="752"/>
                  </a:cubicBezTo>
                  <a:moveTo>
                    <a:pt x="1414" y="758"/>
                  </a:moveTo>
                  <a:cubicBezTo>
                    <a:pt x="1379" y="781"/>
                    <a:pt x="1343" y="802"/>
                    <a:pt x="1307" y="820"/>
                  </a:cubicBezTo>
                  <a:cubicBezTo>
                    <a:pt x="1306" y="821"/>
                    <a:pt x="1305" y="822"/>
                    <a:pt x="1303" y="823"/>
                  </a:cubicBezTo>
                  <a:cubicBezTo>
                    <a:pt x="1303" y="824"/>
                    <a:pt x="1303" y="824"/>
                    <a:pt x="1303" y="824"/>
                  </a:cubicBezTo>
                  <a:cubicBezTo>
                    <a:pt x="1339" y="805"/>
                    <a:pt x="1375" y="784"/>
                    <a:pt x="1410" y="761"/>
                  </a:cubicBezTo>
                  <a:cubicBezTo>
                    <a:pt x="1411" y="760"/>
                    <a:pt x="1412" y="759"/>
                    <a:pt x="1414" y="758"/>
                  </a:cubicBezTo>
                  <a:moveTo>
                    <a:pt x="735" y="797"/>
                  </a:moveTo>
                  <a:cubicBezTo>
                    <a:pt x="734" y="798"/>
                    <a:pt x="733" y="798"/>
                    <a:pt x="732" y="799"/>
                  </a:cubicBezTo>
                  <a:cubicBezTo>
                    <a:pt x="731" y="799"/>
                    <a:pt x="730" y="800"/>
                    <a:pt x="729" y="800"/>
                  </a:cubicBezTo>
                  <a:cubicBezTo>
                    <a:pt x="722" y="805"/>
                    <a:pt x="715" y="808"/>
                    <a:pt x="708" y="812"/>
                  </a:cubicBezTo>
                  <a:cubicBezTo>
                    <a:pt x="708" y="812"/>
                    <a:pt x="707" y="813"/>
                    <a:pt x="707" y="813"/>
                  </a:cubicBezTo>
                  <a:cubicBezTo>
                    <a:pt x="696" y="818"/>
                    <a:pt x="686" y="824"/>
                    <a:pt x="675" y="828"/>
                  </a:cubicBezTo>
                  <a:cubicBezTo>
                    <a:pt x="675" y="829"/>
                    <a:pt x="675" y="829"/>
                    <a:pt x="675" y="829"/>
                  </a:cubicBezTo>
                  <a:cubicBezTo>
                    <a:pt x="686" y="825"/>
                    <a:pt x="697" y="819"/>
                    <a:pt x="707" y="814"/>
                  </a:cubicBezTo>
                  <a:cubicBezTo>
                    <a:pt x="708" y="814"/>
                    <a:pt x="708" y="813"/>
                    <a:pt x="708" y="813"/>
                  </a:cubicBezTo>
                  <a:cubicBezTo>
                    <a:pt x="715" y="810"/>
                    <a:pt x="721" y="806"/>
                    <a:pt x="727" y="803"/>
                  </a:cubicBezTo>
                  <a:cubicBezTo>
                    <a:pt x="728" y="802"/>
                    <a:pt x="729" y="802"/>
                    <a:pt x="730" y="801"/>
                  </a:cubicBezTo>
                  <a:cubicBezTo>
                    <a:pt x="732" y="800"/>
                    <a:pt x="733" y="799"/>
                    <a:pt x="735" y="798"/>
                  </a:cubicBezTo>
                  <a:cubicBezTo>
                    <a:pt x="735" y="798"/>
                    <a:pt x="735" y="797"/>
                    <a:pt x="735" y="797"/>
                  </a:cubicBezTo>
                  <a:moveTo>
                    <a:pt x="1302" y="823"/>
                  </a:moveTo>
                  <a:cubicBezTo>
                    <a:pt x="1278" y="835"/>
                    <a:pt x="1254" y="847"/>
                    <a:pt x="1229" y="857"/>
                  </a:cubicBezTo>
                  <a:cubicBezTo>
                    <a:pt x="1229" y="857"/>
                    <a:pt x="1228" y="858"/>
                    <a:pt x="1228" y="858"/>
                  </a:cubicBezTo>
                  <a:cubicBezTo>
                    <a:pt x="1252" y="848"/>
                    <a:pt x="1275" y="838"/>
                    <a:pt x="1299" y="826"/>
                  </a:cubicBezTo>
                  <a:cubicBezTo>
                    <a:pt x="1300" y="825"/>
                    <a:pt x="1301" y="824"/>
                    <a:pt x="1302" y="823"/>
                  </a:cubicBezTo>
                  <a:moveTo>
                    <a:pt x="674" y="829"/>
                  </a:moveTo>
                  <a:cubicBezTo>
                    <a:pt x="654" y="838"/>
                    <a:pt x="634" y="845"/>
                    <a:pt x="613" y="851"/>
                  </a:cubicBezTo>
                  <a:cubicBezTo>
                    <a:pt x="613" y="851"/>
                    <a:pt x="613" y="852"/>
                    <a:pt x="614" y="852"/>
                  </a:cubicBezTo>
                  <a:cubicBezTo>
                    <a:pt x="634" y="846"/>
                    <a:pt x="654" y="839"/>
                    <a:pt x="674" y="830"/>
                  </a:cubicBezTo>
                  <a:cubicBezTo>
                    <a:pt x="674" y="829"/>
                    <a:pt x="674" y="829"/>
                    <a:pt x="674" y="829"/>
                  </a:cubicBezTo>
                  <a:moveTo>
                    <a:pt x="612" y="851"/>
                  </a:moveTo>
                  <a:cubicBezTo>
                    <a:pt x="590" y="857"/>
                    <a:pt x="568" y="862"/>
                    <a:pt x="547" y="864"/>
                  </a:cubicBezTo>
                  <a:cubicBezTo>
                    <a:pt x="547" y="864"/>
                    <a:pt x="547" y="864"/>
                    <a:pt x="547" y="865"/>
                  </a:cubicBezTo>
                  <a:cubicBezTo>
                    <a:pt x="569" y="863"/>
                    <a:pt x="591" y="858"/>
                    <a:pt x="613" y="852"/>
                  </a:cubicBezTo>
                  <a:cubicBezTo>
                    <a:pt x="613" y="852"/>
                    <a:pt x="612" y="852"/>
                    <a:pt x="612" y="851"/>
                  </a:cubicBezTo>
                  <a:moveTo>
                    <a:pt x="1227" y="857"/>
                  </a:moveTo>
                  <a:cubicBezTo>
                    <a:pt x="1227" y="858"/>
                    <a:pt x="1226" y="858"/>
                    <a:pt x="1226" y="858"/>
                  </a:cubicBezTo>
                  <a:cubicBezTo>
                    <a:pt x="1206" y="866"/>
                    <a:pt x="1185" y="875"/>
                    <a:pt x="1164" y="885"/>
                  </a:cubicBezTo>
                  <a:cubicBezTo>
                    <a:pt x="1163" y="886"/>
                    <a:pt x="1163" y="886"/>
                    <a:pt x="1163" y="887"/>
                  </a:cubicBezTo>
                  <a:cubicBezTo>
                    <a:pt x="1184" y="877"/>
                    <a:pt x="1206" y="867"/>
                    <a:pt x="1226" y="859"/>
                  </a:cubicBezTo>
                  <a:cubicBezTo>
                    <a:pt x="1227" y="858"/>
                    <a:pt x="1227" y="858"/>
                    <a:pt x="1227" y="857"/>
                  </a:cubicBezTo>
                  <a:moveTo>
                    <a:pt x="545" y="864"/>
                  </a:moveTo>
                  <a:cubicBezTo>
                    <a:pt x="539" y="864"/>
                    <a:pt x="533" y="865"/>
                    <a:pt x="527" y="865"/>
                  </a:cubicBezTo>
                  <a:cubicBezTo>
                    <a:pt x="515" y="865"/>
                    <a:pt x="501" y="865"/>
                    <a:pt x="484" y="865"/>
                  </a:cubicBezTo>
                  <a:cubicBezTo>
                    <a:pt x="484" y="865"/>
                    <a:pt x="483" y="865"/>
                    <a:pt x="483" y="865"/>
                  </a:cubicBezTo>
                  <a:cubicBezTo>
                    <a:pt x="483" y="865"/>
                    <a:pt x="483" y="865"/>
                    <a:pt x="483" y="865"/>
                  </a:cubicBezTo>
                  <a:cubicBezTo>
                    <a:pt x="482" y="865"/>
                    <a:pt x="482" y="865"/>
                    <a:pt x="482" y="865"/>
                  </a:cubicBezTo>
                  <a:cubicBezTo>
                    <a:pt x="480" y="865"/>
                    <a:pt x="479" y="865"/>
                    <a:pt x="478" y="865"/>
                  </a:cubicBezTo>
                  <a:cubicBezTo>
                    <a:pt x="477" y="865"/>
                    <a:pt x="477" y="865"/>
                    <a:pt x="477" y="865"/>
                  </a:cubicBezTo>
                  <a:cubicBezTo>
                    <a:pt x="476" y="865"/>
                    <a:pt x="476" y="865"/>
                    <a:pt x="475" y="865"/>
                  </a:cubicBezTo>
                  <a:cubicBezTo>
                    <a:pt x="475" y="865"/>
                    <a:pt x="475" y="865"/>
                    <a:pt x="474" y="865"/>
                  </a:cubicBezTo>
                  <a:cubicBezTo>
                    <a:pt x="473" y="865"/>
                    <a:pt x="473" y="865"/>
                    <a:pt x="472" y="865"/>
                  </a:cubicBezTo>
                  <a:cubicBezTo>
                    <a:pt x="472" y="866"/>
                    <a:pt x="472" y="866"/>
                    <a:pt x="472" y="866"/>
                  </a:cubicBezTo>
                  <a:cubicBezTo>
                    <a:pt x="473" y="866"/>
                    <a:pt x="474" y="866"/>
                    <a:pt x="474" y="866"/>
                  </a:cubicBezTo>
                  <a:cubicBezTo>
                    <a:pt x="475" y="866"/>
                    <a:pt x="475" y="866"/>
                    <a:pt x="475" y="866"/>
                  </a:cubicBezTo>
                  <a:cubicBezTo>
                    <a:pt x="476" y="866"/>
                    <a:pt x="476" y="866"/>
                    <a:pt x="476" y="866"/>
                  </a:cubicBezTo>
                  <a:cubicBezTo>
                    <a:pt x="477" y="866"/>
                    <a:pt x="477" y="866"/>
                    <a:pt x="477" y="866"/>
                  </a:cubicBezTo>
                  <a:cubicBezTo>
                    <a:pt x="479" y="866"/>
                    <a:pt x="480" y="866"/>
                    <a:pt x="482" y="866"/>
                  </a:cubicBezTo>
                  <a:cubicBezTo>
                    <a:pt x="482" y="866"/>
                    <a:pt x="482" y="866"/>
                    <a:pt x="483" y="866"/>
                  </a:cubicBezTo>
                  <a:cubicBezTo>
                    <a:pt x="483" y="866"/>
                    <a:pt x="483" y="866"/>
                    <a:pt x="483" y="866"/>
                  </a:cubicBezTo>
                  <a:cubicBezTo>
                    <a:pt x="483" y="866"/>
                    <a:pt x="483" y="866"/>
                    <a:pt x="484" y="866"/>
                  </a:cubicBezTo>
                  <a:cubicBezTo>
                    <a:pt x="501" y="866"/>
                    <a:pt x="515" y="866"/>
                    <a:pt x="527" y="866"/>
                  </a:cubicBezTo>
                  <a:cubicBezTo>
                    <a:pt x="533" y="866"/>
                    <a:pt x="540" y="865"/>
                    <a:pt x="546" y="865"/>
                  </a:cubicBezTo>
                  <a:cubicBezTo>
                    <a:pt x="546" y="864"/>
                    <a:pt x="546" y="864"/>
                    <a:pt x="545" y="864"/>
                  </a:cubicBezTo>
                  <a:moveTo>
                    <a:pt x="471" y="865"/>
                  </a:moveTo>
                  <a:cubicBezTo>
                    <a:pt x="468" y="865"/>
                    <a:pt x="466" y="865"/>
                    <a:pt x="463" y="865"/>
                  </a:cubicBezTo>
                  <a:cubicBezTo>
                    <a:pt x="463" y="865"/>
                    <a:pt x="463" y="865"/>
                    <a:pt x="462" y="865"/>
                  </a:cubicBezTo>
                  <a:cubicBezTo>
                    <a:pt x="460" y="866"/>
                    <a:pt x="459" y="866"/>
                    <a:pt x="457" y="866"/>
                  </a:cubicBezTo>
                  <a:cubicBezTo>
                    <a:pt x="457" y="866"/>
                    <a:pt x="456" y="866"/>
                    <a:pt x="456" y="866"/>
                  </a:cubicBezTo>
                  <a:cubicBezTo>
                    <a:pt x="451" y="866"/>
                    <a:pt x="445" y="866"/>
                    <a:pt x="440" y="866"/>
                  </a:cubicBezTo>
                  <a:cubicBezTo>
                    <a:pt x="439" y="866"/>
                    <a:pt x="439" y="866"/>
                    <a:pt x="439" y="866"/>
                  </a:cubicBezTo>
                  <a:cubicBezTo>
                    <a:pt x="436" y="866"/>
                    <a:pt x="433" y="866"/>
                    <a:pt x="430" y="866"/>
                  </a:cubicBezTo>
                  <a:cubicBezTo>
                    <a:pt x="430" y="866"/>
                    <a:pt x="429" y="866"/>
                    <a:pt x="429" y="866"/>
                  </a:cubicBezTo>
                  <a:cubicBezTo>
                    <a:pt x="427" y="866"/>
                    <a:pt x="425" y="866"/>
                    <a:pt x="424" y="866"/>
                  </a:cubicBezTo>
                  <a:cubicBezTo>
                    <a:pt x="423" y="866"/>
                    <a:pt x="423" y="866"/>
                    <a:pt x="423" y="866"/>
                  </a:cubicBezTo>
                  <a:cubicBezTo>
                    <a:pt x="418" y="866"/>
                    <a:pt x="413" y="866"/>
                    <a:pt x="409" y="866"/>
                  </a:cubicBezTo>
                  <a:cubicBezTo>
                    <a:pt x="408" y="866"/>
                    <a:pt x="408" y="866"/>
                    <a:pt x="408" y="866"/>
                  </a:cubicBezTo>
                  <a:cubicBezTo>
                    <a:pt x="402" y="866"/>
                    <a:pt x="397" y="866"/>
                    <a:pt x="391" y="867"/>
                  </a:cubicBezTo>
                  <a:cubicBezTo>
                    <a:pt x="391" y="867"/>
                    <a:pt x="390" y="867"/>
                    <a:pt x="390" y="867"/>
                  </a:cubicBezTo>
                  <a:cubicBezTo>
                    <a:pt x="389" y="867"/>
                    <a:pt x="389" y="867"/>
                    <a:pt x="389" y="867"/>
                  </a:cubicBezTo>
                  <a:cubicBezTo>
                    <a:pt x="380" y="867"/>
                    <a:pt x="371" y="867"/>
                    <a:pt x="363" y="867"/>
                  </a:cubicBezTo>
                  <a:cubicBezTo>
                    <a:pt x="361" y="867"/>
                    <a:pt x="360" y="867"/>
                    <a:pt x="358" y="867"/>
                  </a:cubicBezTo>
                  <a:cubicBezTo>
                    <a:pt x="356" y="867"/>
                    <a:pt x="353" y="867"/>
                    <a:pt x="351" y="868"/>
                  </a:cubicBezTo>
                  <a:cubicBezTo>
                    <a:pt x="350" y="868"/>
                    <a:pt x="350" y="868"/>
                    <a:pt x="349" y="868"/>
                  </a:cubicBezTo>
                  <a:cubicBezTo>
                    <a:pt x="349" y="868"/>
                    <a:pt x="348" y="868"/>
                    <a:pt x="348" y="868"/>
                  </a:cubicBezTo>
                  <a:cubicBezTo>
                    <a:pt x="339" y="868"/>
                    <a:pt x="330" y="868"/>
                    <a:pt x="321" y="869"/>
                  </a:cubicBezTo>
                  <a:cubicBezTo>
                    <a:pt x="319" y="869"/>
                    <a:pt x="317" y="869"/>
                    <a:pt x="315" y="869"/>
                  </a:cubicBezTo>
                  <a:cubicBezTo>
                    <a:pt x="282" y="870"/>
                    <a:pt x="250" y="872"/>
                    <a:pt x="218" y="875"/>
                  </a:cubicBezTo>
                  <a:cubicBezTo>
                    <a:pt x="173" y="878"/>
                    <a:pt x="131" y="883"/>
                    <a:pt x="95" y="891"/>
                  </a:cubicBezTo>
                  <a:cubicBezTo>
                    <a:pt x="90" y="892"/>
                    <a:pt x="84" y="893"/>
                    <a:pt x="79" y="895"/>
                  </a:cubicBezTo>
                  <a:cubicBezTo>
                    <a:pt x="64" y="898"/>
                    <a:pt x="50" y="903"/>
                    <a:pt x="39" y="908"/>
                  </a:cubicBezTo>
                  <a:cubicBezTo>
                    <a:pt x="37" y="908"/>
                    <a:pt x="35" y="909"/>
                    <a:pt x="34" y="910"/>
                  </a:cubicBezTo>
                  <a:cubicBezTo>
                    <a:pt x="33" y="910"/>
                    <a:pt x="33" y="911"/>
                    <a:pt x="32" y="911"/>
                  </a:cubicBezTo>
                  <a:cubicBezTo>
                    <a:pt x="32" y="911"/>
                    <a:pt x="32" y="911"/>
                    <a:pt x="31" y="911"/>
                  </a:cubicBezTo>
                  <a:cubicBezTo>
                    <a:pt x="31" y="912"/>
                    <a:pt x="30" y="912"/>
                    <a:pt x="29" y="912"/>
                  </a:cubicBezTo>
                  <a:cubicBezTo>
                    <a:pt x="29" y="912"/>
                    <a:pt x="29" y="913"/>
                    <a:pt x="28" y="913"/>
                  </a:cubicBezTo>
                  <a:cubicBezTo>
                    <a:pt x="28" y="913"/>
                    <a:pt x="27" y="913"/>
                    <a:pt x="27" y="914"/>
                  </a:cubicBezTo>
                  <a:cubicBezTo>
                    <a:pt x="26" y="914"/>
                    <a:pt x="26" y="914"/>
                    <a:pt x="26" y="914"/>
                  </a:cubicBezTo>
                  <a:cubicBezTo>
                    <a:pt x="25" y="914"/>
                    <a:pt x="25" y="915"/>
                    <a:pt x="24" y="915"/>
                  </a:cubicBezTo>
                  <a:cubicBezTo>
                    <a:pt x="24" y="915"/>
                    <a:pt x="24" y="915"/>
                    <a:pt x="24" y="915"/>
                  </a:cubicBezTo>
                  <a:cubicBezTo>
                    <a:pt x="23" y="916"/>
                    <a:pt x="22" y="916"/>
                    <a:pt x="21" y="917"/>
                  </a:cubicBezTo>
                  <a:cubicBezTo>
                    <a:pt x="21" y="917"/>
                    <a:pt x="21" y="917"/>
                    <a:pt x="21" y="917"/>
                  </a:cubicBezTo>
                  <a:cubicBezTo>
                    <a:pt x="21" y="917"/>
                    <a:pt x="20" y="918"/>
                    <a:pt x="20" y="918"/>
                  </a:cubicBezTo>
                  <a:cubicBezTo>
                    <a:pt x="19" y="918"/>
                    <a:pt x="19" y="919"/>
                    <a:pt x="18" y="919"/>
                  </a:cubicBezTo>
                  <a:cubicBezTo>
                    <a:pt x="17" y="920"/>
                    <a:pt x="16" y="920"/>
                    <a:pt x="16" y="921"/>
                  </a:cubicBezTo>
                  <a:cubicBezTo>
                    <a:pt x="14" y="922"/>
                    <a:pt x="13" y="923"/>
                    <a:pt x="12" y="924"/>
                  </a:cubicBezTo>
                  <a:cubicBezTo>
                    <a:pt x="12" y="924"/>
                    <a:pt x="11" y="925"/>
                    <a:pt x="11" y="925"/>
                  </a:cubicBezTo>
                  <a:cubicBezTo>
                    <a:pt x="7" y="928"/>
                    <a:pt x="5" y="932"/>
                    <a:pt x="3" y="936"/>
                  </a:cubicBezTo>
                  <a:cubicBezTo>
                    <a:pt x="3" y="937"/>
                    <a:pt x="2" y="937"/>
                    <a:pt x="2" y="937"/>
                  </a:cubicBezTo>
                  <a:cubicBezTo>
                    <a:pt x="2" y="937"/>
                    <a:pt x="2" y="938"/>
                    <a:pt x="2" y="938"/>
                  </a:cubicBezTo>
                  <a:cubicBezTo>
                    <a:pt x="2" y="938"/>
                    <a:pt x="2" y="939"/>
                    <a:pt x="1" y="939"/>
                  </a:cubicBezTo>
                  <a:cubicBezTo>
                    <a:pt x="1" y="939"/>
                    <a:pt x="1" y="940"/>
                    <a:pt x="1" y="940"/>
                  </a:cubicBezTo>
                  <a:cubicBezTo>
                    <a:pt x="1" y="940"/>
                    <a:pt x="1" y="941"/>
                    <a:pt x="1" y="941"/>
                  </a:cubicBezTo>
                  <a:cubicBezTo>
                    <a:pt x="0" y="943"/>
                    <a:pt x="0" y="946"/>
                    <a:pt x="0" y="948"/>
                  </a:cubicBezTo>
                  <a:cubicBezTo>
                    <a:pt x="0" y="949"/>
                    <a:pt x="0" y="950"/>
                    <a:pt x="0" y="951"/>
                  </a:cubicBezTo>
                  <a:cubicBezTo>
                    <a:pt x="0" y="951"/>
                    <a:pt x="0" y="952"/>
                    <a:pt x="0" y="952"/>
                  </a:cubicBezTo>
                  <a:cubicBezTo>
                    <a:pt x="0" y="952"/>
                    <a:pt x="0" y="953"/>
                    <a:pt x="0" y="953"/>
                  </a:cubicBezTo>
                  <a:cubicBezTo>
                    <a:pt x="0" y="953"/>
                    <a:pt x="0" y="953"/>
                    <a:pt x="1" y="954"/>
                  </a:cubicBezTo>
                  <a:cubicBezTo>
                    <a:pt x="1" y="954"/>
                    <a:pt x="1" y="955"/>
                    <a:pt x="1" y="955"/>
                  </a:cubicBezTo>
                  <a:cubicBezTo>
                    <a:pt x="1" y="956"/>
                    <a:pt x="1" y="957"/>
                    <a:pt x="1" y="957"/>
                  </a:cubicBezTo>
                  <a:cubicBezTo>
                    <a:pt x="2" y="957"/>
                    <a:pt x="2" y="958"/>
                    <a:pt x="2" y="958"/>
                  </a:cubicBezTo>
                  <a:cubicBezTo>
                    <a:pt x="2" y="959"/>
                    <a:pt x="2" y="960"/>
                    <a:pt x="3" y="961"/>
                  </a:cubicBezTo>
                  <a:cubicBezTo>
                    <a:pt x="3" y="961"/>
                    <a:pt x="3" y="962"/>
                    <a:pt x="3" y="962"/>
                  </a:cubicBezTo>
                  <a:cubicBezTo>
                    <a:pt x="5" y="965"/>
                    <a:pt x="7" y="969"/>
                    <a:pt x="9" y="972"/>
                  </a:cubicBezTo>
                  <a:cubicBezTo>
                    <a:pt x="9" y="972"/>
                    <a:pt x="9" y="971"/>
                    <a:pt x="9" y="971"/>
                  </a:cubicBezTo>
                  <a:cubicBezTo>
                    <a:pt x="7" y="968"/>
                    <a:pt x="6" y="965"/>
                    <a:pt x="5" y="963"/>
                  </a:cubicBezTo>
                  <a:cubicBezTo>
                    <a:pt x="4" y="962"/>
                    <a:pt x="4" y="962"/>
                    <a:pt x="4" y="961"/>
                  </a:cubicBezTo>
                  <a:cubicBezTo>
                    <a:pt x="4" y="960"/>
                    <a:pt x="3" y="960"/>
                    <a:pt x="3" y="959"/>
                  </a:cubicBezTo>
                  <a:cubicBezTo>
                    <a:pt x="3" y="958"/>
                    <a:pt x="3" y="958"/>
                    <a:pt x="2" y="958"/>
                  </a:cubicBezTo>
                  <a:cubicBezTo>
                    <a:pt x="2" y="957"/>
                    <a:pt x="2" y="957"/>
                    <a:pt x="2" y="957"/>
                  </a:cubicBezTo>
                  <a:cubicBezTo>
                    <a:pt x="2" y="956"/>
                    <a:pt x="2" y="956"/>
                    <a:pt x="2" y="955"/>
                  </a:cubicBezTo>
                  <a:cubicBezTo>
                    <a:pt x="2" y="954"/>
                    <a:pt x="2" y="954"/>
                    <a:pt x="1" y="953"/>
                  </a:cubicBezTo>
                  <a:cubicBezTo>
                    <a:pt x="1" y="953"/>
                    <a:pt x="1" y="953"/>
                    <a:pt x="1" y="952"/>
                  </a:cubicBezTo>
                  <a:cubicBezTo>
                    <a:pt x="1" y="952"/>
                    <a:pt x="1" y="952"/>
                    <a:pt x="1" y="952"/>
                  </a:cubicBezTo>
                  <a:cubicBezTo>
                    <a:pt x="1" y="950"/>
                    <a:pt x="1" y="949"/>
                    <a:pt x="1" y="948"/>
                  </a:cubicBezTo>
                  <a:cubicBezTo>
                    <a:pt x="1" y="946"/>
                    <a:pt x="1" y="944"/>
                    <a:pt x="2" y="941"/>
                  </a:cubicBezTo>
                  <a:cubicBezTo>
                    <a:pt x="2" y="941"/>
                    <a:pt x="2" y="941"/>
                    <a:pt x="2" y="940"/>
                  </a:cubicBezTo>
                  <a:cubicBezTo>
                    <a:pt x="2" y="940"/>
                    <a:pt x="2" y="940"/>
                    <a:pt x="2" y="940"/>
                  </a:cubicBezTo>
                  <a:cubicBezTo>
                    <a:pt x="2" y="940"/>
                    <a:pt x="2" y="939"/>
                    <a:pt x="2" y="939"/>
                  </a:cubicBezTo>
                  <a:cubicBezTo>
                    <a:pt x="3" y="938"/>
                    <a:pt x="3" y="938"/>
                    <a:pt x="3" y="938"/>
                  </a:cubicBezTo>
                  <a:cubicBezTo>
                    <a:pt x="3" y="937"/>
                    <a:pt x="3" y="937"/>
                    <a:pt x="3" y="937"/>
                  </a:cubicBezTo>
                  <a:cubicBezTo>
                    <a:pt x="5" y="933"/>
                    <a:pt x="8" y="929"/>
                    <a:pt x="12" y="925"/>
                  </a:cubicBezTo>
                  <a:cubicBezTo>
                    <a:pt x="12" y="925"/>
                    <a:pt x="12" y="925"/>
                    <a:pt x="13" y="925"/>
                  </a:cubicBezTo>
                  <a:cubicBezTo>
                    <a:pt x="14" y="923"/>
                    <a:pt x="16" y="922"/>
                    <a:pt x="18" y="920"/>
                  </a:cubicBezTo>
                  <a:cubicBezTo>
                    <a:pt x="19" y="920"/>
                    <a:pt x="20" y="919"/>
                    <a:pt x="21" y="918"/>
                  </a:cubicBezTo>
                  <a:cubicBezTo>
                    <a:pt x="21" y="918"/>
                    <a:pt x="21" y="918"/>
                    <a:pt x="21" y="918"/>
                  </a:cubicBezTo>
                  <a:cubicBezTo>
                    <a:pt x="21" y="918"/>
                    <a:pt x="22" y="918"/>
                    <a:pt x="22" y="918"/>
                  </a:cubicBezTo>
                  <a:cubicBezTo>
                    <a:pt x="22" y="917"/>
                    <a:pt x="22" y="917"/>
                    <a:pt x="23" y="917"/>
                  </a:cubicBezTo>
                  <a:cubicBezTo>
                    <a:pt x="23" y="917"/>
                    <a:pt x="23" y="917"/>
                    <a:pt x="24" y="917"/>
                  </a:cubicBezTo>
                  <a:cubicBezTo>
                    <a:pt x="24" y="916"/>
                    <a:pt x="24" y="916"/>
                    <a:pt x="24" y="916"/>
                  </a:cubicBezTo>
                  <a:cubicBezTo>
                    <a:pt x="25" y="916"/>
                    <a:pt x="27" y="915"/>
                    <a:pt x="28" y="914"/>
                  </a:cubicBezTo>
                  <a:cubicBezTo>
                    <a:pt x="28" y="914"/>
                    <a:pt x="29" y="914"/>
                    <a:pt x="29" y="913"/>
                  </a:cubicBezTo>
                  <a:cubicBezTo>
                    <a:pt x="29" y="913"/>
                    <a:pt x="30" y="913"/>
                    <a:pt x="30" y="913"/>
                  </a:cubicBezTo>
                  <a:cubicBezTo>
                    <a:pt x="31" y="913"/>
                    <a:pt x="32" y="912"/>
                    <a:pt x="32" y="912"/>
                  </a:cubicBezTo>
                  <a:cubicBezTo>
                    <a:pt x="33" y="912"/>
                    <a:pt x="33" y="912"/>
                    <a:pt x="33" y="911"/>
                  </a:cubicBezTo>
                  <a:cubicBezTo>
                    <a:pt x="35" y="911"/>
                    <a:pt x="37" y="910"/>
                    <a:pt x="39" y="909"/>
                  </a:cubicBezTo>
                  <a:cubicBezTo>
                    <a:pt x="41" y="908"/>
                    <a:pt x="43" y="907"/>
                    <a:pt x="45" y="906"/>
                  </a:cubicBezTo>
                  <a:cubicBezTo>
                    <a:pt x="60" y="901"/>
                    <a:pt x="77" y="896"/>
                    <a:pt x="97" y="892"/>
                  </a:cubicBezTo>
                  <a:cubicBezTo>
                    <a:pt x="104" y="890"/>
                    <a:pt x="112" y="889"/>
                    <a:pt x="120" y="887"/>
                  </a:cubicBezTo>
                  <a:cubicBezTo>
                    <a:pt x="150" y="882"/>
                    <a:pt x="183" y="878"/>
                    <a:pt x="218" y="876"/>
                  </a:cubicBezTo>
                  <a:cubicBezTo>
                    <a:pt x="247" y="873"/>
                    <a:pt x="277" y="871"/>
                    <a:pt x="306" y="870"/>
                  </a:cubicBezTo>
                  <a:cubicBezTo>
                    <a:pt x="309" y="870"/>
                    <a:pt x="312" y="870"/>
                    <a:pt x="314" y="870"/>
                  </a:cubicBezTo>
                  <a:cubicBezTo>
                    <a:pt x="318" y="870"/>
                    <a:pt x="322" y="870"/>
                    <a:pt x="326" y="869"/>
                  </a:cubicBezTo>
                  <a:cubicBezTo>
                    <a:pt x="338" y="869"/>
                    <a:pt x="350" y="869"/>
                    <a:pt x="362" y="868"/>
                  </a:cubicBezTo>
                  <a:cubicBezTo>
                    <a:pt x="362" y="868"/>
                    <a:pt x="362" y="868"/>
                    <a:pt x="362" y="868"/>
                  </a:cubicBezTo>
                  <a:cubicBezTo>
                    <a:pt x="367" y="868"/>
                    <a:pt x="372" y="868"/>
                    <a:pt x="377" y="868"/>
                  </a:cubicBezTo>
                  <a:cubicBezTo>
                    <a:pt x="381" y="868"/>
                    <a:pt x="386" y="868"/>
                    <a:pt x="390" y="868"/>
                  </a:cubicBezTo>
                  <a:cubicBezTo>
                    <a:pt x="391" y="868"/>
                    <a:pt x="391" y="868"/>
                    <a:pt x="391" y="868"/>
                  </a:cubicBezTo>
                  <a:cubicBezTo>
                    <a:pt x="397" y="867"/>
                    <a:pt x="402" y="867"/>
                    <a:pt x="408" y="867"/>
                  </a:cubicBezTo>
                  <a:cubicBezTo>
                    <a:pt x="408" y="867"/>
                    <a:pt x="408" y="867"/>
                    <a:pt x="409" y="867"/>
                  </a:cubicBezTo>
                  <a:cubicBezTo>
                    <a:pt x="413" y="867"/>
                    <a:pt x="418" y="867"/>
                    <a:pt x="423" y="867"/>
                  </a:cubicBezTo>
                  <a:cubicBezTo>
                    <a:pt x="423" y="867"/>
                    <a:pt x="423" y="867"/>
                    <a:pt x="424" y="867"/>
                  </a:cubicBezTo>
                  <a:cubicBezTo>
                    <a:pt x="425" y="867"/>
                    <a:pt x="426" y="867"/>
                    <a:pt x="427" y="867"/>
                  </a:cubicBezTo>
                  <a:cubicBezTo>
                    <a:pt x="428" y="867"/>
                    <a:pt x="428" y="867"/>
                    <a:pt x="429" y="867"/>
                  </a:cubicBezTo>
                  <a:cubicBezTo>
                    <a:pt x="432" y="867"/>
                    <a:pt x="435" y="867"/>
                    <a:pt x="439" y="867"/>
                  </a:cubicBezTo>
                  <a:cubicBezTo>
                    <a:pt x="439" y="867"/>
                    <a:pt x="439" y="867"/>
                    <a:pt x="440" y="867"/>
                  </a:cubicBezTo>
                  <a:cubicBezTo>
                    <a:pt x="445" y="867"/>
                    <a:pt x="451" y="867"/>
                    <a:pt x="456" y="867"/>
                  </a:cubicBezTo>
                  <a:cubicBezTo>
                    <a:pt x="456" y="867"/>
                    <a:pt x="457" y="867"/>
                    <a:pt x="457" y="867"/>
                  </a:cubicBezTo>
                  <a:cubicBezTo>
                    <a:pt x="458" y="867"/>
                    <a:pt x="460" y="867"/>
                    <a:pt x="462" y="866"/>
                  </a:cubicBezTo>
                  <a:cubicBezTo>
                    <a:pt x="462" y="866"/>
                    <a:pt x="462" y="866"/>
                    <a:pt x="463" y="866"/>
                  </a:cubicBezTo>
                  <a:cubicBezTo>
                    <a:pt x="466" y="866"/>
                    <a:pt x="468" y="866"/>
                    <a:pt x="471" y="866"/>
                  </a:cubicBezTo>
                  <a:cubicBezTo>
                    <a:pt x="471" y="866"/>
                    <a:pt x="471" y="866"/>
                    <a:pt x="471" y="865"/>
                  </a:cubicBezTo>
                  <a:moveTo>
                    <a:pt x="1162" y="886"/>
                  </a:moveTo>
                  <a:cubicBezTo>
                    <a:pt x="1141" y="896"/>
                    <a:pt x="1120" y="907"/>
                    <a:pt x="1100" y="919"/>
                  </a:cubicBezTo>
                  <a:cubicBezTo>
                    <a:pt x="1100" y="919"/>
                    <a:pt x="1100" y="919"/>
                    <a:pt x="1099" y="920"/>
                  </a:cubicBezTo>
                  <a:cubicBezTo>
                    <a:pt x="1119" y="908"/>
                    <a:pt x="1140" y="898"/>
                    <a:pt x="1162" y="887"/>
                  </a:cubicBezTo>
                  <a:cubicBezTo>
                    <a:pt x="1162" y="887"/>
                    <a:pt x="1162" y="887"/>
                    <a:pt x="1162" y="886"/>
                  </a:cubicBezTo>
                  <a:moveTo>
                    <a:pt x="1099" y="919"/>
                  </a:moveTo>
                  <a:cubicBezTo>
                    <a:pt x="1078" y="931"/>
                    <a:pt x="1059" y="943"/>
                    <a:pt x="1041" y="955"/>
                  </a:cubicBezTo>
                  <a:cubicBezTo>
                    <a:pt x="1041" y="956"/>
                    <a:pt x="1041" y="956"/>
                    <a:pt x="1042" y="956"/>
                  </a:cubicBezTo>
                  <a:cubicBezTo>
                    <a:pt x="1059" y="944"/>
                    <a:pt x="1078" y="932"/>
                    <a:pt x="1098" y="921"/>
                  </a:cubicBezTo>
                  <a:cubicBezTo>
                    <a:pt x="1098" y="920"/>
                    <a:pt x="1099" y="920"/>
                    <a:pt x="1099" y="919"/>
                  </a:cubicBezTo>
                  <a:moveTo>
                    <a:pt x="1040" y="956"/>
                  </a:moveTo>
                  <a:cubicBezTo>
                    <a:pt x="1022" y="969"/>
                    <a:pt x="1005" y="983"/>
                    <a:pt x="991" y="997"/>
                  </a:cubicBezTo>
                  <a:cubicBezTo>
                    <a:pt x="991" y="997"/>
                    <a:pt x="991" y="997"/>
                    <a:pt x="991" y="998"/>
                  </a:cubicBezTo>
                  <a:cubicBezTo>
                    <a:pt x="1005" y="984"/>
                    <a:pt x="1022" y="970"/>
                    <a:pt x="1041" y="957"/>
                  </a:cubicBezTo>
                  <a:cubicBezTo>
                    <a:pt x="1041" y="957"/>
                    <a:pt x="1041" y="956"/>
                    <a:pt x="1040" y="956"/>
                  </a:cubicBezTo>
                  <a:moveTo>
                    <a:pt x="10" y="972"/>
                  </a:moveTo>
                  <a:cubicBezTo>
                    <a:pt x="10" y="972"/>
                    <a:pt x="10" y="973"/>
                    <a:pt x="10" y="973"/>
                  </a:cubicBezTo>
                  <a:cubicBezTo>
                    <a:pt x="11" y="974"/>
                    <a:pt x="12" y="976"/>
                    <a:pt x="13" y="977"/>
                  </a:cubicBezTo>
                  <a:cubicBezTo>
                    <a:pt x="13" y="978"/>
                    <a:pt x="14" y="978"/>
                    <a:pt x="14" y="979"/>
                  </a:cubicBezTo>
                  <a:cubicBezTo>
                    <a:pt x="15" y="980"/>
                    <a:pt x="16" y="981"/>
                    <a:pt x="18" y="983"/>
                  </a:cubicBezTo>
                  <a:cubicBezTo>
                    <a:pt x="18" y="983"/>
                    <a:pt x="18" y="983"/>
                    <a:pt x="19" y="984"/>
                  </a:cubicBezTo>
                  <a:cubicBezTo>
                    <a:pt x="20" y="985"/>
                    <a:pt x="22" y="987"/>
                    <a:pt x="23" y="988"/>
                  </a:cubicBezTo>
                  <a:cubicBezTo>
                    <a:pt x="25" y="989"/>
                    <a:pt x="26" y="991"/>
                    <a:pt x="27" y="992"/>
                  </a:cubicBezTo>
                  <a:cubicBezTo>
                    <a:pt x="27" y="992"/>
                    <a:pt x="28" y="992"/>
                    <a:pt x="28" y="992"/>
                  </a:cubicBezTo>
                  <a:cubicBezTo>
                    <a:pt x="28" y="992"/>
                    <a:pt x="28" y="993"/>
                    <a:pt x="29" y="993"/>
                  </a:cubicBezTo>
                  <a:cubicBezTo>
                    <a:pt x="29" y="993"/>
                    <a:pt x="29" y="994"/>
                    <a:pt x="30" y="994"/>
                  </a:cubicBezTo>
                  <a:cubicBezTo>
                    <a:pt x="30" y="994"/>
                    <a:pt x="30" y="994"/>
                    <a:pt x="30" y="995"/>
                  </a:cubicBezTo>
                  <a:cubicBezTo>
                    <a:pt x="31" y="995"/>
                    <a:pt x="32" y="996"/>
                    <a:pt x="33" y="996"/>
                  </a:cubicBezTo>
                  <a:cubicBezTo>
                    <a:pt x="33" y="996"/>
                    <a:pt x="33" y="996"/>
                    <a:pt x="33" y="996"/>
                  </a:cubicBezTo>
                  <a:cubicBezTo>
                    <a:pt x="33" y="996"/>
                    <a:pt x="33" y="996"/>
                    <a:pt x="33" y="996"/>
                  </a:cubicBezTo>
                  <a:cubicBezTo>
                    <a:pt x="32" y="995"/>
                    <a:pt x="31" y="994"/>
                    <a:pt x="30" y="993"/>
                  </a:cubicBezTo>
                  <a:cubicBezTo>
                    <a:pt x="30" y="993"/>
                    <a:pt x="30" y="993"/>
                    <a:pt x="30" y="993"/>
                  </a:cubicBezTo>
                  <a:cubicBezTo>
                    <a:pt x="30" y="992"/>
                    <a:pt x="29" y="992"/>
                    <a:pt x="29" y="992"/>
                  </a:cubicBezTo>
                  <a:cubicBezTo>
                    <a:pt x="27" y="991"/>
                    <a:pt x="25" y="989"/>
                    <a:pt x="24" y="987"/>
                  </a:cubicBezTo>
                  <a:cubicBezTo>
                    <a:pt x="23" y="987"/>
                    <a:pt x="22" y="986"/>
                    <a:pt x="22" y="985"/>
                  </a:cubicBezTo>
                  <a:cubicBezTo>
                    <a:pt x="21" y="985"/>
                    <a:pt x="21" y="984"/>
                    <a:pt x="20" y="984"/>
                  </a:cubicBezTo>
                  <a:cubicBezTo>
                    <a:pt x="19" y="982"/>
                    <a:pt x="18" y="981"/>
                    <a:pt x="16" y="980"/>
                  </a:cubicBezTo>
                  <a:cubicBezTo>
                    <a:pt x="16" y="979"/>
                    <a:pt x="15" y="979"/>
                    <a:pt x="15" y="978"/>
                  </a:cubicBezTo>
                  <a:cubicBezTo>
                    <a:pt x="13" y="976"/>
                    <a:pt x="11" y="974"/>
                    <a:pt x="10" y="972"/>
                  </a:cubicBezTo>
                  <a:moveTo>
                    <a:pt x="34" y="996"/>
                  </a:moveTo>
                  <a:cubicBezTo>
                    <a:pt x="34" y="997"/>
                    <a:pt x="34" y="997"/>
                    <a:pt x="33" y="997"/>
                  </a:cubicBezTo>
                  <a:cubicBezTo>
                    <a:pt x="33" y="997"/>
                    <a:pt x="34" y="997"/>
                    <a:pt x="34" y="997"/>
                  </a:cubicBezTo>
                  <a:cubicBezTo>
                    <a:pt x="40" y="1002"/>
                    <a:pt x="47" y="1007"/>
                    <a:pt x="55" y="1013"/>
                  </a:cubicBezTo>
                  <a:cubicBezTo>
                    <a:pt x="55" y="1013"/>
                    <a:pt x="56" y="1013"/>
                    <a:pt x="56" y="1014"/>
                  </a:cubicBezTo>
                  <a:cubicBezTo>
                    <a:pt x="56" y="1013"/>
                    <a:pt x="57" y="1013"/>
                    <a:pt x="57" y="1013"/>
                  </a:cubicBezTo>
                  <a:cubicBezTo>
                    <a:pt x="50" y="1008"/>
                    <a:pt x="43" y="1004"/>
                    <a:pt x="38" y="999"/>
                  </a:cubicBezTo>
                  <a:cubicBezTo>
                    <a:pt x="36" y="998"/>
                    <a:pt x="35" y="997"/>
                    <a:pt x="34" y="996"/>
                  </a:cubicBezTo>
                  <a:moveTo>
                    <a:pt x="990" y="997"/>
                  </a:moveTo>
                  <a:cubicBezTo>
                    <a:pt x="973" y="1014"/>
                    <a:pt x="961" y="1032"/>
                    <a:pt x="954" y="1048"/>
                  </a:cubicBezTo>
                  <a:cubicBezTo>
                    <a:pt x="954" y="1049"/>
                    <a:pt x="955" y="1049"/>
                    <a:pt x="955" y="1049"/>
                  </a:cubicBezTo>
                  <a:cubicBezTo>
                    <a:pt x="961" y="1033"/>
                    <a:pt x="974" y="1015"/>
                    <a:pt x="991" y="998"/>
                  </a:cubicBezTo>
                  <a:cubicBezTo>
                    <a:pt x="991" y="998"/>
                    <a:pt x="990" y="998"/>
                    <a:pt x="990" y="997"/>
                  </a:cubicBezTo>
                  <a:moveTo>
                    <a:pt x="58" y="1014"/>
                  </a:moveTo>
                  <a:cubicBezTo>
                    <a:pt x="57" y="1014"/>
                    <a:pt x="57" y="1014"/>
                    <a:pt x="57" y="1014"/>
                  </a:cubicBezTo>
                  <a:cubicBezTo>
                    <a:pt x="57" y="1014"/>
                    <a:pt x="57" y="1014"/>
                    <a:pt x="57" y="1015"/>
                  </a:cubicBezTo>
                  <a:cubicBezTo>
                    <a:pt x="62" y="1017"/>
                    <a:pt x="66" y="1020"/>
                    <a:pt x="71" y="1023"/>
                  </a:cubicBezTo>
                  <a:cubicBezTo>
                    <a:pt x="71" y="1023"/>
                    <a:pt x="72" y="1024"/>
                    <a:pt x="72" y="1024"/>
                  </a:cubicBezTo>
                  <a:cubicBezTo>
                    <a:pt x="75" y="1025"/>
                    <a:pt x="77" y="1027"/>
                    <a:pt x="80" y="1028"/>
                  </a:cubicBezTo>
                  <a:cubicBezTo>
                    <a:pt x="80" y="1028"/>
                    <a:pt x="81" y="1028"/>
                    <a:pt x="81" y="1028"/>
                  </a:cubicBezTo>
                  <a:cubicBezTo>
                    <a:pt x="78" y="1026"/>
                    <a:pt x="76" y="1025"/>
                    <a:pt x="73" y="1023"/>
                  </a:cubicBezTo>
                  <a:cubicBezTo>
                    <a:pt x="73" y="1023"/>
                    <a:pt x="73" y="1023"/>
                    <a:pt x="72" y="1023"/>
                  </a:cubicBezTo>
                  <a:cubicBezTo>
                    <a:pt x="68" y="1020"/>
                    <a:pt x="64" y="1018"/>
                    <a:pt x="61" y="1016"/>
                  </a:cubicBezTo>
                  <a:cubicBezTo>
                    <a:pt x="60" y="1015"/>
                    <a:pt x="59" y="1014"/>
                    <a:pt x="58" y="1014"/>
                  </a:cubicBezTo>
                  <a:cubicBezTo>
                    <a:pt x="58" y="1014"/>
                    <a:pt x="58" y="1014"/>
                    <a:pt x="58" y="1014"/>
                  </a:cubicBezTo>
                  <a:moveTo>
                    <a:pt x="82" y="1029"/>
                  </a:moveTo>
                  <a:cubicBezTo>
                    <a:pt x="82" y="1029"/>
                    <a:pt x="81" y="1029"/>
                    <a:pt x="81" y="1029"/>
                  </a:cubicBezTo>
                  <a:cubicBezTo>
                    <a:pt x="81" y="1029"/>
                    <a:pt x="82" y="1030"/>
                    <a:pt x="83" y="1030"/>
                  </a:cubicBezTo>
                  <a:cubicBezTo>
                    <a:pt x="86" y="1032"/>
                    <a:pt x="90" y="1035"/>
                    <a:pt x="94" y="1037"/>
                  </a:cubicBezTo>
                  <a:cubicBezTo>
                    <a:pt x="97" y="1038"/>
                    <a:pt x="100" y="1040"/>
                    <a:pt x="103" y="1041"/>
                  </a:cubicBezTo>
                  <a:cubicBezTo>
                    <a:pt x="103" y="1041"/>
                    <a:pt x="104" y="1041"/>
                    <a:pt x="104" y="1041"/>
                  </a:cubicBezTo>
                  <a:cubicBezTo>
                    <a:pt x="101" y="1039"/>
                    <a:pt x="98" y="1038"/>
                    <a:pt x="95" y="1036"/>
                  </a:cubicBezTo>
                  <a:cubicBezTo>
                    <a:pt x="90" y="1033"/>
                    <a:pt x="86" y="1031"/>
                    <a:pt x="82" y="1029"/>
                  </a:cubicBezTo>
                  <a:moveTo>
                    <a:pt x="105" y="1042"/>
                  </a:moveTo>
                  <a:cubicBezTo>
                    <a:pt x="105" y="1042"/>
                    <a:pt x="105" y="1042"/>
                    <a:pt x="104" y="1042"/>
                  </a:cubicBezTo>
                  <a:cubicBezTo>
                    <a:pt x="106" y="1043"/>
                    <a:pt x="109" y="1044"/>
                    <a:pt x="111" y="1046"/>
                  </a:cubicBezTo>
                  <a:cubicBezTo>
                    <a:pt x="111" y="1046"/>
                    <a:pt x="112" y="1046"/>
                    <a:pt x="112" y="1046"/>
                  </a:cubicBezTo>
                  <a:cubicBezTo>
                    <a:pt x="116" y="1048"/>
                    <a:pt x="121" y="1051"/>
                    <a:pt x="125" y="1053"/>
                  </a:cubicBezTo>
                  <a:cubicBezTo>
                    <a:pt x="126" y="1053"/>
                    <a:pt x="126" y="1053"/>
                    <a:pt x="127" y="1052"/>
                  </a:cubicBezTo>
                  <a:cubicBezTo>
                    <a:pt x="122" y="1050"/>
                    <a:pt x="118" y="1048"/>
                    <a:pt x="113" y="1046"/>
                  </a:cubicBezTo>
                  <a:cubicBezTo>
                    <a:pt x="113" y="1046"/>
                    <a:pt x="113" y="1045"/>
                    <a:pt x="112" y="1045"/>
                  </a:cubicBezTo>
                  <a:cubicBezTo>
                    <a:pt x="111" y="1044"/>
                    <a:pt x="109" y="1044"/>
                    <a:pt x="108" y="1043"/>
                  </a:cubicBezTo>
                  <a:cubicBezTo>
                    <a:pt x="107" y="1042"/>
                    <a:pt x="106" y="1042"/>
                    <a:pt x="105" y="1042"/>
                  </a:cubicBezTo>
                  <a:moveTo>
                    <a:pt x="954" y="1049"/>
                  </a:moveTo>
                  <a:cubicBezTo>
                    <a:pt x="951" y="1057"/>
                    <a:pt x="949" y="1065"/>
                    <a:pt x="949" y="1072"/>
                  </a:cubicBezTo>
                  <a:cubicBezTo>
                    <a:pt x="949" y="1085"/>
                    <a:pt x="954" y="1098"/>
                    <a:pt x="965" y="1110"/>
                  </a:cubicBezTo>
                  <a:cubicBezTo>
                    <a:pt x="1001" y="1152"/>
                    <a:pt x="1042" y="1217"/>
                    <a:pt x="1042" y="1265"/>
                  </a:cubicBezTo>
                  <a:cubicBezTo>
                    <a:pt x="1042" y="1298"/>
                    <a:pt x="1021" y="1323"/>
                    <a:pt x="962" y="1323"/>
                  </a:cubicBezTo>
                  <a:cubicBezTo>
                    <a:pt x="957" y="1323"/>
                    <a:pt x="952" y="1323"/>
                    <a:pt x="946" y="1323"/>
                  </a:cubicBezTo>
                  <a:cubicBezTo>
                    <a:pt x="946" y="1323"/>
                    <a:pt x="947" y="1323"/>
                    <a:pt x="947" y="1324"/>
                  </a:cubicBezTo>
                  <a:cubicBezTo>
                    <a:pt x="952" y="1324"/>
                    <a:pt x="957" y="1324"/>
                    <a:pt x="962" y="1324"/>
                  </a:cubicBezTo>
                  <a:cubicBezTo>
                    <a:pt x="992" y="1324"/>
                    <a:pt x="1012" y="1318"/>
                    <a:pt x="1025" y="1307"/>
                  </a:cubicBezTo>
                  <a:cubicBezTo>
                    <a:pt x="1037" y="1297"/>
                    <a:pt x="1043" y="1282"/>
                    <a:pt x="1043" y="1265"/>
                  </a:cubicBezTo>
                  <a:cubicBezTo>
                    <a:pt x="1043" y="1217"/>
                    <a:pt x="1002" y="1151"/>
                    <a:pt x="966" y="1110"/>
                  </a:cubicBezTo>
                  <a:cubicBezTo>
                    <a:pt x="955" y="1098"/>
                    <a:pt x="950" y="1085"/>
                    <a:pt x="950" y="1072"/>
                  </a:cubicBezTo>
                  <a:cubicBezTo>
                    <a:pt x="950" y="1065"/>
                    <a:pt x="952" y="1058"/>
                    <a:pt x="954" y="1050"/>
                  </a:cubicBezTo>
                  <a:cubicBezTo>
                    <a:pt x="954" y="1050"/>
                    <a:pt x="954" y="1050"/>
                    <a:pt x="954" y="1049"/>
                  </a:cubicBezTo>
                  <a:moveTo>
                    <a:pt x="128" y="1053"/>
                  </a:moveTo>
                  <a:cubicBezTo>
                    <a:pt x="127" y="1053"/>
                    <a:pt x="127" y="1053"/>
                    <a:pt x="127" y="1054"/>
                  </a:cubicBezTo>
                  <a:cubicBezTo>
                    <a:pt x="127" y="1054"/>
                    <a:pt x="127" y="1054"/>
                    <a:pt x="127" y="1054"/>
                  </a:cubicBezTo>
                  <a:cubicBezTo>
                    <a:pt x="127" y="1053"/>
                    <a:pt x="127" y="1053"/>
                    <a:pt x="128" y="1053"/>
                  </a:cubicBezTo>
                  <a:close/>
                  <a:moveTo>
                    <a:pt x="129" y="1054"/>
                  </a:moveTo>
                  <a:cubicBezTo>
                    <a:pt x="129" y="1054"/>
                    <a:pt x="128" y="1054"/>
                    <a:pt x="128" y="1054"/>
                  </a:cubicBezTo>
                  <a:cubicBezTo>
                    <a:pt x="128" y="1055"/>
                    <a:pt x="129" y="1055"/>
                    <a:pt x="130" y="1055"/>
                  </a:cubicBezTo>
                  <a:cubicBezTo>
                    <a:pt x="130" y="1055"/>
                    <a:pt x="130" y="1056"/>
                    <a:pt x="131" y="1056"/>
                  </a:cubicBezTo>
                  <a:cubicBezTo>
                    <a:pt x="132" y="1056"/>
                    <a:pt x="133" y="1057"/>
                    <a:pt x="134" y="1057"/>
                  </a:cubicBezTo>
                  <a:cubicBezTo>
                    <a:pt x="134" y="1057"/>
                    <a:pt x="135" y="1058"/>
                    <a:pt x="135" y="1058"/>
                  </a:cubicBezTo>
                  <a:cubicBezTo>
                    <a:pt x="136" y="1058"/>
                    <a:pt x="136" y="1058"/>
                    <a:pt x="137" y="1059"/>
                  </a:cubicBezTo>
                  <a:cubicBezTo>
                    <a:pt x="138" y="1059"/>
                    <a:pt x="138" y="1059"/>
                    <a:pt x="139" y="1060"/>
                  </a:cubicBezTo>
                  <a:cubicBezTo>
                    <a:pt x="139" y="1060"/>
                    <a:pt x="140" y="1059"/>
                    <a:pt x="140" y="1059"/>
                  </a:cubicBezTo>
                  <a:cubicBezTo>
                    <a:pt x="140" y="1059"/>
                    <a:pt x="139" y="1059"/>
                    <a:pt x="139" y="1059"/>
                  </a:cubicBezTo>
                  <a:cubicBezTo>
                    <a:pt x="138" y="1058"/>
                    <a:pt x="137" y="1057"/>
                    <a:pt x="135" y="1057"/>
                  </a:cubicBezTo>
                  <a:cubicBezTo>
                    <a:pt x="134" y="1056"/>
                    <a:pt x="133" y="1056"/>
                    <a:pt x="132" y="1055"/>
                  </a:cubicBezTo>
                  <a:cubicBezTo>
                    <a:pt x="132" y="1055"/>
                    <a:pt x="131" y="1055"/>
                    <a:pt x="131" y="1055"/>
                  </a:cubicBezTo>
                  <a:cubicBezTo>
                    <a:pt x="130" y="1054"/>
                    <a:pt x="130" y="1054"/>
                    <a:pt x="130" y="1054"/>
                  </a:cubicBezTo>
                  <a:cubicBezTo>
                    <a:pt x="129" y="1054"/>
                    <a:pt x="129" y="1054"/>
                    <a:pt x="129" y="1054"/>
                  </a:cubicBezTo>
                  <a:moveTo>
                    <a:pt x="141" y="1060"/>
                  </a:moveTo>
                  <a:cubicBezTo>
                    <a:pt x="141" y="1060"/>
                    <a:pt x="141" y="1060"/>
                    <a:pt x="140" y="1060"/>
                  </a:cubicBezTo>
                  <a:cubicBezTo>
                    <a:pt x="142" y="1061"/>
                    <a:pt x="144" y="1062"/>
                    <a:pt x="147" y="1063"/>
                  </a:cubicBezTo>
                  <a:cubicBezTo>
                    <a:pt x="147" y="1063"/>
                    <a:pt x="147" y="1063"/>
                    <a:pt x="147" y="1063"/>
                  </a:cubicBezTo>
                  <a:cubicBezTo>
                    <a:pt x="147" y="1063"/>
                    <a:pt x="147" y="1063"/>
                    <a:pt x="148" y="1063"/>
                  </a:cubicBezTo>
                  <a:cubicBezTo>
                    <a:pt x="148" y="1063"/>
                    <a:pt x="148" y="1063"/>
                    <a:pt x="147" y="1063"/>
                  </a:cubicBezTo>
                  <a:cubicBezTo>
                    <a:pt x="147" y="1062"/>
                    <a:pt x="146" y="1062"/>
                    <a:pt x="145" y="1062"/>
                  </a:cubicBezTo>
                  <a:cubicBezTo>
                    <a:pt x="144" y="1061"/>
                    <a:pt x="143" y="1061"/>
                    <a:pt x="142" y="1060"/>
                  </a:cubicBezTo>
                  <a:cubicBezTo>
                    <a:pt x="142" y="1060"/>
                    <a:pt x="142" y="1060"/>
                    <a:pt x="141" y="1060"/>
                  </a:cubicBezTo>
                  <a:moveTo>
                    <a:pt x="149" y="1063"/>
                  </a:moveTo>
                  <a:cubicBezTo>
                    <a:pt x="149" y="1064"/>
                    <a:pt x="148" y="1064"/>
                    <a:pt x="148" y="1064"/>
                  </a:cubicBezTo>
                  <a:cubicBezTo>
                    <a:pt x="148" y="1064"/>
                    <a:pt x="149" y="1064"/>
                    <a:pt x="149" y="1065"/>
                  </a:cubicBezTo>
                  <a:cubicBezTo>
                    <a:pt x="150" y="1065"/>
                    <a:pt x="150" y="1065"/>
                    <a:pt x="151" y="1065"/>
                  </a:cubicBezTo>
                  <a:cubicBezTo>
                    <a:pt x="151" y="1066"/>
                    <a:pt x="151" y="1066"/>
                    <a:pt x="151" y="1066"/>
                  </a:cubicBezTo>
                  <a:cubicBezTo>
                    <a:pt x="152" y="1065"/>
                    <a:pt x="152" y="1065"/>
                    <a:pt x="153" y="1065"/>
                  </a:cubicBezTo>
                  <a:cubicBezTo>
                    <a:pt x="151" y="1065"/>
                    <a:pt x="150" y="1064"/>
                    <a:pt x="149" y="1063"/>
                  </a:cubicBezTo>
                  <a:moveTo>
                    <a:pt x="154" y="1066"/>
                  </a:moveTo>
                  <a:cubicBezTo>
                    <a:pt x="153" y="1066"/>
                    <a:pt x="153" y="1066"/>
                    <a:pt x="153" y="1066"/>
                  </a:cubicBezTo>
                  <a:cubicBezTo>
                    <a:pt x="153" y="1066"/>
                    <a:pt x="154" y="1067"/>
                    <a:pt x="154" y="1067"/>
                  </a:cubicBezTo>
                  <a:cubicBezTo>
                    <a:pt x="157" y="1068"/>
                    <a:pt x="159" y="1069"/>
                    <a:pt x="161" y="1070"/>
                  </a:cubicBezTo>
                  <a:cubicBezTo>
                    <a:pt x="162" y="1070"/>
                    <a:pt x="162" y="1071"/>
                    <a:pt x="162" y="1071"/>
                  </a:cubicBezTo>
                  <a:cubicBezTo>
                    <a:pt x="162" y="1071"/>
                    <a:pt x="162" y="1071"/>
                    <a:pt x="162" y="1071"/>
                  </a:cubicBezTo>
                  <a:cubicBezTo>
                    <a:pt x="163" y="1071"/>
                    <a:pt x="164" y="1071"/>
                    <a:pt x="164" y="1072"/>
                  </a:cubicBezTo>
                  <a:cubicBezTo>
                    <a:pt x="165" y="1071"/>
                    <a:pt x="165" y="1071"/>
                    <a:pt x="165" y="1071"/>
                  </a:cubicBezTo>
                  <a:cubicBezTo>
                    <a:pt x="164" y="1071"/>
                    <a:pt x="163" y="1070"/>
                    <a:pt x="162" y="1070"/>
                  </a:cubicBezTo>
                  <a:cubicBezTo>
                    <a:pt x="161" y="1069"/>
                    <a:pt x="159" y="1068"/>
                    <a:pt x="158" y="1068"/>
                  </a:cubicBezTo>
                  <a:cubicBezTo>
                    <a:pt x="158" y="1067"/>
                    <a:pt x="157" y="1067"/>
                    <a:pt x="157" y="1067"/>
                  </a:cubicBezTo>
                  <a:cubicBezTo>
                    <a:pt x="156" y="1067"/>
                    <a:pt x="155" y="1066"/>
                    <a:pt x="154" y="1066"/>
                  </a:cubicBezTo>
                  <a:moveTo>
                    <a:pt x="167" y="1072"/>
                  </a:moveTo>
                  <a:cubicBezTo>
                    <a:pt x="166" y="1072"/>
                    <a:pt x="166" y="1072"/>
                    <a:pt x="165" y="1072"/>
                  </a:cubicBezTo>
                  <a:cubicBezTo>
                    <a:pt x="166" y="1072"/>
                    <a:pt x="166" y="1073"/>
                    <a:pt x="167" y="1073"/>
                  </a:cubicBezTo>
                  <a:cubicBezTo>
                    <a:pt x="167" y="1073"/>
                    <a:pt x="167" y="1073"/>
                    <a:pt x="167" y="1073"/>
                  </a:cubicBezTo>
                  <a:cubicBezTo>
                    <a:pt x="167" y="1073"/>
                    <a:pt x="168" y="1072"/>
                    <a:pt x="168" y="1072"/>
                  </a:cubicBezTo>
                  <a:cubicBezTo>
                    <a:pt x="168" y="1072"/>
                    <a:pt x="167" y="1072"/>
                    <a:pt x="167" y="1072"/>
                  </a:cubicBezTo>
                  <a:moveTo>
                    <a:pt x="169" y="1073"/>
                  </a:moveTo>
                  <a:cubicBezTo>
                    <a:pt x="169" y="1073"/>
                    <a:pt x="169" y="1073"/>
                    <a:pt x="168" y="1073"/>
                  </a:cubicBezTo>
                  <a:cubicBezTo>
                    <a:pt x="170" y="1074"/>
                    <a:pt x="172" y="1075"/>
                    <a:pt x="174" y="1076"/>
                  </a:cubicBezTo>
                  <a:cubicBezTo>
                    <a:pt x="175" y="1076"/>
                    <a:pt x="175" y="1076"/>
                    <a:pt x="176" y="1076"/>
                  </a:cubicBezTo>
                  <a:cubicBezTo>
                    <a:pt x="173" y="1075"/>
                    <a:pt x="171" y="1074"/>
                    <a:pt x="169" y="1073"/>
                  </a:cubicBezTo>
                  <a:moveTo>
                    <a:pt x="177" y="1076"/>
                  </a:moveTo>
                  <a:cubicBezTo>
                    <a:pt x="176" y="1076"/>
                    <a:pt x="176" y="1077"/>
                    <a:pt x="175" y="1077"/>
                  </a:cubicBezTo>
                  <a:cubicBezTo>
                    <a:pt x="176" y="1077"/>
                    <a:pt x="176" y="1077"/>
                    <a:pt x="176" y="1077"/>
                  </a:cubicBezTo>
                  <a:cubicBezTo>
                    <a:pt x="177" y="1077"/>
                    <a:pt x="177" y="1077"/>
                    <a:pt x="177" y="1078"/>
                  </a:cubicBezTo>
                  <a:cubicBezTo>
                    <a:pt x="178" y="1078"/>
                    <a:pt x="178" y="1078"/>
                    <a:pt x="179" y="1078"/>
                  </a:cubicBezTo>
                  <a:cubicBezTo>
                    <a:pt x="180" y="1079"/>
                    <a:pt x="181" y="1079"/>
                    <a:pt x="183" y="1080"/>
                  </a:cubicBezTo>
                  <a:cubicBezTo>
                    <a:pt x="183" y="1080"/>
                    <a:pt x="184" y="1080"/>
                    <a:pt x="184" y="1080"/>
                  </a:cubicBezTo>
                  <a:cubicBezTo>
                    <a:pt x="183" y="1079"/>
                    <a:pt x="181" y="1078"/>
                    <a:pt x="180" y="1078"/>
                  </a:cubicBezTo>
                  <a:cubicBezTo>
                    <a:pt x="179" y="1077"/>
                    <a:pt x="179" y="1077"/>
                    <a:pt x="178" y="1077"/>
                  </a:cubicBezTo>
                  <a:cubicBezTo>
                    <a:pt x="178" y="1077"/>
                    <a:pt x="178" y="1077"/>
                    <a:pt x="178" y="1077"/>
                  </a:cubicBezTo>
                  <a:cubicBezTo>
                    <a:pt x="177" y="1077"/>
                    <a:pt x="177" y="1076"/>
                    <a:pt x="177" y="1076"/>
                  </a:cubicBezTo>
                  <a:moveTo>
                    <a:pt x="185" y="1080"/>
                  </a:moveTo>
                  <a:cubicBezTo>
                    <a:pt x="185" y="1080"/>
                    <a:pt x="185" y="1080"/>
                    <a:pt x="184" y="1081"/>
                  </a:cubicBezTo>
                  <a:cubicBezTo>
                    <a:pt x="185" y="1081"/>
                    <a:pt x="185" y="1081"/>
                    <a:pt x="186" y="1081"/>
                  </a:cubicBezTo>
                  <a:cubicBezTo>
                    <a:pt x="187" y="1081"/>
                    <a:pt x="187" y="1081"/>
                    <a:pt x="187" y="1081"/>
                  </a:cubicBezTo>
                  <a:cubicBezTo>
                    <a:pt x="187" y="1081"/>
                    <a:pt x="187" y="1081"/>
                    <a:pt x="187" y="1081"/>
                  </a:cubicBezTo>
                  <a:cubicBezTo>
                    <a:pt x="187" y="1081"/>
                    <a:pt x="186" y="1080"/>
                    <a:pt x="185" y="1080"/>
                  </a:cubicBezTo>
                  <a:moveTo>
                    <a:pt x="189" y="1082"/>
                  </a:moveTo>
                  <a:cubicBezTo>
                    <a:pt x="188" y="1082"/>
                    <a:pt x="188" y="1082"/>
                    <a:pt x="187" y="1082"/>
                  </a:cubicBezTo>
                  <a:cubicBezTo>
                    <a:pt x="188" y="1082"/>
                    <a:pt x="189" y="1083"/>
                    <a:pt x="190" y="1083"/>
                  </a:cubicBezTo>
                  <a:cubicBezTo>
                    <a:pt x="191" y="1083"/>
                    <a:pt x="191" y="1084"/>
                    <a:pt x="192" y="1084"/>
                  </a:cubicBezTo>
                  <a:cubicBezTo>
                    <a:pt x="192" y="1084"/>
                    <a:pt x="193" y="1084"/>
                    <a:pt x="193" y="1084"/>
                  </a:cubicBezTo>
                  <a:cubicBezTo>
                    <a:pt x="193" y="1083"/>
                    <a:pt x="193" y="1083"/>
                    <a:pt x="193" y="1083"/>
                  </a:cubicBezTo>
                  <a:cubicBezTo>
                    <a:pt x="192" y="1083"/>
                    <a:pt x="192" y="1083"/>
                    <a:pt x="191" y="1083"/>
                  </a:cubicBezTo>
                  <a:cubicBezTo>
                    <a:pt x="190" y="1082"/>
                    <a:pt x="189" y="1082"/>
                    <a:pt x="189" y="1082"/>
                  </a:cubicBezTo>
                  <a:moveTo>
                    <a:pt x="194" y="1084"/>
                  </a:moveTo>
                  <a:cubicBezTo>
                    <a:pt x="194" y="1084"/>
                    <a:pt x="194" y="1084"/>
                    <a:pt x="193" y="1085"/>
                  </a:cubicBezTo>
                  <a:cubicBezTo>
                    <a:pt x="193" y="1085"/>
                    <a:pt x="193" y="1085"/>
                    <a:pt x="193" y="1085"/>
                  </a:cubicBezTo>
                  <a:cubicBezTo>
                    <a:pt x="194" y="1085"/>
                    <a:pt x="195" y="1085"/>
                    <a:pt x="196" y="1086"/>
                  </a:cubicBezTo>
                  <a:cubicBezTo>
                    <a:pt x="197" y="1086"/>
                    <a:pt x="198" y="1087"/>
                    <a:pt x="199" y="1087"/>
                  </a:cubicBezTo>
                  <a:cubicBezTo>
                    <a:pt x="199" y="1087"/>
                    <a:pt x="200" y="1087"/>
                    <a:pt x="200" y="1087"/>
                  </a:cubicBezTo>
                  <a:cubicBezTo>
                    <a:pt x="200" y="1087"/>
                    <a:pt x="200" y="1087"/>
                    <a:pt x="200" y="1087"/>
                  </a:cubicBezTo>
                  <a:cubicBezTo>
                    <a:pt x="200" y="1086"/>
                    <a:pt x="199" y="1086"/>
                    <a:pt x="199" y="1086"/>
                  </a:cubicBezTo>
                  <a:cubicBezTo>
                    <a:pt x="197" y="1085"/>
                    <a:pt x="196" y="1085"/>
                    <a:pt x="194" y="1084"/>
                  </a:cubicBezTo>
                  <a:moveTo>
                    <a:pt x="201" y="1087"/>
                  </a:moveTo>
                  <a:cubicBezTo>
                    <a:pt x="201" y="1087"/>
                    <a:pt x="201" y="1087"/>
                    <a:pt x="200" y="1088"/>
                  </a:cubicBezTo>
                  <a:cubicBezTo>
                    <a:pt x="200" y="1088"/>
                    <a:pt x="200" y="1088"/>
                    <a:pt x="200" y="1088"/>
                  </a:cubicBezTo>
                  <a:cubicBezTo>
                    <a:pt x="200" y="1088"/>
                    <a:pt x="201" y="1088"/>
                    <a:pt x="201" y="1088"/>
                  </a:cubicBezTo>
                  <a:cubicBezTo>
                    <a:pt x="202" y="1088"/>
                    <a:pt x="203" y="1089"/>
                    <a:pt x="204" y="1089"/>
                  </a:cubicBezTo>
                  <a:cubicBezTo>
                    <a:pt x="204" y="1089"/>
                    <a:pt x="204" y="1089"/>
                    <a:pt x="204" y="1089"/>
                  </a:cubicBezTo>
                  <a:cubicBezTo>
                    <a:pt x="205" y="1089"/>
                    <a:pt x="205" y="1089"/>
                    <a:pt x="206" y="1089"/>
                  </a:cubicBezTo>
                  <a:cubicBezTo>
                    <a:pt x="204" y="1088"/>
                    <a:pt x="203" y="1088"/>
                    <a:pt x="202" y="1087"/>
                  </a:cubicBezTo>
                  <a:cubicBezTo>
                    <a:pt x="201" y="1087"/>
                    <a:pt x="201" y="1087"/>
                    <a:pt x="201" y="1087"/>
                  </a:cubicBezTo>
                  <a:moveTo>
                    <a:pt x="207" y="1090"/>
                  </a:moveTo>
                  <a:cubicBezTo>
                    <a:pt x="207" y="1090"/>
                    <a:pt x="206" y="1090"/>
                    <a:pt x="206" y="1090"/>
                  </a:cubicBezTo>
                  <a:cubicBezTo>
                    <a:pt x="206" y="1090"/>
                    <a:pt x="206" y="1090"/>
                    <a:pt x="206" y="1090"/>
                  </a:cubicBezTo>
                  <a:cubicBezTo>
                    <a:pt x="206" y="1090"/>
                    <a:pt x="207" y="1090"/>
                    <a:pt x="207" y="1091"/>
                  </a:cubicBezTo>
                  <a:cubicBezTo>
                    <a:pt x="207" y="1091"/>
                    <a:pt x="208" y="1091"/>
                    <a:pt x="208" y="1091"/>
                  </a:cubicBezTo>
                  <a:cubicBezTo>
                    <a:pt x="208" y="1091"/>
                    <a:pt x="208" y="1091"/>
                    <a:pt x="208" y="1091"/>
                  </a:cubicBezTo>
                  <a:cubicBezTo>
                    <a:pt x="209" y="1091"/>
                    <a:pt x="209" y="1091"/>
                    <a:pt x="210" y="1091"/>
                  </a:cubicBezTo>
                  <a:cubicBezTo>
                    <a:pt x="209" y="1091"/>
                    <a:pt x="209" y="1090"/>
                    <a:pt x="209" y="1090"/>
                  </a:cubicBezTo>
                  <a:cubicBezTo>
                    <a:pt x="209" y="1090"/>
                    <a:pt x="208" y="1090"/>
                    <a:pt x="208" y="1090"/>
                  </a:cubicBezTo>
                  <a:cubicBezTo>
                    <a:pt x="208" y="1090"/>
                    <a:pt x="207" y="1090"/>
                    <a:pt x="207" y="1090"/>
                  </a:cubicBezTo>
                  <a:moveTo>
                    <a:pt x="211" y="1091"/>
                  </a:moveTo>
                  <a:cubicBezTo>
                    <a:pt x="211" y="1091"/>
                    <a:pt x="210" y="1092"/>
                    <a:pt x="210" y="1092"/>
                  </a:cubicBezTo>
                  <a:cubicBezTo>
                    <a:pt x="210" y="1092"/>
                    <a:pt x="211" y="1092"/>
                    <a:pt x="211" y="1092"/>
                  </a:cubicBezTo>
                  <a:cubicBezTo>
                    <a:pt x="211" y="1092"/>
                    <a:pt x="212" y="1093"/>
                    <a:pt x="212" y="1093"/>
                  </a:cubicBezTo>
                  <a:cubicBezTo>
                    <a:pt x="212" y="1093"/>
                    <a:pt x="213" y="1093"/>
                    <a:pt x="213" y="1093"/>
                  </a:cubicBezTo>
                  <a:cubicBezTo>
                    <a:pt x="216" y="1094"/>
                    <a:pt x="219" y="1096"/>
                    <a:pt x="222" y="1097"/>
                  </a:cubicBezTo>
                  <a:cubicBezTo>
                    <a:pt x="222" y="1097"/>
                    <a:pt x="223" y="1097"/>
                    <a:pt x="223" y="1097"/>
                  </a:cubicBezTo>
                  <a:cubicBezTo>
                    <a:pt x="228" y="1099"/>
                    <a:pt x="232" y="1101"/>
                    <a:pt x="237" y="1103"/>
                  </a:cubicBezTo>
                  <a:cubicBezTo>
                    <a:pt x="238" y="1103"/>
                    <a:pt x="239" y="1104"/>
                    <a:pt x="240" y="1104"/>
                  </a:cubicBezTo>
                  <a:cubicBezTo>
                    <a:pt x="243" y="1105"/>
                    <a:pt x="245" y="1107"/>
                    <a:pt x="248" y="1108"/>
                  </a:cubicBezTo>
                  <a:cubicBezTo>
                    <a:pt x="248" y="1108"/>
                    <a:pt x="249" y="1108"/>
                    <a:pt x="249" y="1108"/>
                  </a:cubicBezTo>
                  <a:cubicBezTo>
                    <a:pt x="256" y="1111"/>
                    <a:pt x="262" y="1113"/>
                    <a:pt x="269" y="1116"/>
                  </a:cubicBezTo>
                  <a:cubicBezTo>
                    <a:pt x="269" y="1116"/>
                    <a:pt x="270" y="1116"/>
                    <a:pt x="270" y="1116"/>
                  </a:cubicBezTo>
                  <a:cubicBezTo>
                    <a:pt x="275" y="1118"/>
                    <a:pt x="280" y="1120"/>
                    <a:pt x="286" y="1123"/>
                  </a:cubicBezTo>
                  <a:cubicBezTo>
                    <a:pt x="286" y="1123"/>
                    <a:pt x="286" y="1123"/>
                    <a:pt x="287" y="1123"/>
                  </a:cubicBezTo>
                  <a:cubicBezTo>
                    <a:pt x="292" y="1125"/>
                    <a:pt x="297" y="1127"/>
                    <a:pt x="303" y="1129"/>
                  </a:cubicBezTo>
                  <a:cubicBezTo>
                    <a:pt x="304" y="1129"/>
                    <a:pt x="305" y="1130"/>
                    <a:pt x="306" y="1130"/>
                  </a:cubicBezTo>
                  <a:cubicBezTo>
                    <a:pt x="311" y="1132"/>
                    <a:pt x="316" y="1134"/>
                    <a:pt x="322" y="1136"/>
                  </a:cubicBezTo>
                  <a:cubicBezTo>
                    <a:pt x="323" y="1137"/>
                    <a:pt x="324" y="1137"/>
                    <a:pt x="325" y="1137"/>
                  </a:cubicBezTo>
                  <a:cubicBezTo>
                    <a:pt x="325" y="1138"/>
                    <a:pt x="326" y="1138"/>
                    <a:pt x="327" y="1138"/>
                  </a:cubicBezTo>
                  <a:cubicBezTo>
                    <a:pt x="328" y="1138"/>
                    <a:pt x="328" y="1139"/>
                    <a:pt x="328" y="1139"/>
                  </a:cubicBezTo>
                  <a:cubicBezTo>
                    <a:pt x="331" y="1140"/>
                    <a:pt x="334" y="1141"/>
                    <a:pt x="337" y="1142"/>
                  </a:cubicBezTo>
                  <a:cubicBezTo>
                    <a:pt x="338" y="1142"/>
                    <a:pt x="339" y="1143"/>
                    <a:pt x="340" y="1143"/>
                  </a:cubicBezTo>
                  <a:cubicBezTo>
                    <a:pt x="341" y="1143"/>
                    <a:pt x="341" y="1143"/>
                    <a:pt x="342" y="1144"/>
                  </a:cubicBezTo>
                  <a:cubicBezTo>
                    <a:pt x="347" y="1146"/>
                    <a:pt x="352" y="1147"/>
                    <a:pt x="357" y="1149"/>
                  </a:cubicBezTo>
                  <a:cubicBezTo>
                    <a:pt x="357" y="1149"/>
                    <a:pt x="357" y="1149"/>
                    <a:pt x="358" y="1150"/>
                  </a:cubicBezTo>
                  <a:cubicBezTo>
                    <a:pt x="364" y="1152"/>
                    <a:pt x="370" y="1154"/>
                    <a:pt x="376" y="1156"/>
                  </a:cubicBezTo>
                  <a:cubicBezTo>
                    <a:pt x="377" y="1157"/>
                    <a:pt x="379" y="1157"/>
                    <a:pt x="380" y="1158"/>
                  </a:cubicBezTo>
                  <a:cubicBezTo>
                    <a:pt x="381" y="1158"/>
                    <a:pt x="381" y="1158"/>
                    <a:pt x="382" y="1158"/>
                  </a:cubicBezTo>
                  <a:cubicBezTo>
                    <a:pt x="392" y="1162"/>
                    <a:pt x="403" y="1165"/>
                    <a:pt x="413" y="1169"/>
                  </a:cubicBezTo>
                  <a:cubicBezTo>
                    <a:pt x="413" y="1169"/>
                    <a:pt x="414" y="1169"/>
                    <a:pt x="414" y="1169"/>
                  </a:cubicBezTo>
                  <a:cubicBezTo>
                    <a:pt x="429" y="1174"/>
                    <a:pt x="444" y="1179"/>
                    <a:pt x="458" y="1183"/>
                  </a:cubicBezTo>
                  <a:cubicBezTo>
                    <a:pt x="459" y="1183"/>
                    <a:pt x="459" y="1183"/>
                    <a:pt x="459" y="1183"/>
                  </a:cubicBezTo>
                  <a:cubicBezTo>
                    <a:pt x="465" y="1185"/>
                    <a:pt x="471" y="1186"/>
                    <a:pt x="477" y="1188"/>
                  </a:cubicBezTo>
                  <a:cubicBezTo>
                    <a:pt x="477" y="1188"/>
                    <a:pt x="478" y="1188"/>
                    <a:pt x="479" y="1188"/>
                  </a:cubicBezTo>
                  <a:cubicBezTo>
                    <a:pt x="472" y="1186"/>
                    <a:pt x="466" y="1184"/>
                    <a:pt x="460" y="1182"/>
                  </a:cubicBezTo>
                  <a:cubicBezTo>
                    <a:pt x="459" y="1182"/>
                    <a:pt x="459" y="1182"/>
                    <a:pt x="459" y="1182"/>
                  </a:cubicBezTo>
                  <a:cubicBezTo>
                    <a:pt x="444" y="1178"/>
                    <a:pt x="430" y="1173"/>
                    <a:pt x="415" y="1168"/>
                  </a:cubicBezTo>
                  <a:cubicBezTo>
                    <a:pt x="414" y="1168"/>
                    <a:pt x="414" y="1168"/>
                    <a:pt x="414" y="1168"/>
                  </a:cubicBezTo>
                  <a:cubicBezTo>
                    <a:pt x="403" y="1165"/>
                    <a:pt x="393" y="1161"/>
                    <a:pt x="383" y="1157"/>
                  </a:cubicBezTo>
                  <a:cubicBezTo>
                    <a:pt x="382" y="1157"/>
                    <a:pt x="382" y="1157"/>
                    <a:pt x="381" y="1157"/>
                  </a:cubicBezTo>
                  <a:cubicBezTo>
                    <a:pt x="380" y="1156"/>
                    <a:pt x="378" y="1156"/>
                    <a:pt x="376" y="1155"/>
                  </a:cubicBezTo>
                  <a:cubicBezTo>
                    <a:pt x="370" y="1153"/>
                    <a:pt x="365" y="1151"/>
                    <a:pt x="359" y="1149"/>
                  </a:cubicBezTo>
                  <a:cubicBezTo>
                    <a:pt x="359" y="1149"/>
                    <a:pt x="358" y="1149"/>
                    <a:pt x="358" y="1149"/>
                  </a:cubicBezTo>
                  <a:cubicBezTo>
                    <a:pt x="353" y="1147"/>
                    <a:pt x="349" y="1145"/>
                    <a:pt x="345" y="1144"/>
                  </a:cubicBezTo>
                  <a:cubicBezTo>
                    <a:pt x="344" y="1144"/>
                    <a:pt x="344" y="1143"/>
                    <a:pt x="343" y="1143"/>
                  </a:cubicBezTo>
                  <a:cubicBezTo>
                    <a:pt x="342" y="1143"/>
                    <a:pt x="341" y="1142"/>
                    <a:pt x="340" y="1142"/>
                  </a:cubicBezTo>
                  <a:cubicBezTo>
                    <a:pt x="337" y="1141"/>
                    <a:pt x="334" y="1140"/>
                    <a:pt x="331" y="1139"/>
                  </a:cubicBezTo>
                  <a:cubicBezTo>
                    <a:pt x="331" y="1139"/>
                    <a:pt x="330" y="1138"/>
                    <a:pt x="330" y="1138"/>
                  </a:cubicBezTo>
                  <a:cubicBezTo>
                    <a:pt x="329" y="1138"/>
                    <a:pt x="328" y="1138"/>
                    <a:pt x="327" y="1137"/>
                  </a:cubicBezTo>
                  <a:cubicBezTo>
                    <a:pt x="326" y="1137"/>
                    <a:pt x="326" y="1137"/>
                    <a:pt x="325" y="1136"/>
                  </a:cubicBezTo>
                  <a:cubicBezTo>
                    <a:pt x="319" y="1134"/>
                    <a:pt x="314" y="1132"/>
                    <a:pt x="309" y="1130"/>
                  </a:cubicBezTo>
                  <a:cubicBezTo>
                    <a:pt x="308" y="1130"/>
                    <a:pt x="307" y="1130"/>
                    <a:pt x="306" y="1129"/>
                  </a:cubicBezTo>
                  <a:cubicBezTo>
                    <a:pt x="299" y="1127"/>
                    <a:pt x="293" y="1124"/>
                    <a:pt x="287" y="1122"/>
                  </a:cubicBezTo>
                  <a:cubicBezTo>
                    <a:pt x="286" y="1122"/>
                    <a:pt x="286" y="1122"/>
                    <a:pt x="286" y="1121"/>
                  </a:cubicBezTo>
                  <a:cubicBezTo>
                    <a:pt x="281" y="1119"/>
                    <a:pt x="276" y="1117"/>
                    <a:pt x="270" y="1116"/>
                  </a:cubicBezTo>
                  <a:cubicBezTo>
                    <a:pt x="270" y="1115"/>
                    <a:pt x="270" y="1115"/>
                    <a:pt x="270" y="1115"/>
                  </a:cubicBezTo>
                  <a:cubicBezTo>
                    <a:pt x="263" y="1112"/>
                    <a:pt x="256" y="1110"/>
                    <a:pt x="250" y="1107"/>
                  </a:cubicBezTo>
                  <a:cubicBezTo>
                    <a:pt x="250" y="1107"/>
                    <a:pt x="249" y="1107"/>
                    <a:pt x="249" y="1107"/>
                  </a:cubicBezTo>
                  <a:cubicBezTo>
                    <a:pt x="247" y="1106"/>
                    <a:pt x="245" y="1105"/>
                    <a:pt x="243" y="1105"/>
                  </a:cubicBezTo>
                  <a:cubicBezTo>
                    <a:pt x="242" y="1104"/>
                    <a:pt x="241" y="1104"/>
                    <a:pt x="240" y="1103"/>
                  </a:cubicBezTo>
                  <a:cubicBezTo>
                    <a:pt x="235" y="1101"/>
                    <a:pt x="230" y="1099"/>
                    <a:pt x="225" y="1097"/>
                  </a:cubicBezTo>
                  <a:cubicBezTo>
                    <a:pt x="224" y="1097"/>
                    <a:pt x="224" y="1097"/>
                    <a:pt x="224" y="1096"/>
                  </a:cubicBezTo>
                  <a:cubicBezTo>
                    <a:pt x="220" y="1095"/>
                    <a:pt x="217" y="1094"/>
                    <a:pt x="214" y="1093"/>
                  </a:cubicBezTo>
                  <a:cubicBezTo>
                    <a:pt x="214" y="1092"/>
                    <a:pt x="214" y="1092"/>
                    <a:pt x="213" y="1092"/>
                  </a:cubicBezTo>
                  <a:cubicBezTo>
                    <a:pt x="212" y="1092"/>
                    <a:pt x="212" y="1091"/>
                    <a:pt x="211" y="1091"/>
                  </a:cubicBezTo>
                  <a:moveTo>
                    <a:pt x="481" y="1188"/>
                  </a:moveTo>
                  <a:cubicBezTo>
                    <a:pt x="480" y="1188"/>
                    <a:pt x="479" y="1188"/>
                    <a:pt x="479" y="1189"/>
                  </a:cubicBezTo>
                  <a:cubicBezTo>
                    <a:pt x="482" y="1189"/>
                    <a:pt x="484" y="1190"/>
                    <a:pt x="487" y="1191"/>
                  </a:cubicBezTo>
                  <a:cubicBezTo>
                    <a:pt x="488" y="1191"/>
                    <a:pt x="488" y="1191"/>
                    <a:pt x="488" y="1191"/>
                  </a:cubicBezTo>
                  <a:cubicBezTo>
                    <a:pt x="492" y="1192"/>
                    <a:pt x="496" y="1193"/>
                    <a:pt x="500" y="1195"/>
                  </a:cubicBezTo>
                  <a:cubicBezTo>
                    <a:pt x="501" y="1194"/>
                    <a:pt x="501" y="1194"/>
                    <a:pt x="502" y="1194"/>
                  </a:cubicBezTo>
                  <a:cubicBezTo>
                    <a:pt x="497" y="1193"/>
                    <a:pt x="493" y="1191"/>
                    <a:pt x="488" y="1190"/>
                  </a:cubicBezTo>
                  <a:cubicBezTo>
                    <a:pt x="487" y="1190"/>
                    <a:pt x="487" y="1190"/>
                    <a:pt x="487" y="1190"/>
                  </a:cubicBezTo>
                  <a:cubicBezTo>
                    <a:pt x="485" y="1189"/>
                    <a:pt x="483" y="1189"/>
                    <a:pt x="481" y="1188"/>
                  </a:cubicBezTo>
                  <a:moveTo>
                    <a:pt x="504" y="1195"/>
                  </a:moveTo>
                  <a:cubicBezTo>
                    <a:pt x="503" y="1195"/>
                    <a:pt x="503" y="1195"/>
                    <a:pt x="502" y="1195"/>
                  </a:cubicBezTo>
                  <a:cubicBezTo>
                    <a:pt x="503" y="1195"/>
                    <a:pt x="505" y="1196"/>
                    <a:pt x="506" y="1196"/>
                  </a:cubicBezTo>
                  <a:cubicBezTo>
                    <a:pt x="507" y="1196"/>
                    <a:pt x="507" y="1196"/>
                    <a:pt x="508" y="1197"/>
                  </a:cubicBezTo>
                  <a:cubicBezTo>
                    <a:pt x="513" y="1198"/>
                    <a:pt x="518" y="1199"/>
                    <a:pt x="523" y="1201"/>
                  </a:cubicBezTo>
                  <a:cubicBezTo>
                    <a:pt x="523" y="1200"/>
                    <a:pt x="524" y="1200"/>
                    <a:pt x="525" y="1200"/>
                  </a:cubicBezTo>
                  <a:cubicBezTo>
                    <a:pt x="519" y="1199"/>
                    <a:pt x="514" y="1197"/>
                    <a:pt x="509" y="1196"/>
                  </a:cubicBezTo>
                  <a:cubicBezTo>
                    <a:pt x="509" y="1196"/>
                    <a:pt x="508" y="1196"/>
                    <a:pt x="508" y="1196"/>
                  </a:cubicBezTo>
                  <a:cubicBezTo>
                    <a:pt x="506" y="1195"/>
                    <a:pt x="505" y="1195"/>
                    <a:pt x="504" y="1195"/>
                  </a:cubicBezTo>
                  <a:moveTo>
                    <a:pt x="526" y="1200"/>
                  </a:moveTo>
                  <a:cubicBezTo>
                    <a:pt x="526" y="1201"/>
                    <a:pt x="525" y="1201"/>
                    <a:pt x="524" y="1201"/>
                  </a:cubicBezTo>
                  <a:cubicBezTo>
                    <a:pt x="526" y="1201"/>
                    <a:pt x="528" y="1202"/>
                    <a:pt x="530" y="1202"/>
                  </a:cubicBezTo>
                  <a:cubicBezTo>
                    <a:pt x="530" y="1203"/>
                    <a:pt x="531" y="1203"/>
                    <a:pt x="531" y="1203"/>
                  </a:cubicBezTo>
                  <a:cubicBezTo>
                    <a:pt x="536" y="1204"/>
                    <a:pt x="542" y="1206"/>
                    <a:pt x="547" y="1207"/>
                  </a:cubicBezTo>
                  <a:cubicBezTo>
                    <a:pt x="548" y="1207"/>
                    <a:pt x="548" y="1207"/>
                    <a:pt x="549" y="1206"/>
                  </a:cubicBezTo>
                  <a:cubicBezTo>
                    <a:pt x="549" y="1206"/>
                    <a:pt x="549" y="1206"/>
                    <a:pt x="549" y="1206"/>
                  </a:cubicBezTo>
                  <a:cubicBezTo>
                    <a:pt x="543" y="1205"/>
                    <a:pt x="538" y="1204"/>
                    <a:pt x="532" y="1202"/>
                  </a:cubicBezTo>
                  <a:cubicBezTo>
                    <a:pt x="532" y="1202"/>
                    <a:pt x="531" y="1202"/>
                    <a:pt x="531" y="1202"/>
                  </a:cubicBezTo>
                  <a:cubicBezTo>
                    <a:pt x="529" y="1201"/>
                    <a:pt x="528" y="1201"/>
                    <a:pt x="526" y="1200"/>
                  </a:cubicBezTo>
                  <a:moveTo>
                    <a:pt x="551" y="1207"/>
                  </a:moveTo>
                  <a:cubicBezTo>
                    <a:pt x="550" y="1207"/>
                    <a:pt x="550" y="1207"/>
                    <a:pt x="549" y="1207"/>
                  </a:cubicBezTo>
                  <a:cubicBezTo>
                    <a:pt x="549" y="1208"/>
                    <a:pt x="550" y="1208"/>
                    <a:pt x="550" y="1208"/>
                  </a:cubicBezTo>
                  <a:cubicBezTo>
                    <a:pt x="551" y="1208"/>
                    <a:pt x="551" y="1208"/>
                    <a:pt x="552" y="1208"/>
                  </a:cubicBezTo>
                  <a:cubicBezTo>
                    <a:pt x="554" y="1209"/>
                    <a:pt x="557" y="1209"/>
                    <a:pt x="560" y="1210"/>
                  </a:cubicBezTo>
                  <a:cubicBezTo>
                    <a:pt x="560" y="1210"/>
                    <a:pt x="561" y="1210"/>
                    <a:pt x="561" y="1211"/>
                  </a:cubicBezTo>
                  <a:cubicBezTo>
                    <a:pt x="563" y="1211"/>
                    <a:pt x="566" y="1212"/>
                    <a:pt x="568" y="1212"/>
                  </a:cubicBezTo>
                  <a:cubicBezTo>
                    <a:pt x="569" y="1212"/>
                    <a:pt x="569" y="1212"/>
                    <a:pt x="570" y="1212"/>
                  </a:cubicBezTo>
                  <a:cubicBezTo>
                    <a:pt x="568" y="1211"/>
                    <a:pt x="565" y="1211"/>
                    <a:pt x="563" y="1210"/>
                  </a:cubicBezTo>
                  <a:cubicBezTo>
                    <a:pt x="562" y="1210"/>
                    <a:pt x="562" y="1210"/>
                    <a:pt x="561" y="1210"/>
                  </a:cubicBezTo>
                  <a:cubicBezTo>
                    <a:pt x="558" y="1209"/>
                    <a:pt x="554" y="1208"/>
                    <a:pt x="551" y="1207"/>
                  </a:cubicBezTo>
                  <a:moveTo>
                    <a:pt x="572" y="1212"/>
                  </a:moveTo>
                  <a:cubicBezTo>
                    <a:pt x="571" y="1213"/>
                    <a:pt x="571" y="1213"/>
                    <a:pt x="570" y="1213"/>
                  </a:cubicBezTo>
                  <a:cubicBezTo>
                    <a:pt x="576" y="1214"/>
                    <a:pt x="582" y="1216"/>
                    <a:pt x="588" y="1218"/>
                  </a:cubicBezTo>
                  <a:cubicBezTo>
                    <a:pt x="589" y="1217"/>
                    <a:pt x="589" y="1217"/>
                    <a:pt x="590" y="1217"/>
                  </a:cubicBezTo>
                  <a:cubicBezTo>
                    <a:pt x="586" y="1216"/>
                    <a:pt x="582" y="1215"/>
                    <a:pt x="577" y="1214"/>
                  </a:cubicBezTo>
                  <a:cubicBezTo>
                    <a:pt x="576" y="1213"/>
                    <a:pt x="574" y="1213"/>
                    <a:pt x="572" y="1212"/>
                  </a:cubicBezTo>
                  <a:moveTo>
                    <a:pt x="592" y="1218"/>
                  </a:moveTo>
                  <a:cubicBezTo>
                    <a:pt x="591" y="1218"/>
                    <a:pt x="591" y="1218"/>
                    <a:pt x="590" y="1218"/>
                  </a:cubicBezTo>
                  <a:cubicBezTo>
                    <a:pt x="591" y="1218"/>
                    <a:pt x="591" y="1218"/>
                    <a:pt x="592" y="1219"/>
                  </a:cubicBezTo>
                  <a:cubicBezTo>
                    <a:pt x="595" y="1219"/>
                    <a:pt x="598" y="1220"/>
                    <a:pt x="602" y="1221"/>
                  </a:cubicBezTo>
                  <a:cubicBezTo>
                    <a:pt x="606" y="1222"/>
                    <a:pt x="610" y="1223"/>
                    <a:pt x="614" y="1224"/>
                  </a:cubicBezTo>
                  <a:cubicBezTo>
                    <a:pt x="614" y="1224"/>
                    <a:pt x="614" y="1224"/>
                    <a:pt x="614" y="1224"/>
                  </a:cubicBezTo>
                  <a:cubicBezTo>
                    <a:pt x="613" y="1223"/>
                    <a:pt x="611" y="1223"/>
                    <a:pt x="609" y="1222"/>
                  </a:cubicBezTo>
                  <a:cubicBezTo>
                    <a:pt x="609" y="1222"/>
                    <a:pt x="608" y="1222"/>
                    <a:pt x="608" y="1222"/>
                  </a:cubicBezTo>
                  <a:cubicBezTo>
                    <a:pt x="602" y="1220"/>
                    <a:pt x="597" y="1219"/>
                    <a:pt x="592" y="1218"/>
                  </a:cubicBezTo>
                  <a:moveTo>
                    <a:pt x="616" y="1225"/>
                  </a:moveTo>
                  <a:cubicBezTo>
                    <a:pt x="621" y="1227"/>
                    <a:pt x="626" y="1228"/>
                    <a:pt x="631" y="1230"/>
                  </a:cubicBezTo>
                  <a:cubicBezTo>
                    <a:pt x="632" y="1229"/>
                    <a:pt x="633" y="1229"/>
                    <a:pt x="633" y="1229"/>
                  </a:cubicBezTo>
                  <a:cubicBezTo>
                    <a:pt x="633" y="1229"/>
                    <a:pt x="632" y="1229"/>
                    <a:pt x="631" y="1228"/>
                  </a:cubicBezTo>
                  <a:cubicBezTo>
                    <a:pt x="626" y="1227"/>
                    <a:pt x="621" y="1226"/>
                    <a:pt x="616" y="1225"/>
                  </a:cubicBezTo>
                  <a:moveTo>
                    <a:pt x="635" y="1230"/>
                  </a:moveTo>
                  <a:cubicBezTo>
                    <a:pt x="635" y="1230"/>
                    <a:pt x="634" y="1230"/>
                    <a:pt x="633" y="1230"/>
                  </a:cubicBezTo>
                  <a:cubicBezTo>
                    <a:pt x="635" y="1231"/>
                    <a:pt x="637" y="1231"/>
                    <a:pt x="639" y="1232"/>
                  </a:cubicBezTo>
                  <a:cubicBezTo>
                    <a:pt x="640" y="1232"/>
                    <a:pt x="641" y="1232"/>
                    <a:pt x="642" y="1233"/>
                  </a:cubicBezTo>
                  <a:cubicBezTo>
                    <a:pt x="644" y="1233"/>
                    <a:pt x="646" y="1234"/>
                    <a:pt x="649" y="1235"/>
                  </a:cubicBezTo>
                  <a:cubicBezTo>
                    <a:pt x="649" y="1235"/>
                    <a:pt x="650" y="1235"/>
                    <a:pt x="651" y="1234"/>
                  </a:cubicBezTo>
                  <a:cubicBezTo>
                    <a:pt x="647" y="1233"/>
                    <a:pt x="644" y="1232"/>
                    <a:pt x="640" y="1231"/>
                  </a:cubicBezTo>
                  <a:cubicBezTo>
                    <a:pt x="639" y="1231"/>
                    <a:pt x="639" y="1231"/>
                    <a:pt x="638" y="1230"/>
                  </a:cubicBezTo>
                  <a:cubicBezTo>
                    <a:pt x="637" y="1230"/>
                    <a:pt x="636" y="1230"/>
                    <a:pt x="635" y="1230"/>
                  </a:cubicBezTo>
                  <a:moveTo>
                    <a:pt x="653" y="1235"/>
                  </a:moveTo>
                  <a:cubicBezTo>
                    <a:pt x="652" y="1235"/>
                    <a:pt x="651" y="1235"/>
                    <a:pt x="651" y="1235"/>
                  </a:cubicBezTo>
                  <a:cubicBezTo>
                    <a:pt x="655" y="1237"/>
                    <a:pt x="660" y="1238"/>
                    <a:pt x="665" y="1240"/>
                  </a:cubicBezTo>
                  <a:cubicBezTo>
                    <a:pt x="665" y="1240"/>
                    <a:pt x="666" y="1240"/>
                    <a:pt x="666" y="1240"/>
                  </a:cubicBezTo>
                  <a:cubicBezTo>
                    <a:pt x="662" y="1238"/>
                    <a:pt x="657" y="1236"/>
                    <a:pt x="653" y="1235"/>
                  </a:cubicBezTo>
                  <a:moveTo>
                    <a:pt x="668" y="1240"/>
                  </a:moveTo>
                  <a:cubicBezTo>
                    <a:pt x="668" y="1240"/>
                    <a:pt x="667" y="1240"/>
                    <a:pt x="666" y="1241"/>
                  </a:cubicBezTo>
                  <a:cubicBezTo>
                    <a:pt x="666" y="1241"/>
                    <a:pt x="667" y="1241"/>
                    <a:pt x="667" y="1241"/>
                  </a:cubicBezTo>
                  <a:cubicBezTo>
                    <a:pt x="668" y="1241"/>
                    <a:pt x="669" y="1241"/>
                    <a:pt x="669" y="1242"/>
                  </a:cubicBezTo>
                  <a:cubicBezTo>
                    <a:pt x="670" y="1242"/>
                    <a:pt x="671" y="1241"/>
                    <a:pt x="672" y="1241"/>
                  </a:cubicBezTo>
                  <a:cubicBezTo>
                    <a:pt x="671" y="1241"/>
                    <a:pt x="669" y="1241"/>
                    <a:pt x="668" y="1240"/>
                  </a:cubicBezTo>
                  <a:moveTo>
                    <a:pt x="677" y="1243"/>
                  </a:moveTo>
                  <a:cubicBezTo>
                    <a:pt x="676" y="1243"/>
                    <a:pt x="676" y="1243"/>
                    <a:pt x="676" y="1244"/>
                  </a:cubicBezTo>
                  <a:cubicBezTo>
                    <a:pt x="676" y="1244"/>
                    <a:pt x="677" y="1244"/>
                    <a:pt x="678" y="1244"/>
                  </a:cubicBezTo>
                  <a:cubicBezTo>
                    <a:pt x="678" y="1244"/>
                    <a:pt x="677" y="1243"/>
                    <a:pt x="677" y="1243"/>
                  </a:cubicBezTo>
                  <a:moveTo>
                    <a:pt x="678" y="1245"/>
                  </a:moveTo>
                  <a:cubicBezTo>
                    <a:pt x="679" y="1245"/>
                    <a:pt x="681" y="1246"/>
                    <a:pt x="682" y="1246"/>
                  </a:cubicBezTo>
                  <a:cubicBezTo>
                    <a:pt x="684" y="1247"/>
                    <a:pt x="686" y="1247"/>
                    <a:pt x="688" y="1247"/>
                  </a:cubicBezTo>
                  <a:cubicBezTo>
                    <a:pt x="686" y="1247"/>
                    <a:pt x="684" y="1246"/>
                    <a:pt x="682" y="1245"/>
                  </a:cubicBezTo>
                  <a:cubicBezTo>
                    <a:pt x="681" y="1245"/>
                    <a:pt x="679" y="1245"/>
                    <a:pt x="678" y="1245"/>
                  </a:cubicBezTo>
                  <a:moveTo>
                    <a:pt x="687" y="1248"/>
                  </a:moveTo>
                  <a:cubicBezTo>
                    <a:pt x="688" y="1249"/>
                    <a:pt x="689" y="1249"/>
                    <a:pt x="689" y="1249"/>
                  </a:cubicBezTo>
                  <a:cubicBezTo>
                    <a:pt x="690" y="1249"/>
                    <a:pt x="691" y="1250"/>
                    <a:pt x="692" y="1250"/>
                  </a:cubicBezTo>
                  <a:cubicBezTo>
                    <a:pt x="707" y="1256"/>
                    <a:pt x="721" y="1262"/>
                    <a:pt x="735" y="1267"/>
                  </a:cubicBezTo>
                  <a:cubicBezTo>
                    <a:pt x="735" y="1267"/>
                    <a:pt x="735" y="1267"/>
                    <a:pt x="735" y="1266"/>
                  </a:cubicBezTo>
                  <a:cubicBezTo>
                    <a:pt x="734" y="1266"/>
                    <a:pt x="733" y="1265"/>
                    <a:pt x="732" y="1265"/>
                  </a:cubicBezTo>
                  <a:cubicBezTo>
                    <a:pt x="721" y="1261"/>
                    <a:pt x="710" y="1256"/>
                    <a:pt x="698" y="1252"/>
                  </a:cubicBezTo>
                  <a:cubicBezTo>
                    <a:pt x="696" y="1251"/>
                    <a:pt x="695" y="1250"/>
                    <a:pt x="693" y="1250"/>
                  </a:cubicBezTo>
                  <a:cubicBezTo>
                    <a:pt x="691" y="1249"/>
                    <a:pt x="689" y="1249"/>
                    <a:pt x="687" y="1248"/>
                  </a:cubicBezTo>
                  <a:moveTo>
                    <a:pt x="736" y="1267"/>
                  </a:moveTo>
                  <a:cubicBezTo>
                    <a:pt x="736" y="1267"/>
                    <a:pt x="736" y="1267"/>
                    <a:pt x="736" y="1268"/>
                  </a:cubicBezTo>
                  <a:cubicBezTo>
                    <a:pt x="738" y="1268"/>
                    <a:pt x="739" y="1269"/>
                    <a:pt x="740" y="1269"/>
                  </a:cubicBezTo>
                  <a:cubicBezTo>
                    <a:pt x="739" y="1268"/>
                    <a:pt x="737" y="1268"/>
                    <a:pt x="736" y="1267"/>
                  </a:cubicBezTo>
                  <a:moveTo>
                    <a:pt x="741" y="1268"/>
                  </a:moveTo>
                  <a:cubicBezTo>
                    <a:pt x="742" y="1269"/>
                    <a:pt x="743" y="1269"/>
                    <a:pt x="744" y="1270"/>
                  </a:cubicBezTo>
                  <a:cubicBezTo>
                    <a:pt x="744" y="1270"/>
                    <a:pt x="743" y="1269"/>
                    <a:pt x="743" y="1269"/>
                  </a:cubicBezTo>
                  <a:cubicBezTo>
                    <a:pt x="742" y="1269"/>
                    <a:pt x="742" y="1269"/>
                    <a:pt x="741" y="1268"/>
                  </a:cubicBezTo>
                  <a:moveTo>
                    <a:pt x="746" y="1270"/>
                  </a:moveTo>
                  <a:cubicBezTo>
                    <a:pt x="747" y="1271"/>
                    <a:pt x="748" y="1272"/>
                    <a:pt x="749" y="1272"/>
                  </a:cubicBezTo>
                  <a:cubicBezTo>
                    <a:pt x="749" y="1273"/>
                    <a:pt x="749" y="1273"/>
                    <a:pt x="749" y="1273"/>
                  </a:cubicBezTo>
                  <a:cubicBezTo>
                    <a:pt x="751" y="1273"/>
                    <a:pt x="752" y="1274"/>
                    <a:pt x="754" y="1274"/>
                  </a:cubicBezTo>
                  <a:cubicBezTo>
                    <a:pt x="754" y="1274"/>
                    <a:pt x="754" y="1274"/>
                    <a:pt x="754" y="1273"/>
                  </a:cubicBezTo>
                  <a:cubicBezTo>
                    <a:pt x="751" y="1272"/>
                    <a:pt x="749" y="1271"/>
                    <a:pt x="746" y="1270"/>
                  </a:cubicBezTo>
                  <a:moveTo>
                    <a:pt x="755" y="1274"/>
                  </a:moveTo>
                  <a:cubicBezTo>
                    <a:pt x="755" y="1274"/>
                    <a:pt x="755" y="1274"/>
                    <a:pt x="755" y="1275"/>
                  </a:cubicBezTo>
                  <a:cubicBezTo>
                    <a:pt x="761" y="1277"/>
                    <a:pt x="767" y="1279"/>
                    <a:pt x="773" y="1281"/>
                  </a:cubicBezTo>
                  <a:cubicBezTo>
                    <a:pt x="773" y="1281"/>
                    <a:pt x="773" y="1281"/>
                    <a:pt x="773" y="1280"/>
                  </a:cubicBezTo>
                  <a:cubicBezTo>
                    <a:pt x="767" y="1278"/>
                    <a:pt x="761" y="1276"/>
                    <a:pt x="755" y="1274"/>
                  </a:cubicBezTo>
                  <a:moveTo>
                    <a:pt x="774" y="1281"/>
                  </a:moveTo>
                  <a:cubicBezTo>
                    <a:pt x="774" y="1281"/>
                    <a:pt x="774" y="1281"/>
                    <a:pt x="774" y="1282"/>
                  </a:cubicBezTo>
                  <a:cubicBezTo>
                    <a:pt x="776" y="1282"/>
                    <a:pt x="778" y="1283"/>
                    <a:pt x="779" y="1283"/>
                  </a:cubicBezTo>
                  <a:cubicBezTo>
                    <a:pt x="779" y="1283"/>
                    <a:pt x="779" y="1282"/>
                    <a:pt x="778" y="1282"/>
                  </a:cubicBezTo>
                  <a:cubicBezTo>
                    <a:pt x="777" y="1281"/>
                    <a:pt x="775" y="1281"/>
                    <a:pt x="774" y="1281"/>
                  </a:cubicBezTo>
                  <a:moveTo>
                    <a:pt x="780" y="1283"/>
                  </a:moveTo>
                  <a:cubicBezTo>
                    <a:pt x="780" y="1283"/>
                    <a:pt x="781" y="1284"/>
                    <a:pt x="781" y="1284"/>
                  </a:cubicBezTo>
                  <a:cubicBezTo>
                    <a:pt x="785" y="1285"/>
                    <a:pt x="789" y="1287"/>
                    <a:pt x="793" y="1288"/>
                  </a:cubicBezTo>
                  <a:cubicBezTo>
                    <a:pt x="793" y="1288"/>
                    <a:pt x="793" y="1287"/>
                    <a:pt x="793" y="1287"/>
                  </a:cubicBezTo>
                  <a:cubicBezTo>
                    <a:pt x="789" y="1286"/>
                    <a:pt x="784" y="1284"/>
                    <a:pt x="780" y="1283"/>
                  </a:cubicBezTo>
                  <a:moveTo>
                    <a:pt x="794" y="1287"/>
                  </a:moveTo>
                  <a:cubicBezTo>
                    <a:pt x="794" y="1288"/>
                    <a:pt x="794" y="1288"/>
                    <a:pt x="794" y="1289"/>
                  </a:cubicBezTo>
                  <a:cubicBezTo>
                    <a:pt x="799" y="1290"/>
                    <a:pt x="803" y="1291"/>
                    <a:pt x="807" y="1293"/>
                  </a:cubicBezTo>
                  <a:cubicBezTo>
                    <a:pt x="807" y="1292"/>
                    <a:pt x="806" y="1292"/>
                    <a:pt x="806" y="1291"/>
                  </a:cubicBezTo>
                  <a:cubicBezTo>
                    <a:pt x="802" y="1290"/>
                    <a:pt x="798" y="1289"/>
                    <a:pt x="794" y="1287"/>
                  </a:cubicBezTo>
                  <a:moveTo>
                    <a:pt x="808" y="1292"/>
                  </a:moveTo>
                  <a:cubicBezTo>
                    <a:pt x="808" y="1292"/>
                    <a:pt x="808" y="1293"/>
                    <a:pt x="808" y="1293"/>
                  </a:cubicBezTo>
                  <a:cubicBezTo>
                    <a:pt x="810" y="1294"/>
                    <a:pt x="812" y="1294"/>
                    <a:pt x="814" y="1295"/>
                  </a:cubicBezTo>
                  <a:cubicBezTo>
                    <a:pt x="814" y="1295"/>
                    <a:pt x="814" y="1294"/>
                    <a:pt x="814" y="1294"/>
                  </a:cubicBezTo>
                  <a:cubicBezTo>
                    <a:pt x="812" y="1293"/>
                    <a:pt x="810" y="1293"/>
                    <a:pt x="808" y="1292"/>
                  </a:cubicBezTo>
                  <a:moveTo>
                    <a:pt x="815" y="1294"/>
                  </a:moveTo>
                  <a:cubicBezTo>
                    <a:pt x="815" y="1295"/>
                    <a:pt x="815" y="1295"/>
                    <a:pt x="815" y="1295"/>
                  </a:cubicBezTo>
                  <a:cubicBezTo>
                    <a:pt x="822" y="1298"/>
                    <a:pt x="829" y="1300"/>
                    <a:pt x="836" y="1302"/>
                  </a:cubicBezTo>
                  <a:cubicBezTo>
                    <a:pt x="836" y="1301"/>
                    <a:pt x="836" y="1301"/>
                    <a:pt x="836" y="1300"/>
                  </a:cubicBezTo>
                  <a:cubicBezTo>
                    <a:pt x="829" y="1299"/>
                    <a:pt x="822" y="1296"/>
                    <a:pt x="815" y="1294"/>
                  </a:cubicBezTo>
                  <a:moveTo>
                    <a:pt x="837" y="1301"/>
                  </a:moveTo>
                  <a:cubicBezTo>
                    <a:pt x="837" y="1301"/>
                    <a:pt x="837" y="1302"/>
                    <a:pt x="837" y="1302"/>
                  </a:cubicBezTo>
                  <a:cubicBezTo>
                    <a:pt x="839" y="1303"/>
                    <a:pt x="842" y="1303"/>
                    <a:pt x="844" y="1304"/>
                  </a:cubicBezTo>
                  <a:cubicBezTo>
                    <a:pt x="843" y="1303"/>
                    <a:pt x="842" y="1303"/>
                    <a:pt x="841" y="1302"/>
                  </a:cubicBezTo>
                  <a:cubicBezTo>
                    <a:pt x="839" y="1302"/>
                    <a:pt x="838" y="1301"/>
                    <a:pt x="837" y="1301"/>
                  </a:cubicBezTo>
                  <a:moveTo>
                    <a:pt x="844" y="1303"/>
                  </a:moveTo>
                  <a:cubicBezTo>
                    <a:pt x="845" y="1304"/>
                    <a:pt x="846" y="1304"/>
                    <a:pt x="848" y="1305"/>
                  </a:cubicBezTo>
                  <a:cubicBezTo>
                    <a:pt x="852" y="1306"/>
                    <a:pt x="856" y="1307"/>
                    <a:pt x="861" y="1308"/>
                  </a:cubicBezTo>
                  <a:cubicBezTo>
                    <a:pt x="860" y="1308"/>
                    <a:pt x="860" y="1308"/>
                    <a:pt x="860" y="1307"/>
                  </a:cubicBezTo>
                  <a:cubicBezTo>
                    <a:pt x="855" y="1306"/>
                    <a:pt x="850" y="1304"/>
                    <a:pt x="844" y="1303"/>
                  </a:cubicBezTo>
                  <a:moveTo>
                    <a:pt x="861" y="1308"/>
                  </a:moveTo>
                  <a:cubicBezTo>
                    <a:pt x="861" y="1308"/>
                    <a:pt x="862" y="1308"/>
                    <a:pt x="862" y="1309"/>
                  </a:cubicBezTo>
                  <a:cubicBezTo>
                    <a:pt x="867" y="1310"/>
                    <a:pt x="871" y="1311"/>
                    <a:pt x="876" y="1312"/>
                  </a:cubicBezTo>
                  <a:cubicBezTo>
                    <a:pt x="875" y="1312"/>
                    <a:pt x="874" y="1311"/>
                    <a:pt x="874" y="1311"/>
                  </a:cubicBezTo>
                  <a:cubicBezTo>
                    <a:pt x="869" y="1310"/>
                    <a:pt x="865" y="1309"/>
                    <a:pt x="861" y="1308"/>
                  </a:cubicBezTo>
                  <a:moveTo>
                    <a:pt x="876" y="1311"/>
                  </a:moveTo>
                  <a:cubicBezTo>
                    <a:pt x="877" y="1312"/>
                    <a:pt x="878" y="1312"/>
                    <a:pt x="878" y="1313"/>
                  </a:cubicBezTo>
                  <a:cubicBezTo>
                    <a:pt x="881" y="1313"/>
                    <a:pt x="883" y="1314"/>
                    <a:pt x="886" y="1314"/>
                  </a:cubicBezTo>
                  <a:cubicBezTo>
                    <a:pt x="885" y="1314"/>
                    <a:pt x="885" y="1314"/>
                    <a:pt x="885" y="1313"/>
                  </a:cubicBezTo>
                  <a:cubicBezTo>
                    <a:pt x="882" y="1313"/>
                    <a:pt x="879" y="1312"/>
                    <a:pt x="876" y="1311"/>
                  </a:cubicBezTo>
                  <a:moveTo>
                    <a:pt x="886" y="1314"/>
                  </a:moveTo>
                  <a:cubicBezTo>
                    <a:pt x="886" y="1314"/>
                    <a:pt x="887" y="1314"/>
                    <a:pt x="887" y="1315"/>
                  </a:cubicBezTo>
                  <a:cubicBezTo>
                    <a:pt x="892" y="1316"/>
                    <a:pt x="897" y="1317"/>
                    <a:pt x="902" y="1318"/>
                  </a:cubicBezTo>
                  <a:cubicBezTo>
                    <a:pt x="902" y="1317"/>
                    <a:pt x="901" y="1317"/>
                    <a:pt x="900" y="1316"/>
                  </a:cubicBezTo>
                  <a:cubicBezTo>
                    <a:pt x="896" y="1316"/>
                    <a:pt x="891" y="1315"/>
                    <a:pt x="886" y="1314"/>
                  </a:cubicBezTo>
                  <a:moveTo>
                    <a:pt x="902" y="1317"/>
                  </a:moveTo>
                  <a:cubicBezTo>
                    <a:pt x="903" y="1317"/>
                    <a:pt x="904" y="1318"/>
                    <a:pt x="904" y="1318"/>
                  </a:cubicBezTo>
                  <a:cubicBezTo>
                    <a:pt x="907" y="1319"/>
                    <a:pt x="909" y="1319"/>
                    <a:pt x="911" y="1319"/>
                  </a:cubicBezTo>
                  <a:cubicBezTo>
                    <a:pt x="911" y="1319"/>
                    <a:pt x="910" y="1319"/>
                    <a:pt x="910" y="1318"/>
                  </a:cubicBezTo>
                  <a:cubicBezTo>
                    <a:pt x="908" y="1318"/>
                    <a:pt x="905" y="1317"/>
                    <a:pt x="902" y="1317"/>
                  </a:cubicBezTo>
                  <a:moveTo>
                    <a:pt x="912" y="1318"/>
                  </a:moveTo>
                  <a:cubicBezTo>
                    <a:pt x="912" y="1319"/>
                    <a:pt x="912" y="1319"/>
                    <a:pt x="913" y="1320"/>
                  </a:cubicBezTo>
                  <a:cubicBezTo>
                    <a:pt x="917" y="1320"/>
                    <a:pt x="921" y="1321"/>
                    <a:pt x="925" y="1321"/>
                  </a:cubicBezTo>
                  <a:cubicBezTo>
                    <a:pt x="925" y="1321"/>
                    <a:pt x="924" y="1321"/>
                    <a:pt x="924" y="1320"/>
                  </a:cubicBezTo>
                  <a:cubicBezTo>
                    <a:pt x="920" y="1320"/>
                    <a:pt x="916" y="1319"/>
                    <a:pt x="912" y="1318"/>
                  </a:cubicBezTo>
                  <a:moveTo>
                    <a:pt x="925" y="1321"/>
                  </a:moveTo>
                  <a:cubicBezTo>
                    <a:pt x="926" y="1321"/>
                    <a:pt x="926" y="1321"/>
                    <a:pt x="927" y="1322"/>
                  </a:cubicBezTo>
                  <a:cubicBezTo>
                    <a:pt x="930" y="1322"/>
                    <a:pt x="933" y="1322"/>
                    <a:pt x="936" y="1323"/>
                  </a:cubicBezTo>
                  <a:cubicBezTo>
                    <a:pt x="936" y="1322"/>
                    <a:pt x="936" y="1322"/>
                    <a:pt x="935" y="1322"/>
                  </a:cubicBezTo>
                  <a:cubicBezTo>
                    <a:pt x="932" y="1321"/>
                    <a:pt x="929" y="1321"/>
                    <a:pt x="925" y="1321"/>
                  </a:cubicBezTo>
                  <a:moveTo>
                    <a:pt x="937" y="1322"/>
                  </a:moveTo>
                  <a:cubicBezTo>
                    <a:pt x="937" y="1322"/>
                    <a:pt x="937" y="1323"/>
                    <a:pt x="938" y="1323"/>
                  </a:cubicBezTo>
                  <a:cubicBezTo>
                    <a:pt x="940" y="1323"/>
                    <a:pt x="943" y="1323"/>
                    <a:pt x="946" y="1324"/>
                  </a:cubicBezTo>
                  <a:cubicBezTo>
                    <a:pt x="945" y="1323"/>
                    <a:pt x="945" y="1323"/>
                    <a:pt x="944" y="1322"/>
                  </a:cubicBezTo>
                  <a:cubicBezTo>
                    <a:pt x="942" y="1322"/>
                    <a:pt x="939" y="1322"/>
                    <a:pt x="937" y="1322"/>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56" name="Freeform 85"/>
            <p:cNvSpPr>
              <a:spLocks noEditPoints="1"/>
            </p:cNvSpPr>
            <p:nvPr userDrawn="1"/>
          </p:nvSpPr>
          <p:spPr bwMode="auto">
            <a:xfrm>
              <a:off x="1946" y="3058"/>
              <a:ext cx="3731" cy="2675"/>
            </a:xfrm>
            <a:custGeom>
              <a:avLst/>
              <a:gdLst>
                <a:gd name="T0" fmla="*/ 2147483646 w 1841"/>
                <a:gd name="T1" fmla="*/ 2147483646 h 1319"/>
                <a:gd name="T2" fmla="*/ 2147483646 w 1841"/>
                <a:gd name="T3" fmla="*/ 2147483646 h 1319"/>
                <a:gd name="T4" fmla="*/ 2147483646 w 1841"/>
                <a:gd name="T5" fmla="*/ 2147483646 h 1319"/>
                <a:gd name="T6" fmla="*/ 2147483646 w 1841"/>
                <a:gd name="T7" fmla="*/ 2147483646 h 1319"/>
                <a:gd name="T8" fmla="*/ 2147483646 w 1841"/>
                <a:gd name="T9" fmla="*/ 2147483646 h 1319"/>
                <a:gd name="T10" fmla="*/ 2147483646 w 1841"/>
                <a:gd name="T11" fmla="*/ 2147483646 h 1319"/>
                <a:gd name="T12" fmla="*/ 2147483646 w 1841"/>
                <a:gd name="T13" fmla="*/ 2147483646 h 1319"/>
                <a:gd name="T14" fmla="*/ 2147483646 w 1841"/>
                <a:gd name="T15" fmla="*/ 2147483646 h 1319"/>
                <a:gd name="T16" fmla="*/ 2147483646 w 1841"/>
                <a:gd name="T17" fmla="*/ 2147483646 h 1319"/>
                <a:gd name="T18" fmla="*/ 2147483646 w 1841"/>
                <a:gd name="T19" fmla="*/ 2147483646 h 1319"/>
                <a:gd name="T20" fmla="*/ 2147483646 w 1841"/>
                <a:gd name="T21" fmla="*/ 2147483646 h 1319"/>
                <a:gd name="T22" fmla="*/ 2147483646 w 1841"/>
                <a:gd name="T23" fmla="*/ 2147483646 h 1319"/>
                <a:gd name="T24" fmla="*/ 2147483646 w 1841"/>
                <a:gd name="T25" fmla="*/ 2147483646 h 1319"/>
                <a:gd name="T26" fmla="*/ 2147483646 w 1841"/>
                <a:gd name="T27" fmla="*/ 2147483646 h 1319"/>
                <a:gd name="T28" fmla="*/ 2147483646 w 1841"/>
                <a:gd name="T29" fmla="*/ 2147483646 h 1319"/>
                <a:gd name="T30" fmla="*/ 2147483646 w 1841"/>
                <a:gd name="T31" fmla="*/ 2147483646 h 1319"/>
                <a:gd name="T32" fmla="*/ 2147483646 w 1841"/>
                <a:gd name="T33" fmla="*/ 2147483646 h 1319"/>
                <a:gd name="T34" fmla="*/ 2147483646 w 1841"/>
                <a:gd name="T35" fmla="*/ 2147483646 h 1319"/>
                <a:gd name="T36" fmla="*/ 2147483646 w 1841"/>
                <a:gd name="T37" fmla="*/ 2147483646 h 1319"/>
                <a:gd name="T38" fmla="*/ 2147483646 w 1841"/>
                <a:gd name="T39" fmla="*/ 2147483646 h 1319"/>
                <a:gd name="T40" fmla="*/ 2147483646 w 1841"/>
                <a:gd name="T41" fmla="*/ 2147483646 h 1319"/>
                <a:gd name="T42" fmla="*/ 2147483646 w 1841"/>
                <a:gd name="T43" fmla="*/ 2147483646 h 1319"/>
                <a:gd name="T44" fmla="*/ 2147483646 w 1841"/>
                <a:gd name="T45" fmla="*/ 2147483646 h 1319"/>
                <a:gd name="T46" fmla="*/ 2147483646 w 1841"/>
                <a:gd name="T47" fmla="*/ 2147483646 h 1319"/>
                <a:gd name="T48" fmla="*/ 2147483646 w 1841"/>
                <a:gd name="T49" fmla="*/ 2147483646 h 1319"/>
                <a:gd name="T50" fmla="*/ 2147483646 w 1841"/>
                <a:gd name="T51" fmla="*/ 2147483646 h 1319"/>
                <a:gd name="T52" fmla="*/ 2147483646 w 1841"/>
                <a:gd name="T53" fmla="*/ 2147483646 h 1319"/>
                <a:gd name="T54" fmla="*/ 2147483646 w 1841"/>
                <a:gd name="T55" fmla="*/ 2147483646 h 1319"/>
                <a:gd name="T56" fmla="*/ 2147483646 w 1841"/>
                <a:gd name="T57" fmla="*/ 2147483646 h 1319"/>
                <a:gd name="T58" fmla="*/ 2147483646 w 1841"/>
                <a:gd name="T59" fmla="*/ 2147483646 h 1319"/>
                <a:gd name="T60" fmla="*/ 2147483646 w 1841"/>
                <a:gd name="T61" fmla="*/ 2147483646 h 1319"/>
                <a:gd name="T62" fmla="*/ 0 w 1841"/>
                <a:gd name="T63" fmla="*/ 2147483646 h 1319"/>
                <a:gd name="T64" fmla="*/ 2147483646 w 1841"/>
                <a:gd name="T65" fmla="*/ 2147483646 h 1319"/>
                <a:gd name="T66" fmla="*/ 2147483646 w 1841"/>
                <a:gd name="T67" fmla="*/ 2147483646 h 1319"/>
                <a:gd name="T68" fmla="*/ 2147483646 w 1841"/>
                <a:gd name="T69" fmla="*/ 2147483646 h 1319"/>
                <a:gd name="T70" fmla="*/ 2147483646 w 1841"/>
                <a:gd name="T71" fmla="*/ 2147483646 h 1319"/>
                <a:gd name="T72" fmla="*/ 2147483646 w 1841"/>
                <a:gd name="T73" fmla="*/ 2147483646 h 1319"/>
                <a:gd name="T74" fmla="*/ 2147483646 w 1841"/>
                <a:gd name="T75" fmla="*/ 2147483646 h 1319"/>
                <a:gd name="T76" fmla="*/ 2147483646 w 1841"/>
                <a:gd name="T77" fmla="*/ 2147483646 h 1319"/>
                <a:gd name="T78" fmla="*/ 2147483646 w 1841"/>
                <a:gd name="T79" fmla="*/ 2147483646 h 1319"/>
                <a:gd name="T80" fmla="*/ 2147483646 w 1841"/>
                <a:gd name="T81" fmla="*/ 2147483646 h 1319"/>
                <a:gd name="T82" fmla="*/ 2147483646 w 1841"/>
                <a:gd name="T83" fmla="*/ 2147483646 h 1319"/>
                <a:gd name="T84" fmla="*/ 2147483646 w 1841"/>
                <a:gd name="T85" fmla="*/ 2147483646 h 1319"/>
                <a:gd name="T86" fmla="*/ 2147483646 w 1841"/>
                <a:gd name="T87" fmla="*/ 2147483646 h 1319"/>
                <a:gd name="T88" fmla="*/ 2147483646 w 1841"/>
                <a:gd name="T89" fmla="*/ 2147483646 h 1319"/>
                <a:gd name="T90" fmla="*/ 2147483646 w 1841"/>
                <a:gd name="T91" fmla="*/ 2147483646 h 1319"/>
                <a:gd name="T92" fmla="*/ 2147483646 w 1841"/>
                <a:gd name="T93" fmla="*/ 2147483646 h 1319"/>
                <a:gd name="T94" fmla="*/ 2147483646 w 1841"/>
                <a:gd name="T95" fmla="*/ 2147483646 h 1319"/>
                <a:gd name="T96" fmla="*/ 2147483646 w 1841"/>
                <a:gd name="T97" fmla="*/ 2147483646 h 1319"/>
                <a:gd name="T98" fmla="*/ 2147483646 w 1841"/>
                <a:gd name="T99" fmla="*/ 2147483646 h 1319"/>
                <a:gd name="T100" fmla="*/ 2147483646 w 1841"/>
                <a:gd name="T101" fmla="*/ 2147483646 h 1319"/>
                <a:gd name="T102" fmla="*/ 2147483646 w 1841"/>
                <a:gd name="T103" fmla="*/ 2147483646 h 1319"/>
                <a:gd name="T104" fmla="*/ 2147483646 w 1841"/>
                <a:gd name="T105" fmla="*/ 2147483646 h 1319"/>
                <a:gd name="T106" fmla="*/ 2147483646 w 1841"/>
                <a:gd name="T107" fmla="*/ 2147483646 h 1319"/>
                <a:gd name="T108" fmla="*/ 2147483646 w 1841"/>
                <a:gd name="T109" fmla="*/ 2147483646 h 1319"/>
                <a:gd name="T110" fmla="*/ 2147483646 w 1841"/>
                <a:gd name="T111" fmla="*/ 2147483646 h 1319"/>
                <a:gd name="T112" fmla="*/ 2147483646 w 1841"/>
                <a:gd name="T113" fmla="*/ 2147483646 h 1319"/>
                <a:gd name="T114" fmla="*/ 2147483646 w 1841"/>
                <a:gd name="T115" fmla="*/ 2147483646 h 1319"/>
                <a:gd name="T116" fmla="*/ 2147483646 w 1841"/>
                <a:gd name="T117" fmla="*/ 2147483646 h 1319"/>
                <a:gd name="T118" fmla="*/ 2147483646 w 1841"/>
                <a:gd name="T119" fmla="*/ 2147483646 h 1319"/>
                <a:gd name="T120" fmla="*/ 2147483646 w 1841"/>
                <a:gd name="T121" fmla="*/ 2147483646 h 1319"/>
                <a:gd name="T122" fmla="*/ 2147483646 w 1841"/>
                <a:gd name="T123" fmla="*/ 2147483646 h 1319"/>
                <a:gd name="T124" fmla="*/ 2147483646 w 1841"/>
                <a:gd name="T125" fmla="*/ 2147483646 h 131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841" h="1319">
                  <a:moveTo>
                    <a:pt x="1659" y="0"/>
                  </a:moveTo>
                  <a:cubicBezTo>
                    <a:pt x="1607" y="0"/>
                    <a:pt x="1555" y="27"/>
                    <a:pt x="1505" y="70"/>
                  </a:cubicBezTo>
                  <a:cubicBezTo>
                    <a:pt x="1505" y="71"/>
                    <a:pt x="1504" y="71"/>
                    <a:pt x="1503" y="72"/>
                  </a:cubicBezTo>
                  <a:cubicBezTo>
                    <a:pt x="1481" y="91"/>
                    <a:pt x="1460" y="113"/>
                    <a:pt x="1439" y="136"/>
                  </a:cubicBezTo>
                  <a:cubicBezTo>
                    <a:pt x="1439" y="137"/>
                    <a:pt x="1438" y="137"/>
                    <a:pt x="1438" y="137"/>
                  </a:cubicBezTo>
                  <a:cubicBezTo>
                    <a:pt x="1424" y="153"/>
                    <a:pt x="1411" y="169"/>
                    <a:pt x="1398" y="186"/>
                  </a:cubicBezTo>
                  <a:cubicBezTo>
                    <a:pt x="1382" y="207"/>
                    <a:pt x="1367" y="228"/>
                    <a:pt x="1352" y="250"/>
                  </a:cubicBezTo>
                  <a:cubicBezTo>
                    <a:pt x="1341" y="265"/>
                    <a:pt x="1331" y="279"/>
                    <a:pt x="1322" y="294"/>
                  </a:cubicBezTo>
                  <a:cubicBezTo>
                    <a:pt x="1323" y="293"/>
                    <a:pt x="1324" y="292"/>
                    <a:pt x="1325" y="291"/>
                  </a:cubicBezTo>
                  <a:cubicBezTo>
                    <a:pt x="1334" y="277"/>
                    <a:pt x="1343" y="264"/>
                    <a:pt x="1352" y="251"/>
                  </a:cubicBezTo>
                  <a:cubicBezTo>
                    <a:pt x="1362" y="237"/>
                    <a:pt x="1372" y="223"/>
                    <a:pt x="1382" y="209"/>
                  </a:cubicBezTo>
                  <a:cubicBezTo>
                    <a:pt x="1382" y="208"/>
                    <a:pt x="1383" y="208"/>
                    <a:pt x="1383" y="208"/>
                  </a:cubicBezTo>
                  <a:cubicBezTo>
                    <a:pt x="1401" y="183"/>
                    <a:pt x="1420" y="159"/>
                    <a:pt x="1440" y="137"/>
                  </a:cubicBezTo>
                  <a:cubicBezTo>
                    <a:pt x="1440" y="136"/>
                    <a:pt x="1441" y="136"/>
                    <a:pt x="1441" y="136"/>
                  </a:cubicBezTo>
                  <a:cubicBezTo>
                    <a:pt x="1462" y="112"/>
                    <a:pt x="1484" y="90"/>
                    <a:pt x="1506" y="71"/>
                  </a:cubicBezTo>
                  <a:cubicBezTo>
                    <a:pt x="1507" y="70"/>
                    <a:pt x="1508" y="69"/>
                    <a:pt x="1508" y="69"/>
                  </a:cubicBezTo>
                  <a:cubicBezTo>
                    <a:pt x="1557" y="27"/>
                    <a:pt x="1608" y="1"/>
                    <a:pt x="1659" y="1"/>
                  </a:cubicBezTo>
                  <a:cubicBezTo>
                    <a:pt x="1669" y="1"/>
                    <a:pt x="1678" y="2"/>
                    <a:pt x="1687" y="4"/>
                  </a:cubicBezTo>
                  <a:cubicBezTo>
                    <a:pt x="1688" y="4"/>
                    <a:pt x="1689" y="4"/>
                    <a:pt x="1690" y="4"/>
                  </a:cubicBezTo>
                  <a:cubicBezTo>
                    <a:pt x="1711" y="9"/>
                    <a:pt x="1733" y="19"/>
                    <a:pt x="1754" y="35"/>
                  </a:cubicBezTo>
                  <a:cubicBezTo>
                    <a:pt x="1814" y="80"/>
                    <a:pt x="1840" y="135"/>
                    <a:pt x="1840" y="195"/>
                  </a:cubicBezTo>
                  <a:cubicBezTo>
                    <a:pt x="1840" y="232"/>
                    <a:pt x="1830" y="272"/>
                    <a:pt x="1812" y="312"/>
                  </a:cubicBezTo>
                  <a:cubicBezTo>
                    <a:pt x="1811" y="314"/>
                    <a:pt x="1811" y="316"/>
                    <a:pt x="1810" y="318"/>
                  </a:cubicBezTo>
                  <a:cubicBezTo>
                    <a:pt x="1810" y="318"/>
                    <a:pt x="1811" y="317"/>
                    <a:pt x="1811" y="316"/>
                  </a:cubicBezTo>
                  <a:cubicBezTo>
                    <a:pt x="1812" y="314"/>
                    <a:pt x="1813" y="312"/>
                    <a:pt x="1814" y="309"/>
                  </a:cubicBezTo>
                  <a:cubicBezTo>
                    <a:pt x="1832" y="270"/>
                    <a:pt x="1841" y="232"/>
                    <a:pt x="1841" y="195"/>
                  </a:cubicBezTo>
                  <a:cubicBezTo>
                    <a:pt x="1841" y="134"/>
                    <a:pt x="1815" y="79"/>
                    <a:pt x="1755" y="34"/>
                  </a:cubicBezTo>
                  <a:cubicBezTo>
                    <a:pt x="1732" y="17"/>
                    <a:pt x="1710" y="7"/>
                    <a:pt x="1687" y="3"/>
                  </a:cubicBezTo>
                  <a:cubicBezTo>
                    <a:pt x="1686" y="3"/>
                    <a:pt x="1686" y="2"/>
                    <a:pt x="1685" y="2"/>
                  </a:cubicBezTo>
                  <a:cubicBezTo>
                    <a:pt x="1676" y="1"/>
                    <a:pt x="1668" y="0"/>
                    <a:pt x="1659" y="0"/>
                  </a:cubicBezTo>
                  <a:moveTo>
                    <a:pt x="1323" y="295"/>
                  </a:moveTo>
                  <a:cubicBezTo>
                    <a:pt x="1321" y="296"/>
                    <a:pt x="1320" y="297"/>
                    <a:pt x="1319" y="299"/>
                  </a:cubicBezTo>
                  <a:cubicBezTo>
                    <a:pt x="1319" y="299"/>
                    <a:pt x="1318" y="300"/>
                    <a:pt x="1318" y="300"/>
                  </a:cubicBezTo>
                  <a:cubicBezTo>
                    <a:pt x="1319" y="300"/>
                    <a:pt x="1320" y="299"/>
                    <a:pt x="1320" y="298"/>
                  </a:cubicBezTo>
                  <a:cubicBezTo>
                    <a:pt x="1320" y="298"/>
                    <a:pt x="1321" y="298"/>
                    <a:pt x="1321" y="298"/>
                  </a:cubicBezTo>
                  <a:cubicBezTo>
                    <a:pt x="1321" y="297"/>
                    <a:pt x="1322" y="296"/>
                    <a:pt x="1323" y="295"/>
                  </a:cubicBezTo>
                  <a:moveTo>
                    <a:pt x="1317" y="302"/>
                  </a:moveTo>
                  <a:cubicBezTo>
                    <a:pt x="1317" y="302"/>
                    <a:pt x="1316" y="303"/>
                    <a:pt x="1316" y="303"/>
                  </a:cubicBezTo>
                  <a:cubicBezTo>
                    <a:pt x="1316" y="304"/>
                    <a:pt x="1315" y="304"/>
                    <a:pt x="1315" y="305"/>
                  </a:cubicBezTo>
                  <a:cubicBezTo>
                    <a:pt x="1316" y="304"/>
                    <a:pt x="1316" y="303"/>
                    <a:pt x="1317" y="302"/>
                  </a:cubicBezTo>
                  <a:moveTo>
                    <a:pt x="1316" y="306"/>
                  </a:moveTo>
                  <a:cubicBezTo>
                    <a:pt x="1313" y="309"/>
                    <a:pt x="1311" y="311"/>
                    <a:pt x="1309" y="314"/>
                  </a:cubicBezTo>
                  <a:cubicBezTo>
                    <a:pt x="1309" y="314"/>
                    <a:pt x="1309" y="314"/>
                    <a:pt x="1309" y="314"/>
                  </a:cubicBezTo>
                  <a:cubicBezTo>
                    <a:pt x="1309" y="314"/>
                    <a:pt x="1309" y="314"/>
                    <a:pt x="1309" y="314"/>
                  </a:cubicBezTo>
                  <a:cubicBezTo>
                    <a:pt x="1309" y="314"/>
                    <a:pt x="1310" y="314"/>
                    <a:pt x="1311" y="313"/>
                  </a:cubicBezTo>
                  <a:cubicBezTo>
                    <a:pt x="1312" y="311"/>
                    <a:pt x="1314" y="308"/>
                    <a:pt x="1316" y="306"/>
                  </a:cubicBezTo>
                  <a:moveTo>
                    <a:pt x="1310" y="315"/>
                  </a:moveTo>
                  <a:cubicBezTo>
                    <a:pt x="1309" y="316"/>
                    <a:pt x="1308" y="316"/>
                    <a:pt x="1307" y="317"/>
                  </a:cubicBezTo>
                  <a:cubicBezTo>
                    <a:pt x="1304" y="322"/>
                    <a:pt x="1300" y="328"/>
                    <a:pt x="1296" y="334"/>
                  </a:cubicBezTo>
                  <a:cubicBezTo>
                    <a:pt x="1297" y="334"/>
                    <a:pt x="1298" y="333"/>
                    <a:pt x="1298" y="333"/>
                  </a:cubicBezTo>
                  <a:cubicBezTo>
                    <a:pt x="1302" y="327"/>
                    <a:pt x="1306" y="321"/>
                    <a:pt x="1310" y="315"/>
                  </a:cubicBezTo>
                  <a:moveTo>
                    <a:pt x="1809" y="318"/>
                  </a:moveTo>
                  <a:cubicBezTo>
                    <a:pt x="1808" y="320"/>
                    <a:pt x="1808" y="321"/>
                    <a:pt x="1807" y="323"/>
                  </a:cubicBezTo>
                  <a:cubicBezTo>
                    <a:pt x="1804" y="328"/>
                    <a:pt x="1801" y="334"/>
                    <a:pt x="1798" y="340"/>
                  </a:cubicBezTo>
                  <a:cubicBezTo>
                    <a:pt x="1795" y="345"/>
                    <a:pt x="1792" y="350"/>
                    <a:pt x="1790" y="355"/>
                  </a:cubicBezTo>
                  <a:cubicBezTo>
                    <a:pt x="1789" y="355"/>
                    <a:pt x="1789" y="355"/>
                    <a:pt x="1789" y="356"/>
                  </a:cubicBezTo>
                  <a:cubicBezTo>
                    <a:pt x="1789" y="357"/>
                    <a:pt x="1788" y="358"/>
                    <a:pt x="1788" y="360"/>
                  </a:cubicBezTo>
                  <a:cubicBezTo>
                    <a:pt x="1792" y="353"/>
                    <a:pt x="1795" y="347"/>
                    <a:pt x="1799" y="340"/>
                  </a:cubicBezTo>
                  <a:cubicBezTo>
                    <a:pt x="1801" y="336"/>
                    <a:pt x="1804" y="331"/>
                    <a:pt x="1806" y="326"/>
                  </a:cubicBezTo>
                  <a:cubicBezTo>
                    <a:pt x="1806" y="326"/>
                    <a:pt x="1807" y="325"/>
                    <a:pt x="1807" y="324"/>
                  </a:cubicBezTo>
                  <a:cubicBezTo>
                    <a:pt x="1808" y="322"/>
                    <a:pt x="1809" y="320"/>
                    <a:pt x="1809" y="318"/>
                  </a:cubicBezTo>
                  <a:moveTo>
                    <a:pt x="1297" y="335"/>
                  </a:moveTo>
                  <a:cubicBezTo>
                    <a:pt x="1297" y="335"/>
                    <a:pt x="1296" y="335"/>
                    <a:pt x="1295" y="336"/>
                  </a:cubicBezTo>
                  <a:cubicBezTo>
                    <a:pt x="1295" y="336"/>
                    <a:pt x="1295" y="337"/>
                    <a:pt x="1294" y="338"/>
                  </a:cubicBezTo>
                  <a:cubicBezTo>
                    <a:pt x="1290" y="344"/>
                    <a:pt x="1286" y="351"/>
                    <a:pt x="1282" y="357"/>
                  </a:cubicBezTo>
                  <a:cubicBezTo>
                    <a:pt x="1283" y="357"/>
                    <a:pt x="1283" y="357"/>
                    <a:pt x="1284" y="357"/>
                  </a:cubicBezTo>
                  <a:cubicBezTo>
                    <a:pt x="1287" y="350"/>
                    <a:pt x="1291" y="344"/>
                    <a:pt x="1295" y="338"/>
                  </a:cubicBezTo>
                  <a:cubicBezTo>
                    <a:pt x="1296" y="337"/>
                    <a:pt x="1297" y="336"/>
                    <a:pt x="1297" y="335"/>
                  </a:cubicBezTo>
                  <a:moveTo>
                    <a:pt x="1283" y="358"/>
                  </a:moveTo>
                  <a:cubicBezTo>
                    <a:pt x="1282" y="358"/>
                    <a:pt x="1282" y="358"/>
                    <a:pt x="1281" y="359"/>
                  </a:cubicBezTo>
                  <a:cubicBezTo>
                    <a:pt x="1278" y="365"/>
                    <a:pt x="1274" y="371"/>
                    <a:pt x="1270" y="377"/>
                  </a:cubicBezTo>
                  <a:cubicBezTo>
                    <a:pt x="1271" y="377"/>
                    <a:pt x="1271" y="377"/>
                    <a:pt x="1271" y="377"/>
                  </a:cubicBezTo>
                  <a:cubicBezTo>
                    <a:pt x="1274" y="372"/>
                    <a:pt x="1277" y="368"/>
                    <a:pt x="1280" y="363"/>
                  </a:cubicBezTo>
                  <a:cubicBezTo>
                    <a:pt x="1281" y="362"/>
                    <a:pt x="1282" y="360"/>
                    <a:pt x="1283" y="358"/>
                  </a:cubicBezTo>
                  <a:moveTo>
                    <a:pt x="1787" y="359"/>
                  </a:moveTo>
                  <a:cubicBezTo>
                    <a:pt x="1781" y="369"/>
                    <a:pt x="1775" y="378"/>
                    <a:pt x="1768" y="388"/>
                  </a:cubicBezTo>
                  <a:cubicBezTo>
                    <a:pt x="1768" y="389"/>
                    <a:pt x="1768" y="390"/>
                    <a:pt x="1767" y="391"/>
                  </a:cubicBezTo>
                  <a:cubicBezTo>
                    <a:pt x="1774" y="382"/>
                    <a:pt x="1780" y="373"/>
                    <a:pt x="1785" y="364"/>
                  </a:cubicBezTo>
                  <a:cubicBezTo>
                    <a:pt x="1786" y="362"/>
                    <a:pt x="1786" y="361"/>
                    <a:pt x="1787" y="359"/>
                  </a:cubicBezTo>
                  <a:moveTo>
                    <a:pt x="1271" y="378"/>
                  </a:moveTo>
                  <a:cubicBezTo>
                    <a:pt x="1270" y="378"/>
                    <a:pt x="1270" y="378"/>
                    <a:pt x="1270" y="378"/>
                  </a:cubicBezTo>
                  <a:cubicBezTo>
                    <a:pt x="1264" y="388"/>
                    <a:pt x="1258" y="397"/>
                    <a:pt x="1253" y="407"/>
                  </a:cubicBezTo>
                  <a:cubicBezTo>
                    <a:pt x="1253" y="407"/>
                    <a:pt x="1253" y="407"/>
                    <a:pt x="1253" y="407"/>
                  </a:cubicBezTo>
                  <a:cubicBezTo>
                    <a:pt x="1259" y="397"/>
                    <a:pt x="1265" y="388"/>
                    <a:pt x="1271" y="378"/>
                  </a:cubicBezTo>
                  <a:moveTo>
                    <a:pt x="1766" y="391"/>
                  </a:moveTo>
                  <a:cubicBezTo>
                    <a:pt x="1761" y="399"/>
                    <a:pt x="1755" y="407"/>
                    <a:pt x="1748" y="416"/>
                  </a:cubicBezTo>
                  <a:cubicBezTo>
                    <a:pt x="1748" y="417"/>
                    <a:pt x="1748" y="417"/>
                    <a:pt x="1748" y="418"/>
                  </a:cubicBezTo>
                  <a:cubicBezTo>
                    <a:pt x="1754" y="410"/>
                    <a:pt x="1760" y="402"/>
                    <a:pt x="1765" y="394"/>
                  </a:cubicBezTo>
                  <a:cubicBezTo>
                    <a:pt x="1766" y="393"/>
                    <a:pt x="1766" y="392"/>
                    <a:pt x="1766" y="391"/>
                  </a:cubicBezTo>
                  <a:moveTo>
                    <a:pt x="1252" y="408"/>
                  </a:moveTo>
                  <a:cubicBezTo>
                    <a:pt x="1250" y="411"/>
                    <a:pt x="1248" y="414"/>
                    <a:pt x="1246" y="418"/>
                  </a:cubicBezTo>
                  <a:cubicBezTo>
                    <a:pt x="1241" y="426"/>
                    <a:pt x="1236" y="434"/>
                    <a:pt x="1232" y="443"/>
                  </a:cubicBezTo>
                  <a:cubicBezTo>
                    <a:pt x="1232" y="443"/>
                    <a:pt x="1232" y="443"/>
                    <a:pt x="1233" y="443"/>
                  </a:cubicBezTo>
                  <a:cubicBezTo>
                    <a:pt x="1236" y="437"/>
                    <a:pt x="1239" y="432"/>
                    <a:pt x="1242" y="426"/>
                  </a:cubicBezTo>
                  <a:cubicBezTo>
                    <a:pt x="1246" y="420"/>
                    <a:pt x="1249" y="414"/>
                    <a:pt x="1253" y="408"/>
                  </a:cubicBezTo>
                  <a:cubicBezTo>
                    <a:pt x="1253" y="408"/>
                    <a:pt x="1252" y="408"/>
                    <a:pt x="1252" y="408"/>
                  </a:cubicBezTo>
                  <a:moveTo>
                    <a:pt x="1747" y="418"/>
                  </a:moveTo>
                  <a:cubicBezTo>
                    <a:pt x="1741" y="425"/>
                    <a:pt x="1735" y="433"/>
                    <a:pt x="1729" y="440"/>
                  </a:cubicBezTo>
                  <a:cubicBezTo>
                    <a:pt x="1728" y="441"/>
                    <a:pt x="1728" y="442"/>
                    <a:pt x="1728" y="443"/>
                  </a:cubicBezTo>
                  <a:cubicBezTo>
                    <a:pt x="1734" y="436"/>
                    <a:pt x="1740" y="428"/>
                    <a:pt x="1746" y="421"/>
                  </a:cubicBezTo>
                  <a:cubicBezTo>
                    <a:pt x="1746" y="420"/>
                    <a:pt x="1746" y="419"/>
                    <a:pt x="1747" y="418"/>
                  </a:cubicBezTo>
                  <a:moveTo>
                    <a:pt x="1039" y="429"/>
                  </a:moveTo>
                  <a:cubicBezTo>
                    <a:pt x="1034" y="429"/>
                    <a:pt x="1029" y="430"/>
                    <a:pt x="1023" y="431"/>
                  </a:cubicBezTo>
                  <a:cubicBezTo>
                    <a:pt x="1023" y="431"/>
                    <a:pt x="1023" y="431"/>
                    <a:pt x="1022" y="431"/>
                  </a:cubicBezTo>
                  <a:cubicBezTo>
                    <a:pt x="1011" y="433"/>
                    <a:pt x="999" y="438"/>
                    <a:pt x="987" y="444"/>
                  </a:cubicBezTo>
                  <a:cubicBezTo>
                    <a:pt x="987" y="444"/>
                    <a:pt x="987" y="444"/>
                    <a:pt x="986" y="444"/>
                  </a:cubicBezTo>
                  <a:cubicBezTo>
                    <a:pt x="975" y="450"/>
                    <a:pt x="963" y="458"/>
                    <a:pt x="952" y="468"/>
                  </a:cubicBezTo>
                  <a:cubicBezTo>
                    <a:pt x="951" y="468"/>
                    <a:pt x="951" y="468"/>
                    <a:pt x="951" y="468"/>
                  </a:cubicBezTo>
                  <a:cubicBezTo>
                    <a:pt x="939" y="479"/>
                    <a:pt x="928" y="491"/>
                    <a:pt x="919" y="505"/>
                  </a:cubicBezTo>
                  <a:cubicBezTo>
                    <a:pt x="919" y="506"/>
                    <a:pt x="919" y="506"/>
                    <a:pt x="918" y="507"/>
                  </a:cubicBezTo>
                  <a:cubicBezTo>
                    <a:pt x="916" y="510"/>
                    <a:pt x="915" y="513"/>
                    <a:pt x="913" y="516"/>
                  </a:cubicBezTo>
                  <a:cubicBezTo>
                    <a:pt x="913" y="517"/>
                    <a:pt x="912" y="518"/>
                    <a:pt x="912" y="519"/>
                  </a:cubicBezTo>
                  <a:cubicBezTo>
                    <a:pt x="910" y="523"/>
                    <a:pt x="909" y="526"/>
                    <a:pt x="908" y="530"/>
                  </a:cubicBezTo>
                  <a:cubicBezTo>
                    <a:pt x="908" y="529"/>
                    <a:pt x="909" y="529"/>
                    <a:pt x="909" y="529"/>
                  </a:cubicBezTo>
                  <a:cubicBezTo>
                    <a:pt x="910" y="527"/>
                    <a:pt x="910" y="525"/>
                    <a:pt x="911" y="523"/>
                  </a:cubicBezTo>
                  <a:cubicBezTo>
                    <a:pt x="912" y="521"/>
                    <a:pt x="912" y="520"/>
                    <a:pt x="913" y="519"/>
                  </a:cubicBezTo>
                  <a:cubicBezTo>
                    <a:pt x="914" y="516"/>
                    <a:pt x="916" y="512"/>
                    <a:pt x="918" y="509"/>
                  </a:cubicBezTo>
                  <a:cubicBezTo>
                    <a:pt x="918" y="508"/>
                    <a:pt x="919" y="508"/>
                    <a:pt x="919" y="507"/>
                  </a:cubicBezTo>
                  <a:cubicBezTo>
                    <a:pt x="927" y="493"/>
                    <a:pt x="938" y="480"/>
                    <a:pt x="951" y="470"/>
                  </a:cubicBezTo>
                  <a:cubicBezTo>
                    <a:pt x="951" y="469"/>
                    <a:pt x="951" y="469"/>
                    <a:pt x="952" y="469"/>
                  </a:cubicBezTo>
                  <a:cubicBezTo>
                    <a:pt x="963" y="459"/>
                    <a:pt x="975" y="451"/>
                    <a:pt x="987" y="445"/>
                  </a:cubicBezTo>
                  <a:cubicBezTo>
                    <a:pt x="987" y="445"/>
                    <a:pt x="987" y="445"/>
                    <a:pt x="988" y="445"/>
                  </a:cubicBezTo>
                  <a:cubicBezTo>
                    <a:pt x="1000" y="439"/>
                    <a:pt x="1011" y="434"/>
                    <a:pt x="1023" y="432"/>
                  </a:cubicBezTo>
                  <a:cubicBezTo>
                    <a:pt x="1023" y="432"/>
                    <a:pt x="1023" y="432"/>
                    <a:pt x="1024" y="432"/>
                  </a:cubicBezTo>
                  <a:cubicBezTo>
                    <a:pt x="1029" y="431"/>
                    <a:pt x="1034" y="430"/>
                    <a:pt x="1039" y="430"/>
                  </a:cubicBezTo>
                  <a:cubicBezTo>
                    <a:pt x="1045" y="430"/>
                    <a:pt x="1050" y="431"/>
                    <a:pt x="1055" y="433"/>
                  </a:cubicBezTo>
                  <a:cubicBezTo>
                    <a:pt x="1055" y="433"/>
                    <a:pt x="1056" y="433"/>
                    <a:pt x="1056" y="433"/>
                  </a:cubicBezTo>
                  <a:cubicBezTo>
                    <a:pt x="1057" y="434"/>
                    <a:pt x="1059" y="435"/>
                    <a:pt x="1060" y="436"/>
                  </a:cubicBezTo>
                  <a:cubicBezTo>
                    <a:pt x="1061" y="436"/>
                    <a:pt x="1061" y="436"/>
                    <a:pt x="1061" y="436"/>
                  </a:cubicBezTo>
                  <a:cubicBezTo>
                    <a:pt x="1066" y="440"/>
                    <a:pt x="1070" y="445"/>
                    <a:pt x="1072" y="451"/>
                  </a:cubicBezTo>
                  <a:cubicBezTo>
                    <a:pt x="1072" y="451"/>
                    <a:pt x="1072" y="451"/>
                    <a:pt x="1073" y="451"/>
                  </a:cubicBezTo>
                  <a:cubicBezTo>
                    <a:pt x="1071" y="444"/>
                    <a:pt x="1067" y="439"/>
                    <a:pt x="1062" y="436"/>
                  </a:cubicBezTo>
                  <a:cubicBezTo>
                    <a:pt x="1062" y="435"/>
                    <a:pt x="1061" y="435"/>
                    <a:pt x="1061" y="435"/>
                  </a:cubicBezTo>
                  <a:cubicBezTo>
                    <a:pt x="1059" y="434"/>
                    <a:pt x="1058" y="433"/>
                    <a:pt x="1056" y="433"/>
                  </a:cubicBezTo>
                  <a:cubicBezTo>
                    <a:pt x="1056" y="432"/>
                    <a:pt x="1056" y="432"/>
                    <a:pt x="1055" y="432"/>
                  </a:cubicBezTo>
                  <a:cubicBezTo>
                    <a:pt x="1050" y="430"/>
                    <a:pt x="1045" y="429"/>
                    <a:pt x="1039" y="429"/>
                  </a:cubicBezTo>
                  <a:moveTo>
                    <a:pt x="1727" y="442"/>
                  </a:moveTo>
                  <a:cubicBezTo>
                    <a:pt x="1721" y="449"/>
                    <a:pt x="1715" y="456"/>
                    <a:pt x="1709" y="463"/>
                  </a:cubicBezTo>
                  <a:cubicBezTo>
                    <a:pt x="1709" y="464"/>
                    <a:pt x="1709" y="465"/>
                    <a:pt x="1708" y="465"/>
                  </a:cubicBezTo>
                  <a:cubicBezTo>
                    <a:pt x="1715" y="459"/>
                    <a:pt x="1721" y="452"/>
                    <a:pt x="1726" y="445"/>
                  </a:cubicBezTo>
                  <a:cubicBezTo>
                    <a:pt x="1727" y="444"/>
                    <a:pt x="1727" y="443"/>
                    <a:pt x="1727" y="442"/>
                  </a:cubicBezTo>
                  <a:moveTo>
                    <a:pt x="1231" y="444"/>
                  </a:moveTo>
                  <a:cubicBezTo>
                    <a:pt x="1224" y="456"/>
                    <a:pt x="1217" y="468"/>
                    <a:pt x="1211" y="479"/>
                  </a:cubicBezTo>
                  <a:cubicBezTo>
                    <a:pt x="1211" y="479"/>
                    <a:pt x="1212" y="479"/>
                    <a:pt x="1212" y="479"/>
                  </a:cubicBezTo>
                  <a:cubicBezTo>
                    <a:pt x="1218" y="468"/>
                    <a:pt x="1225" y="456"/>
                    <a:pt x="1232" y="444"/>
                  </a:cubicBezTo>
                  <a:cubicBezTo>
                    <a:pt x="1232" y="444"/>
                    <a:pt x="1232" y="444"/>
                    <a:pt x="1231" y="444"/>
                  </a:cubicBezTo>
                  <a:moveTo>
                    <a:pt x="1073" y="452"/>
                  </a:moveTo>
                  <a:cubicBezTo>
                    <a:pt x="1073" y="452"/>
                    <a:pt x="1072" y="452"/>
                    <a:pt x="1072" y="452"/>
                  </a:cubicBezTo>
                  <a:cubicBezTo>
                    <a:pt x="1072" y="454"/>
                    <a:pt x="1073" y="456"/>
                    <a:pt x="1073" y="458"/>
                  </a:cubicBezTo>
                  <a:cubicBezTo>
                    <a:pt x="1073" y="459"/>
                    <a:pt x="1073" y="460"/>
                    <a:pt x="1073" y="460"/>
                  </a:cubicBezTo>
                  <a:cubicBezTo>
                    <a:pt x="1073" y="461"/>
                    <a:pt x="1073" y="461"/>
                    <a:pt x="1073" y="462"/>
                  </a:cubicBezTo>
                  <a:cubicBezTo>
                    <a:pt x="1073" y="463"/>
                    <a:pt x="1073" y="463"/>
                    <a:pt x="1073" y="464"/>
                  </a:cubicBezTo>
                  <a:cubicBezTo>
                    <a:pt x="1073" y="464"/>
                    <a:pt x="1073" y="464"/>
                    <a:pt x="1073" y="464"/>
                  </a:cubicBezTo>
                  <a:cubicBezTo>
                    <a:pt x="1073" y="464"/>
                    <a:pt x="1074" y="464"/>
                    <a:pt x="1074" y="463"/>
                  </a:cubicBezTo>
                  <a:cubicBezTo>
                    <a:pt x="1074" y="463"/>
                    <a:pt x="1074" y="463"/>
                    <a:pt x="1074" y="463"/>
                  </a:cubicBezTo>
                  <a:cubicBezTo>
                    <a:pt x="1074" y="462"/>
                    <a:pt x="1074" y="462"/>
                    <a:pt x="1074" y="462"/>
                  </a:cubicBezTo>
                  <a:cubicBezTo>
                    <a:pt x="1074" y="461"/>
                    <a:pt x="1074" y="459"/>
                    <a:pt x="1074" y="458"/>
                  </a:cubicBezTo>
                  <a:cubicBezTo>
                    <a:pt x="1074" y="457"/>
                    <a:pt x="1074" y="457"/>
                    <a:pt x="1074" y="456"/>
                  </a:cubicBezTo>
                  <a:cubicBezTo>
                    <a:pt x="1073" y="455"/>
                    <a:pt x="1073" y="453"/>
                    <a:pt x="1073" y="452"/>
                  </a:cubicBezTo>
                  <a:moveTo>
                    <a:pt x="1074" y="465"/>
                  </a:moveTo>
                  <a:cubicBezTo>
                    <a:pt x="1074" y="465"/>
                    <a:pt x="1073" y="465"/>
                    <a:pt x="1073" y="466"/>
                  </a:cubicBezTo>
                  <a:cubicBezTo>
                    <a:pt x="1073" y="466"/>
                    <a:pt x="1073" y="466"/>
                    <a:pt x="1073" y="466"/>
                  </a:cubicBezTo>
                  <a:cubicBezTo>
                    <a:pt x="1073" y="467"/>
                    <a:pt x="1073" y="468"/>
                    <a:pt x="1073" y="469"/>
                  </a:cubicBezTo>
                  <a:cubicBezTo>
                    <a:pt x="1073" y="469"/>
                    <a:pt x="1073" y="469"/>
                    <a:pt x="1074" y="469"/>
                  </a:cubicBezTo>
                  <a:cubicBezTo>
                    <a:pt x="1074" y="469"/>
                    <a:pt x="1074" y="468"/>
                    <a:pt x="1074" y="468"/>
                  </a:cubicBezTo>
                  <a:cubicBezTo>
                    <a:pt x="1074" y="467"/>
                    <a:pt x="1074" y="466"/>
                    <a:pt x="1074" y="465"/>
                  </a:cubicBezTo>
                  <a:moveTo>
                    <a:pt x="1708" y="465"/>
                  </a:moveTo>
                  <a:cubicBezTo>
                    <a:pt x="1704" y="469"/>
                    <a:pt x="1701" y="473"/>
                    <a:pt x="1697" y="477"/>
                  </a:cubicBezTo>
                  <a:cubicBezTo>
                    <a:pt x="1694" y="479"/>
                    <a:pt x="1692" y="482"/>
                    <a:pt x="1689" y="485"/>
                  </a:cubicBezTo>
                  <a:cubicBezTo>
                    <a:pt x="1689" y="485"/>
                    <a:pt x="1689" y="486"/>
                    <a:pt x="1689" y="487"/>
                  </a:cubicBezTo>
                  <a:cubicBezTo>
                    <a:pt x="1692" y="484"/>
                    <a:pt x="1695" y="480"/>
                    <a:pt x="1698" y="477"/>
                  </a:cubicBezTo>
                  <a:cubicBezTo>
                    <a:pt x="1701" y="474"/>
                    <a:pt x="1704" y="471"/>
                    <a:pt x="1707" y="467"/>
                  </a:cubicBezTo>
                  <a:cubicBezTo>
                    <a:pt x="1707" y="466"/>
                    <a:pt x="1707" y="466"/>
                    <a:pt x="1708" y="465"/>
                  </a:cubicBezTo>
                  <a:moveTo>
                    <a:pt x="1073" y="470"/>
                  </a:moveTo>
                  <a:cubicBezTo>
                    <a:pt x="1073" y="470"/>
                    <a:pt x="1073" y="470"/>
                    <a:pt x="1072" y="470"/>
                  </a:cubicBezTo>
                  <a:cubicBezTo>
                    <a:pt x="1072" y="470"/>
                    <a:pt x="1072" y="471"/>
                    <a:pt x="1072" y="471"/>
                  </a:cubicBezTo>
                  <a:cubicBezTo>
                    <a:pt x="1072" y="472"/>
                    <a:pt x="1072" y="473"/>
                    <a:pt x="1072" y="475"/>
                  </a:cubicBezTo>
                  <a:cubicBezTo>
                    <a:pt x="1070" y="482"/>
                    <a:pt x="1068" y="490"/>
                    <a:pt x="1064" y="499"/>
                  </a:cubicBezTo>
                  <a:cubicBezTo>
                    <a:pt x="1064" y="499"/>
                    <a:pt x="1065" y="499"/>
                    <a:pt x="1065" y="499"/>
                  </a:cubicBezTo>
                  <a:cubicBezTo>
                    <a:pt x="1070" y="488"/>
                    <a:pt x="1072" y="479"/>
                    <a:pt x="1073" y="471"/>
                  </a:cubicBezTo>
                  <a:cubicBezTo>
                    <a:pt x="1073" y="471"/>
                    <a:pt x="1073" y="471"/>
                    <a:pt x="1073" y="470"/>
                  </a:cubicBezTo>
                  <a:moveTo>
                    <a:pt x="1210" y="480"/>
                  </a:moveTo>
                  <a:cubicBezTo>
                    <a:pt x="1206" y="488"/>
                    <a:pt x="1201" y="495"/>
                    <a:pt x="1197" y="503"/>
                  </a:cubicBezTo>
                  <a:cubicBezTo>
                    <a:pt x="1197" y="503"/>
                    <a:pt x="1198" y="503"/>
                    <a:pt x="1198" y="503"/>
                  </a:cubicBezTo>
                  <a:cubicBezTo>
                    <a:pt x="1202" y="496"/>
                    <a:pt x="1207" y="488"/>
                    <a:pt x="1211" y="480"/>
                  </a:cubicBezTo>
                  <a:cubicBezTo>
                    <a:pt x="1211" y="480"/>
                    <a:pt x="1211" y="480"/>
                    <a:pt x="1210" y="480"/>
                  </a:cubicBezTo>
                  <a:moveTo>
                    <a:pt x="1688" y="486"/>
                  </a:moveTo>
                  <a:cubicBezTo>
                    <a:pt x="1682" y="493"/>
                    <a:pt x="1676" y="499"/>
                    <a:pt x="1670" y="506"/>
                  </a:cubicBezTo>
                  <a:cubicBezTo>
                    <a:pt x="1669" y="507"/>
                    <a:pt x="1669" y="507"/>
                    <a:pt x="1669" y="508"/>
                  </a:cubicBezTo>
                  <a:cubicBezTo>
                    <a:pt x="1675" y="501"/>
                    <a:pt x="1681" y="495"/>
                    <a:pt x="1688" y="488"/>
                  </a:cubicBezTo>
                  <a:cubicBezTo>
                    <a:pt x="1688" y="488"/>
                    <a:pt x="1688" y="487"/>
                    <a:pt x="1688" y="486"/>
                  </a:cubicBezTo>
                  <a:moveTo>
                    <a:pt x="1065" y="500"/>
                  </a:moveTo>
                  <a:cubicBezTo>
                    <a:pt x="1064" y="500"/>
                    <a:pt x="1064" y="500"/>
                    <a:pt x="1064" y="500"/>
                  </a:cubicBezTo>
                  <a:cubicBezTo>
                    <a:pt x="1063" y="500"/>
                    <a:pt x="1063" y="501"/>
                    <a:pt x="1063" y="502"/>
                  </a:cubicBezTo>
                  <a:cubicBezTo>
                    <a:pt x="1063" y="502"/>
                    <a:pt x="1062" y="502"/>
                    <a:pt x="1062" y="503"/>
                  </a:cubicBezTo>
                  <a:cubicBezTo>
                    <a:pt x="1062" y="503"/>
                    <a:pt x="1063" y="504"/>
                    <a:pt x="1063" y="505"/>
                  </a:cubicBezTo>
                  <a:cubicBezTo>
                    <a:pt x="1063" y="503"/>
                    <a:pt x="1064" y="501"/>
                    <a:pt x="1065" y="500"/>
                  </a:cubicBezTo>
                  <a:moveTo>
                    <a:pt x="1196" y="504"/>
                  </a:moveTo>
                  <a:cubicBezTo>
                    <a:pt x="1194" y="508"/>
                    <a:pt x="1192" y="512"/>
                    <a:pt x="1189" y="516"/>
                  </a:cubicBezTo>
                  <a:cubicBezTo>
                    <a:pt x="1188" y="519"/>
                    <a:pt x="1186" y="523"/>
                    <a:pt x="1184" y="526"/>
                  </a:cubicBezTo>
                  <a:cubicBezTo>
                    <a:pt x="1188" y="519"/>
                    <a:pt x="1193" y="512"/>
                    <a:pt x="1198" y="504"/>
                  </a:cubicBezTo>
                  <a:cubicBezTo>
                    <a:pt x="1197" y="504"/>
                    <a:pt x="1197" y="504"/>
                    <a:pt x="1196" y="504"/>
                  </a:cubicBezTo>
                  <a:moveTo>
                    <a:pt x="1062" y="505"/>
                  </a:moveTo>
                  <a:cubicBezTo>
                    <a:pt x="1062" y="505"/>
                    <a:pt x="1062" y="505"/>
                    <a:pt x="1061" y="505"/>
                  </a:cubicBezTo>
                  <a:cubicBezTo>
                    <a:pt x="1061" y="505"/>
                    <a:pt x="1061" y="506"/>
                    <a:pt x="1061" y="506"/>
                  </a:cubicBezTo>
                  <a:cubicBezTo>
                    <a:pt x="1060" y="508"/>
                    <a:pt x="1060" y="510"/>
                    <a:pt x="1059" y="512"/>
                  </a:cubicBezTo>
                  <a:cubicBezTo>
                    <a:pt x="1059" y="513"/>
                    <a:pt x="1059" y="513"/>
                    <a:pt x="1058" y="514"/>
                  </a:cubicBezTo>
                  <a:cubicBezTo>
                    <a:pt x="1058" y="514"/>
                    <a:pt x="1058" y="514"/>
                    <a:pt x="1058" y="515"/>
                  </a:cubicBezTo>
                  <a:cubicBezTo>
                    <a:pt x="1058" y="516"/>
                    <a:pt x="1057" y="516"/>
                    <a:pt x="1057" y="517"/>
                  </a:cubicBezTo>
                  <a:cubicBezTo>
                    <a:pt x="1056" y="521"/>
                    <a:pt x="1055" y="525"/>
                    <a:pt x="1054" y="528"/>
                  </a:cubicBezTo>
                  <a:cubicBezTo>
                    <a:pt x="1055" y="528"/>
                    <a:pt x="1055" y="528"/>
                    <a:pt x="1055" y="528"/>
                  </a:cubicBezTo>
                  <a:cubicBezTo>
                    <a:pt x="1056" y="526"/>
                    <a:pt x="1057" y="523"/>
                    <a:pt x="1057" y="521"/>
                  </a:cubicBezTo>
                  <a:cubicBezTo>
                    <a:pt x="1058" y="518"/>
                    <a:pt x="1059" y="516"/>
                    <a:pt x="1059" y="514"/>
                  </a:cubicBezTo>
                  <a:cubicBezTo>
                    <a:pt x="1059" y="514"/>
                    <a:pt x="1060" y="513"/>
                    <a:pt x="1060" y="512"/>
                  </a:cubicBezTo>
                  <a:cubicBezTo>
                    <a:pt x="1060" y="512"/>
                    <a:pt x="1060" y="512"/>
                    <a:pt x="1060" y="512"/>
                  </a:cubicBezTo>
                  <a:cubicBezTo>
                    <a:pt x="1060" y="511"/>
                    <a:pt x="1061" y="509"/>
                    <a:pt x="1061" y="508"/>
                  </a:cubicBezTo>
                  <a:cubicBezTo>
                    <a:pt x="1062" y="508"/>
                    <a:pt x="1062" y="507"/>
                    <a:pt x="1062" y="507"/>
                  </a:cubicBezTo>
                  <a:cubicBezTo>
                    <a:pt x="1062" y="506"/>
                    <a:pt x="1062" y="505"/>
                    <a:pt x="1062" y="505"/>
                  </a:cubicBezTo>
                  <a:moveTo>
                    <a:pt x="1668" y="508"/>
                  </a:moveTo>
                  <a:cubicBezTo>
                    <a:pt x="1662" y="514"/>
                    <a:pt x="1656" y="521"/>
                    <a:pt x="1649" y="528"/>
                  </a:cubicBezTo>
                  <a:cubicBezTo>
                    <a:pt x="1649" y="528"/>
                    <a:pt x="1649" y="529"/>
                    <a:pt x="1649" y="529"/>
                  </a:cubicBezTo>
                  <a:cubicBezTo>
                    <a:pt x="1655" y="523"/>
                    <a:pt x="1662" y="516"/>
                    <a:pt x="1668" y="509"/>
                  </a:cubicBezTo>
                  <a:cubicBezTo>
                    <a:pt x="1668" y="509"/>
                    <a:pt x="1668" y="508"/>
                    <a:pt x="1668" y="508"/>
                  </a:cubicBezTo>
                  <a:moveTo>
                    <a:pt x="1183" y="526"/>
                  </a:moveTo>
                  <a:cubicBezTo>
                    <a:pt x="1181" y="530"/>
                    <a:pt x="1179" y="534"/>
                    <a:pt x="1176" y="538"/>
                  </a:cubicBezTo>
                  <a:cubicBezTo>
                    <a:pt x="1176" y="539"/>
                    <a:pt x="1175" y="539"/>
                    <a:pt x="1175" y="540"/>
                  </a:cubicBezTo>
                  <a:cubicBezTo>
                    <a:pt x="1175" y="540"/>
                    <a:pt x="1175" y="540"/>
                    <a:pt x="1176" y="540"/>
                  </a:cubicBezTo>
                  <a:cubicBezTo>
                    <a:pt x="1176" y="540"/>
                    <a:pt x="1177" y="539"/>
                    <a:pt x="1177" y="538"/>
                  </a:cubicBezTo>
                  <a:cubicBezTo>
                    <a:pt x="1178" y="537"/>
                    <a:pt x="1178" y="536"/>
                    <a:pt x="1179" y="535"/>
                  </a:cubicBezTo>
                  <a:cubicBezTo>
                    <a:pt x="1181" y="532"/>
                    <a:pt x="1182" y="529"/>
                    <a:pt x="1183" y="526"/>
                  </a:cubicBezTo>
                  <a:moveTo>
                    <a:pt x="1648" y="529"/>
                  </a:moveTo>
                  <a:cubicBezTo>
                    <a:pt x="1629" y="549"/>
                    <a:pt x="1609" y="570"/>
                    <a:pt x="1589" y="590"/>
                  </a:cubicBezTo>
                  <a:cubicBezTo>
                    <a:pt x="1589" y="591"/>
                    <a:pt x="1588" y="591"/>
                    <a:pt x="1588" y="592"/>
                  </a:cubicBezTo>
                  <a:cubicBezTo>
                    <a:pt x="1608" y="572"/>
                    <a:pt x="1628" y="551"/>
                    <a:pt x="1648" y="531"/>
                  </a:cubicBezTo>
                  <a:cubicBezTo>
                    <a:pt x="1648" y="530"/>
                    <a:pt x="1648" y="530"/>
                    <a:pt x="1648" y="529"/>
                  </a:cubicBezTo>
                  <a:moveTo>
                    <a:pt x="1054" y="529"/>
                  </a:moveTo>
                  <a:cubicBezTo>
                    <a:pt x="1053" y="533"/>
                    <a:pt x="1052" y="538"/>
                    <a:pt x="1052" y="541"/>
                  </a:cubicBezTo>
                  <a:cubicBezTo>
                    <a:pt x="1052" y="542"/>
                    <a:pt x="1052" y="543"/>
                    <a:pt x="1052" y="543"/>
                  </a:cubicBezTo>
                  <a:cubicBezTo>
                    <a:pt x="1052" y="547"/>
                    <a:pt x="1051" y="551"/>
                    <a:pt x="1050" y="555"/>
                  </a:cubicBezTo>
                  <a:cubicBezTo>
                    <a:pt x="1050" y="555"/>
                    <a:pt x="1050" y="556"/>
                    <a:pt x="1050" y="556"/>
                  </a:cubicBezTo>
                  <a:cubicBezTo>
                    <a:pt x="1051" y="555"/>
                    <a:pt x="1051" y="553"/>
                    <a:pt x="1052" y="552"/>
                  </a:cubicBezTo>
                  <a:cubicBezTo>
                    <a:pt x="1052" y="551"/>
                    <a:pt x="1052" y="551"/>
                    <a:pt x="1052" y="550"/>
                  </a:cubicBezTo>
                  <a:cubicBezTo>
                    <a:pt x="1052" y="549"/>
                    <a:pt x="1052" y="549"/>
                    <a:pt x="1052" y="548"/>
                  </a:cubicBezTo>
                  <a:cubicBezTo>
                    <a:pt x="1052" y="542"/>
                    <a:pt x="1053" y="536"/>
                    <a:pt x="1055" y="529"/>
                  </a:cubicBezTo>
                  <a:cubicBezTo>
                    <a:pt x="1055" y="529"/>
                    <a:pt x="1054" y="529"/>
                    <a:pt x="1054" y="529"/>
                  </a:cubicBezTo>
                  <a:moveTo>
                    <a:pt x="908" y="530"/>
                  </a:moveTo>
                  <a:cubicBezTo>
                    <a:pt x="908" y="530"/>
                    <a:pt x="908" y="531"/>
                    <a:pt x="907" y="531"/>
                  </a:cubicBezTo>
                  <a:cubicBezTo>
                    <a:pt x="906" y="533"/>
                    <a:pt x="906" y="536"/>
                    <a:pt x="905" y="538"/>
                  </a:cubicBezTo>
                  <a:cubicBezTo>
                    <a:pt x="906" y="538"/>
                    <a:pt x="906" y="538"/>
                    <a:pt x="906" y="538"/>
                  </a:cubicBezTo>
                  <a:cubicBezTo>
                    <a:pt x="907" y="535"/>
                    <a:pt x="908" y="533"/>
                    <a:pt x="908" y="530"/>
                  </a:cubicBezTo>
                  <a:moveTo>
                    <a:pt x="906" y="539"/>
                  </a:moveTo>
                  <a:cubicBezTo>
                    <a:pt x="906" y="539"/>
                    <a:pt x="905" y="539"/>
                    <a:pt x="905" y="539"/>
                  </a:cubicBezTo>
                  <a:cubicBezTo>
                    <a:pt x="904" y="542"/>
                    <a:pt x="904" y="544"/>
                    <a:pt x="904" y="547"/>
                  </a:cubicBezTo>
                  <a:cubicBezTo>
                    <a:pt x="904" y="546"/>
                    <a:pt x="904" y="546"/>
                    <a:pt x="905" y="545"/>
                  </a:cubicBezTo>
                  <a:cubicBezTo>
                    <a:pt x="905" y="543"/>
                    <a:pt x="906" y="541"/>
                    <a:pt x="906" y="539"/>
                  </a:cubicBezTo>
                  <a:moveTo>
                    <a:pt x="1174" y="541"/>
                  </a:moveTo>
                  <a:cubicBezTo>
                    <a:pt x="1171" y="546"/>
                    <a:pt x="1167" y="552"/>
                    <a:pt x="1162" y="557"/>
                  </a:cubicBezTo>
                  <a:cubicBezTo>
                    <a:pt x="1162" y="557"/>
                    <a:pt x="1162" y="557"/>
                    <a:pt x="1161" y="558"/>
                  </a:cubicBezTo>
                  <a:cubicBezTo>
                    <a:pt x="1161" y="559"/>
                    <a:pt x="1161" y="560"/>
                    <a:pt x="1160" y="561"/>
                  </a:cubicBezTo>
                  <a:cubicBezTo>
                    <a:pt x="1160" y="560"/>
                    <a:pt x="1161" y="560"/>
                    <a:pt x="1161" y="560"/>
                  </a:cubicBezTo>
                  <a:cubicBezTo>
                    <a:pt x="1166" y="554"/>
                    <a:pt x="1171" y="548"/>
                    <a:pt x="1175" y="541"/>
                  </a:cubicBezTo>
                  <a:cubicBezTo>
                    <a:pt x="1175" y="541"/>
                    <a:pt x="1175" y="541"/>
                    <a:pt x="1174" y="541"/>
                  </a:cubicBezTo>
                  <a:moveTo>
                    <a:pt x="904" y="547"/>
                  </a:moveTo>
                  <a:cubicBezTo>
                    <a:pt x="904" y="548"/>
                    <a:pt x="904" y="548"/>
                    <a:pt x="903" y="549"/>
                  </a:cubicBezTo>
                  <a:cubicBezTo>
                    <a:pt x="903" y="551"/>
                    <a:pt x="903" y="553"/>
                    <a:pt x="903" y="556"/>
                  </a:cubicBezTo>
                  <a:cubicBezTo>
                    <a:pt x="903" y="557"/>
                    <a:pt x="902" y="559"/>
                    <a:pt x="902" y="561"/>
                  </a:cubicBezTo>
                  <a:cubicBezTo>
                    <a:pt x="903" y="561"/>
                    <a:pt x="903" y="561"/>
                    <a:pt x="903" y="561"/>
                  </a:cubicBezTo>
                  <a:cubicBezTo>
                    <a:pt x="903" y="561"/>
                    <a:pt x="903" y="561"/>
                    <a:pt x="903" y="561"/>
                  </a:cubicBezTo>
                  <a:cubicBezTo>
                    <a:pt x="903" y="559"/>
                    <a:pt x="904" y="557"/>
                    <a:pt x="904" y="556"/>
                  </a:cubicBezTo>
                  <a:cubicBezTo>
                    <a:pt x="904" y="553"/>
                    <a:pt x="904" y="550"/>
                    <a:pt x="904" y="547"/>
                  </a:cubicBezTo>
                  <a:moveTo>
                    <a:pt x="1051" y="556"/>
                  </a:moveTo>
                  <a:cubicBezTo>
                    <a:pt x="1051" y="556"/>
                    <a:pt x="1051" y="557"/>
                    <a:pt x="1051" y="557"/>
                  </a:cubicBezTo>
                  <a:cubicBezTo>
                    <a:pt x="1051" y="558"/>
                    <a:pt x="1051" y="558"/>
                    <a:pt x="1051" y="559"/>
                  </a:cubicBezTo>
                  <a:cubicBezTo>
                    <a:pt x="1051" y="560"/>
                    <a:pt x="1051" y="561"/>
                    <a:pt x="1051" y="561"/>
                  </a:cubicBezTo>
                  <a:cubicBezTo>
                    <a:pt x="1051" y="561"/>
                    <a:pt x="1051" y="561"/>
                    <a:pt x="1052" y="561"/>
                  </a:cubicBezTo>
                  <a:cubicBezTo>
                    <a:pt x="1052" y="560"/>
                    <a:pt x="1051" y="558"/>
                    <a:pt x="1051" y="556"/>
                  </a:cubicBezTo>
                  <a:cubicBezTo>
                    <a:pt x="1051" y="556"/>
                    <a:pt x="1051" y="556"/>
                    <a:pt x="1051" y="556"/>
                  </a:cubicBezTo>
                  <a:moveTo>
                    <a:pt x="1159" y="560"/>
                  </a:moveTo>
                  <a:cubicBezTo>
                    <a:pt x="1155" y="565"/>
                    <a:pt x="1150" y="570"/>
                    <a:pt x="1145" y="574"/>
                  </a:cubicBezTo>
                  <a:cubicBezTo>
                    <a:pt x="1144" y="575"/>
                    <a:pt x="1144" y="575"/>
                    <a:pt x="1144" y="576"/>
                  </a:cubicBezTo>
                  <a:cubicBezTo>
                    <a:pt x="1149" y="572"/>
                    <a:pt x="1153" y="568"/>
                    <a:pt x="1158" y="563"/>
                  </a:cubicBezTo>
                  <a:cubicBezTo>
                    <a:pt x="1158" y="562"/>
                    <a:pt x="1159" y="561"/>
                    <a:pt x="1159" y="560"/>
                  </a:cubicBezTo>
                  <a:moveTo>
                    <a:pt x="903" y="562"/>
                  </a:moveTo>
                  <a:cubicBezTo>
                    <a:pt x="903" y="562"/>
                    <a:pt x="902" y="562"/>
                    <a:pt x="902" y="562"/>
                  </a:cubicBezTo>
                  <a:cubicBezTo>
                    <a:pt x="902" y="562"/>
                    <a:pt x="902" y="563"/>
                    <a:pt x="902" y="563"/>
                  </a:cubicBezTo>
                  <a:cubicBezTo>
                    <a:pt x="902" y="565"/>
                    <a:pt x="902" y="566"/>
                    <a:pt x="901" y="567"/>
                  </a:cubicBezTo>
                  <a:cubicBezTo>
                    <a:pt x="901" y="567"/>
                    <a:pt x="901" y="568"/>
                    <a:pt x="901" y="568"/>
                  </a:cubicBezTo>
                  <a:cubicBezTo>
                    <a:pt x="902" y="567"/>
                    <a:pt x="902" y="566"/>
                    <a:pt x="903" y="565"/>
                  </a:cubicBezTo>
                  <a:cubicBezTo>
                    <a:pt x="903" y="565"/>
                    <a:pt x="903" y="564"/>
                    <a:pt x="903" y="564"/>
                  </a:cubicBezTo>
                  <a:cubicBezTo>
                    <a:pt x="903" y="563"/>
                    <a:pt x="903" y="563"/>
                    <a:pt x="903" y="562"/>
                  </a:cubicBezTo>
                  <a:moveTo>
                    <a:pt x="1051" y="562"/>
                  </a:moveTo>
                  <a:cubicBezTo>
                    <a:pt x="1051" y="565"/>
                    <a:pt x="1051" y="568"/>
                    <a:pt x="1052" y="570"/>
                  </a:cubicBezTo>
                  <a:cubicBezTo>
                    <a:pt x="1052" y="571"/>
                    <a:pt x="1052" y="571"/>
                    <a:pt x="1052" y="571"/>
                  </a:cubicBezTo>
                  <a:cubicBezTo>
                    <a:pt x="1052" y="571"/>
                    <a:pt x="1052" y="572"/>
                    <a:pt x="1052" y="572"/>
                  </a:cubicBezTo>
                  <a:cubicBezTo>
                    <a:pt x="1053" y="574"/>
                    <a:pt x="1054" y="576"/>
                    <a:pt x="1054" y="578"/>
                  </a:cubicBezTo>
                  <a:cubicBezTo>
                    <a:pt x="1055" y="578"/>
                    <a:pt x="1055" y="579"/>
                    <a:pt x="1055" y="579"/>
                  </a:cubicBezTo>
                  <a:cubicBezTo>
                    <a:pt x="1055" y="579"/>
                    <a:pt x="1055" y="580"/>
                    <a:pt x="1055" y="580"/>
                  </a:cubicBezTo>
                  <a:cubicBezTo>
                    <a:pt x="1055" y="580"/>
                    <a:pt x="1056" y="580"/>
                    <a:pt x="1056" y="581"/>
                  </a:cubicBezTo>
                  <a:cubicBezTo>
                    <a:pt x="1056" y="582"/>
                    <a:pt x="1057" y="583"/>
                    <a:pt x="1057" y="583"/>
                  </a:cubicBezTo>
                  <a:cubicBezTo>
                    <a:pt x="1057" y="583"/>
                    <a:pt x="1058" y="583"/>
                    <a:pt x="1058" y="582"/>
                  </a:cubicBezTo>
                  <a:cubicBezTo>
                    <a:pt x="1057" y="582"/>
                    <a:pt x="1057" y="581"/>
                    <a:pt x="1057" y="580"/>
                  </a:cubicBezTo>
                  <a:cubicBezTo>
                    <a:pt x="1056" y="580"/>
                    <a:pt x="1056" y="580"/>
                    <a:pt x="1056" y="579"/>
                  </a:cubicBezTo>
                  <a:cubicBezTo>
                    <a:pt x="1056" y="579"/>
                    <a:pt x="1056" y="578"/>
                    <a:pt x="1056" y="578"/>
                  </a:cubicBezTo>
                  <a:cubicBezTo>
                    <a:pt x="1055" y="578"/>
                    <a:pt x="1055" y="577"/>
                    <a:pt x="1055" y="577"/>
                  </a:cubicBezTo>
                  <a:cubicBezTo>
                    <a:pt x="1054" y="575"/>
                    <a:pt x="1054" y="573"/>
                    <a:pt x="1053" y="571"/>
                  </a:cubicBezTo>
                  <a:cubicBezTo>
                    <a:pt x="1053" y="571"/>
                    <a:pt x="1053" y="571"/>
                    <a:pt x="1053" y="570"/>
                  </a:cubicBezTo>
                  <a:cubicBezTo>
                    <a:pt x="1053" y="570"/>
                    <a:pt x="1053" y="570"/>
                    <a:pt x="1053" y="570"/>
                  </a:cubicBezTo>
                  <a:cubicBezTo>
                    <a:pt x="1052" y="567"/>
                    <a:pt x="1052" y="565"/>
                    <a:pt x="1052" y="562"/>
                  </a:cubicBezTo>
                  <a:cubicBezTo>
                    <a:pt x="1051" y="562"/>
                    <a:pt x="1051" y="562"/>
                    <a:pt x="1051" y="562"/>
                  </a:cubicBezTo>
                  <a:moveTo>
                    <a:pt x="902" y="569"/>
                  </a:moveTo>
                  <a:cubicBezTo>
                    <a:pt x="901" y="570"/>
                    <a:pt x="901" y="572"/>
                    <a:pt x="900" y="574"/>
                  </a:cubicBezTo>
                  <a:cubicBezTo>
                    <a:pt x="899" y="577"/>
                    <a:pt x="899" y="579"/>
                    <a:pt x="898" y="582"/>
                  </a:cubicBezTo>
                  <a:cubicBezTo>
                    <a:pt x="897" y="584"/>
                    <a:pt x="897" y="586"/>
                    <a:pt x="896" y="587"/>
                  </a:cubicBezTo>
                  <a:cubicBezTo>
                    <a:pt x="896" y="588"/>
                    <a:pt x="896" y="588"/>
                    <a:pt x="896" y="588"/>
                  </a:cubicBezTo>
                  <a:cubicBezTo>
                    <a:pt x="897" y="587"/>
                    <a:pt x="897" y="586"/>
                    <a:pt x="898" y="584"/>
                  </a:cubicBezTo>
                  <a:cubicBezTo>
                    <a:pt x="898" y="584"/>
                    <a:pt x="898" y="583"/>
                    <a:pt x="899" y="583"/>
                  </a:cubicBezTo>
                  <a:cubicBezTo>
                    <a:pt x="899" y="580"/>
                    <a:pt x="900" y="578"/>
                    <a:pt x="901" y="576"/>
                  </a:cubicBezTo>
                  <a:cubicBezTo>
                    <a:pt x="901" y="574"/>
                    <a:pt x="902" y="571"/>
                    <a:pt x="902" y="569"/>
                  </a:cubicBezTo>
                  <a:cubicBezTo>
                    <a:pt x="902" y="569"/>
                    <a:pt x="902" y="569"/>
                    <a:pt x="902" y="569"/>
                  </a:cubicBezTo>
                  <a:moveTo>
                    <a:pt x="1143" y="575"/>
                  </a:moveTo>
                  <a:cubicBezTo>
                    <a:pt x="1142" y="576"/>
                    <a:pt x="1141" y="577"/>
                    <a:pt x="1140" y="577"/>
                  </a:cubicBezTo>
                  <a:cubicBezTo>
                    <a:pt x="1141" y="577"/>
                    <a:pt x="1141" y="578"/>
                    <a:pt x="1142" y="578"/>
                  </a:cubicBezTo>
                  <a:cubicBezTo>
                    <a:pt x="1142" y="578"/>
                    <a:pt x="1142" y="577"/>
                    <a:pt x="1142" y="577"/>
                  </a:cubicBezTo>
                  <a:cubicBezTo>
                    <a:pt x="1142" y="577"/>
                    <a:pt x="1143" y="576"/>
                    <a:pt x="1143" y="575"/>
                  </a:cubicBezTo>
                  <a:moveTo>
                    <a:pt x="1139" y="578"/>
                  </a:moveTo>
                  <a:cubicBezTo>
                    <a:pt x="1136" y="581"/>
                    <a:pt x="1132" y="583"/>
                    <a:pt x="1129" y="585"/>
                  </a:cubicBezTo>
                  <a:cubicBezTo>
                    <a:pt x="1129" y="586"/>
                    <a:pt x="1128" y="586"/>
                    <a:pt x="1128" y="587"/>
                  </a:cubicBezTo>
                  <a:cubicBezTo>
                    <a:pt x="1132" y="584"/>
                    <a:pt x="1137" y="581"/>
                    <a:pt x="1141" y="578"/>
                  </a:cubicBezTo>
                  <a:cubicBezTo>
                    <a:pt x="1140" y="578"/>
                    <a:pt x="1140" y="578"/>
                    <a:pt x="1139" y="578"/>
                  </a:cubicBezTo>
                  <a:moveTo>
                    <a:pt x="1058" y="583"/>
                  </a:moveTo>
                  <a:cubicBezTo>
                    <a:pt x="1058" y="584"/>
                    <a:pt x="1058" y="584"/>
                    <a:pt x="1058" y="584"/>
                  </a:cubicBezTo>
                  <a:cubicBezTo>
                    <a:pt x="1065" y="594"/>
                    <a:pt x="1076" y="599"/>
                    <a:pt x="1088" y="599"/>
                  </a:cubicBezTo>
                  <a:cubicBezTo>
                    <a:pt x="1091" y="599"/>
                    <a:pt x="1093" y="599"/>
                    <a:pt x="1096" y="598"/>
                  </a:cubicBezTo>
                  <a:cubicBezTo>
                    <a:pt x="1096" y="598"/>
                    <a:pt x="1096" y="598"/>
                    <a:pt x="1096" y="597"/>
                  </a:cubicBezTo>
                  <a:cubicBezTo>
                    <a:pt x="1093" y="598"/>
                    <a:pt x="1091" y="598"/>
                    <a:pt x="1088" y="598"/>
                  </a:cubicBezTo>
                  <a:cubicBezTo>
                    <a:pt x="1076" y="598"/>
                    <a:pt x="1065" y="593"/>
                    <a:pt x="1058" y="583"/>
                  </a:cubicBezTo>
                  <a:moveTo>
                    <a:pt x="1127" y="586"/>
                  </a:moveTo>
                  <a:cubicBezTo>
                    <a:pt x="1123" y="589"/>
                    <a:pt x="1118" y="591"/>
                    <a:pt x="1113" y="593"/>
                  </a:cubicBezTo>
                  <a:cubicBezTo>
                    <a:pt x="1113" y="593"/>
                    <a:pt x="1113" y="594"/>
                    <a:pt x="1113" y="594"/>
                  </a:cubicBezTo>
                  <a:cubicBezTo>
                    <a:pt x="1117" y="592"/>
                    <a:pt x="1122" y="590"/>
                    <a:pt x="1127" y="587"/>
                  </a:cubicBezTo>
                  <a:cubicBezTo>
                    <a:pt x="1127" y="587"/>
                    <a:pt x="1127" y="586"/>
                    <a:pt x="1127" y="586"/>
                  </a:cubicBezTo>
                  <a:moveTo>
                    <a:pt x="897" y="589"/>
                  </a:moveTo>
                  <a:cubicBezTo>
                    <a:pt x="896" y="589"/>
                    <a:pt x="896" y="590"/>
                    <a:pt x="896" y="590"/>
                  </a:cubicBezTo>
                  <a:cubicBezTo>
                    <a:pt x="896" y="590"/>
                    <a:pt x="896" y="590"/>
                    <a:pt x="896" y="590"/>
                  </a:cubicBezTo>
                  <a:cubicBezTo>
                    <a:pt x="896" y="590"/>
                    <a:pt x="896" y="589"/>
                    <a:pt x="897" y="589"/>
                  </a:cubicBezTo>
                  <a:moveTo>
                    <a:pt x="896" y="591"/>
                  </a:moveTo>
                  <a:cubicBezTo>
                    <a:pt x="896" y="591"/>
                    <a:pt x="895" y="591"/>
                    <a:pt x="895" y="591"/>
                  </a:cubicBezTo>
                  <a:cubicBezTo>
                    <a:pt x="895" y="592"/>
                    <a:pt x="895" y="592"/>
                    <a:pt x="895" y="593"/>
                  </a:cubicBezTo>
                  <a:cubicBezTo>
                    <a:pt x="895" y="592"/>
                    <a:pt x="896" y="592"/>
                    <a:pt x="896" y="591"/>
                  </a:cubicBezTo>
                  <a:cubicBezTo>
                    <a:pt x="896" y="591"/>
                    <a:pt x="896" y="591"/>
                    <a:pt x="896" y="591"/>
                  </a:cubicBezTo>
                  <a:moveTo>
                    <a:pt x="1587" y="592"/>
                  </a:moveTo>
                  <a:cubicBezTo>
                    <a:pt x="1528" y="651"/>
                    <a:pt x="1465" y="709"/>
                    <a:pt x="1400" y="759"/>
                  </a:cubicBezTo>
                  <a:cubicBezTo>
                    <a:pt x="1399" y="760"/>
                    <a:pt x="1399" y="761"/>
                    <a:pt x="1398" y="762"/>
                  </a:cubicBezTo>
                  <a:cubicBezTo>
                    <a:pt x="1463" y="712"/>
                    <a:pt x="1526" y="654"/>
                    <a:pt x="1586" y="595"/>
                  </a:cubicBezTo>
                  <a:cubicBezTo>
                    <a:pt x="1586" y="594"/>
                    <a:pt x="1587" y="593"/>
                    <a:pt x="1587" y="592"/>
                  </a:cubicBezTo>
                  <a:moveTo>
                    <a:pt x="1112" y="593"/>
                  </a:moveTo>
                  <a:cubicBezTo>
                    <a:pt x="1107" y="595"/>
                    <a:pt x="1102" y="596"/>
                    <a:pt x="1097" y="597"/>
                  </a:cubicBezTo>
                  <a:cubicBezTo>
                    <a:pt x="1097" y="597"/>
                    <a:pt x="1097" y="598"/>
                    <a:pt x="1097" y="598"/>
                  </a:cubicBezTo>
                  <a:cubicBezTo>
                    <a:pt x="1101" y="597"/>
                    <a:pt x="1106" y="596"/>
                    <a:pt x="1111" y="594"/>
                  </a:cubicBezTo>
                  <a:cubicBezTo>
                    <a:pt x="1112" y="594"/>
                    <a:pt x="1112" y="594"/>
                    <a:pt x="1112" y="593"/>
                  </a:cubicBezTo>
                  <a:moveTo>
                    <a:pt x="894" y="594"/>
                  </a:moveTo>
                  <a:cubicBezTo>
                    <a:pt x="892" y="599"/>
                    <a:pt x="890" y="604"/>
                    <a:pt x="888" y="609"/>
                  </a:cubicBezTo>
                  <a:cubicBezTo>
                    <a:pt x="889" y="608"/>
                    <a:pt x="889" y="607"/>
                    <a:pt x="890" y="605"/>
                  </a:cubicBezTo>
                  <a:cubicBezTo>
                    <a:pt x="890" y="605"/>
                    <a:pt x="891" y="604"/>
                    <a:pt x="891" y="603"/>
                  </a:cubicBezTo>
                  <a:cubicBezTo>
                    <a:pt x="892" y="601"/>
                    <a:pt x="893" y="599"/>
                    <a:pt x="894" y="597"/>
                  </a:cubicBezTo>
                  <a:cubicBezTo>
                    <a:pt x="894" y="596"/>
                    <a:pt x="894" y="595"/>
                    <a:pt x="894" y="594"/>
                  </a:cubicBezTo>
                  <a:moveTo>
                    <a:pt x="887" y="609"/>
                  </a:moveTo>
                  <a:cubicBezTo>
                    <a:pt x="885" y="613"/>
                    <a:pt x="883" y="616"/>
                    <a:pt x="881" y="620"/>
                  </a:cubicBezTo>
                  <a:cubicBezTo>
                    <a:pt x="881" y="620"/>
                    <a:pt x="882" y="620"/>
                    <a:pt x="882" y="620"/>
                  </a:cubicBezTo>
                  <a:cubicBezTo>
                    <a:pt x="883" y="618"/>
                    <a:pt x="885" y="616"/>
                    <a:pt x="886" y="613"/>
                  </a:cubicBezTo>
                  <a:cubicBezTo>
                    <a:pt x="886" y="612"/>
                    <a:pt x="887" y="610"/>
                    <a:pt x="887" y="609"/>
                  </a:cubicBezTo>
                  <a:moveTo>
                    <a:pt x="881" y="621"/>
                  </a:moveTo>
                  <a:cubicBezTo>
                    <a:pt x="875" y="631"/>
                    <a:pt x="868" y="641"/>
                    <a:pt x="861" y="651"/>
                  </a:cubicBezTo>
                  <a:cubicBezTo>
                    <a:pt x="861" y="651"/>
                    <a:pt x="861" y="651"/>
                    <a:pt x="862" y="651"/>
                  </a:cubicBezTo>
                  <a:cubicBezTo>
                    <a:pt x="869" y="641"/>
                    <a:pt x="876" y="631"/>
                    <a:pt x="882" y="621"/>
                  </a:cubicBezTo>
                  <a:cubicBezTo>
                    <a:pt x="881" y="621"/>
                    <a:pt x="881" y="621"/>
                    <a:pt x="881" y="621"/>
                  </a:cubicBezTo>
                  <a:moveTo>
                    <a:pt x="860" y="652"/>
                  </a:moveTo>
                  <a:cubicBezTo>
                    <a:pt x="860" y="652"/>
                    <a:pt x="860" y="653"/>
                    <a:pt x="860" y="653"/>
                  </a:cubicBezTo>
                  <a:cubicBezTo>
                    <a:pt x="860" y="653"/>
                    <a:pt x="861" y="652"/>
                    <a:pt x="861" y="652"/>
                  </a:cubicBezTo>
                  <a:cubicBezTo>
                    <a:pt x="861" y="652"/>
                    <a:pt x="861" y="652"/>
                    <a:pt x="860" y="652"/>
                  </a:cubicBezTo>
                  <a:moveTo>
                    <a:pt x="859" y="653"/>
                  </a:moveTo>
                  <a:cubicBezTo>
                    <a:pt x="858" y="654"/>
                    <a:pt x="858" y="655"/>
                    <a:pt x="857" y="656"/>
                  </a:cubicBezTo>
                  <a:cubicBezTo>
                    <a:pt x="857" y="656"/>
                    <a:pt x="857" y="656"/>
                    <a:pt x="856" y="656"/>
                  </a:cubicBezTo>
                  <a:cubicBezTo>
                    <a:pt x="850" y="664"/>
                    <a:pt x="844" y="671"/>
                    <a:pt x="837" y="679"/>
                  </a:cubicBezTo>
                  <a:cubicBezTo>
                    <a:pt x="837" y="679"/>
                    <a:pt x="837" y="679"/>
                    <a:pt x="836" y="679"/>
                  </a:cubicBezTo>
                  <a:cubicBezTo>
                    <a:pt x="835" y="681"/>
                    <a:pt x="834" y="682"/>
                    <a:pt x="833" y="683"/>
                  </a:cubicBezTo>
                  <a:cubicBezTo>
                    <a:pt x="833" y="683"/>
                    <a:pt x="832" y="684"/>
                    <a:pt x="832" y="684"/>
                  </a:cubicBezTo>
                  <a:cubicBezTo>
                    <a:pt x="831" y="685"/>
                    <a:pt x="831" y="685"/>
                    <a:pt x="830" y="686"/>
                  </a:cubicBezTo>
                  <a:cubicBezTo>
                    <a:pt x="830" y="686"/>
                    <a:pt x="830" y="686"/>
                    <a:pt x="830" y="686"/>
                  </a:cubicBezTo>
                  <a:cubicBezTo>
                    <a:pt x="829" y="687"/>
                    <a:pt x="829" y="687"/>
                    <a:pt x="829" y="687"/>
                  </a:cubicBezTo>
                  <a:cubicBezTo>
                    <a:pt x="826" y="690"/>
                    <a:pt x="824" y="692"/>
                    <a:pt x="821" y="695"/>
                  </a:cubicBezTo>
                  <a:cubicBezTo>
                    <a:pt x="821" y="695"/>
                    <a:pt x="821" y="695"/>
                    <a:pt x="820" y="696"/>
                  </a:cubicBezTo>
                  <a:cubicBezTo>
                    <a:pt x="819" y="697"/>
                    <a:pt x="817" y="699"/>
                    <a:pt x="815" y="701"/>
                  </a:cubicBezTo>
                  <a:cubicBezTo>
                    <a:pt x="814" y="701"/>
                    <a:pt x="813" y="702"/>
                    <a:pt x="813" y="703"/>
                  </a:cubicBezTo>
                  <a:cubicBezTo>
                    <a:pt x="812" y="703"/>
                    <a:pt x="812" y="703"/>
                    <a:pt x="812" y="703"/>
                  </a:cubicBezTo>
                  <a:cubicBezTo>
                    <a:pt x="810" y="706"/>
                    <a:pt x="807" y="708"/>
                    <a:pt x="805" y="710"/>
                  </a:cubicBezTo>
                  <a:cubicBezTo>
                    <a:pt x="805" y="710"/>
                    <a:pt x="804" y="710"/>
                    <a:pt x="804" y="711"/>
                  </a:cubicBezTo>
                  <a:cubicBezTo>
                    <a:pt x="801" y="714"/>
                    <a:pt x="797" y="716"/>
                    <a:pt x="794" y="719"/>
                  </a:cubicBezTo>
                  <a:cubicBezTo>
                    <a:pt x="794" y="720"/>
                    <a:pt x="793" y="720"/>
                    <a:pt x="793" y="720"/>
                  </a:cubicBezTo>
                  <a:cubicBezTo>
                    <a:pt x="793" y="720"/>
                    <a:pt x="792" y="721"/>
                    <a:pt x="792" y="721"/>
                  </a:cubicBezTo>
                  <a:cubicBezTo>
                    <a:pt x="792" y="722"/>
                    <a:pt x="792" y="722"/>
                    <a:pt x="792" y="723"/>
                  </a:cubicBezTo>
                  <a:cubicBezTo>
                    <a:pt x="792" y="722"/>
                    <a:pt x="793" y="721"/>
                    <a:pt x="794" y="721"/>
                  </a:cubicBezTo>
                  <a:cubicBezTo>
                    <a:pt x="794" y="721"/>
                    <a:pt x="794" y="720"/>
                    <a:pt x="794" y="720"/>
                  </a:cubicBezTo>
                  <a:cubicBezTo>
                    <a:pt x="798" y="717"/>
                    <a:pt x="801" y="714"/>
                    <a:pt x="805" y="711"/>
                  </a:cubicBezTo>
                  <a:cubicBezTo>
                    <a:pt x="805" y="711"/>
                    <a:pt x="805" y="711"/>
                    <a:pt x="805" y="711"/>
                  </a:cubicBezTo>
                  <a:cubicBezTo>
                    <a:pt x="808" y="709"/>
                    <a:pt x="810" y="706"/>
                    <a:pt x="813" y="704"/>
                  </a:cubicBezTo>
                  <a:cubicBezTo>
                    <a:pt x="813" y="704"/>
                    <a:pt x="813" y="704"/>
                    <a:pt x="814" y="703"/>
                  </a:cubicBezTo>
                  <a:cubicBezTo>
                    <a:pt x="814" y="703"/>
                    <a:pt x="815" y="702"/>
                    <a:pt x="816" y="701"/>
                  </a:cubicBezTo>
                  <a:cubicBezTo>
                    <a:pt x="817" y="700"/>
                    <a:pt x="818" y="700"/>
                    <a:pt x="819" y="699"/>
                  </a:cubicBezTo>
                  <a:cubicBezTo>
                    <a:pt x="819" y="698"/>
                    <a:pt x="820" y="697"/>
                    <a:pt x="821" y="696"/>
                  </a:cubicBezTo>
                  <a:cubicBezTo>
                    <a:pt x="821" y="696"/>
                    <a:pt x="821" y="696"/>
                    <a:pt x="822" y="696"/>
                  </a:cubicBezTo>
                  <a:cubicBezTo>
                    <a:pt x="824" y="694"/>
                    <a:pt x="826" y="691"/>
                    <a:pt x="829" y="689"/>
                  </a:cubicBezTo>
                  <a:cubicBezTo>
                    <a:pt x="829" y="688"/>
                    <a:pt x="830" y="687"/>
                    <a:pt x="831" y="686"/>
                  </a:cubicBezTo>
                  <a:cubicBezTo>
                    <a:pt x="832" y="686"/>
                    <a:pt x="832" y="685"/>
                    <a:pt x="833" y="685"/>
                  </a:cubicBezTo>
                  <a:cubicBezTo>
                    <a:pt x="833" y="685"/>
                    <a:pt x="833" y="684"/>
                    <a:pt x="833" y="684"/>
                  </a:cubicBezTo>
                  <a:cubicBezTo>
                    <a:pt x="833" y="684"/>
                    <a:pt x="833" y="684"/>
                    <a:pt x="834" y="684"/>
                  </a:cubicBezTo>
                  <a:cubicBezTo>
                    <a:pt x="834" y="683"/>
                    <a:pt x="834" y="683"/>
                    <a:pt x="835" y="683"/>
                  </a:cubicBezTo>
                  <a:cubicBezTo>
                    <a:pt x="835" y="682"/>
                    <a:pt x="836" y="681"/>
                    <a:pt x="837" y="680"/>
                  </a:cubicBezTo>
                  <a:cubicBezTo>
                    <a:pt x="837" y="680"/>
                    <a:pt x="837" y="680"/>
                    <a:pt x="838" y="680"/>
                  </a:cubicBezTo>
                  <a:cubicBezTo>
                    <a:pt x="845" y="672"/>
                    <a:pt x="851" y="664"/>
                    <a:pt x="857" y="657"/>
                  </a:cubicBezTo>
                  <a:cubicBezTo>
                    <a:pt x="857" y="657"/>
                    <a:pt x="858" y="656"/>
                    <a:pt x="858" y="656"/>
                  </a:cubicBezTo>
                  <a:cubicBezTo>
                    <a:pt x="858" y="656"/>
                    <a:pt x="858" y="655"/>
                    <a:pt x="859" y="655"/>
                  </a:cubicBezTo>
                  <a:cubicBezTo>
                    <a:pt x="859" y="654"/>
                    <a:pt x="859" y="654"/>
                    <a:pt x="859" y="653"/>
                  </a:cubicBezTo>
                  <a:moveTo>
                    <a:pt x="791" y="722"/>
                  </a:moveTo>
                  <a:cubicBezTo>
                    <a:pt x="786" y="726"/>
                    <a:pt x="782" y="729"/>
                    <a:pt x="777" y="733"/>
                  </a:cubicBezTo>
                  <a:cubicBezTo>
                    <a:pt x="777" y="733"/>
                    <a:pt x="776" y="733"/>
                    <a:pt x="776" y="733"/>
                  </a:cubicBezTo>
                  <a:cubicBezTo>
                    <a:pt x="771" y="738"/>
                    <a:pt x="765" y="742"/>
                    <a:pt x="759" y="746"/>
                  </a:cubicBezTo>
                  <a:cubicBezTo>
                    <a:pt x="759" y="746"/>
                    <a:pt x="759" y="746"/>
                    <a:pt x="758" y="747"/>
                  </a:cubicBezTo>
                  <a:cubicBezTo>
                    <a:pt x="757" y="748"/>
                    <a:pt x="756" y="748"/>
                    <a:pt x="755" y="749"/>
                  </a:cubicBezTo>
                  <a:cubicBezTo>
                    <a:pt x="754" y="750"/>
                    <a:pt x="754" y="750"/>
                    <a:pt x="753" y="750"/>
                  </a:cubicBezTo>
                  <a:cubicBezTo>
                    <a:pt x="749" y="753"/>
                    <a:pt x="745" y="756"/>
                    <a:pt x="740" y="759"/>
                  </a:cubicBezTo>
                  <a:cubicBezTo>
                    <a:pt x="740" y="759"/>
                    <a:pt x="740" y="759"/>
                    <a:pt x="739" y="760"/>
                  </a:cubicBezTo>
                  <a:cubicBezTo>
                    <a:pt x="736" y="762"/>
                    <a:pt x="733" y="764"/>
                    <a:pt x="729" y="766"/>
                  </a:cubicBezTo>
                  <a:cubicBezTo>
                    <a:pt x="730" y="766"/>
                    <a:pt x="730" y="766"/>
                    <a:pt x="730" y="767"/>
                  </a:cubicBezTo>
                  <a:cubicBezTo>
                    <a:pt x="733" y="765"/>
                    <a:pt x="737" y="762"/>
                    <a:pt x="740" y="760"/>
                  </a:cubicBezTo>
                  <a:cubicBezTo>
                    <a:pt x="740" y="760"/>
                    <a:pt x="741" y="760"/>
                    <a:pt x="741" y="760"/>
                  </a:cubicBezTo>
                  <a:cubicBezTo>
                    <a:pt x="746" y="757"/>
                    <a:pt x="750" y="753"/>
                    <a:pt x="755" y="750"/>
                  </a:cubicBezTo>
                  <a:cubicBezTo>
                    <a:pt x="755" y="750"/>
                    <a:pt x="756" y="750"/>
                    <a:pt x="756" y="749"/>
                  </a:cubicBezTo>
                  <a:cubicBezTo>
                    <a:pt x="757" y="749"/>
                    <a:pt x="758" y="748"/>
                    <a:pt x="759" y="747"/>
                  </a:cubicBezTo>
                  <a:cubicBezTo>
                    <a:pt x="759" y="747"/>
                    <a:pt x="760" y="747"/>
                    <a:pt x="760" y="747"/>
                  </a:cubicBezTo>
                  <a:cubicBezTo>
                    <a:pt x="766" y="743"/>
                    <a:pt x="771" y="739"/>
                    <a:pt x="777" y="734"/>
                  </a:cubicBezTo>
                  <a:cubicBezTo>
                    <a:pt x="777" y="734"/>
                    <a:pt x="777" y="734"/>
                    <a:pt x="778" y="734"/>
                  </a:cubicBezTo>
                  <a:cubicBezTo>
                    <a:pt x="782" y="730"/>
                    <a:pt x="786" y="727"/>
                    <a:pt x="791" y="723"/>
                  </a:cubicBezTo>
                  <a:cubicBezTo>
                    <a:pt x="791" y="723"/>
                    <a:pt x="791" y="723"/>
                    <a:pt x="791" y="722"/>
                  </a:cubicBezTo>
                  <a:moveTo>
                    <a:pt x="1397" y="761"/>
                  </a:moveTo>
                  <a:cubicBezTo>
                    <a:pt x="1373" y="779"/>
                    <a:pt x="1348" y="797"/>
                    <a:pt x="1323" y="813"/>
                  </a:cubicBezTo>
                  <a:cubicBezTo>
                    <a:pt x="1323" y="813"/>
                    <a:pt x="1323" y="814"/>
                    <a:pt x="1323" y="814"/>
                  </a:cubicBezTo>
                  <a:cubicBezTo>
                    <a:pt x="1347" y="799"/>
                    <a:pt x="1371" y="782"/>
                    <a:pt x="1395" y="764"/>
                  </a:cubicBezTo>
                  <a:cubicBezTo>
                    <a:pt x="1396" y="763"/>
                    <a:pt x="1397" y="762"/>
                    <a:pt x="1397" y="761"/>
                  </a:cubicBezTo>
                  <a:moveTo>
                    <a:pt x="729" y="766"/>
                  </a:moveTo>
                  <a:cubicBezTo>
                    <a:pt x="722" y="771"/>
                    <a:pt x="715" y="775"/>
                    <a:pt x="708" y="779"/>
                  </a:cubicBezTo>
                  <a:cubicBezTo>
                    <a:pt x="707" y="779"/>
                    <a:pt x="706" y="779"/>
                    <a:pt x="706" y="780"/>
                  </a:cubicBezTo>
                  <a:cubicBezTo>
                    <a:pt x="705" y="780"/>
                    <a:pt x="705" y="780"/>
                    <a:pt x="704" y="780"/>
                  </a:cubicBezTo>
                  <a:cubicBezTo>
                    <a:pt x="704" y="781"/>
                    <a:pt x="704" y="781"/>
                    <a:pt x="704" y="781"/>
                  </a:cubicBezTo>
                  <a:cubicBezTo>
                    <a:pt x="692" y="787"/>
                    <a:pt x="681" y="793"/>
                    <a:pt x="670" y="798"/>
                  </a:cubicBezTo>
                  <a:cubicBezTo>
                    <a:pt x="670" y="798"/>
                    <a:pt x="670" y="799"/>
                    <a:pt x="670" y="799"/>
                  </a:cubicBezTo>
                  <a:cubicBezTo>
                    <a:pt x="681" y="794"/>
                    <a:pt x="693" y="788"/>
                    <a:pt x="704" y="782"/>
                  </a:cubicBezTo>
                  <a:cubicBezTo>
                    <a:pt x="704" y="782"/>
                    <a:pt x="705" y="781"/>
                    <a:pt x="705" y="781"/>
                  </a:cubicBezTo>
                  <a:cubicBezTo>
                    <a:pt x="705" y="781"/>
                    <a:pt x="706" y="781"/>
                    <a:pt x="706" y="780"/>
                  </a:cubicBezTo>
                  <a:cubicBezTo>
                    <a:pt x="714" y="776"/>
                    <a:pt x="721" y="772"/>
                    <a:pt x="729" y="767"/>
                  </a:cubicBezTo>
                  <a:cubicBezTo>
                    <a:pt x="729" y="767"/>
                    <a:pt x="729" y="767"/>
                    <a:pt x="729" y="766"/>
                  </a:cubicBezTo>
                  <a:moveTo>
                    <a:pt x="669" y="799"/>
                  </a:moveTo>
                  <a:cubicBezTo>
                    <a:pt x="649" y="808"/>
                    <a:pt x="630" y="815"/>
                    <a:pt x="610" y="821"/>
                  </a:cubicBezTo>
                  <a:cubicBezTo>
                    <a:pt x="610" y="822"/>
                    <a:pt x="610" y="822"/>
                    <a:pt x="610" y="822"/>
                  </a:cubicBezTo>
                  <a:cubicBezTo>
                    <a:pt x="630" y="816"/>
                    <a:pt x="650" y="808"/>
                    <a:pt x="669" y="800"/>
                  </a:cubicBezTo>
                  <a:cubicBezTo>
                    <a:pt x="669" y="799"/>
                    <a:pt x="669" y="799"/>
                    <a:pt x="669" y="799"/>
                  </a:cubicBezTo>
                  <a:moveTo>
                    <a:pt x="1322" y="814"/>
                  </a:moveTo>
                  <a:cubicBezTo>
                    <a:pt x="1302" y="826"/>
                    <a:pt x="1283" y="837"/>
                    <a:pt x="1263" y="848"/>
                  </a:cubicBezTo>
                  <a:cubicBezTo>
                    <a:pt x="1263" y="848"/>
                    <a:pt x="1263" y="848"/>
                    <a:pt x="1263" y="849"/>
                  </a:cubicBezTo>
                  <a:cubicBezTo>
                    <a:pt x="1282" y="838"/>
                    <a:pt x="1302" y="827"/>
                    <a:pt x="1321" y="815"/>
                  </a:cubicBezTo>
                  <a:cubicBezTo>
                    <a:pt x="1321" y="814"/>
                    <a:pt x="1322" y="814"/>
                    <a:pt x="1322" y="814"/>
                  </a:cubicBezTo>
                  <a:moveTo>
                    <a:pt x="609" y="822"/>
                  </a:moveTo>
                  <a:cubicBezTo>
                    <a:pt x="587" y="828"/>
                    <a:pt x="566" y="833"/>
                    <a:pt x="545" y="836"/>
                  </a:cubicBezTo>
                  <a:cubicBezTo>
                    <a:pt x="545" y="836"/>
                    <a:pt x="545" y="837"/>
                    <a:pt x="546" y="837"/>
                  </a:cubicBezTo>
                  <a:cubicBezTo>
                    <a:pt x="566" y="834"/>
                    <a:pt x="588" y="829"/>
                    <a:pt x="609" y="823"/>
                  </a:cubicBezTo>
                  <a:cubicBezTo>
                    <a:pt x="609" y="822"/>
                    <a:pt x="609" y="822"/>
                    <a:pt x="609" y="822"/>
                  </a:cubicBezTo>
                  <a:moveTo>
                    <a:pt x="544" y="836"/>
                  </a:moveTo>
                  <a:cubicBezTo>
                    <a:pt x="535" y="837"/>
                    <a:pt x="527" y="838"/>
                    <a:pt x="518" y="838"/>
                  </a:cubicBezTo>
                  <a:cubicBezTo>
                    <a:pt x="506" y="839"/>
                    <a:pt x="490" y="840"/>
                    <a:pt x="472" y="840"/>
                  </a:cubicBezTo>
                  <a:cubicBezTo>
                    <a:pt x="473" y="840"/>
                    <a:pt x="473" y="841"/>
                    <a:pt x="473" y="841"/>
                  </a:cubicBezTo>
                  <a:cubicBezTo>
                    <a:pt x="490" y="840"/>
                    <a:pt x="506" y="840"/>
                    <a:pt x="518" y="839"/>
                  </a:cubicBezTo>
                  <a:cubicBezTo>
                    <a:pt x="527" y="839"/>
                    <a:pt x="536" y="838"/>
                    <a:pt x="544" y="837"/>
                  </a:cubicBezTo>
                  <a:cubicBezTo>
                    <a:pt x="544" y="837"/>
                    <a:pt x="544" y="837"/>
                    <a:pt x="544" y="836"/>
                  </a:cubicBezTo>
                  <a:moveTo>
                    <a:pt x="471" y="840"/>
                  </a:moveTo>
                  <a:cubicBezTo>
                    <a:pt x="471" y="840"/>
                    <a:pt x="471" y="840"/>
                    <a:pt x="471" y="840"/>
                  </a:cubicBezTo>
                  <a:cubicBezTo>
                    <a:pt x="471" y="840"/>
                    <a:pt x="470" y="840"/>
                    <a:pt x="470" y="840"/>
                  </a:cubicBezTo>
                  <a:cubicBezTo>
                    <a:pt x="468" y="840"/>
                    <a:pt x="467" y="840"/>
                    <a:pt x="466" y="840"/>
                  </a:cubicBezTo>
                  <a:cubicBezTo>
                    <a:pt x="465" y="840"/>
                    <a:pt x="465" y="840"/>
                    <a:pt x="464" y="840"/>
                  </a:cubicBezTo>
                  <a:cubicBezTo>
                    <a:pt x="463" y="841"/>
                    <a:pt x="462" y="841"/>
                    <a:pt x="461" y="841"/>
                  </a:cubicBezTo>
                  <a:cubicBezTo>
                    <a:pt x="460" y="841"/>
                    <a:pt x="460" y="841"/>
                    <a:pt x="460" y="841"/>
                  </a:cubicBezTo>
                  <a:cubicBezTo>
                    <a:pt x="456" y="841"/>
                    <a:pt x="452" y="841"/>
                    <a:pt x="448" y="841"/>
                  </a:cubicBezTo>
                  <a:cubicBezTo>
                    <a:pt x="447" y="841"/>
                    <a:pt x="447" y="841"/>
                    <a:pt x="447" y="841"/>
                  </a:cubicBezTo>
                  <a:cubicBezTo>
                    <a:pt x="445" y="841"/>
                    <a:pt x="443" y="841"/>
                    <a:pt x="441" y="841"/>
                  </a:cubicBezTo>
                  <a:cubicBezTo>
                    <a:pt x="440" y="841"/>
                    <a:pt x="440" y="841"/>
                    <a:pt x="439" y="841"/>
                  </a:cubicBezTo>
                  <a:cubicBezTo>
                    <a:pt x="437" y="842"/>
                    <a:pt x="434" y="842"/>
                    <a:pt x="431" y="842"/>
                  </a:cubicBezTo>
                  <a:cubicBezTo>
                    <a:pt x="430" y="842"/>
                    <a:pt x="430" y="842"/>
                    <a:pt x="430" y="842"/>
                  </a:cubicBezTo>
                  <a:cubicBezTo>
                    <a:pt x="425" y="842"/>
                    <a:pt x="420" y="842"/>
                    <a:pt x="415" y="843"/>
                  </a:cubicBezTo>
                  <a:cubicBezTo>
                    <a:pt x="415" y="843"/>
                    <a:pt x="414" y="843"/>
                    <a:pt x="414" y="843"/>
                  </a:cubicBezTo>
                  <a:cubicBezTo>
                    <a:pt x="410" y="843"/>
                    <a:pt x="405" y="843"/>
                    <a:pt x="401" y="843"/>
                  </a:cubicBezTo>
                  <a:cubicBezTo>
                    <a:pt x="401" y="843"/>
                    <a:pt x="400" y="843"/>
                    <a:pt x="400" y="843"/>
                  </a:cubicBezTo>
                  <a:cubicBezTo>
                    <a:pt x="399" y="843"/>
                    <a:pt x="397" y="843"/>
                    <a:pt x="396" y="843"/>
                  </a:cubicBezTo>
                  <a:cubicBezTo>
                    <a:pt x="395" y="843"/>
                    <a:pt x="394" y="843"/>
                    <a:pt x="394" y="844"/>
                  </a:cubicBezTo>
                  <a:cubicBezTo>
                    <a:pt x="391" y="844"/>
                    <a:pt x="389" y="844"/>
                    <a:pt x="387" y="844"/>
                  </a:cubicBezTo>
                  <a:cubicBezTo>
                    <a:pt x="387" y="844"/>
                    <a:pt x="387" y="844"/>
                    <a:pt x="386" y="844"/>
                  </a:cubicBezTo>
                  <a:cubicBezTo>
                    <a:pt x="381" y="844"/>
                    <a:pt x="376" y="844"/>
                    <a:pt x="371" y="845"/>
                  </a:cubicBezTo>
                  <a:cubicBezTo>
                    <a:pt x="371" y="845"/>
                    <a:pt x="370" y="845"/>
                    <a:pt x="370" y="845"/>
                  </a:cubicBezTo>
                  <a:cubicBezTo>
                    <a:pt x="364" y="845"/>
                    <a:pt x="359" y="845"/>
                    <a:pt x="353" y="846"/>
                  </a:cubicBezTo>
                  <a:cubicBezTo>
                    <a:pt x="352" y="846"/>
                    <a:pt x="352" y="846"/>
                    <a:pt x="352" y="846"/>
                  </a:cubicBezTo>
                  <a:cubicBezTo>
                    <a:pt x="330" y="847"/>
                    <a:pt x="307" y="849"/>
                    <a:pt x="284" y="850"/>
                  </a:cubicBezTo>
                  <a:cubicBezTo>
                    <a:pt x="280" y="851"/>
                    <a:pt x="276" y="851"/>
                    <a:pt x="272" y="851"/>
                  </a:cubicBezTo>
                  <a:cubicBezTo>
                    <a:pt x="187" y="859"/>
                    <a:pt x="104" y="870"/>
                    <a:pt x="52" y="890"/>
                  </a:cubicBezTo>
                  <a:cubicBezTo>
                    <a:pt x="52" y="890"/>
                    <a:pt x="51" y="890"/>
                    <a:pt x="51" y="891"/>
                  </a:cubicBezTo>
                  <a:cubicBezTo>
                    <a:pt x="50" y="891"/>
                    <a:pt x="50" y="891"/>
                    <a:pt x="49" y="891"/>
                  </a:cubicBezTo>
                  <a:cubicBezTo>
                    <a:pt x="49" y="891"/>
                    <a:pt x="49" y="891"/>
                    <a:pt x="48" y="892"/>
                  </a:cubicBezTo>
                  <a:cubicBezTo>
                    <a:pt x="48" y="892"/>
                    <a:pt x="48" y="892"/>
                    <a:pt x="48" y="892"/>
                  </a:cubicBezTo>
                  <a:cubicBezTo>
                    <a:pt x="48" y="892"/>
                    <a:pt x="47" y="892"/>
                    <a:pt x="47" y="892"/>
                  </a:cubicBezTo>
                  <a:cubicBezTo>
                    <a:pt x="47" y="892"/>
                    <a:pt x="46" y="892"/>
                    <a:pt x="46" y="893"/>
                  </a:cubicBezTo>
                  <a:cubicBezTo>
                    <a:pt x="46" y="893"/>
                    <a:pt x="45" y="893"/>
                    <a:pt x="45" y="893"/>
                  </a:cubicBezTo>
                  <a:cubicBezTo>
                    <a:pt x="45" y="893"/>
                    <a:pt x="45" y="893"/>
                    <a:pt x="44" y="893"/>
                  </a:cubicBezTo>
                  <a:cubicBezTo>
                    <a:pt x="44" y="893"/>
                    <a:pt x="44" y="893"/>
                    <a:pt x="44" y="894"/>
                  </a:cubicBezTo>
                  <a:cubicBezTo>
                    <a:pt x="43" y="894"/>
                    <a:pt x="42" y="894"/>
                    <a:pt x="42" y="894"/>
                  </a:cubicBezTo>
                  <a:cubicBezTo>
                    <a:pt x="42" y="894"/>
                    <a:pt x="41" y="895"/>
                    <a:pt x="41" y="895"/>
                  </a:cubicBezTo>
                  <a:cubicBezTo>
                    <a:pt x="38" y="896"/>
                    <a:pt x="35" y="897"/>
                    <a:pt x="32" y="899"/>
                  </a:cubicBezTo>
                  <a:cubicBezTo>
                    <a:pt x="31" y="900"/>
                    <a:pt x="30" y="900"/>
                    <a:pt x="28" y="901"/>
                  </a:cubicBezTo>
                  <a:cubicBezTo>
                    <a:pt x="25" y="903"/>
                    <a:pt x="22" y="905"/>
                    <a:pt x="19" y="907"/>
                  </a:cubicBezTo>
                  <a:cubicBezTo>
                    <a:pt x="19" y="907"/>
                    <a:pt x="18" y="908"/>
                    <a:pt x="18" y="908"/>
                  </a:cubicBezTo>
                  <a:cubicBezTo>
                    <a:pt x="18" y="908"/>
                    <a:pt x="17" y="909"/>
                    <a:pt x="17" y="909"/>
                  </a:cubicBezTo>
                  <a:cubicBezTo>
                    <a:pt x="16" y="909"/>
                    <a:pt x="16" y="909"/>
                    <a:pt x="16" y="910"/>
                  </a:cubicBezTo>
                  <a:cubicBezTo>
                    <a:pt x="14" y="911"/>
                    <a:pt x="12" y="913"/>
                    <a:pt x="10" y="915"/>
                  </a:cubicBezTo>
                  <a:cubicBezTo>
                    <a:pt x="10" y="915"/>
                    <a:pt x="10" y="915"/>
                    <a:pt x="10" y="915"/>
                  </a:cubicBezTo>
                  <a:cubicBezTo>
                    <a:pt x="9" y="916"/>
                    <a:pt x="9" y="916"/>
                    <a:pt x="8" y="917"/>
                  </a:cubicBezTo>
                  <a:cubicBezTo>
                    <a:pt x="8" y="917"/>
                    <a:pt x="8" y="917"/>
                    <a:pt x="8" y="918"/>
                  </a:cubicBezTo>
                  <a:cubicBezTo>
                    <a:pt x="7" y="919"/>
                    <a:pt x="6" y="919"/>
                    <a:pt x="6" y="920"/>
                  </a:cubicBezTo>
                  <a:cubicBezTo>
                    <a:pt x="6" y="920"/>
                    <a:pt x="5" y="921"/>
                    <a:pt x="5" y="921"/>
                  </a:cubicBezTo>
                  <a:cubicBezTo>
                    <a:pt x="5" y="922"/>
                    <a:pt x="4" y="922"/>
                    <a:pt x="4" y="923"/>
                  </a:cubicBezTo>
                  <a:cubicBezTo>
                    <a:pt x="4" y="923"/>
                    <a:pt x="4" y="923"/>
                    <a:pt x="4" y="923"/>
                  </a:cubicBezTo>
                  <a:cubicBezTo>
                    <a:pt x="4" y="923"/>
                    <a:pt x="4" y="924"/>
                    <a:pt x="3" y="924"/>
                  </a:cubicBezTo>
                  <a:cubicBezTo>
                    <a:pt x="3" y="926"/>
                    <a:pt x="2" y="927"/>
                    <a:pt x="1" y="929"/>
                  </a:cubicBezTo>
                  <a:cubicBezTo>
                    <a:pt x="1" y="929"/>
                    <a:pt x="1" y="930"/>
                    <a:pt x="1" y="930"/>
                  </a:cubicBezTo>
                  <a:cubicBezTo>
                    <a:pt x="1" y="931"/>
                    <a:pt x="1" y="932"/>
                    <a:pt x="1" y="933"/>
                  </a:cubicBezTo>
                  <a:cubicBezTo>
                    <a:pt x="0" y="933"/>
                    <a:pt x="0" y="933"/>
                    <a:pt x="0" y="934"/>
                  </a:cubicBezTo>
                  <a:cubicBezTo>
                    <a:pt x="0" y="934"/>
                    <a:pt x="0" y="934"/>
                    <a:pt x="0" y="935"/>
                  </a:cubicBezTo>
                  <a:cubicBezTo>
                    <a:pt x="0" y="935"/>
                    <a:pt x="0" y="936"/>
                    <a:pt x="0" y="936"/>
                  </a:cubicBezTo>
                  <a:cubicBezTo>
                    <a:pt x="0" y="937"/>
                    <a:pt x="0" y="937"/>
                    <a:pt x="0" y="937"/>
                  </a:cubicBezTo>
                  <a:cubicBezTo>
                    <a:pt x="0" y="937"/>
                    <a:pt x="0" y="937"/>
                    <a:pt x="0" y="937"/>
                  </a:cubicBezTo>
                  <a:cubicBezTo>
                    <a:pt x="0" y="939"/>
                    <a:pt x="0" y="940"/>
                    <a:pt x="1" y="941"/>
                  </a:cubicBezTo>
                  <a:cubicBezTo>
                    <a:pt x="1" y="942"/>
                    <a:pt x="1" y="942"/>
                    <a:pt x="1" y="943"/>
                  </a:cubicBezTo>
                  <a:cubicBezTo>
                    <a:pt x="1" y="943"/>
                    <a:pt x="1" y="943"/>
                    <a:pt x="1" y="943"/>
                  </a:cubicBezTo>
                  <a:cubicBezTo>
                    <a:pt x="1" y="943"/>
                    <a:pt x="1" y="943"/>
                    <a:pt x="1" y="944"/>
                  </a:cubicBezTo>
                  <a:cubicBezTo>
                    <a:pt x="1" y="945"/>
                    <a:pt x="2" y="946"/>
                    <a:pt x="2" y="947"/>
                  </a:cubicBezTo>
                  <a:cubicBezTo>
                    <a:pt x="2" y="948"/>
                    <a:pt x="2" y="948"/>
                    <a:pt x="3" y="949"/>
                  </a:cubicBezTo>
                  <a:cubicBezTo>
                    <a:pt x="3" y="951"/>
                    <a:pt x="5" y="953"/>
                    <a:pt x="6" y="956"/>
                  </a:cubicBezTo>
                  <a:cubicBezTo>
                    <a:pt x="6" y="956"/>
                    <a:pt x="6" y="956"/>
                    <a:pt x="6" y="957"/>
                  </a:cubicBezTo>
                  <a:cubicBezTo>
                    <a:pt x="7" y="957"/>
                    <a:pt x="7" y="958"/>
                    <a:pt x="7" y="958"/>
                  </a:cubicBezTo>
                  <a:cubicBezTo>
                    <a:pt x="8" y="959"/>
                    <a:pt x="8" y="959"/>
                    <a:pt x="8" y="959"/>
                  </a:cubicBezTo>
                  <a:cubicBezTo>
                    <a:pt x="9" y="961"/>
                    <a:pt x="10" y="962"/>
                    <a:pt x="11" y="964"/>
                  </a:cubicBezTo>
                  <a:cubicBezTo>
                    <a:pt x="12" y="964"/>
                    <a:pt x="13" y="965"/>
                    <a:pt x="13" y="966"/>
                  </a:cubicBezTo>
                  <a:cubicBezTo>
                    <a:pt x="13" y="966"/>
                    <a:pt x="14" y="966"/>
                    <a:pt x="14" y="966"/>
                  </a:cubicBezTo>
                  <a:cubicBezTo>
                    <a:pt x="14" y="966"/>
                    <a:pt x="14" y="966"/>
                    <a:pt x="14" y="966"/>
                  </a:cubicBezTo>
                  <a:cubicBezTo>
                    <a:pt x="14" y="965"/>
                    <a:pt x="14" y="965"/>
                    <a:pt x="14" y="965"/>
                  </a:cubicBezTo>
                  <a:cubicBezTo>
                    <a:pt x="12" y="963"/>
                    <a:pt x="11" y="962"/>
                    <a:pt x="10" y="960"/>
                  </a:cubicBezTo>
                  <a:cubicBezTo>
                    <a:pt x="9" y="960"/>
                    <a:pt x="9" y="959"/>
                    <a:pt x="9" y="959"/>
                  </a:cubicBezTo>
                  <a:cubicBezTo>
                    <a:pt x="8" y="958"/>
                    <a:pt x="8" y="957"/>
                    <a:pt x="7" y="956"/>
                  </a:cubicBezTo>
                  <a:cubicBezTo>
                    <a:pt x="7" y="956"/>
                    <a:pt x="7" y="956"/>
                    <a:pt x="7" y="955"/>
                  </a:cubicBezTo>
                  <a:cubicBezTo>
                    <a:pt x="6" y="954"/>
                    <a:pt x="5" y="952"/>
                    <a:pt x="4" y="950"/>
                  </a:cubicBezTo>
                  <a:cubicBezTo>
                    <a:pt x="4" y="949"/>
                    <a:pt x="3" y="949"/>
                    <a:pt x="3" y="948"/>
                  </a:cubicBezTo>
                  <a:cubicBezTo>
                    <a:pt x="3" y="947"/>
                    <a:pt x="2" y="945"/>
                    <a:pt x="2" y="944"/>
                  </a:cubicBezTo>
                  <a:cubicBezTo>
                    <a:pt x="2" y="944"/>
                    <a:pt x="2" y="943"/>
                    <a:pt x="2" y="943"/>
                  </a:cubicBezTo>
                  <a:cubicBezTo>
                    <a:pt x="2" y="943"/>
                    <a:pt x="2" y="943"/>
                    <a:pt x="2" y="943"/>
                  </a:cubicBezTo>
                  <a:cubicBezTo>
                    <a:pt x="2" y="943"/>
                    <a:pt x="2" y="942"/>
                    <a:pt x="2" y="942"/>
                  </a:cubicBezTo>
                  <a:cubicBezTo>
                    <a:pt x="1" y="940"/>
                    <a:pt x="1" y="939"/>
                    <a:pt x="1" y="938"/>
                  </a:cubicBezTo>
                  <a:cubicBezTo>
                    <a:pt x="1" y="938"/>
                    <a:pt x="1" y="937"/>
                    <a:pt x="1" y="937"/>
                  </a:cubicBezTo>
                  <a:cubicBezTo>
                    <a:pt x="1" y="937"/>
                    <a:pt x="1" y="937"/>
                    <a:pt x="1" y="937"/>
                  </a:cubicBezTo>
                  <a:cubicBezTo>
                    <a:pt x="1" y="936"/>
                    <a:pt x="1" y="936"/>
                    <a:pt x="1" y="936"/>
                  </a:cubicBezTo>
                  <a:cubicBezTo>
                    <a:pt x="1" y="935"/>
                    <a:pt x="1" y="935"/>
                    <a:pt x="1" y="934"/>
                  </a:cubicBezTo>
                  <a:cubicBezTo>
                    <a:pt x="1" y="934"/>
                    <a:pt x="1" y="934"/>
                    <a:pt x="1" y="933"/>
                  </a:cubicBezTo>
                  <a:cubicBezTo>
                    <a:pt x="1" y="933"/>
                    <a:pt x="2" y="932"/>
                    <a:pt x="2" y="931"/>
                  </a:cubicBezTo>
                  <a:cubicBezTo>
                    <a:pt x="2" y="931"/>
                    <a:pt x="2" y="930"/>
                    <a:pt x="2" y="930"/>
                  </a:cubicBezTo>
                  <a:cubicBezTo>
                    <a:pt x="3" y="928"/>
                    <a:pt x="3" y="926"/>
                    <a:pt x="4" y="925"/>
                  </a:cubicBezTo>
                  <a:cubicBezTo>
                    <a:pt x="4" y="924"/>
                    <a:pt x="4" y="924"/>
                    <a:pt x="5" y="924"/>
                  </a:cubicBezTo>
                  <a:cubicBezTo>
                    <a:pt x="5" y="924"/>
                    <a:pt x="5" y="923"/>
                    <a:pt x="5" y="923"/>
                  </a:cubicBezTo>
                  <a:cubicBezTo>
                    <a:pt x="5" y="923"/>
                    <a:pt x="6" y="922"/>
                    <a:pt x="6" y="921"/>
                  </a:cubicBezTo>
                  <a:cubicBezTo>
                    <a:pt x="6" y="921"/>
                    <a:pt x="6" y="921"/>
                    <a:pt x="7" y="921"/>
                  </a:cubicBezTo>
                  <a:cubicBezTo>
                    <a:pt x="7" y="920"/>
                    <a:pt x="8" y="919"/>
                    <a:pt x="8" y="918"/>
                  </a:cubicBezTo>
                  <a:cubicBezTo>
                    <a:pt x="9" y="918"/>
                    <a:pt x="9" y="918"/>
                    <a:pt x="9" y="917"/>
                  </a:cubicBezTo>
                  <a:cubicBezTo>
                    <a:pt x="9" y="917"/>
                    <a:pt x="10" y="916"/>
                    <a:pt x="10" y="916"/>
                  </a:cubicBezTo>
                  <a:cubicBezTo>
                    <a:pt x="10" y="916"/>
                    <a:pt x="11" y="915"/>
                    <a:pt x="11" y="915"/>
                  </a:cubicBezTo>
                  <a:cubicBezTo>
                    <a:pt x="13" y="913"/>
                    <a:pt x="14" y="912"/>
                    <a:pt x="17" y="910"/>
                  </a:cubicBezTo>
                  <a:cubicBezTo>
                    <a:pt x="17" y="910"/>
                    <a:pt x="17" y="910"/>
                    <a:pt x="17" y="909"/>
                  </a:cubicBezTo>
                  <a:cubicBezTo>
                    <a:pt x="18" y="909"/>
                    <a:pt x="18" y="909"/>
                    <a:pt x="19" y="908"/>
                  </a:cubicBezTo>
                  <a:cubicBezTo>
                    <a:pt x="19" y="908"/>
                    <a:pt x="19" y="908"/>
                    <a:pt x="20" y="908"/>
                  </a:cubicBezTo>
                  <a:cubicBezTo>
                    <a:pt x="23" y="905"/>
                    <a:pt x="27" y="903"/>
                    <a:pt x="32" y="900"/>
                  </a:cubicBezTo>
                  <a:cubicBezTo>
                    <a:pt x="32" y="900"/>
                    <a:pt x="32" y="900"/>
                    <a:pt x="32" y="900"/>
                  </a:cubicBezTo>
                  <a:cubicBezTo>
                    <a:pt x="33" y="899"/>
                    <a:pt x="35" y="899"/>
                    <a:pt x="37" y="898"/>
                  </a:cubicBezTo>
                  <a:cubicBezTo>
                    <a:pt x="38" y="897"/>
                    <a:pt x="40" y="896"/>
                    <a:pt x="42" y="895"/>
                  </a:cubicBezTo>
                  <a:cubicBezTo>
                    <a:pt x="42" y="895"/>
                    <a:pt x="42" y="895"/>
                    <a:pt x="43" y="895"/>
                  </a:cubicBezTo>
                  <a:cubicBezTo>
                    <a:pt x="43" y="895"/>
                    <a:pt x="44" y="894"/>
                    <a:pt x="44" y="894"/>
                  </a:cubicBezTo>
                  <a:cubicBezTo>
                    <a:pt x="45" y="894"/>
                    <a:pt x="45" y="894"/>
                    <a:pt x="45" y="894"/>
                  </a:cubicBezTo>
                  <a:cubicBezTo>
                    <a:pt x="45" y="894"/>
                    <a:pt x="46" y="894"/>
                    <a:pt x="46" y="894"/>
                  </a:cubicBezTo>
                  <a:cubicBezTo>
                    <a:pt x="46" y="893"/>
                    <a:pt x="47" y="893"/>
                    <a:pt x="47" y="893"/>
                  </a:cubicBezTo>
                  <a:cubicBezTo>
                    <a:pt x="48" y="893"/>
                    <a:pt x="48" y="893"/>
                    <a:pt x="48" y="893"/>
                  </a:cubicBezTo>
                  <a:cubicBezTo>
                    <a:pt x="48" y="893"/>
                    <a:pt x="49" y="893"/>
                    <a:pt x="49" y="892"/>
                  </a:cubicBezTo>
                  <a:cubicBezTo>
                    <a:pt x="49" y="892"/>
                    <a:pt x="49" y="892"/>
                    <a:pt x="49" y="892"/>
                  </a:cubicBezTo>
                  <a:cubicBezTo>
                    <a:pt x="50" y="892"/>
                    <a:pt x="50" y="892"/>
                    <a:pt x="51" y="892"/>
                  </a:cubicBezTo>
                  <a:cubicBezTo>
                    <a:pt x="51" y="892"/>
                    <a:pt x="51" y="891"/>
                    <a:pt x="52" y="891"/>
                  </a:cubicBezTo>
                  <a:cubicBezTo>
                    <a:pt x="52" y="891"/>
                    <a:pt x="52" y="891"/>
                    <a:pt x="53" y="891"/>
                  </a:cubicBezTo>
                  <a:cubicBezTo>
                    <a:pt x="102" y="872"/>
                    <a:pt x="179" y="861"/>
                    <a:pt x="259" y="854"/>
                  </a:cubicBezTo>
                  <a:cubicBezTo>
                    <a:pt x="263" y="853"/>
                    <a:pt x="267" y="853"/>
                    <a:pt x="271" y="853"/>
                  </a:cubicBezTo>
                  <a:cubicBezTo>
                    <a:pt x="299" y="850"/>
                    <a:pt x="326" y="848"/>
                    <a:pt x="352" y="847"/>
                  </a:cubicBezTo>
                  <a:cubicBezTo>
                    <a:pt x="353" y="847"/>
                    <a:pt x="353" y="847"/>
                    <a:pt x="353" y="847"/>
                  </a:cubicBezTo>
                  <a:cubicBezTo>
                    <a:pt x="359" y="846"/>
                    <a:pt x="365" y="846"/>
                    <a:pt x="370" y="846"/>
                  </a:cubicBezTo>
                  <a:cubicBezTo>
                    <a:pt x="371" y="846"/>
                    <a:pt x="371" y="846"/>
                    <a:pt x="371" y="846"/>
                  </a:cubicBezTo>
                  <a:cubicBezTo>
                    <a:pt x="377" y="845"/>
                    <a:pt x="381" y="845"/>
                    <a:pt x="386" y="845"/>
                  </a:cubicBezTo>
                  <a:cubicBezTo>
                    <a:pt x="387" y="845"/>
                    <a:pt x="387" y="845"/>
                    <a:pt x="387" y="845"/>
                  </a:cubicBezTo>
                  <a:cubicBezTo>
                    <a:pt x="389" y="845"/>
                    <a:pt x="390" y="845"/>
                    <a:pt x="392" y="845"/>
                  </a:cubicBezTo>
                  <a:cubicBezTo>
                    <a:pt x="393" y="844"/>
                    <a:pt x="393" y="844"/>
                    <a:pt x="394" y="844"/>
                  </a:cubicBezTo>
                  <a:cubicBezTo>
                    <a:pt x="396" y="844"/>
                    <a:pt x="398" y="844"/>
                    <a:pt x="400" y="844"/>
                  </a:cubicBezTo>
                  <a:cubicBezTo>
                    <a:pt x="400" y="844"/>
                    <a:pt x="401" y="844"/>
                    <a:pt x="401" y="844"/>
                  </a:cubicBezTo>
                  <a:cubicBezTo>
                    <a:pt x="405" y="844"/>
                    <a:pt x="410" y="844"/>
                    <a:pt x="414" y="843"/>
                  </a:cubicBezTo>
                  <a:cubicBezTo>
                    <a:pt x="414" y="843"/>
                    <a:pt x="414" y="843"/>
                    <a:pt x="415" y="843"/>
                  </a:cubicBezTo>
                  <a:cubicBezTo>
                    <a:pt x="420" y="843"/>
                    <a:pt x="425" y="843"/>
                    <a:pt x="430" y="843"/>
                  </a:cubicBezTo>
                  <a:cubicBezTo>
                    <a:pt x="430" y="843"/>
                    <a:pt x="430" y="843"/>
                    <a:pt x="431" y="843"/>
                  </a:cubicBezTo>
                  <a:cubicBezTo>
                    <a:pt x="433" y="843"/>
                    <a:pt x="436" y="843"/>
                    <a:pt x="439" y="842"/>
                  </a:cubicBezTo>
                  <a:cubicBezTo>
                    <a:pt x="439" y="842"/>
                    <a:pt x="439" y="842"/>
                    <a:pt x="440" y="842"/>
                  </a:cubicBezTo>
                  <a:cubicBezTo>
                    <a:pt x="442" y="842"/>
                    <a:pt x="444" y="842"/>
                    <a:pt x="447" y="842"/>
                  </a:cubicBezTo>
                  <a:cubicBezTo>
                    <a:pt x="447" y="842"/>
                    <a:pt x="447" y="842"/>
                    <a:pt x="448" y="842"/>
                  </a:cubicBezTo>
                  <a:cubicBezTo>
                    <a:pt x="451" y="842"/>
                    <a:pt x="455" y="842"/>
                    <a:pt x="459" y="842"/>
                  </a:cubicBezTo>
                  <a:cubicBezTo>
                    <a:pt x="459" y="842"/>
                    <a:pt x="460" y="842"/>
                    <a:pt x="460" y="842"/>
                  </a:cubicBezTo>
                  <a:cubicBezTo>
                    <a:pt x="462" y="842"/>
                    <a:pt x="463" y="841"/>
                    <a:pt x="464" y="841"/>
                  </a:cubicBezTo>
                  <a:cubicBezTo>
                    <a:pt x="465" y="841"/>
                    <a:pt x="465" y="841"/>
                    <a:pt x="465" y="841"/>
                  </a:cubicBezTo>
                  <a:cubicBezTo>
                    <a:pt x="467" y="841"/>
                    <a:pt x="468" y="841"/>
                    <a:pt x="470" y="841"/>
                  </a:cubicBezTo>
                  <a:cubicBezTo>
                    <a:pt x="470" y="841"/>
                    <a:pt x="470" y="841"/>
                    <a:pt x="471" y="841"/>
                  </a:cubicBezTo>
                  <a:cubicBezTo>
                    <a:pt x="471" y="841"/>
                    <a:pt x="471" y="841"/>
                    <a:pt x="471" y="841"/>
                  </a:cubicBezTo>
                  <a:cubicBezTo>
                    <a:pt x="471" y="841"/>
                    <a:pt x="471" y="841"/>
                    <a:pt x="472" y="841"/>
                  </a:cubicBezTo>
                  <a:cubicBezTo>
                    <a:pt x="472" y="841"/>
                    <a:pt x="471" y="841"/>
                    <a:pt x="471" y="840"/>
                  </a:cubicBezTo>
                  <a:moveTo>
                    <a:pt x="1262" y="848"/>
                  </a:moveTo>
                  <a:cubicBezTo>
                    <a:pt x="1258" y="850"/>
                    <a:pt x="1254" y="852"/>
                    <a:pt x="1250" y="854"/>
                  </a:cubicBezTo>
                  <a:cubicBezTo>
                    <a:pt x="1236" y="861"/>
                    <a:pt x="1222" y="868"/>
                    <a:pt x="1207" y="876"/>
                  </a:cubicBezTo>
                  <a:cubicBezTo>
                    <a:pt x="1207" y="877"/>
                    <a:pt x="1207" y="877"/>
                    <a:pt x="1207" y="877"/>
                  </a:cubicBezTo>
                  <a:cubicBezTo>
                    <a:pt x="1222" y="869"/>
                    <a:pt x="1237" y="862"/>
                    <a:pt x="1251" y="855"/>
                  </a:cubicBezTo>
                  <a:cubicBezTo>
                    <a:pt x="1254" y="853"/>
                    <a:pt x="1258" y="851"/>
                    <a:pt x="1262" y="849"/>
                  </a:cubicBezTo>
                  <a:cubicBezTo>
                    <a:pt x="1262" y="849"/>
                    <a:pt x="1262" y="849"/>
                    <a:pt x="1262" y="848"/>
                  </a:cubicBezTo>
                  <a:moveTo>
                    <a:pt x="1206" y="877"/>
                  </a:moveTo>
                  <a:cubicBezTo>
                    <a:pt x="1189" y="887"/>
                    <a:pt x="1171" y="897"/>
                    <a:pt x="1154" y="908"/>
                  </a:cubicBezTo>
                  <a:cubicBezTo>
                    <a:pt x="1154" y="908"/>
                    <a:pt x="1154" y="908"/>
                    <a:pt x="1154" y="909"/>
                  </a:cubicBezTo>
                  <a:cubicBezTo>
                    <a:pt x="1171" y="898"/>
                    <a:pt x="1189" y="888"/>
                    <a:pt x="1207" y="878"/>
                  </a:cubicBezTo>
                  <a:cubicBezTo>
                    <a:pt x="1207" y="878"/>
                    <a:pt x="1207" y="877"/>
                    <a:pt x="1206" y="877"/>
                  </a:cubicBezTo>
                  <a:moveTo>
                    <a:pt x="1153" y="908"/>
                  </a:moveTo>
                  <a:cubicBezTo>
                    <a:pt x="1136" y="919"/>
                    <a:pt x="1119" y="930"/>
                    <a:pt x="1104" y="942"/>
                  </a:cubicBezTo>
                  <a:cubicBezTo>
                    <a:pt x="1104" y="942"/>
                    <a:pt x="1104" y="942"/>
                    <a:pt x="1104" y="943"/>
                  </a:cubicBezTo>
                  <a:cubicBezTo>
                    <a:pt x="1119" y="931"/>
                    <a:pt x="1136" y="920"/>
                    <a:pt x="1153" y="909"/>
                  </a:cubicBezTo>
                  <a:cubicBezTo>
                    <a:pt x="1153" y="909"/>
                    <a:pt x="1153" y="909"/>
                    <a:pt x="1153" y="908"/>
                  </a:cubicBezTo>
                  <a:moveTo>
                    <a:pt x="1103" y="942"/>
                  </a:moveTo>
                  <a:cubicBezTo>
                    <a:pt x="1087" y="954"/>
                    <a:pt x="1072" y="966"/>
                    <a:pt x="1059" y="978"/>
                  </a:cubicBezTo>
                  <a:cubicBezTo>
                    <a:pt x="1059" y="978"/>
                    <a:pt x="1060" y="979"/>
                    <a:pt x="1060" y="979"/>
                  </a:cubicBezTo>
                  <a:cubicBezTo>
                    <a:pt x="1073" y="967"/>
                    <a:pt x="1087" y="955"/>
                    <a:pt x="1103" y="943"/>
                  </a:cubicBezTo>
                  <a:cubicBezTo>
                    <a:pt x="1103" y="943"/>
                    <a:pt x="1103" y="943"/>
                    <a:pt x="1103" y="942"/>
                  </a:cubicBezTo>
                  <a:moveTo>
                    <a:pt x="15" y="966"/>
                  </a:moveTo>
                  <a:cubicBezTo>
                    <a:pt x="15" y="967"/>
                    <a:pt x="14" y="967"/>
                    <a:pt x="14" y="967"/>
                  </a:cubicBezTo>
                  <a:cubicBezTo>
                    <a:pt x="18" y="971"/>
                    <a:pt x="23" y="976"/>
                    <a:pt x="28" y="981"/>
                  </a:cubicBezTo>
                  <a:cubicBezTo>
                    <a:pt x="29" y="981"/>
                    <a:pt x="30" y="982"/>
                    <a:pt x="31" y="983"/>
                  </a:cubicBezTo>
                  <a:cubicBezTo>
                    <a:pt x="31" y="983"/>
                    <a:pt x="31" y="983"/>
                    <a:pt x="32" y="983"/>
                  </a:cubicBezTo>
                  <a:cubicBezTo>
                    <a:pt x="32" y="983"/>
                    <a:pt x="32" y="983"/>
                    <a:pt x="32" y="983"/>
                  </a:cubicBezTo>
                  <a:cubicBezTo>
                    <a:pt x="32" y="982"/>
                    <a:pt x="32" y="982"/>
                    <a:pt x="32" y="982"/>
                  </a:cubicBezTo>
                  <a:cubicBezTo>
                    <a:pt x="25" y="977"/>
                    <a:pt x="20" y="972"/>
                    <a:pt x="16" y="967"/>
                  </a:cubicBezTo>
                  <a:cubicBezTo>
                    <a:pt x="15" y="967"/>
                    <a:pt x="15" y="967"/>
                    <a:pt x="15" y="966"/>
                  </a:cubicBezTo>
                  <a:moveTo>
                    <a:pt x="1059" y="979"/>
                  </a:moveTo>
                  <a:cubicBezTo>
                    <a:pt x="1044" y="993"/>
                    <a:pt x="1032" y="1007"/>
                    <a:pt x="1022" y="1021"/>
                  </a:cubicBezTo>
                  <a:cubicBezTo>
                    <a:pt x="1023" y="1021"/>
                    <a:pt x="1023" y="1021"/>
                    <a:pt x="1023" y="1022"/>
                  </a:cubicBezTo>
                  <a:cubicBezTo>
                    <a:pt x="1032" y="1008"/>
                    <a:pt x="1044" y="994"/>
                    <a:pt x="1059" y="980"/>
                  </a:cubicBezTo>
                  <a:cubicBezTo>
                    <a:pt x="1059" y="979"/>
                    <a:pt x="1059" y="979"/>
                    <a:pt x="1059" y="979"/>
                  </a:cubicBezTo>
                  <a:moveTo>
                    <a:pt x="33" y="983"/>
                  </a:moveTo>
                  <a:cubicBezTo>
                    <a:pt x="33" y="983"/>
                    <a:pt x="32" y="984"/>
                    <a:pt x="32" y="984"/>
                  </a:cubicBezTo>
                  <a:cubicBezTo>
                    <a:pt x="35" y="986"/>
                    <a:pt x="38" y="988"/>
                    <a:pt x="41" y="991"/>
                  </a:cubicBezTo>
                  <a:cubicBezTo>
                    <a:pt x="41" y="991"/>
                    <a:pt x="42" y="991"/>
                    <a:pt x="42" y="991"/>
                  </a:cubicBezTo>
                  <a:cubicBezTo>
                    <a:pt x="43" y="992"/>
                    <a:pt x="44" y="992"/>
                    <a:pt x="44" y="993"/>
                  </a:cubicBezTo>
                  <a:cubicBezTo>
                    <a:pt x="45" y="994"/>
                    <a:pt x="46" y="994"/>
                    <a:pt x="47" y="995"/>
                  </a:cubicBezTo>
                  <a:cubicBezTo>
                    <a:pt x="49" y="996"/>
                    <a:pt x="50" y="997"/>
                    <a:pt x="52" y="998"/>
                  </a:cubicBezTo>
                  <a:cubicBezTo>
                    <a:pt x="52" y="998"/>
                    <a:pt x="52" y="998"/>
                    <a:pt x="53" y="997"/>
                  </a:cubicBezTo>
                  <a:cubicBezTo>
                    <a:pt x="52" y="997"/>
                    <a:pt x="52" y="997"/>
                    <a:pt x="51" y="996"/>
                  </a:cubicBezTo>
                  <a:cubicBezTo>
                    <a:pt x="50" y="996"/>
                    <a:pt x="49" y="995"/>
                    <a:pt x="48" y="994"/>
                  </a:cubicBezTo>
                  <a:cubicBezTo>
                    <a:pt x="46" y="993"/>
                    <a:pt x="45" y="992"/>
                    <a:pt x="43" y="991"/>
                  </a:cubicBezTo>
                  <a:cubicBezTo>
                    <a:pt x="43" y="991"/>
                    <a:pt x="42" y="990"/>
                    <a:pt x="42" y="990"/>
                  </a:cubicBezTo>
                  <a:cubicBezTo>
                    <a:pt x="40" y="988"/>
                    <a:pt x="37" y="986"/>
                    <a:pt x="35" y="985"/>
                  </a:cubicBezTo>
                  <a:cubicBezTo>
                    <a:pt x="34" y="984"/>
                    <a:pt x="34" y="984"/>
                    <a:pt x="33" y="983"/>
                  </a:cubicBezTo>
                  <a:moveTo>
                    <a:pt x="54" y="998"/>
                  </a:moveTo>
                  <a:cubicBezTo>
                    <a:pt x="53" y="998"/>
                    <a:pt x="53" y="998"/>
                    <a:pt x="53" y="998"/>
                  </a:cubicBezTo>
                  <a:cubicBezTo>
                    <a:pt x="53" y="999"/>
                    <a:pt x="54" y="999"/>
                    <a:pt x="54" y="999"/>
                  </a:cubicBezTo>
                  <a:cubicBezTo>
                    <a:pt x="55" y="1000"/>
                    <a:pt x="56" y="1001"/>
                    <a:pt x="57" y="1001"/>
                  </a:cubicBezTo>
                  <a:cubicBezTo>
                    <a:pt x="62" y="1004"/>
                    <a:pt x="67" y="1007"/>
                    <a:pt x="73" y="1011"/>
                  </a:cubicBezTo>
                  <a:cubicBezTo>
                    <a:pt x="73" y="1010"/>
                    <a:pt x="73" y="1010"/>
                    <a:pt x="74" y="1010"/>
                  </a:cubicBezTo>
                  <a:cubicBezTo>
                    <a:pt x="69" y="1007"/>
                    <a:pt x="64" y="1005"/>
                    <a:pt x="60" y="1002"/>
                  </a:cubicBezTo>
                  <a:cubicBezTo>
                    <a:pt x="59" y="1001"/>
                    <a:pt x="58" y="1001"/>
                    <a:pt x="57" y="1000"/>
                  </a:cubicBezTo>
                  <a:cubicBezTo>
                    <a:pt x="56" y="999"/>
                    <a:pt x="55" y="999"/>
                    <a:pt x="54" y="998"/>
                  </a:cubicBezTo>
                  <a:moveTo>
                    <a:pt x="75" y="1011"/>
                  </a:moveTo>
                  <a:cubicBezTo>
                    <a:pt x="74" y="1011"/>
                    <a:pt x="74" y="1011"/>
                    <a:pt x="74" y="1011"/>
                  </a:cubicBezTo>
                  <a:cubicBezTo>
                    <a:pt x="74" y="1011"/>
                    <a:pt x="74" y="1011"/>
                    <a:pt x="74" y="1011"/>
                  </a:cubicBezTo>
                  <a:cubicBezTo>
                    <a:pt x="75" y="1012"/>
                    <a:pt x="76" y="1013"/>
                    <a:pt x="77" y="1013"/>
                  </a:cubicBezTo>
                  <a:cubicBezTo>
                    <a:pt x="78" y="1014"/>
                    <a:pt x="79" y="1014"/>
                    <a:pt x="79" y="1015"/>
                  </a:cubicBezTo>
                  <a:cubicBezTo>
                    <a:pt x="80" y="1015"/>
                    <a:pt x="80" y="1015"/>
                    <a:pt x="80" y="1015"/>
                  </a:cubicBezTo>
                  <a:cubicBezTo>
                    <a:pt x="83" y="1017"/>
                    <a:pt x="86" y="1018"/>
                    <a:pt x="88" y="1019"/>
                  </a:cubicBezTo>
                  <a:cubicBezTo>
                    <a:pt x="89" y="1020"/>
                    <a:pt x="90" y="1020"/>
                    <a:pt x="91" y="1021"/>
                  </a:cubicBezTo>
                  <a:cubicBezTo>
                    <a:pt x="92" y="1021"/>
                    <a:pt x="93" y="1022"/>
                    <a:pt x="93" y="1022"/>
                  </a:cubicBezTo>
                  <a:cubicBezTo>
                    <a:pt x="94" y="1022"/>
                    <a:pt x="94" y="1022"/>
                    <a:pt x="95" y="1022"/>
                  </a:cubicBezTo>
                  <a:cubicBezTo>
                    <a:pt x="94" y="1021"/>
                    <a:pt x="93" y="1020"/>
                    <a:pt x="92" y="1020"/>
                  </a:cubicBezTo>
                  <a:cubicBezTo>
                    <a:pt x="88" y="1018"/>
                    <a:pt x="85" y="1016"/>
                    <a:pt x="82" y="1015"/>
                  </a:cubicBezTo>
                  <a:cubicBezTo>
                    <a:pt x="81" y="1014"/>
                    <a:pt x="81" y="1014"/>
                    <a:pt x="81" y="1014"/>
                  </a:cubicBezTo>
                  <a:cubicBezTo>
                    <a:pt x="80" y="1013"/>
                    <a:pt x="78" y="1013"/>
                    <a:pt x="77" y="1012"/>
                  </a:cubicBezTo>
                  <a:cubicBezTo>
                    <a:pt x="76" y="1012"/>
                    <a:pt x="76" y="1011"/>
                    <a:pt x="75" y="1011"/>
                  </a:cubicBezTo>
                  <a:moveTo>
                    <a:pt x="1022" y="1022"/>
                  </a:moveTo>
                  <a:cubicBezTo>
                    <a:pt x="1011" y="1039"/>
                    <a:pt x="1004" y="1056"/>
                    <a:pt x="1004" y="1072"/>
                  </a:cubicBezTo>
                  <a:cubicBezTo>
                    <a:pt x="1004" y="1075"/>
                    <a:pt x="1004" y="1078"/>
                    <a:pt x="1005" y="1080"/>
                  </a:cubicBezTo>
                  <a:cubicBezTo>
                    <a:pt x="1005" y="1081"/>
                    <a:pt x="1006" y="1081"/>
                    <a:pt x="1006" y="1082"/>
                  </a:cubicBezTo>
                  <a:cubicBezTo>
                    <a:pt x="1006" y="1078"/>
                    <a:pt x="1005" y="1075"/>
                    <a:pt x="1005" y="1072"/>
                  </a:cubicBezTo>
                  <a:cubicBezTo>
                    <a:pt x="1005" y="1056"/>
                    <a:pt x="1011" y="1039"/>
                    <a:pt x="1022" y="1022"/>
                  </a:cubicBezTo>
                  <a:cubicBezTo>
                    <a:pt x="1022" y="1022"/>
                    <a:pt x="1022" y="1022"/>
                    <a:pt x="1022" y="1022"/>
                  </a:cubicBezTo>
                  <a:moveTo>
                    <a:pt x="97" y="1023"/>
                  </a:moveTo>
                  <a:cubicBezTo>
                    <a:pt x="96" y="1023"/>
                    <a:pt x="96" y="1023"/>
                    <a:pt x="95" y="1023"/>
                  </a:cubicBezTo>
                  <a:cubicBezTo>
                    <a:pt x="99" y="1025"/>
                    <a:pt x="103" y="1027"/>
                    <a:pt x="107" y="1029"/>
                  </a:cubicBezTo>
                  <a:cubicBezTo>
                    <a:pt x="107" y="1029"/>
                    <a:pt x="108" y="1029"/>
                    <a:pt x="108" y="1028"/>
                  </a:cubicBezTo>
                  <a:cubicBezTo>
                    <a:pt x="104" y="1026"/>
                    <a:pt x="100" y="1025"/>
                    <a:pt x="97" y="1023"/>
                  </a:cubicBezTo>
                  <a:moveTo>
                    <a:pt x="109" y="1029"/>
                  </a:moveTo>
                  <a:cubicBezTo>
                    <a:pt x="109" y="1029"/>
                    <a:pt x="108" y="1029"/>
                    <a:pt x="108" y="1029"/>
                  </a:cubicBezTo>
                  <a:cubicBezTo>
                    <a:pt x="110" y="1030"/>
                    <a:pt x="112" y="1031"/>
                    <a:pt x="114" y="1032"/>
                  </a:cubicBezTo>
                  <a:cubicBezTo>
                    <a:pt x="114" y="1032"/>
                    <a:pt x="115" y="1032"/>
                    <a:pt x="115" y="1032"/>
                  </a:cubicBezTo>
                  <a:cubicBezTo>
                    <a:pt x="113" y="1031"/>
                    <a:pt x="111" y="1030"/>
                    <a:pt x="109" y="1029"/>
                  </a:cubicBezTo>
                  <a:moveTo>
                    <a:pt x="116" y="1032"/>
                  </a:moveTo>
                  <a:cubicBezTo>
                    <a:pt x="116" y="1033"/>
                    <a:pt x="115" y="1033"/>
                    <a:pt x="115" y="1033"/>
                  </a:cubicBezTo>
                  <a:cubicBezTo>
                    <a:pt x="116" y="1033"/>
                    <a:pt x="117" y="1034"/>
                    <a:pt x="118" y="1035"/>
                  </a:cubicBezTo>
                  <a:cubicBezTo>
                    <a:pt x="119" y="1035"/>
                    <a:pt x="119" y="1035"/>
                    <a:pt x="119" y="1035"/>
                  </a:cubicBezTo>
                  <a:cubicBezTo>
                    <a:pt x="119" y="1035"/>
                    <a:pt x="120" y="1034"/>
                    <a:pt x="120" y="1034"/>
                  </a:cubicBezTo>
                  <a:cubicBezTo>
                    <a:pt x="120" y="1034"/>
                    <a:pt x="120" y="1034"/>
                    <a:pt x="120" y="1034"/>
                  </a:cubicBezTo>
                  <a:cubicBezTo>
                    <a:pt x="118" y="1033"/>
                    <a:pt x="117" y="1033"/>
                    <a:pt x="116" y="1032"/>
                  </a:cubicBezTo>
                  <a:moveTo>
                    <a:pt x="121" y="1035"/>
                  </a:moveTo>
                  <a:cubicBezTo>
                    <a:pt x="121" y="1035"/>
                    <a:pt x="120" y="1035"/>
                    <a:pt x="120" y="1035"/>
                  </a:cubicBezTo>
                  <a:cubicBezTo>
                    <a:pt x="121" y="1036"/>
                    <a:pt x="121" y="1036"/>
                    <a:pt x="122" y="1036"/>
                  </a:cubicBezTo>
                  <a:cubicBezTo>
                    <a:pt x="123" y="1037"/>
                    <a:pt x="124" y="1037"/>
                    <a:pt x="124" y="1037"/>
                  </a:cubicBezTo>
                  <a:cubicBezTo>
                    <a:pt x="125" y="1038"/>
                    <a:pt x="125" y="1038"/>
                    <a:pt x="125" y="1038"/>
                  </a:cubicBezTo>
                  <a:cubicBezTo>
                    <a:pt x="126" y="1038"/>
                    <a:pt x="126" y="1038"/>
                    <a:pt x="126" y="1038"/>
                  </a:cubicBezTo>
                  <a:cubicBezTo>
                    <a:pt x="127" y="1038"/>
                    <a:pt x="127" y="1039"/>
                    <a:pt x="127" y="1039"/>
                  </a:cubicBezTo>
                  <a:cubicBezTo>
                    <a:pt x="129" y="1039"/>
                    <a:pt x="130" y="1040"/>
                    <a:pt x="131" y="1041"/>
                  </a:cubicBezTo>
                  <a:cubicBezTo>
                    <a:pt x="132" y="1040"/>
                    <a:pt x="132" y="1040"/>
                    <a:pt x="133" y="1040"/>
                  </a:cubicBezTo>
                  <a:cubicBezTo>
                    <a:pt x="131" y="1039"/>
                    <a:pt x="129" y="1039"/>
                    <a:pt x="128" y="1038"/>
                  </a:cubicBezTo>
                  <a:cubicBezTo>
                    <a:pt x="127" y="1038"/>
                    <a:pt x="127" y="1038"/>
                    <a:pt x="127" y="1038"/>
                  </a:cubicBezTo>
                  <a:cubicBezTo>
                    <a:pt x="126" y="1037"/>
                    <a:pt x="126" y="1037"/>
                    <a:pt x="125" y="1036"/>
                  </a:cubicBezTo>
                  <a:cubicBezTo>
                    <a:pt x="123" y="1036"/>
                    <a:pt x="122" y="1035"/>
                    <a:pt x="121" y="1035"/>
                  </a:cubicBezTo>
                  <a:moveTo>
                    <a:pt x="134" y="1041"/>
                  </a:moveTo>
                  <a:cubicBezTo>
                    <a:pt x="133" y="1041"/>
                    <a:pt x="133" y="1041"/>
                    <a:pt x="133" y="1041"/>
                  </a:cubicBezTo>
                  <a:cubicBezTo>
                    <a:pt x="133" y="1041"/>
                    <a:pt x="133" y="1041"/>
                    <a:pt x="133" y="1042"/>
                  </a:cubicBezTo>
                  <a:cubicBezTo>
                    <a:pt x="134" y="1042"/>
                    <a:pt x="134" y="1042"/>
                    <a:pt x="134" y="1042"/>
                  </a:cubicBezTo>
                  <a:cubicBezTo>
                    <a:pt x="134" y="1042"/>
                    <a:pt x="135" y="1041"/>
                    <a:pt x="135" y="1041"/>
                  </a:cubicBezTo>
                  <a:cubicBezTo>
                    <a:pt x="135" y="1041"/>
                    <a:pt x="135" y="1041"/>
                    <a:pt x="135" y="1041"/>
                  </a:cubicBezTo>
                  <a:cubicBezTo>
                    <a:pt x="135" y="1041"/>
                    <a:pt x="134" y="1041"/>
                    <a:pt x="134" y="1041"/>
                  </a:cubicBezTo>
                  <a:cubicBezTo>
                    <a:pt x="134" y="1041"/>
                    <a:pt x="134" y="1041"/>
                    <a:pt x="134" y="1041"/>
                  </a:cubicBezTo>
                  <a:moveTo>
                    <a:pt x="136" y="1042"/>
                  </a:moveTo>
                  <a:cubicBezTo>
                    <a:pt x="136" y="1042"/>
                    <a:pt x="135" y="1042"/>
                    <a:pt x="135" y="1042"/>
                  </a:cubicBezTo>
                  <a:cubicBezTo>
                    <a:pt x="136" y="1043"/>
                    <a:pt x="138" y="1044"/>
                    <a:pt x="139" y="1044"/>
                  </a:cubicBezTo>
                  <a:cubicBezTo>
                    <a:pt x="139" y="1044"/>
                    <a:pt x="140" y="1044"/>
                    <a:pt x="140" y="1045"/>
                  </a:cubicBezTo>
                  <a:cubicBezTo>
                    <a:pt x="140" y="1045"/>
                    <a:pt x="141" y="1045"/>
                    <a:pt x="141" y="1045"/>
                  </a:cubicBezTo>
                  <a:cubicBezTo>
                    <a:pt x="142" y="1045"/>
                    <a:pt x="142" y="1045"/>
                    <a:pt x="143" y="1045"/>
                  </a:cubicBezTo>
                  <a:cubicBezTo>
                    <a:pt x="142" y="1044"/>
                    <a:pt x="141" y="1044"/>
                    <a:pt x="140" y="1044"/>
                  </a:cubicBezTo>
                  <a:cubicBezTo>
                    <a:pt x="140" y="1044"/>
                    <a:pt x="140" y="1043"/>
                    <a:pt x="140" y="1043"/>
                  </a:cubicBezTo>
                  <a:cubicBezTo>
                    <a:pt x="138" y="1043"/>
                    <a:pt x="137" y="1042"/>
                    <a:pt x="136" y="1042"/>
                  </a:cubicBezTo>
                  <a:moveTo>
                    <a:pt x="144" y="1045"/>
                  </a:moveTo>
                  <a:cubicBezTo>
                    <a:pt x="143" y="1045"/>
                    <a:pt x="143" y="1046"/>
                    <a:pt x="143" y="1046"/>
                  </a:cubicBezTo>
                  <a:cubicBezTo>
                    <a:pt x="143" y="1046"/>
                    <a:pt x="143" y="1046"/>
                    <a:pt x="144" y="1046"/>
                  </a:cubicBezTo>
                  <a:cubicBezTo>
                    <a:pt x="144" y="1046"/>
                    <a:pt x="144" y="1046"/>
                    <a:pt x="144" y="1046"/>
                  </a:cubicBezTo>
                  <a:cubicBezTo>
                    <a:pt x="145" y="1047"/>
                    <a:pt x="146" y="1047"/>
                    <a:pt x="146" y="1047"/>
                  </a:cubicBezTo>
                  <a:cubicBezTo>
                    <a:pt x="147" y="1048"/>
                    <a:pt x="147" y="1048"/>
                    <a:pt x="148" y="1048"/>
                  </a:cubicBezTo>
                  <a:cubicBezTo>
                    <a:pt x="148" y="1048"/>
                    <a:pt x="149" y="1048"/>
                    <a:pt x="149" y="1049"/>
                  </a:cubicBezTo>
                  <a:cubicBezTo>
                    <a:pt x="149" y="1049"/>
                    <a:pt x="150" y="1049"/>
                    <a:pt x="150" y="1049"/>
                  </a:cubicBezTo>
                  <a:cubicBezTo>
                    <a:pt x="150" y="1049"/>
                    <a:pt x="151" y="1049"/>
                    <a:pt x="151" y="1048"/>
                  </a:cubicBezTo>
                  <a:cubicBezTo>
                    <a:pt x="151" y="1048"/>
                    <a:pt x="150" y="1048"/>
                    <a:pt x="150" y="1048"/>
                  </a:cubicBezTo>
                  <a:cubicBezTo>
                    <a:pt x="150" y="1048"/>
                    <a:pt x="149" y="1048"/>
                    <a:pt x="149" y="1047"/>
                  </a:cubicBezTo>
                  <a:cubicBezTo>
                    <a:pt x="148" y="1047"/>
                    <a:pt x="147" y="1046"/>
                    <a:pt x="146" y="1046"/>
                  </a:cubicBezTo>
                  <a:cubicBezTo>
                    <a:pt x="145" y="1046"/>
                    <a:pt x="144" y="1045"/>
                    <a:pt x="144" y="1045"/>
                  </a:cubicBezTo>
                  <a:cubicBezTo>
                    <a:pt x="144" y="1045"/>
                    <a:pt x="144" y="1045"/>
                    <a:pt x="144" y="1045"/>
                  </a:cubicBezTo>
                  <a:moveTo>
                    <a:pt x="152" y="1049"/>
                  </a:moveTo>
                  <a:cubicBezTo>
                    <a:pt x="152" y="1049"/>
                    <a:pt x="152" y="1049"/>
                    <a:pt x="151" y="1050"/>
                  </a:cubicBezTo>
                  <a:cubicBezTo>
                    <a:pt x="152" y="1050"/>
                    <a:pt x="152" y="1050"/>
                    <a:pt x="153" y="1050"/>
                  </a:cubicBezTo>
                  <a:cubicBezTo>
                    <a:pt x="154" y="1050"/>
                    <a:pt x="154" y="1050"/>
                    <a:pt x="154" y="1050"/>
                  </a:cubicBezTo>
                  <a:cubicBezTo>
                    <a:pt x="154" y="1050"/>
                    <a:pt x="153" y="1049"/>
                    <a:pt x="152" y="1049"/>
                  </a:cubicBezTo>
                  <a:moveTo>
                    <a:pt x="156" y="1050"/>
                  </a:moveTo>
                  <a:cubicBezTo>
                    <a:pt x="155" y="1051"/>
                    <a:pt x="155" y="1051"/>
                    <a:pt x="154" y="1051"/>
                  </a:cubicBezTo>
                  <a:cubicBezTo>
                    <a:pt x="155" y="1051"/>
                    <a:pt x="157" y="1052"/>
                    <a:pt x="158" y="1052"/>
                  </a:cubicBezTo>
                  <a:cubicBezTo>
                    <a:pt x="158" y="1052"/>
                    <a:pt x="158" y="1053"/>
                    <a:pt x="159" y="1053"/>
                  </a:cubicBezTo>
                  <a:cubicBezTo>
                    <a:pt x="159" y="1053"/>
                    <a:pt x="160" y="1052"/>
                    <a:pt x="160" y="1052"/>
                  </a:cubicBezTo>
                  <a:cubicBezTo>
                    <a:pt x="159" y="1052"/>
                    <a:pt x="157" y="1051"/>
                    <a:pt x="156" y="1050"/>
                  </a:cubicBezTo>
                  <a:moveTo>
                    <a:pt x="161" y="1053"/>
                  </a:moveTo>
                  <a:cubicBezTo>
                    <a:pt x="161" y="1053"/>
                    <a:pt x="160" y="1053"/>
                    <a:pt x="160" y="1053"/>
                  </a:cubicBezTo>
                  <a:cubicBezTo>
                    <a:pt x="160" y="1054"/>
                    <a:pt x="161" y="1054"/>
                    <a:pt x="161" y="1054"/>
                  </a:cubicBezTo>
                  <a:cubicBezTo>
                    <a:pt x="162" y="1054"/>
                    <a:pt x="163" y="1055"/>
                    <a:pt x="164" y="1055"/>
                  </a:cubicBezTo>
                  <a:cubicBezTo>
                    <a:pt x="164" y="1055"/>
                    <a:pt x="165" y="1055"/>
                    <a:pt x="165" y="1056"/>
                  </a:cubicBezTo>
                  <a:cubicBezTo>
                    <a:pt x="165" y="1056"/>
                    <a:pt x="165" y="1056"/>
                    <a:pt x="166" y="1056"/>
                  </a:cubicBezTo>
                  <a:cubicBezTo>
                    <a:pt x="166" y="1056"/>
                    <a:pt x="166" y="1055"/>
                    <a:pt x="167" y="1055"/>
                  </a:cubicBezTo>
                  <a:cubicBezTo>
                    <a:pt x="167" y="1055"/>
                    <a:pt x="166" y="1055"/>
                    <a:pt x="166" y="1055"/>
                  </a:cubicBezTo>
                  <a:cubicBezTo>
                    <a:pt x="166" y="1055"/>
                    <a:pt x="165" y="1055"/>
                    <a:pt x="165" y="1054"/>
                  </a:cubicBezTo>
                  <a:cubicBezTo>
                    <a:pt x="165" y="1054"/>
                    <a:pt x="165" y="1054"/>
                    <a:pt x="165" y="1054"/>
                  </a:cubicBezTo>
                  <a:cubicBezTo>
                    <a:pt x="164" y="1054"/>
                    <a:pt x="163" y="1053"/>
                    <a:pt x="161" y="1053"/>
                  </a:cubicBezTo>
                  <a:cubicBezTo>
                    <a:pt x="161" y="1053"/>
                    <a:pt x="161" y="1053"/>
                    <a:pt x="161" y="1053"/>
                  </a:cubicBezTo>
                  <a:moveTo>
                    <a:pt x="168" y="1056"/>
                  </a:moveTo>
                  <a:cubicBezTo>
                    <a:pt x="168" y="1056"/>
                    <a:pt x="167" y="1056"/>
                    <a:pt x="167" y="1056"/>
                  </a:cubicBezTo>
                  <a:cubicBezTo>
                    <a:pt x="168" y="1057"/>
                    <a:pt x="170" y="1057"/>
                    <a:pt x="171" y="1058"/>
                  </a:cubicBezTo>
                  <a:cubicBezTo>
                    <a:pt x="172" y="1058"/>
                    <a:pt x="172" y="1058"/>
                    <a:pt x="172" y="1058"/>
                  </a:cubicBezTo>
                  <a:cubicBezTo>
                    <a:pt x="171" y="1057"/>
                    <a:pt x="170" y="1056"/>
                    <a:pt x="168" y="1056"/>
                  </a:cubicBezTo>
                  <a:moveTo>
                    <a:pt x="174" y="1058"/>
                  </a:moveTo>
                  <a:cubicBezTo>
                    <a:pt x="174" y="1059"/>
                    <a:pt x="174" y="1059"/>
                    <a:pt x="173" y="1059"/>
                  </a:cubicBezTo>
                  <a:cubicBezTo>
                    <a:pt x="173" y="1059"/>
                    <a:pt x="173" y="1059"/>
                    <a:pt x="173" y="1059"/>
                  </a:cubicBezTo>
                  <a:cubicBezTo>
                    <a:pt x="174" y="1059"/>
                    <a:pt x="175" y="1060"/>
                    <a:pt x="176" y="1060"/>
                  </a:cubicBezTo>
                  <a:cubicBezTo>
                    <a:pt x="176" y="1060"/>
                    <a:pt x="176" y="1060"/>
                    <a:pt x="177" y="1059"/>
                  </a:cubicBezTo>
                  <a:cubicBezTo>
                    <a:pt x="176" y="1059"/>
                    <a:pt x="175" y="1059"/>
                    <a:pt x="174" y="1058"/>
                  </a:cubicBezTo>
                  <a:moveTo>
                    <a:pt x="178" y="1060"/>
                  </a:moveTo>
                  <a:cubicBezTo>
                    <a:pt x="178" y="1060"/>
                    <a:pt x="177" y="1060"/>
                    <a:pt x="177" y="1060"/>
                  </a:cubicBezTo>
                  <a:cubicBezTo>
                    <a:pt x="177" y="1061"/>
                    <a:pt x="177" y="1061"/>
                    <a:pt x="177" y="1061"/>
                  </a:cubicBezTo>
                  <a:cubicBezTo>
                    <a:pt x="195" y="1068"/>
                    <a:pt x="214" y="1076"/>
                    <a:pt x="235" y="1083"/>
                  </a:cubicBezTo>
                  <a:cubicBezTo>
                    <a:pt x="236" y="1084"/>
                    <a:pt x="237" y="1084"/>
                    <a:pt x="238" y="1085"/>
                  </a:cubicBezTo>
                  <a:cubicBezTo>
                    <a:pt x="241" y="1086"/>
                    <a:pt x="245" y="1087"/>
                    <a:pt x="248" y="1088"/>
                  </a:cubicBezTo>
                  <a:cubicBezTo>
                    <a:pt x="250" y="1089"/>
                    <a:pt x="251" y="1089"/>
                    <a:pt x="253" y="1090"/>
                  </a:cubicBezTo>
                  <a:cubicBezTo>
                    <a:pt x="255" y="1091"/>
                    <a:pt x="258" y="1092"/>
                    <a:pt x="261" y="1093"/>
                  </a:cubicBezTo>
                  <a:cubicBezTo>
                    <a:pt x="262" y="1093"/>
                    <a:pt x="262" y="1094"/>
                    <a:pt x="263" y="1094"/>
                  </a:cubicBezTo>
                  <a:cubicBezTo>
                    <a:pt x="264" y="1094"/>
                    <a:pt x="265" y="1095"/>
                    <a:pt x="266" y="1095"/>
                  </a:cubicBezTo>
                  <a:cubicBezTo>
                    <a:pt x="267" y="1095"/>
                    <a:pt x="267" y="1096"/>
                    <a:pt x="268" y="1096"/>
                  </a:cubicBezTo>
                  <a:cubicBezTo>
                    <a:pt x="268" y="1096"/>
                    <a:pt x="269" y="1096"/>
                    <a:pt x="269" y="1096"/>
                  </a:cubicBezTo>
                  <a:cubicBezTo>
                    <a:pt x="270" y="1096"/>
                    <a:pt x="271" y="1097"/>
                    <a:pt x="271" y="1097"/>
                  </a:cubicBezTo>
                  <a:cubicBezTo>
                    <a:pt x="272" y="1097"/>
                    <a:pt x="274" y="1098"/>
                    <a:pt x="275" y="1098"/>
                  </a:cubicBezTo>
                  <a:cubicBezTo>
                    <a:pt x="276" y="1099"/>
                    <a:pt x="277" y="1099"/>
                    <a:pt x="278" y="1099"/>
                  </a:cubicBezTo>
                  <a:cubicBezTo>
                    <a:pt x="279" y="1100"/>
                    <a:pt x="280" y="1100"/>
                    <a:pt x="281" y="1100"/>
                  </a:cubicBezTo>
                  <a:cubicBezTo>
                    <a:pt x="291" y="1104"/>
                    <a:pt x="302" y="1108"/>
                    <a:pt x="314" y="1112"/>
                  </a:cubicBezTo>
                  <a:cubicBezTo>
                    <a:pt x="314" y="1112"/>
                    <a:pt x="315" y="1112"/>
                    <a:pt x="315" y="1112"/>
                  </a:cubicBezTo>
                  <a:cubicBezTo>
                    <a:pt x="319" y="1114"/>
                    <a:pt x="324" y="1115"/>
                    <a:pt x="328" y="1117"/>
                  </a:cubicBezTo>
                  <a:cubicBezTo>
                    <a:pt x="329" y="1117"/>
                    <a:pt x="329" y="1117"/>
                    <a:pt x="329" y="1117"/>
                  </a:cubicBezTo>
                  <a:cubicBezTo>
                    <a:pt x="339" y="1120"/>
                    <a:pt x="348" y="1124"/>
                    <a:pt x="358" y="1127"/>
                  </a:cubicBezTo>
                  <a:cubicBezTo>
                    <a:pt x="358" y="1127"/>
                    <a:pt x="359" y="1127"/>
                    <a:pt x="359" y="1127"/>
                  </a:cubicBezTo>
                  <a:cubicBezTo>
                    <a:pt x="361" y="1128"/>
                    <a:pt x="363" y="1128"/>
                    <a:pt x="365" y="1129"/>
                  </a:cubicBezTo>
                  <a:cubicBezTo>
                    <a:pt x="374" y="1132"/>
                    <a:pt x="384" y="1135"/>
                    <a:pt x="394" y="1138"/>
                  </a:cubicBezTo>
                  <a:cubicBezTo>
                    <a:pt x="395" y="1138"/>
                    <a:pt x="395" y="1138"/>
                    <a:pt x="395" y="1138"/>
                  </a:cubicBezTo>
                  <a:cubicBezTo>
                    <a:pt x="412" y="1143"/>
                    <a:pt x="429" y="1148"/>
                    <a:pt x="446" y="1152"/>
                  </a:cubicBezTo>
                  <a:cubicBezTo>
                    <a:pt x="446" y="1152"/>
                    <a:pt x="447" y="1152"/>
                    <a:pt x="447" y="1152"/>
                  </a:cubicBezTo>
                  <a:cubicBezTo>
                    <a:pt x="447" y="1152"/>
                    <a:pt x="448" y="1152"/>
                    <a:pt x="448" y="1152"/>
                  </a:cubicBezTo>
                  <a:cubicBezTo>
                    <a:pt x="449" y="1152"/>
                    <a:pt x="449" y="1152"/>
                    <a:pt x="450" y="1151"/>
                  </a:cubicBezTo>
                  <a:cubicBezTo>
                    <a:pt x="449" y="1151"/>
                    <a:pt x="448" y="1151"/>
                    <a:pt x="447" y="1151"/>
                  </a:cubicBezTo>
                  <a:cubicBezTo>
                    <a:pt x="447" y="1151"/>
                    <a:pt x="447" y="1151"/>
                    <a:pt x="446" y="1151"/>
                  </a:cubicBezTo>
                  <a:cubicBezTo>
                    <a:pt x="430" y="1147"/>
                    <a:pt x="413" y="1142"/>
                    <a:pt x="396" y="1138"/>
                  </a:cubicBezTo>
                  <a:cubicBezTo>
                    <a:pt x="396" y="1138"/>
                    <a:pt x="395" y="1137"/>
                    <a:pt x="395" y="1137"/>
                  </a:cubicBezTo>
                  <a:cubicBezTo>
                    <a:pt x="385" y="1134"/>
                    <a:pt x="375" y="1131"/>
                    <a:pt x="365" y="1128"/>
                  </a:cubicBezTo>
                  <a:cubicBezTo>
                    <a:pt x="363" y="1128"/>
                    <a:pt x="361" y="1127"/>
                    <a:pt x="360" y="1126"/>
                  </a:cubicBezTo>
                  <a:cubicBezTo>
                    <a:pt x="359" y="1126"/>
                    <a:pt x="359" y="1126"/>
                    <a:pt x="359" y="1126"/>
                  </a:cubicBezTo>
                  <a:cubicBezTo>
                    <a:pt x="349" y="1123"/>
                    <a:pt x="340" y="1120"/>
                    <a:pt x="331" y="1117"/>
                  </a:cubicBezTo>
                  <a:cubicBezTo>
                    <a:pt x="330" y="1116"/>
                    <a:pt x="330" y="1116"/>
                    <a:pt x="329" y="1116"/>
                  </a:cubicBezTo>
                  <a:cubicBezTo>
                    <a:pt x="325" y="1115"/>
                    <a:pt x="321" y="1113"/>
                    <a:pt x="316" y="1112"/>
                  </a:cubicBezTo>
                  <a:cubicBezTo>
                    <a:pt x="316" y="1112"/>
                    <a:pt x="315" y="1111"/>
                    <a:pt x="315" y="1111"/>
                  </a:cubicBezTo>
                  <a:cubicBezTo>
                    <a:pt x="304" y="1108"/>
                    <a:pt x="294" y="1104"/>
                    <a:pt x="284" y="1100"/>
                  </a:cubicBezTo>
                  <a:cubicBezTo>
                    <a:pt x="283" y="1100"/>
                    <a:pt x="282" y="1100"/>
                    <a:pt x="282" y="1100"/>
                  </a:cubicBezTo>
                  <a:cubicBezTo>
                    <a:pt x="281" y="1099"/>
                    <a:pt x="279" y="1099"/>
                    <a:pt x="278" y="1098"/>
                  </a:cubicBezTo>
                  <a:cubicBezTo>
                    <a:pt x="276" y="1098"/>
                    <a:pt x="274" y="1097"/>
                    <a:pt x="273" y="1096"/>
                  </a:cubicBezTo>
                  <a:cubicBezTo>
                    <a:pt x="272" y="1096"/>
                    <a:pt x="272" y="1096"/>
                    <a:pt x="271" y="1096"/>
                  </a:cubicBezTo>
                  <a:cubicBezTo>
                    <a:pt x="271" y="1096"/>
                    <a:pt x="271" y="1096"/>
                    <a:pt x="271" y="1096"/>
                  </a:cubicBezTo>
                  <a:cubicBezTo>
                    <a:pt x="271" y="1096"/>
                    <a:pt x="270" y="1095"/>
                    <a:pt x="270" y="1095"/>
                  </a:cubicBezTo>
                  <a:cubicBezTo>
                    <a:pt x="269" y="1095"/>
                    <a:pt x="267" y="1094"/>
                    <a:pt x="266" y="1094"/>
                  </a:cubicBezTo>
                  <a:cubicBezTo>
                    <a:pt x="266" y="1094"/>
                    <a:pt x="265" y="1093"/>
                    <a:pt x="264" y="1093"/>
                  </a:cubicBezTo>
                  <a:cubicBezTo>
                    <a:pt x="259" y="1091"/>
                    <a:pt x="254" y="1089"/>
                    <a:pt x="249" y="1088"/>
                  </a:cubicBezTo>
                  <a:cubicBezTo>
                    <a:pt x="247" y="1087"/>
                    <a:pt x="246" y="1087"/>
                    <a:pt x="245" y="1086"/>
                  </a:cubicBezTo>
                  <a:cubicBezTo>
                    <a:pt x="244" y="1086"/>
                    <a:pt x="243" y="1085"/>
                    <a:pt x="242" y="1085"/>
                  </a:cubicBezTo>
                  <a:cubicBezTo>
                    <a:pt x="240" y="1085"/>
                    <a:pt x="239" y="1084"/>
                    <a:pt x="238" y="1084"/>
                  </a:cubicBezTo>
                  <a:cubicBezTo>
                    <a:pt x="217" y="1076"/>
                    <a:pt x="197" y="1068"/>
                    <a:pt x="179" y="1060"/>
                  </a:cubicBezTo>
                  <a:cubicBezTo>
                    <a:pt x="179" y="1060"/>
                    <a:pt x="178" y="1060"/>
                    <a:pt x="178" y="1060"/>
                  </a:cubicBezTo>
                  <a:moveTo>
                    <a:pt x="1005" y="1082"/>
                  </a:moveTo>
                  <a:cubicBezTo>
                    <a:pt x="1007" y="1093"/>
                    <a:pt x="1012" y="1103"/>
                    <a:pt x="1019" y="1113"/>
                  </a:cubicBezTo>
                  <a:cubicBezTo>
                    <a:pt x="1056" y="1158"/>
                    <a:pt x="1082" y="1212"/>
                    <a:pt x="1082" y="1253"/>
                  </a:cubicBezTo>
                  <a:cubicBezTo>
                    <a:pt x="1082" y="1291"/>
                    <a:pt x="1060" y="1317"/>
                    <a:pt x="1004" y="1318"/>
                  </a:cubicBezTo>
                  <a:cubicBezTo>
                    <a:pt x="996" y="1318"/>
                    <a:pt x="988" y="1317"/>
                    <a:pt x="978" y="1316"/>
                  </a:cubicBezTo>
                  <a:cubicBezTo>
                    <a:pt x="979" y="1316"/>
                    <a:pt x="979" y="1317"/>
                    <a:pt x="980" y="1317"/>
                  </a:cubicBezTo>
                  <a:cubicBezTo>
                    <a:pt x="988" y="1318"/>
                    <a:pt x="997" y="1319"/>
                    <a:pt x="1004" y="1319"/>
                  </a:cubicBezTo>
                  <a:cubicBezTo>
                    <a:pt x="1032" y="1319"/>
                    <a:pt x="1052" y="1312"/>
                    <a:pt x="1065" y="1300"/>
                  </a:cubicBezTo>
                  <a:cubicBezTo>
                    <a:pt x="1078" y="1289"/>
                    <a:pt x="1083" y="1272"/>
                    <a:pt x="1083" y="1253"/>
                  </a:cubicBezTo>
                  <a:cubicBezTo>
                    <a:pt x="1083" y="1212"/>
                    <a:pt x="1057" y="1158"/>
                    <a:pt x="1020" y="1112"/>
                  </a:cubicBezTo>
                  <a:cubicBezTo>
                    <a:pt x="1013" y="1103"/>
                    <a:pt x="1008" y="1093"/>
                    <a:pt x="1006" y="1084"/>
                  </a:cubicBezTo>
                  <a:cubicBezTo>
                    <a:pt x="1006" y="1083"/>
                    <a:pt x="1006" y="1083"/>
                    <a:pt x="1005" y="1082"/>
                  </a:cubicBezTo>
                  <a:moveTo>
                    <a:pt x="452" y="1152"/>
                  </a:moveTo>
                  <a:cubicBezTo>
                    <a:pt x="451" y="1152"/>
                    <a:pt x="451" y="1152"/>
                    <a:pt x="450" y="1152"/>
                  </a:cubicBezTo>
                  <a:cubicBezTo>
                    <a:pt x="458" y="1154"/>
                    <a:pt x="466" y="1156"/>
                    <a:pt x="474" y="1158"/>
                  </a:cubicBezTo>
                  <a:cubicBezTo>
                    <a:pt x="475" y="1157"/>
                    <a:pt x="475" y="1157"/>
                    <a:pt x="476" y="1157"/>
                  </a:cubicBezTo>
                  <a:cubicBezTo>
                    <a:pt x="468" y="1155"/>
                    <a:pt x="460" y="1154"/>
                    <a:pt x="452" y="1152"/>
                  </a:cubicBezTo>
                  <a:moveTo>
                    <a:pt x="478" y="1157"/>
                  </a:moveTo>
                  <a:cubicBezTo>
                    <a:pt x="477" y="1158"/>
                    <a:pt x="477" y="1158"/>
                    <a:pt x="476" y="1158"/>
                  </a:cubicBezTo>
                  <a:cubicBezTo>
                    <a:pt x="479" y="1159"/>
                    <a:pt x="481" y="1159"/>
                    <a:pt x="484" y="1160"/>
                  </a:cubicBezTo>
                  <a:cubicBezTo>
                    <a:pt x="485" y="1160"/>
                    <a:pt x="485" y="1160"/>
                    <a:pt x="486" y="1160"/>
                  </a:cubicBezTo>
                  <a:cubicBezTo>
                    <a:pt x="486" y="1160"/>
                    <a:pt x="486" y="1160"/>
                    <a:pt x="486" y="1160"/>
                  </a:cubicBezTo>
                  <a:cubicBezTo>
                    <a:pt x="491" y="1161"/>
                    <a:pt x="495" y="1162"/>
                    <a:pt x="499" y="1163"/>
                  </a:cubicBezTo>
                  <a:cubicBezTo>
                    <a:pt x="500" y="1163"/>
                    <a:pt x="501" y="1162"/>
                    <a:pt x="502" y="1162"/>
                  </a:cubicBezTo>
                  <a:cubicBezTo>
                    <a:pt x="497" y="1161"/>
                    <a:pt x="492" y="1160"/>
                    <a:pt x="488" y="1159"/>
                  </a:cubicBezTo>
                  <a:cubicBezTo>
                    <a:pt x="487" y="1159"/>
                    <a:pt x="486" y="1159"/>
                    <a:pt x="486" y="1159"/>
                  </a:cubicBezTo>
                  <a:cubicBezTo>
                    <a:pt x="486" y="1159"/>
                    <a:pt x="486" y="1159"/>
                    <a:pt x="486" y="1159"/>
                  </a:cubicBezTo>
                  <a:cubicBezTo>
                    <a:pt x="485" y="1159"/>
                    <a:pt x="485" y="1159"/>
                    <a:pt x="484" y="1159"/>
                  </a:cubicBezTo>
                  <a:cubicBezTo>
                    <a:pt x="482" y="1158"/>
                    <a:pt x="480" y="1158"/>
                    <a:pt x="478" y="1157"/>
                  </a:cubicBezTo>
                  <a:moveTo>
                    <a:pt x="504" y="1163"/>
                  </a:moveTo>
                  <a:cubicBezTo>
                    <a:pt x="503" y="1163"/>
                    <a:pt x="502" y="1163"/>
                    <a:pt x="502" y="1163"/>
                  </a:cubicBezTo>
                  <a:cubicBezTo>
                    <a:pt x="505" y="1164"/>
                    <a:pt x="509" y="1164"/>
                    <a:pt x="512" y="1165"/>
                  </a:cubicBezTo>
                  <a:cubicBezTo>
                    <a:pt x="513" y="1165"/>
                    <a:pt x="513" y="1165"/>
                    <a:pt x="514" y="1165"/>
                  </a:cubicBezTo>
                  <a:cubicBezTo>
                    <a:pt x="518" y="1166"/>
                    <a:pt x="523" y="1167"/>
                    <a:pt x="527" y="1168"/>
                  </a:cubicBezTo>
                  <a:cubicBezTo>
                    <a:pt x="528" y="1168"/>
                    <a:pt x="529" y="1168"/>
                    <a:pt x="530" y="1167"/>
                  </a:cubicBezTo>
                  <a:cubicBezTo>
                    <a:pt x="525" y="1167"/>
                    <a:pt x="520" y="1166"/>
                    <a:pt x="515" y="1165"/>
                  </a:cubicBezTo>
                  <a:cubicBezTo>
                    <a:pt x="515" y="1165"/>
                    <a:pt x="514" y="1164"/>
                    <a:pt x="514" y="1164"/>
                  </a:cubicBezTo>
                  <a:cubicBezTo>
                    <a:pt x="510" y="1164"/>
                    <a:pt x="507" y="1163"/>
                    <a:pt x="504" y="1163"/>
                  </a:cubicBezTo>
                  <a:moveTo>
                    <a:pt x="532" y="1168"/>
                  </a:moveTo>
                  <a:cubicBezTo>
                    <a:pt x="531" y="1168"/>
                    <a:pt x="531" y="1168"/>
                    <a:pt x="530" y="1168"/>
                  </a:cubicBezTo>
                  <a:cubicBezTo>
                    <a:pt x="535" y="1169"/>
                    <a:pt x="540" y="1170"/>
                    <a:pt x="545" y="1171"/>
                  </a:cubicBezTo>
                  <a:cubicBezTo>
                    <a:pt x="545" y="1171"/>
                    <a:pt x="546" y="1171"/>
                    <a:pt x="547" y="1172"/>
                  </a:cubicBezTo>
                  <a:cubicBezTo>
                    <a:pt x="547" y="1172"/>
                    <a:pt x="547" y="1172"/>
                    <a:pt x="547" y="1172"/>
                  </a:cubicBezTo>
                  <a:cubicBezTo>
                    <a:pt x="548" y="1172"/>
                    <a:pt x="548" y="1172"/>
                    <a:pt x="549" y="1172"/>
                  </a:cubicBezTo>
                  <a:cubicBezTo>
                    <a:pt x="550" y="1172"/>
                    <a:pt x="551" y="1172"/>
                    <a:pt x="552" y="1172"/>
                  </a:cubicBezTo>
                  <a:cubicBezTo>
                    <a:pt x="553" y="1172"/>
                    <a:pt x="554" y="1172"/>
                    <a:pt x="554" y="1172"/>
                  </a:cubicBezTo>
                  <a:cubicBezTo>
                    <a:pt x="552" y="1171"/>
                    <a:pt x="550" y="1171"/>
                    <a:pt x="548" y="1171"/>
                  </a:cubicBezTo>
                  <a:cubicBezTo>
                    <a:pt x="548" y="1171"/>
                    <a:pt x="547" y="1171"/>
                    <a:pt x="547" y="1170"/>
                  </a:cubicBezTo>
                  <a:cubicBezTo>
                    <a:pt x="546" y="1170"/>
                    <a:pt x="546" y="1170"/>
                    <a:pt x="546" y="1170"/>
                  </a:cubicBezTo>
                  <a:cubicBezTo>
                    <a:pt x="541" y="1170"/>
                    <a:pt x="537" y="1169"/>
                    <a:pt x="532" y="1168"/>
                  </a:cubicBezTo>
                  <a:moveTo>
                    <a:pt x="557" y="1172"/>
                  </a:moveTo>
                  <a:cubicBezTo>
                    <a:pt x="556" y="1172"/>
                    <a:pt x="555" y="1173"/>
                    <a:pt x="554" y="1173"/>
                  </a:cubicBezTo>
                  <a:cubicBezTo>
                    <a:pt x="561" y="1174"/>
                    <a:pt x="569" y="1175"/>
                    <a:pt x="576" y="1177"/>
                  </a:cubicBezTo>
                  <a:cubicBezTo>
                    <a:pt x="576" y="1177"/>
                    <a:pt x="577" y="1176"/>
                    <a:pt x="578" y="1176"/>
                  </a:cubicBezTo>
                  <a:cubicBezTo>
                    <a:pt x="571" y="1175"/>
                    <a:pt x="564" y="1174"/>
                    <a:pt x="557" y="1172"/>
                  </a:cubicBezTo>
                  <a:moveTo>
                    <a:pt x="580" y="1177"/>
                  </a:moveTo>
                  <a:cubicBezTo>
                    <a:pt x="579" y="1177"/>
                    <a:pt x="579" y="1177"/>
                    <a:pt x="578" y="1177"/>
                  </a:cubicBezTo>
                  <a:cubicBezTo>
                    <a:pt x="584" y="1178"/>
                    <a:pt x="590" y="1180"/>
                    <a:pt x="597" y="1181"/>
                  </a:cubicBezTo>
                  <a:cubicBezTo>
                    <a:pt x="599" y="1181"/>
                    <a:pt x="602" y="1182"/>
                    <a:pt x="604" y="1182"/>
                  </a:cubicBezTo>
                  <a:cubicBezTo>
                    <a:pt x="605" y="1182"/>
                    <a:pt x="605" y="1182"/>
                    <a:pt x="606" y="1182"/>
                  </a:cubicBezTo>
                  <a:cubicBezTo>
                    <a:pt x="602" y="1181"/>
                    <a:pt x="598" y="1180"/>
                    <a:pt x="594" y="1179"/>
                  </a:cubicBezTo>
                  <a:cubicBezTo>
                    <a:pt x="592" y="1179"/>
                    <a:pt x="590" y="1179"/>
                    <a:pt x="589" y="1178"/>
                  </a:cubicBezTo>
                  <a:cubicBezTo>
                    <a:pt x="586" y="1178"/>
                    <a:pt x="583" y="1177"/>
                    <a:pt x="580" y="1177"/>
                  </a:cubicBezTo>
                  <a:moveTo>
                    <a:pt x="608" y="1182"/>
                  </a:moveTo>
                  <a:cubicBezTo>
                    <a:pt x="608" y="1182"/>
                    <a:pt x="607" y="1183"/>
                    <a:pt x="606" y="1183"/>
                  </a:cubicBezTo>
                  <a:cubicBezTo>
                    <a:pt x="607" y="1183"/>
                    <a:pt x="607" y="1183"/>
                    <a:pt x="608" y="1183"/>
                  </a:cubicBezTo>
                  <a:cubicBezTo>
                    <a:pt x="613" y="1184"/>
                    <a:pt x="618" y="1185"/>
                    <a:pt x="623" y="1186"/>
                  </a:cubicBezTo>
                  <a:cubicBezTo>
                    <a:pt x="624" y="1187"/>
                    <a:pt x="625" y="1187"/>
                    <a:pt x="626" y="1187"/>
                  </a:cubicBezTo>
                  <a:cubicBezTo>
                    <a:pt x="626" y="1187"/>
                    <a:pt x="627" y="1187"/>
                    <a:pt x="628" y="1186"/>
                  </a:cubicBezTo>
                  <a:cubicBezTo>
                    <a:pt x="621" y="1185"/>
                    <a:pt x="615" y="1184"/>
                    <a:pt x="608" y="1182"/>
                  </a:cubicBezTo>
                  <a:moveTo>
                    <a:pt x="630" y="1187"/>
                  </a:moveTo>
                  <a:cubicBezTo>
                    <a:pt x="629" y="1187"/>
                    <a:pt x="629" y="1187"/>
                    <a:pt x="628" y="1188"/>
                  </a:cubicBezTo>
                  <a:cubicBezTo>
                    <a:pt x="628" y="1188"/>
                    <a:pt x="629" y="1188"/>
                    <a:pt x="629" y="1188"/>
                  </a:cubicBezTo>
                  <a:cubicBezTo>
                    <a:pt x="630" y="1188"/>
                    <a:pt x="631" y="1188"/>
                    <a:pt x="631" y="1188"/>
                  </a:cubicBezTo>
                  <a:cubicBezTo>
                    <a:pt x="636" y="1189"/>
                    <a:pt x="641" y="1191"/>
                    <a:pt x="645" y="1192"/>
                  </a:cubicBezTo>
                  <a:cubicBezTo>
                    <a:pt x="646" y="1192"/>
                    <a:pt x="647" y="1191"/>
                    <a:pt x="647" y="1191"/>
                  </a:cubicBezTo>
                  <a:cubicBezTo>
                    <a:pt x="642" y="1190"/>
                    <a:pt x="636" y="1188"/>
                    <a:pt x="630" y="1187"/>
                  </a:cubicBezTo>
                  <a:moveTo>
                    <a:pt x="649" y="1192"/>
                  </a:moveTo>
                  <a:cubicBezTo>
                    <a:pt x="649" y="1192"/>
                    <a:pt x="648" y="1192"/>
                    <a:pt x="647" y="1192"/>
                  </a:cubicBezTo>
                  <a:cubicBezTo>
                    <a:pt x="652" y="1194"/>
                    <a:pt x="657" y="1195"/>
                    <a:pt x="661" y="1196"/>
                  </a:cubicBezTo>
                  <a:cubicBezTo>
                    <a:pt x="662" y="1196"/>
                    <a:pt x="662" y="1197"/>
                    <a:pt x="662" y="1197"/>
                  </a:cubicBezTo>
                  <a:cubicBezTo>
                    <a:pt x="663" y="1196"/>
                    <a:pt x="664" y="1196"/>
                    <a:pt x="664" y="1196"/>
                  </a:cubicBezTo>
                  <a:cubicBezTo>
                    <a:pt x="664" y="1196"/>
                    <a:pt x="664" y="1196"/>
                    <a:pt x="664" y="1196"/>
                  </a:cubicBezTo>
                  <a:cubicBezTo>
                    <a:pt x="664" y="1196"/>
                    <a:pt x="663" y="1196"/>
                    <a:pt x="663" y="1196"/>
                  </a:cubicBezTo>
                  <a:cubicBezTo>
                    <a:pt x="658" y="1194"/>
                    <a:pt x="654" y="1193"/>
                    <a:pt x="649" y="1192"/>
                  </a:cubicBezTo>
                  <a:moveTo>
                    <a:pt x="666" y="1197"/>
                  </a:moveTo>
                  <a:cubicBezTo>
                    <a:pt x="666" y="1197"/>
                    <a:pt x="665" y="1197"/>
                    <a:pt x="664" y="1197"/>
                  </a:cubicBezTo>
                  <a:cubicBezTo>
                    <a:pt x="666" y="1198"/>
                    <a:pt x="667" y="1198"/>
                    <a:pt x="669" y="1199"/>
                  </a:cubicBezTo>
                  <a:cubicBezTo>
                    <a:pt x="670" y="1199"/>
                    <a:pt x="670" y="1199"/>
                    <a:pt x="671" y="1199"/>
                  </a:cubicBezTo>
                  <a:cubicBezTo>
                    <a:pt x="671" y="1199"/>
                    <a:pt x="671" y="1198"/>
                    <a:pt x="671" y="1198"/>
                  </a:cubicBezTo>
                  <a:cubicBezTo>
                    <a:pt x="670" y="1198"/>
                    <a:pt x="668" y="1197"/>
                    <a:pt x="666" y="1197"/>
                  </a:cubicBezTo>
                  <a:moveTo>
                    <a:pt x="676" y="1200"/>
                  </a:moveTo>
                  <a:cubicBezTo>
                    <a:pt x="675" y="1200"/>
                    <a:pt x="674" y="1200"/>
                    <a:pt x="674" y="1200"/>
                  </a:cubicBezTo>
                  <a:cubicBezTo>
                    <a:pt x="675" y="1200"/>
                    <a:pt x="676" y="1200"/>
                    <a:pt x="677" y="1200"/>
                  </a:cubicBezTo>
                  <a:cubicBezTo>
                    <a:pt x="676" y="1200"/>
                    <a:pt x="676" y="1200"/>
                    <a:pt x="676" y="1200"/>
                  </a:cubicBezTo>
                  <a:moveTo>
                    <a:pt x="676" y="1201"/>
                  </a:moveTo>
                  <a:cubicBezTo>
                    <a:pt x="678" y="1202"/>
                    <a:pt x="679" y="1202"/>
                    <a:pt x="680" y="1203"/>
                  </a:cubicBezTo>
                  <a:cubicBezTo>
                    <a:pt x="682" y="1203"/>
                    <a:pt x="683" y="1203"/>
                    <a:pt x="684" y="1203"/>
                  </a:cubicBezTo>
                  <a:cubicBezTo>
                    <a:pt x="683" y="1202"/>
                    <a:pt x="681" y="1202"/>
                    <a:pt x="680" y="1201"/>
                  </a:cubicBezTo>
                  <a:cubicBezTo>
                    <a:pt x="679" y="1201"/>
                    <a:pt x="677" y="1201"/>
                    <a:pt x="676" y="1201"/>
                  </a:cubicBezTo>
                  <a:moveTo>
                    <a:pt x="684" y="1204"/>
                  </a:moveTo>
                  <a:cubicBezTo>
                    <a:pt x="689" y="1206"/>
                    <a:pt x="693" y="1208"/>
                    <a:pt x="698" y="1210"/>
                  </a:cubicBezTo>
                  <a:cubicBezTo>
                    <a:pt x="700" y="1210"/>
                    <a:pt x="702" y="1211"/>
                    <a:pt x="704" y="1212"/>
                  </a:cubicBezTo>
                  <a:cubicBezTo>
                    <a:pt x="699" y="1209"/>
                    <a:pt x="694" y="1207"/>
                    <a:pt x="688" y="1205"/>
                  </a:cubicBezTo>
                  <a:cubicBezTo>
                    <a:pt x="687" y="1204"/>
                    <a:pt x="685" y="1204"/>
                    <a:pt x="684" y="1204"/>
                  </a:cubicBezTo>
                  <a:moveTo>
                    <a:pt x="704" y="1213"/>
                  </a:moveTo>
                  <a:cubicBezTo>
                    <a:pt x="705" y="1213"/>
                    <a:pt x="706" y="1214"/>
                    <a:pt x="707" y="1214"/>
                  </a:cubicBezTo>
                  <a:cubicBezTo>
                    <a:pt x="708" y="1214"/>
                    <a:pt x="708" y="1215"/>
                    <a:pt x="708" y="1215"/>
                  </a:cubicBezTo>
                  <a:cubicBezTo>
                    <a:pt x="714" y="1218"/>
                    <a:pt x="719" y="1220"/>
                    <a:pt x="724" y="1223"/>
                  </a:cubicBezTo>
                  <a:cubicBezTo>
                    <a:pt x="725" y="1223"/>
                    <a:pt x="726" y="1224"/>
                    <a:pt x="727" y="1224"/>
                  </a:cubicBezTo>
                  <a:cubicBezTo>
                    <a:pt x="727" y="1224"/>
                    <a:pt x="727" y="1224"/>
                    <a:pt x="727" y="1223"/>
                  </a:cubicBezTo>
                  <a:cubicBezTo>
                    <a:pt x="722" y="1221"/>
                    <a:pt x="717" y="1218"/>
                    <a:pt x="712" y="1216"/>
                  </a:cubicBezTo>
                  <a:cubicBezTo>
                    <a:pt x="712" y="1215"/>
                    <a:pt x="711" y="1215"/>
                    <a:pt x="711" y="1215"/>
                  </a:cubicBezTo>
                  <a:cubicBezTo>
                    <a:pt x="709" y="1214"/>
                    <a:pt x="706" y="1213"/>
                    <a:pt x="704" y="1213"/>
                  </a:cubicBezTo>
                  <a:moveTo>
                    <a:pt x="728" y="1224"/>
                  </a:moveTo>
                  <a:cubicBezTo>
                    <a:pt x="728" y="1224"/>
                    <a:pt x="728" y="1225"/>
                    <a:pt x="728" y="1225"/>
                  </a:cubicBezTo>
                  <a:cubicBezTo>
                    <a:pt x="729" y="1226"/>
                    <a:pt x="731" y="1226"/>
                    <a:pt x="732" y="1227"/>
                  </a:cubicBezTo>
                  <a:cubicBezTo>
                    <a:pt x="735" y="1229"/>
                    <a:pt x="738" y="1230"/>
                    <a:pt x="741" y="1232"/>
                  </a:cubicBezTo>
                  <a:cubicBezTo>
                    <a:pt x="739" y="1230"/>
                    <a:pt x="738" y="1229"/>
                    <a:pt x="736" y="1228"/>
                  </a:cubicBezTo>
                  <a:cubicBezTo>
                    <a:pt x="735" y="1227"/>
                    <a:pt x="734" y="1227"/>
                    <a:pt x="733" y="1226"/>
                  </a:cubicBezTo>
                  <a:cubicBezTo>
                    <a:pt x="731" y="1226"/>
                    <a:pt x="730" y="1225"/>
                    <a:pt x="728" y="1224"/>
                  </a:cubicBezTo>
                  <a:moveTo>
                    <a:pt x="741" y="1230"/>
                  </a:moveTo>
                  <a:cubicBezTo>
                    <a:pt x="742" y="1231"/>
                    <a:pt x="744" y="1232"/>
                    <a:pt x="745" y="1233"/>
                  </a:cubicBezTo>
                  <a:cubicBezTo>
                    <a:pt x="745" y="1234"/>
                    <a:pt x="746" y="1234"/>
                    <a:pt x="746" y="1234"/>
                  </a:cubicBezTo>
                  <a:cubicBezTo>
                    <a:pt x="746" y="1234"/>
                    <a:pt x="746" y="1233"/>
                    <a:pt x="746" y="1233"/>
                  </a:cubicBezTo>
                  <a:cubicBezTo>
                    <a:pt x="744" y="1232"/>
                    <a:pt x="743" y="1231"/>
                    <a:pt x="741" y="1231"/>
                  </a:cubicBezTo>
                  <a:cubicBezTo>
                    <a:pt x="741" y="1231"/>
                    <a:pt x="741" y="1231"/>
                    <a:pt x="741" y="1230"/>
                  </a:cubicBezTo>
                  <a:moveTo>
                    <a:pt x="747" y="1233"/>
                  </a:moveTo>
                  <a:cubicBezTo>
                    <a:pt x="747" y="1234"/>
                    <a:pt x="747" y="1234"/>
                    <a:pt x="747" y="1235"/>
                  </a:cubicBezTo>
                  <a:cubicBezTo>
                    <a:pt x="753" y="1238"/>
                    <a:pt x="760" y="1241"/>
                    <a:pt x="766" y="1244"/>
                  </a:cubicBezTo>
                  <a:cubicBezTo>
                    <a:pt x="766" y="1243"/>
                    <a:pt x="766" y="1243"/>
                    <a:pt x="766" y="1243"/>
                  </a:cubicBezTo>
                  <a:cubicBezTo>
                    <a:pt x="760" y="1240"/>
                    <a:pt x="753" y="1237"/>
                    <a:pt x="747" y="1233"/>
                  </a:cubicBezTo>
                  <a:moveTo>
                    <a:pt x="767" y="1243"/>
                  </a:moveTo>
                  <a:cubicBezTo>
                    <a:pt x="767" y="1243"/>
                    <a:pt x="767" y="1244"/>
                    <a:pt x="767" y="1244"/>
                  </a:cubicBezTo>
                  <a:cubicBezTo>
                    <a:pt x="770" y="1246"/>
                    <a:pt x="774" y="1248"/>
                    <a:pt x="777" y="1249"/>
                  </a:cubicBezTo>
                  <a:cubicBezTo>
                    <a:pt x="777" y="1249"/>
                    <a:pt x="777" y="1248"/>
                    <a:pt x="776" y="1247"/>
                  </a:cubicBezTo>
                  <a:cubicBezTo>
                    <a:pt x="773" y="1246"/>
                    <a:pt x="770" y="1245"/>
                    <a:pt x="767" y="1243"/>
                  </a:cubicBezTo>
                  <a:moveTo>
                    <a:pt x="778" y="1248"/>
                  </a:moveTo>
                  <a:cubicBezTo>
                    <a:pt x="778" y="1248"/>
                    <a:pt x="778" y="1249"/>
                    <a:pt x="778" y="1249"/>
                  </a:cubicBezTo>
                  <a:cubicBezTo>
                    <a:pt x="781" y="1250"/>
                    <a:pt x="784" y="1251"/>
                    <a:pt x="786" y="1253"/>
                  </a:cubicBezTo>
                  <a:cubicBezTo>
                    <a:pt x="786" y="1252"/>
                    <a:pt x="786" y="1252"/>
                    <a:pt x="786" y="1252"/>
                  </a:cubicBezTo>
                  <a:cubicBezTo>
                    <a:pt x="783" y="1251"/>
                    <a:pt x="781" y="1250"/>
                    <a:pt x="778" y="1248"/>
                  </a:cubicBezTo>
                  <a:moveTo>
                    <a:pt x="787" y="1253"/>
                  </a:moveTo>
                  <a:cubicBezTo>
                    <a:pt x="787" y="1253"/>
                    <a:pt x="787" y="1253"/>
                    <a:pt x="787" y="1253"/>
                  </a:cubicBezTo>
                  <a:cubicBezTo>
                    <a:pt x="794" y="1257"/>
                    <a:pt x="801" y="1260"/>
                    <a:pt x="808" y="1263"/>
                  </a:cubicBezTo>
                  <a:cubicBezTo>
                    <a:pt x="808" y="1263"/>
                    <a:pt x="808" y="1263"/>
                    <a:pt x="809" y="1264"/>
                  </a:cubicBezTo>
                  <a:cubicBezTo>
                    <a:pt x="809" y="1263"/>
                    <a:pt x="809" y="1263"/>
                    <a:pt x="808" y="1262"/>
                  </a:cubicBezTo>
                  <a:cubicBezTo>
                    <a:pt x="802" y="1259"/>
                    <a:pt x="794" y="1256"/>
                    <a:pt x="787" y="1253"/>
                  </a:cubicBezTo>
                  <a:moveTo>
                    <a:pt x="810" y="1263"/>
                  </a:moveTo>
                  <a:cubicBezTo>
                    <a:pt x="810" y="1263"/>
                    <a:pt x="810" y="1264"/>
                    <a:pt x="810" y="1264"/>
                  </a:cubicBezTo>
                  <a:cubicBezTo>
                    <a:pt x="818" y="1268"/>
                    <a:pt x="826" y="1271"/>
                    <a:pt x="833" y="1274"/>
                  </a:cubicBezTo>
                  <a:cubicBezTo>
                    <a:pt x="833" y="1274"/>
                    <a:pt x="833" y="1273"/>
                    <a:pt x="833" y="1273"/>
                  </a:cubicBezTo>
                  <a:cubicBezTo>
                    <a:pt x="825" y="1270"/>
                    <a:pt x="818" y="1266"/>
                    <a:pt x="810" y="1263"/>
                  </a:cubicBezTo>
                  <a:moveTo>
                    <a:pt x="834" y="1273"/>
                  </a:moveTo>
                  <a:cubicBezTo>
                    <a:pt x="834" y="1274"/>
                    <a:pt x="834" y="1274"/>
                    <a:pt x="835" y="1275"/>
                  </a:cubicBezTo>
                  <a:cubicBezTo>
                    <a:pt x="844" y="1279"/>
                    <a:pt x="854" y="1282"/>
                    <a:pt x="863" y="1286"/>
                  </a:cubicBezTo>
                  <a:cubicBezTo>
                    <a:pt x="861" y="1284"/>
                    <a:pt x="858" y="1283"/>
                    <a:pt x="856" y="1282"/>
                  </a:cubicBezTo>
                  <a:cubicBezTo>
                    <a:pt x="849" y="1279"/>
                    <a:pt x="841" y="1276"/>
                    <a:pt x="834" y="1273"/>
                  </a:cubicBezTo>
                  <a:moveTo>
                    <a:pt x="863" y="1285"/>
                  </a:moveTo>
                  <a:cubicBezTo>
                    <a:pt x="864" y="1285"/>
                    <a:pt x="865" y="1286"/>
                    <a:pt x="866" y="1286"/>
                  </a:cubicBezTo>
                  <a:cubicBezTo>
                    <a:pt x="866" y="1286"/>
                    <a:pt x="866" y="1286"/>
                    <a:pt x="866" y="1286"/>
                  </a:cubicBezTo>
                  <a:cubicBezTo>
                    <a:pt x="865" y="1285"/>
                    <a:pt x="864" y="1285"/>
                    <a:pt x="863" y="1285"/>
                  </a:cubicBezTo>
                  <a:moveTo>
                    <a:pt x="867" y="1286"/>
                  </a:moveTo>
                  <a:cubicBezTo>
                    <a:pt x="868" y="1287"/>
                    <a:pt x="868" y="1287"/>
                    <a:pt x="868" y="1287"/>
                  </a:cubicBezTo>
                  <a:cubicBezTo>
                    <a:pt x="869" y="1288"/>
                    <a:pt x="869" y="1288"/>
                    <a:pt x="870" y="1288"/>
                  </a:cubicBezTo>
                  <a:cubicBezTo>
                    <a:pt x="877" y="1291"/>
                    <a:pt x="884" y="1293"/>
                    <a:pt x="891" y="1296"/>
                  </a:cubicBezTo>
                  <a:cubicBezTo>
                    <a:pt x="893" y="1296"/>
                    <a:pt x="894" y="1297"/>
                    <a:pt x="896" y="1297"/>
                  </a:cubicBezTo>
                  <a:cubicBezTo>
                    <a:pt x="895" y="1297"/>
                    <a:pt x="893" y="1296"/>
                    <a:pt x="892" y="1295"/>
                  </a:cubicBezTo>
                  <a:cubicBezTo>
                    <a:pt x="884" y="1292"/>
                    <a:pt x="876" y="1289"/>
                    <a:pt x="867" y="1286"/>
                  </a:cubicBezTo>
                  <a:moveTo>
                    <a:pt x="896" y="1296"/>
                  </a:moveTo>
                  <a:cubicBezTo>
                    <a:pt x="897" y="1297"/>
                    <a:pt x="897" y="1297"/>
                    <a:pt x="897" y="1297"/>
                  </a:cubicBezTo>
                  <a:cubicBezTo>
                    <a:pt x="897" y="1297"/>
                    <a:pt x="897" y="1297"/>
                    <a:pt x="897" y="1297"/>
                  </a:cubicBezTo>
                  <a:cubicBezTo>
                    <a:pt x="897" y="1297"/>
                    <a:pt x="896" y="1296"/>
                    <a:pt x="896" y="1296"/>
                  </a:cubicBezTo>
                  <a:moveTo>
                    <a:pt x="899" y="1297"/>
                  </a:moveTo>
                  <a:cubicBezTo>
                    <a:pt x="899" y="1298"/>
                    <a:pt x="899" y="1298"/>
                    <a:pt x="900" y="1298"/>
                  </a:cubicBezTo>
                  <a:cubicBezTo>
                    <a:pt x="900" y="1299"/>
                    <a:pt x="900" y="1299"/>
                    <a:pt x="900" y="1299"/>
                  </a:cubicBezTo>
                  <a:cubicBezTo>
                    <a:pt x="901" y="1299"/>
                    <a:pt x="901" y="1299"/>
                    <a:pt x="902" y="1299"/>
                  </a:cubicBezTo>
                  <a:cubicBezTo>
                    <a:pt x="909" y="1301"/>
                    <a:pt x="915" y="1303"/>
                    <a:pt x="921" y="1305"/>
                  </a:cubicBezTo>
                  <a:cubicBezTo>
                    <a:pt x="920" y="1304"/>
                    <a:pt x="919" y="1304"/>
                    <a:pt x="918" y="1303"/>
                  </a:cubicBezTo>
                  <a:cubicBezTo>
                    <a:pt x="912" y="1301"/>
                    <a:pt x="905" y="1299"/>
                    <a:pt x="899" y="1297"/>
                  </a:cubicBezTo>
                  <a:moveTo>
                    <a:pt x="921" y="1304"/>
                  </a:moveTo>
                  <a:cubicBezTo>
                    <a:pt x="922" y="1305"/>
                    <a:pt x="923" y="1305"/>
                    <a:pt x="924" y="1306"/>
                  </a:cubicBezTo>
                  <a:cubicBezTo>
                    <a:pt x="926" y="1306"/>
                    <a:pt x="929" y="1307"/>
                    <a:pt x="931" y="1308"/>
                  </a:cubicBezTo>
                  <a:cubicBezTo>
                    <a:pt x="930" y="1307"/>
                    <a:pt x="930" y="1307"/>
                    <a:pt x="930" y="1306"/>
                  </a:cubicBezTo>
                  <a:cubicBezTo>
                    <a:pt x="927" y="1306"/>
                    <a:pt x="924" y="1305"/>
                    <a:pt x="921" y="1304"/>
                  </a:cubicBezTo>
                  <a:moveTo>
                    <a:pt x="931" y="1307"/>
                  </a:moveTo>
                  <a:cubicBezTo>
                    <a:pt x="932" y="1307"/>
                    <a:pt x="932" y="1308"/>
                    <a:pt x="933" y="1308"/>
                  </a:cubicBezTo>
                  <a:cubicBezTo>
                    <a:pt x="936" y="1309"/>
                    <a:pt x="939" y="1310"/>
                    <a:pt x="942" y="1310"/>
                  </a:cubicBezTo>
                  <a:cubicBezTo>
                    <a:pt x="941" y="1310"/>
                    <a:pt x="941" y="1309"/>
                    <a:pt x="940" y="1309"/>
                  </a:cubicBezTo>
                  <a:cubicBezTo>
                    <a:pt x="937" y="1308"/>
                    <a:pt x="934" y="1307"/>
                    <a:pt x="931" y="1307"/>
                  </a:cubicBezTo>
                  <a:moveTo>
                    <a:pt x="942" y="1309"/>
                  </a:moveTo>
                  <a:cubicBezTo>
                    <a:pt x="943" y="1310"/>
                    <a:pt x="944" y="1310"/>
                    <a:pt x="945" y="1311"/>
                  </a:cubicBezTo>
                  <a:cubicBezTo>
                    <a:pt x="950" y="1312"/>
                    <a:pt x="956" y="1313"/>
                    <a:pt x="961" y="1314"/>
                  </a:cubicBezTo>
                  <a:cubicBezTo>
                    <a:pt x="960" y="1314"/>
                    <a:pt x="960" y="1313"/>
                    <a:pt x="959" y="1313"/>
                  </a:cubicBezTo>
                  <a:cubicBezTo>
                    <a:pt x="954" y="1312"/>
                    <a:pt x="948" y="1311"/>
                    <a:pt x="942" y="1309"/>
                  </a:cubicBezTo>
                  <a:moveTo>
                    <a:pt x="961" y="1313"/>
                  </a:moveTo>
                  <a:cubicBezTo>
                    <a:pt x="962" y="1314"/>
                    <a:pt x="962" y="1314"/>
                    <a:pt x="963" y="1315"/>
                  </a:cubicBezTo>
                  <a:cubicBezTo>
                    <a:pt x="963" y="1315"/>
                    <a:pt x="963" y="1315"/>
                    <a:pt x="963" y="1315"/>
                  </a:cubicBezTo>
                  <a:cubicBezTo>
                    <a:pt x="963" y="1314"/>
                    <a:pt x="962" y="1314"/>
                    <a:pt x="962" y="1313"/>
                  </a:cubicBezTo>
                  <a:cubicBezTo>
                    <a:pt x="962" y="1313"/>
                    <a:pt x="961" y="1313"/>
                    <a:pt x="961" y="1313"/>
                  </a:cubicBezTo>
                  <a:moveTo>
                    <a:pt x="963" y="1314"/>
                  </a:moveTo>
                  <a:cubicBezTo>
                    <a:pt x="964" y="1314"/>
                    <a:pt x="964" y="1315"/>
                    <a:pt x="965" y="1315"/>
                  </a:cubicBezTo>
                  <a:cubicBezTo>
                    <a:pt x="969" y="1316"/>
                    <a:pt x="974" y="1316"/>
                    <a:pt x="978" y="1317"/>
                  </a:cubicBezTo>
                  <a:cubicBezTo>
                    <a:pt x="977" y="1316"/>
                    <a:pt x="977" y="1316"/>
                    <a:pt x="976" y="1316"/>
                  </a:cubicBezTo>
                  <a:cubicBezTo>
                    <a:pt x="972" y="1315"/>
                    <a:pt x="968" y="1314"/>
                    <a:pt x="963" y="1314"/>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57" name="Freeform 86"/>
            <p:cNvSpPr>
              <a:spLocks noEditPoints="1"/>
            </p:cNvSpPr>
            <p:nvPr userDrawn="1"/>
          </p:nvSpPr>
          <p:spPr bwMode="auto">
            <a:xfrm>
              <a:off x="1962" y="3178"/>
              <a:ext cx="3672" cy="2596"/>
            </a:xfrm>
            <a:custGeom>
              <a:avLst/>
              <a:gdLst>
                <a:gd name="T0" fmla="*/ 2147483646 w 1812"/>
                <a:gd name="T1" fmla="*/ 2147483646 h 1280"/>
                <a:gd name="T2" fmla="*/ 2147483646 w 1812"/>
                <a:gd name="T3" fmla="*/ 2147483646 h 1280"/>
                <a:gd name="T4" fmla="*/ 2147483646 w 1812"/>
                <a:gd name="T5" fmla="*/ 2147483646 h 1280"/>
                <a:gd name="T6" fmla="*/ 2147483646 w 1812"/>
                <a:gd name="T7" fmla="*/ 2147483646 h 1280"/>
                <a:gd name="T8" fmla="*/ 2147483646 w 1812"/>
                <a:gd name="T9" fmla="*/ 2147483646 h 1280"/>
                <a:gd name="T10" fmla="*/ 2147483646 w 1812"/>
                <a:gd name="T11" fmla="*/ 2147483646 h 1280"/>
                <a:gd name="T12" fmla="*/ 2147483646 w 1812"/>
                <a:gd name="T13" fmla="*/ 2147483646 h 1280"/>
                <a:gd name="T14" fmla="*/ 2147483646 w 1812"/>
                <a:gd name="T15" fmla="*/ 2147483646 h 1280"/>
                <a:gd name="T16" fmla="*/ 2147483646 w 1812"/>
                <a:gd name="T17" fmla="*/ 2147483646 h 1280"/>
                <a:gd name="T18" fmla="*/ 2147483646 w 1812"/>
                <a:gd name="T19" fmla="*/ 2147483646 h 1280"/>
                <a:gd name="T20" fmla="*/ 2147483646 w 1812"/>
                <a:gd name="T21" fmla="*/ 2147483646 h 1280"/>
                <a:gd name="T22" fmla="*/ 2147483646 w 1812"/>
                <a:gd name="T23" fmla="*/ 2147483646 h 1280"/>
                <a:gd name="T24" fmla="*/ 2147483646 w 1812"/>
                <a:gd name="T25" fmla="*/ 2147483646 h 1280"/>
                <a:gd name="T26" fmla="*/ 2147483646 w 1812"/>
                <a:gd name="T27" fmla="*/ 2147483646 h 1280"/>
                <a:gd name="T28" fmla="*/ 2147483646 w 1812"/>
                <a:gd name="T29" fmla="*/ 2147483646 h 1280"/>
                <a:gd name="T30" fmla="*/ 2147483646 w 1812"/>
                <a:gd name="T31" fmla="*/ 2147483646 h 1280"/>
                <a:gd name="T32" fmla="*/ 2147483646 w 1812"/>
                <a:gd name="T33" fmla="*/ 2147483646 h 1280"/>
                <a:gd name="T34" fmla="*/ 2147483646 w 1812"/>
                <a:gd name="T35" fmla="*/ 2147483646 h 1280"/>
                <a:gd name="T36" fmla="*/ 2147483646 w 1812"/>
                <a:gd name="T37" fmla="*/ 2147483646 h 1280"/>
                <a:gd name="T38" fmla="*/ 2147483646 w 1812"/>
                <a:gd name="T39" fmla="*/ 2147483646 h 1280"/>
                <a:gd name="T40" fmla="*/ 2147483646 w 1812"/>
                <a:gd name="T41" fmla="*/ 2147483646 h 1280"/>
                <a:gd name="T42" fmla="*/ 2147483646 w 1812"/>
                <a:gd name="T43" fmla="*/ 2147483646 h 1280"/>
                <a:gd name="T44" fmla="*/ 2147483646 w 1812"/>
                <a:gd name="T45" fmla="*/ 2147483646 h 1280"/>
                <a:gd name="T46" fmla="*/ 2147483646 w 1812"/>
                <a:gd name="T47" fmla="*/ 2147483646 h 1280"/>
                <a:gd name="T48" fmla="*/ 2147483646 w 1812"/>
                <a:gd name="T49" fmla="*/ 2147483646 h 1280"/>
                <a:gd name="T50" fmla="*/ 2147483646 w 1812"/>
                <a:gd name="T51" fmla="*/ 2147483646 h 1280"/>
                <a:gd name="T52" fmla="*/ 2147483646 w 1812"/>
                <a:gd name="T53" fmla="*/ 2147483646 h 1280"/>
                <a:gd name="T54" fmla="*/ 2147483646 w 1812"/>
                <a:gd name="T55" fmla="*/ 2147483646 h 1280"/>
                <a:gd name="T56" fmla="*/ 2147483646 w 1812"/>
                <a:gd name="T57" fmla="*/ 2147483646 h 1280"/>
                <a:gd name="T58" fmla="*/ 2147483646 w 1812"/>
                <a:gd name="T59" fmla="*/ 2147483646 h 1280"/>
                <a:gd name="T60" fmla="*/ 2147483646 w 1812"/>
                <a:gd name="T61" fmla="*/ 2147483646 h 1280"/>
                <a:gd name="T62" fmla="*/ 2147483646 w 1812"/>
                <a:gd name="T63" fmla="*/ 2147483646 h 1280"/>
                <a:gd name="T64" fmla="*/ 2147483646 w 1812"/>
                <a:gd name="T65" fmla="*/ 2147483646 h 1280"/>
                <a:gd name="T66" fmla="*/ 2147483646 w 1812"/>
                <a:gd name="T67" fmla="*/ 2147483646 h 1280"/>
                <a:gd name="T68" fmla="*/ 2147483646 w 1812"/>
                <a:gd name="T69" fmla="*/ 2147483646 h 1280"/>
                <a:gd name="T70" fmla="*/ 2147483646 w 1812"/>
                <a:gd name="T71" fmla="*/ 2147483646 h 1280"/>
                <a:gd name="T72" fmla="*/ 2147483646 w 1812"/>
                <a:gd name="T73" fmla="*/ 2147483646 h 1280"/>
                <a:gd name="T74" fmla="*/ 2147483646 w 1812"/>
                <a:gd name="T75" fmla="*/ 2147483646 h 1280"/>
                <a:gd name="T76" fmla="*/ 2147483646 w 1812"/>
                <a:gd name="T77" fmla="*/ 2147483646 h 1280"/>
                <a:gd name="T78" fmla="*/ 2147483646 w 1812"/>
                <a:gd name="T79" fmla="*/ 2147483646 h 1280"/>
                <a:gd name="T80" fmla="*/ 2147483646 w 1812"/>
                <a:gd name="T81" fmla="*/ 2147483646 h 1280"/>
                <a:gd name="T82" fmla="*/ 2147483646 w 1812"/>
                <a:gd name="T83" fmla="*/ 2147483646 h 1280"/>
                <a:gd name="T84" fmla="*/ 2147483646 w 1812"/>
                <a:gd name="T85" fmla="*/ 2147483646 h 1280"/>
                <a:gd name="T86" fmla="*/ 2147483646 w 1812"/>
                <a:gd name="T87" fmla="*/ 2147483646 h 1280"/>
                <a:gd name="T88" fmla="*/ 2147483646 w 1812"/>
                <a:gd name="T89" fmla="*/ 2147483646 h 1280"/>
                <a:gd name="T90" fmla="*/ 2147483646 w 1812"/>
                <a:gd name="T91" fmla="*/ 2147483646 h 1280"/>
                <a:gd name="T92" fmla="*/ 2147483646 w 1812"/>
                <a:gd name="T93" fmla="*/ 2147483646 h 1280"/>
                <a:gd name="T94" fmla="*/ 2147483646 w 1812"/>
                <a:gd name="T95" fmla="*/ 2147483646 h 1280"/>
                <a:gd name="T96" fmla="*/ 2147483646 w 1812"/>
                <a:gd name="T97" fmla="*/ 2147483646 h 1280"/>
                <a:gd name="T98" fmla="*/ 2147483646 w 1812"/>
                <a:gd name="T99" fmla="*/ 2147483646 h 1280"/>
                <a:gd name="T100" fmla="*/ 2147483646 w 1812"/>
                <a:gd name="T101" fmla="*/ 2147483646 h 1280"/>
                <a:gd name="T102" fmla="*/ 2147483646 w 1812"/>
                <a:gd name="T103" fmla="*/ 2147483646 h 1280"/>
                <a:gd name="T104" fmla="*/ 2147483646 w 1812"/>
                <a:gd name="T105" fmla="*/ 2147483646 h 1280"/>
                <a:gd name="T106" fmla="*/ 2147483646 w 1812"/>
                <a:gd name="T107" fmla="*/ 2147483646 h 1280"/>
                <a:gd name="T108" fmla="*/ 2147483646 w 1812"/>
                <a:gd name="T109" fmla="*/ 2147483646 h 1280"/>
                <a:gd name="T110" fmla="*/ 2147483646 w 1812"/>
                <a:gd name="T111" fmla="*/ 2147483646 h 1280"/>
                <a:gd name="T112" fmla="*/ 2147483646 w 1812"/>
                <a:gd name="T113" fmla="*/ 2147483646 h 1280"/>
                <a:gd name="T114" fmla="*/ 2147483646 w 1812"/>
                <a:gd name="T115" fmla="*/ 2147483646 h 1280"/>
                <a:gd name="T116" fmla="*/ 2147483646 w 1812"/>
                <a:gd name="T117" fmla="*/ 2147483646 h 1280"/>
                <a:gd name="T118" fmla="*/ 2147483646 w 1812"/>
                <a:gd name="T119" fmla="*/ 2147483646 h 1280"/>
                <a:gd name="T120" fmla="*/ 2147483646 w 1812"/>
                <a:gd name="T121" fmla="*/ 2147483646 h 12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12" h="1280">
                  <a:moveTo>
                    <a:pt x="1619" y="0"/>
                  </a:moveTo>
                  <a:cubicBezTo>
                    <a:pt x="1601" y="0"/>
                    <a:pt x="1584" y="3"/>
                    <a:pt x="1567" y="8"/>
                  </a:cubicBezTo>
                  <a:cubicBezTo>
                    <a:pt x="1567" y="8"/>
                    <a:pt x="1566" y="8"/>
                    <a:pt x="1566" y="8"/>
                  </a:cubicBezTo>
                  <a:cubicBezTo>
                    <a:pt x="1529" y="20"/>
                    <a:pt x="1492" y="44"/>
                    <a:pt x="1458" y="75"/>
                  </a:cubicBezTo>
                  <a:cubicBezTo>
                    <a:pt x="1457" y="75"/>
                    <a:pt x="1457" y="76"/>
                    <a:pt x="1457" y="76"/>
                  </a:cubicBezTo>
                  <a:cubicBezTo>
                    <a:pt x="1431" y="99"/>
                    <a:pt x="1407" y="125"/>
                    <a:pt x="1384" y="154"/>
                  </a:cubicBezTo>
                  <a:cubicBezTo>
                    <a:pt x="1383" y="154"/>
                    <a:pt x="1383" y="155"/>
                    <a:pt x="1383" y="155"/>
                  </a:cubicBezTo>
                  <a:cubicBezTo>
                    <a:pt x="1373" y="167"/>
                    <a:pt x="1363" y="180"/>
                    <a:pt x="1353" y="193"/>
                  </a:cubicBezTo>
                  <a:cubicBezTo>
                    <a:pt x="1354" y="192"/>
                    <a:pt x="1355" y="192"/>
                    <a:pt x="1356" y="191"/>
                  </a:cubicBezTo>
                  <a:cubicBezTo>
                    <a:pt x="1359" y="186"/>
                    <a:pt x="1363" y="181"/>
                    <a:pt x="1367" y="177"/>
                  </a:cubicBezTo>
                  <a:cubicBezTo>
                    <a:pt x="1372" y="170"/>
                    <a:pt x="1378" y="162"/>
                    <a:pt x="1384" y="156"/>
                  </a:cubicBezTo>
                  <a:cubicBezTo>
                    <a:pt x="1384" y="155"/>
                    <a:pt x="1384" y="155"/>
                    <a:pt x="1384" y="155"/>
                  </a:cubicBezTo>
                  <a:cubicBezTo>
                    <a:pt x="1408" y="126"/>
                    <a:pt x="1433" y="99"/>
                    <a:pt x="1458" y="76"/>
                  </a:cubicBezTo>
                  <a:cubicBezTo>
                    <a:pt x="1458" y="76"/>
                    <a:pt x="1459" y="75"/>
                    <a:pt x="1459" y="75"/>
                  </a:cubicBezTo>
                  <a:cubicBezTo>
                    <a:pt x="1494" y="44"/>
                    <a:pt x="1530" y="21"/>
                    <a:pt x="1567" y="9"/>
                  </a:cubicBezTo>
                  <a:cubicBezTo>
                    <a:pt x="1568" y="9"/>
                    <a:pt x="1568" y="9"/>
                    <a:pt x="1569" y="8"/>
                  </a:cubicBezTo>
                  <a:cubicBezTo>
                    <a:pt x="1585" y="3"/>
                    <a:pt x="1602" y="1"/>
                    <a:pt x="1619" y="1"/>
                  </a:cubicBezTo>
                  <a:cubicBezTo>
                    <a:pt x="1649" y="1"/>
                    <a:pt x="1680" y="10"/>
                    <a:pt x="1711" y="30"/>
                  </a:cubicBezTo>
                  <a:cubicBezTo>
                    <a:pt x="1728" y="41"/>
                    <a:pt x="1743" y="52"/>
                    <a:pt x="1755" y="65"/>
                  </a:cubicBezTo>
                  <a:cubicBezTo>
                    <a:pt x="1756" y="65"/>
                    <a:pt x="1756" y="66"/>
                    <a:pt x="1756" y="66"/>
                  </a:cubicBezTo>
                  <a:cubicBezTo>
                    <a:pt x="1794" y="104"/>
                    <a:pt x="1811" y="147"/>
                    <a:pt x="1811" y="194"/>
                  </a:cubicBezTo>
                  <a:cubicBezTo>
                    <a:pt x="1811" y="215"/>
                    <a:pt x="1808" y="236"/>
                    <a:pt x="1801" y="258"/>
                  </a:cubicBezTo>
                  <a:cubicBezTo>
                    <a:pt x="1801" y="258"/>
                    <a:pt x="1801" y="259"/>
                    <a:pt x="1801" y="259"/>
                  </a:cubicBezTo>
                  <a:cubicBezTo>
                    <a:pt x="1801" y="261"/>
                    <a:pt x="1800" y="263"/>
                    <a:pt x="1799" y="265"/>
                  </a:cubicBezTo>
                  <a:cubicBezTo>
                    <a:pt x="1799" y="265"/>
                    <a:pt x="1799" y="266"/>
                    <a:pt x="1799" y="266"/>
                  </a:cubicBezTo>
                  <a:cubicBezTo>
                    <a:pt x="1798" y="267"/>
                    <a:pt x="1798" y="269"/>
                    <a:pt x="1797" y="270"/>
                  </a:cubicBezTo>
                  <a:cubicBezTo>
                    <a:pt x="1788" y="297"/>
                    <a:pt x="1775" y="324"/>
                    <a:pt x="1758" y="351"/>
                  </a:cubicBezTo>
                  <a:cubicBezTo>
                    <a:pt x="1756" y="355"/>
                    <a:pt x="1754" y="359"/>
                    <a:pt x="1752" y="363"/>
                  </a:cubicBezTo>
                  <a:cubicBezTo>
                    <a:pt x="1773" y="331"/>
                    <a:pt x="1790" y="298"/>
                    <a:pt x="1800" y="266"/>
                  </a:cubicBezTo>
                  <a:cubicBezTo>
                    <a:pt x="1800" y="265"/>
                    <a:pt x="1801" y="263"/>
                    <a:pt x="1801" y="262"/>
                  </a:cubicBezTo>
                  <a:cubicBezTo>
                    <a:pt x="1802" y="261"/>
                    <a:pt x="1802" y="260"/>
                    <a:pt x="1802" y="259"/>
                  </a:cubicBezTo>
                  <a:cubicBezTo>
                    <a:pt x="1803" y="257"/>
                    <a:pt x="1803" y="255"/>
                    <a:pt x="1804" y="253"/>
                  </a:cubicBezTo>
                  <a:cubicBezTo>
                    <a:pt x="1809" y="233"/>
                    <a:pt x="1812" y="213"/>
                    <a:pt x="1812" y="194"/>
                  </a:cubicBezTo>
                  <a:cubicBezTo>
                    <a:pt x="1812" y="147"/>
                    <a:pt x="1795" y="103"/>
                    <a:pt x="1756" y="64"/>
                  </a:cubicBezTo>
                  <a:cubicBezTo>
                    <a:pt x="1756" y="64"/>
                    <a:pt x="1755" y="63"/>
                    <a:pt x="1755" y="63"/>
                  </a:cubicBezTo>
                  <a:cubicBezTo>
                    <a:pt x="1743" y="51"/>
                    <a:pt x="1728" y="40"/>
                    <a:pt x="1712" y="29"/>
                  </a:cubicBezTo>
                  <a:cubicBezTo>
                    <a:pt x="1681" y="9"/>
                    <a:pt x="1649" y="0"/>
                    <a:pt x="1619" y="0"/>
                  </a:cubicBezTo>
                  <a:moveTo>
                    <a:pt x="1350" y="199"/>
                  </a:moveTo>
                  <a:cubicBezTo>
                    <a:pt x="1348" y="202"/>
                    <a:pt x="1346" y="205"/>
                    <a:pt x="1343" y="208"/>
                  </a:cubicBezTo>
                  <a:cubicBezTo>
                    <a:pt x="1344" y="208"/>
                    <a:pt x="1344" y="208"/>
                    <a:pt x="1344" y="207"/>
                  </a:cubicBezTo>
                  <a:cubicBezTo>
                    <a:pt x="1346" y="205"/>
                    <a:pt x="1348" y="202"/>
                    <a:pt x="1350" y="199"/>
                  </a:cubicBezTo>
                  <a:moveTo>
                    <a:pt x="1342" y="210"/>
                  </a:moveTo>
                  <a:cubicBezTo>
                    <a:pt x="1342" y="211"/>
                    <a:pt x="1341" y="211"/>
                    <a:pt x="1341" y="212"/>
                  </a:cubicBezTo>
                  <a:cubicBezTo>
                    <a:pt x="1337" y="216"/>
                    <a:pt x="1334" y="221"/>
                    <a:pt x="1330" y="226"/>
                  </a:cubicBezTo>
                  <a:cubicBezTo>
                    <a:pt x="1331" y="225"/>
                    <a:pt x="1332" y="225"/>
                    <a:pt x="1332" y="225"/>
                  </a:cubicBezTo>
                  <a:cubicBezTo>
                    <a:pt x="1336" y="220"/>
                    <a:pt x="1339" y="215"/>
                    <a:pt x="1342" y="210"/>
                  </a:cubicBezTo>
                  <a:moveTo>
                    <a:pt x="1331" y="227"/>
                  </a:moveTo>
                  <a:cubicBezTo>
                    <a:pt x="1330" y="227"/>
                    <a:pt x="1329" y="228"/>
                    <a:pt x="1328" y="228"/>
                  </a:cubicBezTo>
                  <a:cubicBezTo>
                    <a:pt x="1328" y="228"/>
                    <a:pt x="1328" y="228"/>
                    <a:pt x="1328" y="228"/>
                  </a:cubicBezTo>
                  <a:cubicBezTo>
                    <a:pt x="1324" y="234"/>
                    <a:pt x="1320" y="240"/>
                    <a:pt x="1316" y="246"/>
                  </a:cubicBezTo>
                  <a:cubicBezTo>
                    <a:pt x="1317" y="246"/>
                    <a:pt x="1318" y="245"/>
                    <a:pt x="1318" y="245"/>
                  </a:cubicBezTo>
                  <a:cubicBezTo>
                    <a:pt x="1322" y="239"/>
                    <a:pt x="1327" y="233"/>
                    <a:pt x="1331" y="227"/>
                  </a:cubicBezTo>
                  <a:moveTo>
                    <a:pt x="1317" y="247"/>
                  </a:moveTo>
                  <a:cubicBezTo>
                    <a:pt x="1317" y="247"/>
                    <a:pt x="1316" y="247"/>
                    <a:pt x="1315" y="248"/>
                  </a:cubicBezTo>
                  <a:cubicBezTo>
                    <a:pt x="1311" y="254"/>
                    <a:pt x="1307" y="261"/>
                    <a:pt x="1303" y="267"/>
                  </a:cubicBezTo>
                  <a:cubicBezTo>
                    <a:pt x="1302" y="268"/>
                    <a:pt x="1302" y="268"/>
                    <a:pt x="1302" y="268"/>
                  </a:cubicBezTo>
                  <a:cubicBezTo>
                    <a:pt x="1302" y="269"/>
                    <a:pt x="1302" y="269"/>
                    <a:pt x="1301" y="269"/>
                  </a:cubicBezTo>
                  <a:cubicBezTo>
                    <a:pt x="1302" y="269"/>
                    <a:pt x="1303" y="269"/>
                    <a:pt x="1303" y="268"/>
                  </a:cubicBezTo>
                  <a:cubicBezTo>
                    <a:pt x="1308" y="261"/>
                    <a:pt x="1312" y="254"/>
                    <a:pt x="1317" y="247"/>
                  </a:cubicBezTo>
                  <a:moveTo>
                    <a:pt x="1302" y="270"/>
                  </a:moveTo>
                  <a:cubicBezTo>
                    <a:pt x="1302" y="270"/>
                    <a:pt x="1301" y="270"/>
                    <a:pt x="1301" y="271"/>
                  </a:cubicBezTo>
                  <a:cubicBezTo>
                    <a:pt x="1295" y="278"/>
                    <a:pt x="1290" y="286"/>
                    <a:pt x="1286" y="294"/>
                  </a:cubicBezTo>
                  <a:cubicBezTo>
                    <a:pt x="1286" y="294"/>
                    <a:pt x="1286" y="294"/>
                    <a:pt x="1287" y="294"/>
                  </a:cubicBezTo>
                  <a:cubicBezTo>
                    <a:pt x="1292" y="286"/>
                    <a:pt x="1297" y="278"/>
                    <a:pt x="1302" y="270"/>
                  </a:cubicBezTo>
                  <a:cubicBezTo>
                    <a:pt x="1302" y="270"/>
                    <a:pt x="1302" y="270"/>
                    <a:pt x="1302" y="270"/>
                  </a:cubicBezTo>
                  <a:moveTo>
                    <a:pt x="1286" y="295"/>
                  </a:moveTo>
                  <a:cubicBezTo>
                    <a:pt x="1286" y="295"/>
                    <a:pt x="1285" y="295"/>
                    <a:pt x="1285" y="296"/>
                  </a:cubicBezTo>
                  <a:cubicBezTo>
                    <a:pt x="1280" y="303"/>
                    <a:pt x="1276" y="310"/>
                    <a:pt x="1272" y="317"/>
                  </a:cubicBezTo>
                  <a:cubicBezTo>
                    <a:pt x="1272" y="317"/>
                    <a:pt x="1272" y="317"/>
                    <a:pt x="1273" y="317"/>
                  </a:cubicBezTo>
                  <a:cubicBezTo>
                    <a:pt x="1277" y="310"/>
                    <a:pt x="1282" y="302"/>
                    <a:pt x="1286" y="295"/>
                  </a:cubicBezTo>
                  <a:moveTo>
                    <a:pt x="1272" y="318"/>
                  </a:moveTo>
                  <a:cubicBezTo>
                    <a:pt x="1272" y="318"/>
                    <a:pt x="1271" y="318"/>
                    <a:pt x="1271" y="318"/>
                  </a:cubicBezTo>
                  <a:cubicBezTo>
                    <a:pt x="1265" y="328"/>
                    <a:pt x="1259" y="338"/>
                    <a:pt x="1253" y="348"/>
                  </a:cubicBezTo>
                  <a:cubicBezTo>
                    <a:pt x="1253" y="348"/>
                    <a:pt x="1254" y="348"/>
                    <a:pt x="1254" y="348"/>
                  </a:cubicBezTo>
                  <a:cubicBezTo>
                    <a:pt x="1260" y="338"/>
                    <a:pt x="1266" y="328"/>
                    <a:pt x="1272" y="318"/>
                  </a:cubicBezTo>
                  <a:moveTo>
                    <a:pt x="1253" y="349"/>
                  </a:moveTo>
                  <a:cubicBezTo>
                    <a:pt x="1246" y="361"/>
                    <a:pt x="1239" y="373"/>
                    <a:pt x="1232" y="385"/>
                  </a:cubicBezTo>
                  <a:cubicBezTo>
                    <a:pt x="1233" y="385"/>
                    <a:pt x="1233" y="385"/>
                    <a:pt x="1233" y="385"/>
                  </a:cubicBezTo>
                  <a:cubicBezTo>
                    <a:pt x="1240" y="373"/>
                    <a:pt x="1247" y="361"/>
                    <a:pt x="1254" y="349"/>
                  </a:cubicBezTo>
                  <a:cubicBezTo>
                    <a:pt x="1253" y="349"/>
                    <a:pt x="1253" y="349"/>
                    <a:pt x="1253" y="349"/>
                  </a:cubicBezTo>
                  <a:moveTo>
                    <a:pt x="1751" y="363"/>
                  </a:moveTo>
                  <a:cubicBezTo>
                    <a:pt x="1747" y="369"/>
                    <a:pt x="1742" y="375"/>
                    <a:pt x="1738" y="381"/>
                  </a:cubicBezTo>
                  <a:cubicBezTo>
                    <a:pt x="1737" y="384"/>
                    <a:pt x="1736" y="386"/>
                    <a:pt x="1734" y="388"/>
                  </a:cubicBezTo>
                  <a:cubicBezTo>
                    <a:pt x="1737" y="384"/>
                    <a:pt x="1740" y="381"/>
                    <a:pt x="1742" y="377"/>
                  </a:cubicBezTo>
                  <a:cubicBezTo>
                    <a:pt x="1745" y="372"/>
                    <a:pt x="1748" y="367"/>
                    <a:pt x="1751" y="363"/>
                  </a:cubicBezTo>
                  <a:moveTo>
                    <a:pt x="1232" y="386"/>
                  </a:moveTo>
                  <a:cubicBezTo>
                    <a:pt x="1225" y="398"/>
                    <a:pt x="1218" y="410"/>
                    <a:pt x="1212" y="421"/>
                  </a:cubicBezTo>
                  <a:cubicBezTo>
                    <a:pt x="1212" y="421"/>
                    <a:pt x="1213" y="421"/>
                    <a:pt x="1213" y="421"/>
                  </a:cubicBezTo>
                  <a:cubicBezTo>
                    <a:pt x="1219" y="410"/>
                    <a:pt x="1226" y="398"/>
                    <a:pt x="1233" y="386"/>
                  </a:cubicBezTo>
                  <a:cubicBezTo>
                    <a:pt x="1232" y="386"/>
                    <a:pt x="1232" y="386"/>
                    <a:pt x="1232" y="386"/>
                  </a:cubicBezTo>
                  <a:moveTo>
                    <a:pt x="1733" y="388"/>
                  </a:moveTo>
                  <a:cubicBezTo>
                    <a:pt x="1729" y="394"/>
                    <a:pt x="1724" y="400"/>
                    <a:pt x="1719" y="406"/>
                  </a:cubicBezTo>
                  <a:cubicBezTo>
                    <a:pt x="1719" y="408"/>
                    <a:pt x="1718" y="410"/>
                    <a:pt x="1717" y="411"/>
                  </a:cubicBezTo>
                  <a:cubicBezTo>
                    <a:pt x="1721" y="406"/>
                    <a:pt x="1725" y="400"/>
                    <a:pt x="1729" y="395"/>
                  </a:cubicBezTo>
                  <a:cubicBezTo>
                    <a:pt x="1731" y="393"/>
                    <a:pt x="1732" y="390"/>
                    <a:pt x="1733" y="388"/>
                  </a:cubicBezTo>
                  <a:moveTo>
                    <a:pt x="1716" y="411"/>
                  </a:moveTo>
                  <a:cubicBezTo>
                    <a:pt x="1711" y="417"/>
                    <a:pt x="1706" y="422"/>
                    <a:pt x="1701" y="428"/>
                  </a:cubicBezTo>
                  <a:cubicBezTo>
                    <a:pt x="1701" y="430"/>
                    <a:pt x="1700" y="431"/>
                    <a:pt x="1699" y="432"/>
                  </a:cubicBezTo>
                  <a:cubicBezTo>
                    <a:pt x="1704" y="427"/>
                    <a:pt x="1708" y="421"/>
                    <a:pt x="1713" y="416"/>
                  </a:cubicBezTo>
                  <a:cubicBezTo>
                    <a:pt x="1714" y="414"/>
                    <a:pt x="1715" y="412"/>
                    <a:pt x="1716" y="411"/>
                  </a:cubicBezTo>
                  <a:moveTo>
                    <a:pt x="1019" y="419"/>
                  </a:moveTo>
                  <a:cubicBezTo>
                    <a:pt x="1019" y="419"/>
                    <a:pt x="1018" y="419"/>
                    <a:pt x="1017" y="419"/>
                  </a:cubicBezTo>
                  <a:cubicBezTo>
                    <a:pt x="1017" y="419"/>
                    <a:pt x="1016" y="419"/>
                    <a:pt x="1016" y="419"/>
                  </a:cubicBezTo>
                  <a:cubicBezTo>
                    <a:pt x="1014" y="419"/>
                    <a:pt x="1013" y="419"/>
                    <a:pt x="1012" y="419"/>
                  </a:cubicBezTo>
                  <a:cubicBezTo>
                    <a:pt x="1011" y="420"/>
                    <a:pt x="1011" y="420"/>
                    <a:pt x="1010" y="421"/>
                  </a:cubicBezTo>
                  <a:cubicBezTo>
                    <a:pt x="1012" y="420"/>
                    <a:pt x="1013" y="420"/>
                    <a:pt x="1015" y="420"/>
                  </a:cubicBezTo>
                  <a:cubicBezTo>
                    <a:pt x="1015" y="420"/>
                    <a:pt x="1016" y="420"/>
                    <a:pt x="1016" y="420"/>
                  </a:cubicBezTo>
                  <a:cubicBezTo>
                    <a:pt x="1017" y="420"/>
                    <a:pt x="1018" y="420"/>
                    <a:pt x="1019" y="420"/>
                  </a:cubicBezTo>
                  <a:cubicBezTo>
                    <a:pt x="1022" y="420"/>
                    <a:pt x="1024" y="420"/>
                    <a:pt x="1026" y="420"/>
                  </a:cubicBezTo>
                  <a:cubicBezTo>
                    <a:pt x="1027" y="420"/>
                    <a:pt x="1027" y="420"/>
                    <a:pt x="1027" y="421"/>
                  </a:cubicBezTo>
                  <a:cubicBezTo>
                    <a:pt x="1034" y="421"/>
                    <a:pt x="1040" y="424"/>
                    <a:pt x="1044" y="427"/>
                  </a:cubicBezTo>
                  <a:cubicBezTo>
                    <a:pt x="1044" y="427"/>
                    <a:pt x="1044" y="427"/>
                    <a:pt x="1045" y="427"/>
                  </a:cubicBezTo>
                  <a:cubicBezTo>
                    <a:pt x="1040" y="423"/>
                    <a:pt x="1034" y="421"/>
                    <a:pt x="1028" y="420"/>
                  </a:cubicBezTo>
                  <a:cubicBezTo>
                    <a:pt x="1027" y="420"/>
                    <a:pt x="1027" y="419"/>
                    <a:pt x="1027" y="419"/>
                  </a:cubicBezTo>
                  <a:cubicBezTo>
                    <a:pt x="1024" y="419"/>
                    <a:pt x="1022" y="419"/>
                    <a:pt x="1019" y="419"/>
                  </a:cubicBezTo>
                  <a:moveTo>
                    <a:pt x="1010" y="420"/>
                  </a:moveTo>
                  <a:cubicBezTo>
                    <a:pt x="1006" y="420"/>
                    <a:pt x="1003" y="421"/>
                    <a:pt x="999" y="422"/>
                  </a:cubicBezTo>
                  <a:cubicBezTo>
                    <a:pt x="999" y="422"/>
                    <a:pt x="998" y="422"/>
                    <a:pt x="998" y="422"/>
                  </a:cubicBezTo>
                  <a:cubicBezTo>
                    <a:pt x="993" y="423"/>
                    <a:pt x="988" y="425"/>
                    <a:pt x="983" y="427"/>
                  </a:cubicBezTo>
                  <a:cubicBezTo>
                    <a:pt x="976" y="429"/>
                    <a:pt x="970" y="432"/>
                    <a:pt x="964" y="435"/>
                  </a:cubicBezTo>
                  <a:cubicBezTo>
                    <a:pt x="964" y="436"/>
                    <a:pt x="963" y="436"/>
                    <a:pt x="962" y="436"/>
                  </a:cubicBezTo>
                  <a:cubicBezTo>
                    <a:pt x="951" y="443"/>
                    <a:pt x="941" y="450"/>
                    <a:pt x="931" y="459"/>
                  </a:cubicBezTo>
                  <a:cubicBezTo>
                    <a:pt x="931" y="459"/>
                    <a:pt x="932" y="458"/>
                    <a:pt x="933" y="458"/>
                  </a:cubicBezTo>
                  <a:cubicBezTo>
                    <a:pt x="942" y="450"/>
                    <a:pt x="951" y="444"/>
                    <a:pt x="961" y="438"/>
                  </a:cubicBezTo>
                  <a:cubicBezTo>
                    <a:pt x="962" y="438"/>
                    <a:pt x="962" y="438"/>
                    <a:pt x="963" y="437"/>
                  </a:cubicBezTo>
                  <a:cubicBezTo>
                    <a:pt x="974" y="431"/>
                    <a:pt x="986" y="426"/>
                    <a:pt x="997" y="423"/>
                  </a:cubicBezTo>
                  <a:cubicBezTo>
                    <a:pt x="997" y="423"/>
                    <a:pt x="998" y="423"/>
                    <a:pt x="998" y="423"/>
                  </a:cubicBezTo>
                  <a:cubicBezTo>
                    <a:pt x="1002" y="422"/>
                    <a:pt x="1005" y="421"/>
                    <a:pt x="1008" y="421"/>
                  </a:cubicBezTo>
                  <a:cubicBezTo>
                    <a:pt x="1009" y="420"/>
                    <a:pt x="1009" y="420"/>
                    <a:pt x="1010" y="420"/>
                  </a:cubicBezTo>
                  <a:moveTo>
                    <a:pt x="1211" y="422"/>
                  </a:moveTo>
                  <a:cubicBezTo>
                    <a:pt x="1207" y="430"/>
                    <a:pt x="1203" y="438"/>
                    <a:pt x="1199" y="445"/>
                  </a:cubicBezTo>
                  <a:cubicBezTo>
                    <a:pt x="1199" y="445"/>
                    <a:pt x="1199" y="445"/>
                    <a:pt x="1200" y="445"/>
                  </a:cubicBezTo>
                  <a:cubicBezTo>
                    <a:pt x="1204" y="438"/>
                    <a:pt x="1208" y="430"/>
                    <a:pt x="1212" y="422"/>
                  </a:cubicBezTo>
                  <a:cubicBezTo>
                    <a:pt x="1212" y="422"/>
                    <a:pt x="1212" y="422"/>
                    <a:pt x="1211" y="422"/>
                  </a:cubicBezTo>
                  <a:moveTo>
                    <a:pt x="1045" y="427"/>
                  </a:moveTo>
                  <a:cubicBezTo>
                    <a:pt x="1045" y="427"/>
                    <a:pt x="1045" y="428"/>
                    <a:pt x="1045" y="428"/>
                  </a:cubicBezTo>
                  <a:cubicBezTo>
                    <a:pt x="1045" y="428"/>
                    <a:pt x="1046" y="429"/>
                    <a:pt x="1046" y="429"/>
                  </a:cubicBezTo>
                  <a:cubicBezTo>
                    <a:pt x="1046" y="429"/>
                    <a:pt x="1047" y="430"/>
                    <a:pt x="1047" y="430"/>
                  </a:cubicBezTo>
                  <a:cubicBezTo>
                    <a:pt x="1049" y="433"/>
                    <a:pt x="1051" y="436"/>
                    <a:pt x="1052" y="440"/>
                  </a:cubicBezTo>
                  <a:cubicBezTo>
                    <a:pt x="1053" y="440"/>
                    <a:pt x="1053" y="440"/>
                    <a:pt x="1053" y="440"/>
                  </a:cubicBezTo>
                  <a:cubicBezTo>
                    <a:pt x="1052" y="436"/>
                    <a:pt x="1050" y="432"/>
                    <a:pt x="1048" y="429"/>
                  </a:cubicBezTo>
                  <a:cubicBezTo>
                    <a:pt x="1047" y="429"/>
                    <a:pt x="1047" y="429"/>
                    <a:pt x="1047" y="428"/>
                  </a:cubicBezTo>
                  <a:cubicBezTo>
                    <a:pt x="1046" y="428"/>
                    <a:pt x="1046" y="428"/>
                    <a:pt x="1045" y="427"/>
                  </a:cubicBezTo>
                  <a:moveTo>
                    <a:pt x="1698" y="432"/>
                  </a:moveTo>
                  <a:cubicBezTo>
                    <a:pt x="1693" y="437"/>
                    <a:pt x="1689" y="443"/>
                    <a:pt x="1684" y="448"/>
                  </a:cubicBezTo>
                  <a:cubicBezTo>
                    <a:pt x="1683" y="450"/>
                    <a:pt x="1682" y="451"/>
                    <a:pt x="1682" y="452"/>
                  </a:cubicBezTo>
                  <a:cubicBezTo>
                    <a:pt x="1687" y="447"/>
                    <a:pt x="1691" y="441"/>
                    <a:pt x="1696" y="436"/>
                  </a:cubicBezTo>
                  <a:cubicBezTo>
                    <a:pt x="1697" y="435"/>
                    <a:pt x="1697" y="433"/>
                    <a:pt x="1698" y="432"/>
                  </a:cubicBezTo>
                  <a:moveTo>
                    <a:pt x="1054" y="441"/>
                  </a:moveTo>
                  <a:cubicBezTo>
                    <a:pt x="1053" y="441"/>
                    <a:pt x="1053" y="441"/>
                    <a:pt x="1053" y="441"/>
                  </a:cubicBezTo>
                  <a:cubicBezTo>
                    <a:pt x="1053" y="441"/>
                    <a:pt x="1053" y="442"/>
                    <a:pt x="1053" y="443"/>
                  </a:cubicBezTo>
                  <a:cubicBezTo>
                    <a:pt x="1053" y="443"/>
                    <a:pt x="1053" y="444"/>
                    <a:pt x="1054" y="445"/>
                  </a:cubicBezTo>
                  <a:cubicBezTo>
                    <a:pt x="1054" y="445"/>
                    <a:pt x="1054" y="445"/>
                    <a:pt x="1054" y="446"/>
                  </a:cubicBezTo>
                  <a:cubicBezTo>
                    <a:pt x="1054" y="446"/>
                    <a:pt x="1054" y="447"/>
                    <a:pt x="1054" y="448"/>
                  </a:cubicBezTo>
                  <a:cubicBezTo>
                    <a:pt x="1054" y="449"/>
                    <a:pt x="1054" y="450"/>
                    <a:pt x="1054" y="452"/>
                  </a:cubicBezTo>
                  <a:cubicBezTo>
                    <a:pt x="1054" y="453"/>
                    <a:pt x="1054" y="455"/>
                    <a:pt x="1054" y="457"/>
                  </a:cubicBezTo>
                  <a:cubicBezTo>
                    <a:pt x="1054" y="461"/>
                    <a:pt x="1053" y="465"/>
                    <a:pt x="1052" y="469"/>
                  </a:cubicBezTo>
                  <a:cubicBezTo>
                    <a:pt x="1052" y="469"/>
                    <a:pt x="1052" y="469"/>
                    <a:pt x="1053" y="469"/>
                  </a:cubicBezTo>
                  <a:cubicBezTo>
                    <a:pt x="1053" y="466"/>
                    <a:pt x="1054" y="463"/>
                    <a:pt x="1054" y="461"/>
                  </a:cubicBezTo>
                  <a:cubicBezTo>
                    <a:pt x="1055" y="459"/>
                    <a:pt x="1055" y="458"/>
                    <a:pt x="1055" y="457"/>
                  </a:cubicBezTo>
                  <a:cubicBezTo>
                    <a:pt x="1055" y="455"/>
                    <a:pt x="1055" y="453"/>
                    <a:pt x="1055" y="452"/>
                  </a:cubicBezTo>
                  <a:cubicBezTo>
                    <a:pt x="1055" y="451"/>
                    <a:pt x="1055" y="451"/>
                    <a:pt x="1055" y="451"/>
                  </a:cubicBezTo>
                  <a:cubicBezTo>
                    <a:pt x="1055" y="450"/>
                    <a:pt x="1055" y="450"/>
                    <a:pt x="1055" y="449"/>
                  </a:cubicBezTo>
                  <a:cubicBezTo>
                    <a:pt x="1055" y="448"/>
                    <a:pt x="1055" y="447"/>
                    <a:pt x="1055" y="446"/>
                  </a:cubicBezTo>
                  <a:cubicBezTo>
                    <a:pt x="1055" y="445"/>
                    <a:pt x="1054" y="444"/>
                    <a:pt x="1054" y="444"/>
                  </a:cubicBezTo>
                  <a:cubicBezTo>
                    <a:pt x="1054" y="443"/>
                    <a:pt x="1054" y="443"/>
                    <a:pt x="1054" y="443"/>
                  </a:cubicBezTo>
                  <a:cubicBezTo>
                    <a:pt x="1054" y="442"/>
                    <a:pt x="1054" y="441"/>
                    <a:pt x="1054" y="441"/>
                  </a:cubicBezTo>
                  <a:cubicBezTo>
                    <a:pt x="1054" y="441"/>
                    <a:pt x="1054" y="441"/>
                    <a:pt x="1054" y="441"/>
                  </a:cubicBezTo>
                  <a:moveTo>
                    <a:pt x="1198" y="446"/>
                  </a:moveTo>
                  <a:cubicBezTo>
                    <a:pt x="1197" y="448"/>
                    <a:pt x="1196" y="449"/>
                    <a:pt x="1195" y="451"/>
                  </a:cubicBezTo>
                  <a:cubicBezTo>
                    <a:pt x="1190" y="462"/>
                    <a:pt x="1184" y="473"/>
                    <a:pt x="1178" y="484"/>
                  </a:cubicBezTo>
                  <a:cubicBezTo>
                    <a:pt x="1178" y="484"/>
                    <a:pt x="1178" y="484"/>
                    <a:pt x="1179" y="484"/>
                  </a:cubicBezTo>
                  <a:cubicBezTo>
                    <a:pt x="1185" y="472"/>
                    <a:pt x="1192" y="460"/>
                    <a:pt x="1199" y="446"/>
                  </a:cubicBezTo>
                  <a:cubicBezTo>
                    <a:pt x="1199" y="446"/>
                    <a:pt x="1199" y="446"/>
                    <a:pt x="1198" y="446"/>
                  </a:cubicBezTo>
                  <a:moveTo>
                    <a:pt x="1681" y="451"/>
                  </a:moveTo>
                  <a:cubicBezTo>
                    <a:pt x="1678" y="455"/>
                    <a:pt x="1675" y="458"/>
                    <a:pt x="1671" y="462"/>
                  </a:cubicBezTo>
                  <a:cubicBezTo>
                    <a:pt x="1670" y="464"/>
                    <a:pt x="1668" y="465"/>
                    <a:pt x="1666" y="467"/>
                  </a:cubicBezTo>
                  <a:cubicBezTo>
                    <a:pt x="1665" y="468"/>
                    <a:pt x="1665" y="469"/>
                    <a:pt x="1664" y="470"/>
                  </a:cubicBezTo>
                  <a:cubicBezTo>
                    <a:pt x="1667" y="468"/>
                    <a:pt x="1669" y="465"/>
                    <a:pt x="1672" y="462"/>
                  </a:cubicBezTo>
                  <a:cubicBezTo>
                    <a:pt x="1674" y="460"/>
                    <a:pt x="1677" y="457"/>
                    <a:pt x="1679" y="455"/>
                  </a:cubicBezTo>
                  <a:cubicBezTo>
                    <a:pt x="1680" y="454"/>
                    <a:pt x="1680" y="453"/>
                    <a:pt x="1681" y="451"/>
                  </a:cubicBezTo>
                  <a:moveTo>
                    <a:pt x="931" y="460"/>
                  </a:moveTo>
                  <a:cubicBezTo>
                    <a:pt x="930" y="460"/>
                    <a:pt x="930" y="460"/>
                    <a:pt x="929" y="460"/>
                  </a:cubicBezTo>
                  <a:cubicBezTo>
                    <a:pt x="923" y="466"/>
                    <a:pt x="918" y="471"/>
                    <a:pt x="913" y="477"/>
                  </a:cubicBezTo>
                  <a:cubicBezTo>
                    <a:pt x="914" y="477"/>
                    <a:pt x="914" y="476"/>
                    <a:pt x="915" y="476"/>
                  </a:cubicBezTo>
                  <a:cubicBezTo>
                    <a:pt x="920" y="470"/>
                    <a:pt x="925" y="465"/>
                    <a:pt x="931" y="460"/>
                  </a:cubicBezTo>
                  <a:moveTo>
                    <a:pt x="1664" y="470"/>
                  </a:moveTo>
                  <a:cubicBezTo>
                    <a:pt x="1658" y="476"/>
                    <a:pt x="1653" y="481"/>
                    <a:pt x="1648" y="487"/>
                  </a:cubicBezTo>
                  <a:cubicBezTo>
                    <a:pt x="1647" y="488"/>
                    <a:pt x="1647" y="489"/>
                    <a:pt x="1646" y="490"/>
                  </a:cubicBezTo>
                  <a:cubicBezTo>
                    <a:pt x="1651" y="485"/>
                    <a:pt x="1657" y="479"/>
                    <a:pt x="1662" y="473"/>
                  </a:cubicBezTo>
                  <a:cubicBezTo>
                    <a:pt x="1662" y="472"/>
                    <a:pt x="1663" y="471"/>
                    <a:pt x="1664" y="470"/>
                  </a:cubicBezTo>
                  <a:moveTo>
                    <a:pt x="1051" y="470"/>
                  </a:moveTo>
                  <a:cubicBezTo>
                    <a:pt x="1051" y="472"/>
                    <a:pt x="1050" y="475"/>
                    <a:pt x="1050" y="477"/>
                  </a:cubicBezTo>
                  <a:cubicBezTo>
                    <a:pt x="1049" y="478"/>
                    <a:pt x="1049" y="478"/>
                    <a:pt x="1049" y="479"/>
                  </a:cubicBezTo>
                  <a:cubicBezTo>
                    <a:pt x="1048" y="481"/>
                    <a:pt x="1047" y="483"/>
                    <a:pt x="1046" y="485"/>
                  </a:cubicBezTo>
                  <a:cubicBezTo>
                    <a:pt x="1046" y="486"/>
                    <a:pt x="1046" y="486"/>
                    <a:pt x="1046" y="487"/>
                  </a:cubicBezTo>
                  <a:cubicBezTo>
                    <a:pt x="1045" y="488"/>
                    <a:pt x="1045" y="489"/>
                    <a:pt x="1045" y="490"/>
                  </a:cubicBezTo>
                  <a:cubicBezTo>
                    <a:pt x="1044" y="491"/>
                    <a:pt x="1044" y="492"/>
                    <a:pt x="1044" y="493"/>
                  </a:cubicBezTo>
                  <a:cubicBezTo>
                    <a:pt x="1043" y="494"/>
                    <a:pt x="1043" y="496"/>
                    <a:pt x="1042" y="497"/>
                  </a:cubicBezTo>
                  <a:cubicBezTo>
                    <a:pt x="1042" y="497"/>
                    <a:pt x="1042" y="497"/>
                    <a:pt x="1042" y="497"/>
                  </a:cubicBezTo>
                  <a:cubicBezTo>
                    <a:pt x="1042" y="499"/>
                    <a:pt x="1042" y="501"/>
                    <a:pt x="1041" y="502"/>
                  </a:cubicBezTo>
                  <a:cubicBezTo>
                    <a:pt x="1041" y="502"/>
                    <a:pt x="1042" y="502"/>
                    <a:pt x="1042" y="502"/>
                  </a:cubicBezTo>
                  <a:cubicBezTo>
                    <a:pt x="1042" y="502"/>
                    <a:pt x="1042" y="501"/>
                    <a:pt x="1043" y="500"/>
                  </a:cubicBezTo>
                  <a:cubicBezTo>
                    <a:pt x="1043" y="499"/>
                    <a:pt x="1043" y="499"/>
                    <a:pt x="1043" y="498"/>
                  </a:cubicBezTo>
                  <a:cubicBezTo>
                    <a:pt x="1043" y="498"/>
                    <a:pt x="1043" y="497"/>
                    <a:pt x="1043" y="497"/>
                  </a:cubicBezTo>
                  <a:cubicBezTo>
                    <a:pt x="1044" y="494"/>
                    <a:pt x="1045" y="491"/>
                    <a:pt x="1047" y="487"/>
                  </a:cubicBezTo>
                  <a:cubicBezTo>
                    <a:pt x="1047" y="487"/>
                    <a:pt x="1047" y="486"/>
                    <a:pt x="1047" y="486"/>
                  </a:cubicBezTo>
                  <a:cubicBezTo>
                    <a:pt x="1048" y="485"/>
                    <a:pt x="1048" y="485"/>
                    <a:pt x="1048" y="485"/>
                  </a:cubicBezTo>
                  <a:cubicBezTo>
                    <a:pt x="1048" y="484"/>
                    <a:pt x="1049" y="483"/>
                    <a:pt x="1049" y="482"/>
                  </a:cubicBezTo>
                  <a:cubicBezTo>
                    <a:pt x="1049" y="481"/>
                    <a:pt x="1049" y="480"/>
                    <a:pt x="1050" y="479"/>
                  </a:cubicBezTo>
                  <a:cubicBezTo>
                    <a:pt x="1051" y="476"/>
                    <a:pt x="1052" y="473"/>
                    <a:pt x="1052" y="470"/>
                  </a:cubicBezTo>
                  <a:cubicBezTo>
                    <a:pt x="1052" y="470"/>
                    <a:pt x="1052" y="470"/>
                    <a:pt x="1051" y="470"/>
                  </a:cubicBezTo>
                  <a:moveTo>
                    <a:pt x="914" y="478"/>
                  </a:moveTo>
                  <a:cubicBezTo>
                    <a:pt x="913" y="478"/>
                    <a:pt x="913" y="478"/>
                    <a:pt x="912" y="478"/>
                  </a:cubicBezTo>
                  <a:cubicBezTo>
                    <a:pt x="908" y="483"/>
                    <a:pt x="904" y="488"/>
                    <a:pt x="901" y="494"/>
                  </a:cubicBezTo>
                  <a:cubicBezTo>
                    <a:pt x="901" y="494"/>
                    <a:pt x="901" y="494"/>
                    <a:pt x="901" y="494"/>
                  </a:cubicBezTo>
                  <a:cubicBezTo>
                    <a:pt x="900" y="495"/>
                    <a:pt x="899" y="496"/>
                    <a:pt x="899" y="497"/>
                  </a:cubicBezTo>
                  <a:cubicBezTo>
                    <a:pt x="898" y="499"/>
                    <a:pt x="898" y="500"/>
                    <a:pt x="897" y="501"/>
                  </a:cubicBezTo>
                  <a:cubicBezTo>
                    <a:pt x="897" y="501"/>
                    <a:pt x="897" y="501"/>
                    <a:pt x="897" y="502"/>
                  </a:cubicBezTo>
                  <a:cubicBezTo>
                    <a:pt x="897" y="502"/>
                    <a:pt x="897" y="502"/>
                    <a:pt x="898" y="502"/>
                  </a:cubicBezTo>
                  <a:cubicBezTo>
                    <a:pt x="898" y="502"/>
                    <a:pt x="898" y="502"/>
                    <a:pt x="898" y="502"/>
                  </a:cubicBezTo>
                  <a:cubicBezTo>
                    <a:pt x="898" y="500"/>
                    <a:pt x="899" y="499"/>
                    <a:pt x="900" y="498"/>
                  </a:cubicBezTo>
                  <a:cubicBezTo>
                    <a:pt x="904" y="491"/>
                    <a:pt x="909" y="484"/>
                    <a:pt x="914" y="478"/>
                  </a:cubicBezTo>
                  <a:moveTo>
                    <a:pt x="1178" y="485"/>
                  </a:moveTo>
                  <a:cubicBezTo>
                    <a:pt x="1177" y="486"/>
                    <a:pt x="1177" y="487"/>
                    <a:pt x="1176" y="489"/>
                  </a:cubicBezTo>
                  <a:cubicBezTo>
                    <a:pt x="1177" y="487"/>
                    <a:pt x="1177" y="486"/>
                    <a:pt x="1178" y="485"/>
                  </a:cubicBezTo>
                  <a:cubicBezTo>
                    <a:pt x="1178" y="485"/>
                    <a:pt x="1178" y="485"/>
                    <a:pt x="1178" y="485"/>
                  </a:cubicBezTo>
                  <a:moveTo>
                    <a:pt x="1175" y="488"/>
                  </a:moveTo>
                  <a:cubicBezTo>
                    <a:pt x="1169" y="499"/>
                    <a:pt x="1163" y="510"/>
                    <a:pt x="1158" y="519"/>
                  </a:cubicBezTo>
                  <a:cubicBezTo>
                    <a:pt x="1157" y="521"/>
                    <a:pt x="1155" y="524"/>
                    <a:pt x="1154" y="526"/>
                  </a:cubicBezTo>
                  <a:cubicBezTo>
                    <a:pt x="1154" y="526"/>
                    <a:pt x="1154" y="526"/>
                    <a:pt x="1154" y="526"/>
                  </a:cubicBezTo>
                  <a:cubicBezTo>
                    <a:pt x="1156" y="525"/>
                    <a:pt x="1157" y="523"/>
                    <a:pt x="1158" y="521"/>
                  </a:cubicBezTo>
                  <a:cubicBezTo>
                    <a:pt x="1159" y="519"/>
                    <a:pt x="1160" y="517"/>
                    <a:pt x="1161" y="515"/>
                  </a:cubicBezTo>
                  <a:cubicBezTo>
                    <a:pt x="1166" y="506"/>
                    <a:pt x="1170" y="497"/>
                    <a:pt x="1175" y="488"/>
                  </a:cubicBezTo>
                  <a:moveTo>
                    <a:pt x="1645" y="490"/>
                  </a:moveTo>
                  <a:cubicBezTo>
                    <a:pt x="1640" y="496"/>
                    <a:pt x="1634" y="502"/>
                    <a:pt x="1628" y="508"/>
                  </a:cubicBezTo>
                  <a:cubicBezTo>
                    <a:pt x="1628" y="509"/>
                    <a:pt x="1627" y="510"/>
                    <a:pt x="1627" y="511"/>
                  </a:cubicBezTo>
                  <a:cubicBezTo>
                    <a:pt x="1632" y="505"/>
                    <a:pt x="1638" y="499"/>
                    <a:pt x="1644" y="493"/>
                  </a:cubicBezTo>
                  <a:cubicBezTo>
                    <a:pt x="1644" y="492"/>
                    <a:pt x="1645" y="491"/>
                    <a:pt x="1645" y="490"/>
                  </a:cubicBezTo>
                  <a:moveTo>
                    <a:pt x="897" y="503"/>
                  </a:moveTo>
                  <a:cubicBezTo>
                    <a:pt x="897" y="503"/>
                    <a:pt x="896" y="503"/>
                    <a:pt x="896" y="503"/>
                  </a:cubicBezTo>
                  <a:cubicBezTo>
                    <a:pt x="896" y="504"/>
                    <a:pt x="895" y="505"/>
                    <a:pt x="895" y="506"/>
                  </a:cubicBezTo>
                  <a:cubicBezTo>
                    <a:pt x="894" y="507"/>
                    <a:pt x="894" y="508"/>
                    <a:pt x="893" y="509"/>
                  </a:cubicBezTo>
                  <a:cubicBezTo>
                    <a:pt x="893" y="510"/>
                    <a:pt x="893" y="510"/>
                    <a:pt x="893" y="511"/>
                  </a:cubicBezTo>
                  <a:cubicBezTo>
                    <a:pt x="892" y="513"/>
                    <a:pt x="891" y="515"/>
                    <a:pt x="890" y="518"/>
                  </a:cubicBezTo>
                  <a:cubicBezTo>
                    <a:pt x="889" y="522"/>
                    <a:pt x="888" y="525"/>
                    <a:pt x="887" y="529"/>
                  </a:cubicBezTo>
                  <a:cubicBezTo>
                    <a:pt x="887" y="530"/>
                    <a:pt x="887" y="530"/>
                    <a:pt x="887" y="531"/>
                  </a:cubicBezTo>
                  <a:cubicBezTo>
                    <a:pt x="887" y="531"/>
                    <a:pt x="887" y="531"/>
                    <a:pt x="887" y="531"/>
                  </a:cubicBezTo>
                  <a:cubicBezTo>
                    <a:pt x="887" y="530"/>
                    <a:pt x="888" y="530"/>
                    <a:pt x="888" y="529"/>
                  </a:cubicBezTo>
                  <a:cubicBezTo>
                    <a:pt x="888" y="529"/>
                    <a:pt x="888" y="529"/>
                    <a:pt x="888" y="528"/>
                  </a:cubicBezTo>
                  <a:cubicBezTo>
                    <a:pt x="888" y="527"/>
                    <a:pt x="889" y="526"/>
                    <a:pt x="889" y="525"/>
                  </a:cubicBezTo>
                  <a:cubicBezTo>
                    <a:pt x="890" y="522"/>
                    <a:pt x="891" y="518"/>
                    <a:pt x="892" y="515"/>
                  </a:cubicBezTo>
                  <a:cubicBezTo>
                    <a:pt x="893" y="513"/>
                    <a:pt x="893" y="511"/>
                    <a:pt x="894" y="510"/>
                  </a:cubicBezTo>
                  <a:cubicBezTo>
                    <a:pt x="895" y="507"/>
                    <a:pt x="896" y="505"/>
                    <a:pt x="897" y="503"/>
                  </a:cubicBezTo>
                  <a:moveTo>
                    <a:pt x="1041" y="503"/>
                  </a:moveTo>
                  <a:cubicBezTo>
                    <a:pt x="1040" y="505"/>
                    <a:pt x="1040" y="508"/>
                    <a:pt x="1039" y="510"/>
                  </a:cubicBezTo>
                  <a:cubicBezTo>
                    <a:pt x="1039" y="510"/>
                    <a:pt x="1039" y="510"/>
                    <a:pt x="1039" y="510"/>
                  </a:cubicBezTo>
                  <a:cubicBezTo>
                    <a:pt x="1039" y="511"/>
                    <a:pt x="1039" y="511"/>
                    <a:pt x="1039" y="511"/>
                  </a:cubicBezTo>
                  <a:cubicBezTo>
                    <a:pt x="1038" y="514"/>
                    <a:pt x="1038" y="516"/>
                    <a:pt x="1037" y="518"/>
                  </a:cubicBezTo>
                  <a:cubicBezTo>
                    <a:pt x="1037" y="519"/>
                    <a:pt x="1037" y="519"/>
                    <a:pt x="1037" y="520"/>
                  </a:cubicBezTo>
                  <a:cubicBezTo>
                    <a:pt x="1037" y="522"/>
                    <a:pt x="1036" y="524"/>
                    <a:pt x="1036" y="526"/>
                  </a:cubicBezTo>
                  <a:cubicBezTo>
                    <a:pt x="1036" y="526"/>
                    <a:pt x="1036" y="527"/>
                    <a:pt x="1036" y="527"/>
                  </a:cubicBezTo>
                  <a:cubicBezTo>
                    <a:pt x="1036" y="530"/>
                    <a:pt x="1036" y="534"/>
                    <a:pt x="1036" y="536"/>
                  </a:cubicBezTo>
                  <a:cubicBezTo>
                    <a:pt x="1036" y="538"/>
                    <a:pt x="1036" y="540"/>
                    <a:pt x="1036" y="542"/>
                  </a:cubicBezTo>
                  <a:cubicBezTo>
                    <a:pt x="1036" y="543"/>
                    <a:pt x="1036" y="543"/>
                    <a:pt x="1036" y="544"/>
                  </a:cubicBezTo>
                  <a:cubicBezTo>
                    <a:pt x="1036" y="544"/>
                    <a:pt x="1036" y="545"/>
                    <a:pt x="1036" y="545"/>
                  </a:cubicBezTo>
                  <a:cubicBezTo>
                    <a:pt x="1036" y="545"/>
                    <a:pt x="1037" y="546"/>
                    <a:pt x="1037" y="546"/>
                  </a:cubicBezTo>
                  <a:cubicBezTo>
                    <a:pt x="1037" y="545"/>
                    <a:pt x="1037" y="543"/>
                    <a:pt x="1037" y="542"/>
                  </a:cubicBezTo>
                  <a:cubicBezTo>
                    <a:pt x="1037" y="542"/>
                    <a:pt x="1037" y="541"/>
                    <a:pt x="1037" y="540"/>
                  </a:cubicBezTo>
                  <a:cubicBezTo>
                    <a:pt x="1037" y="539"/>
                    <a:pt x="1037" y="538"/>
                    <a:pt x="1037" y="536"/>
                  </a:cubicBezTo>
                  <a:cubicBezTo>
                    <a:pt x="1037" y="533"/>
                    <a:pt x="1037" y="530"/>
                    <a:pt x="1037" y="527"/>
                  </a:cubicBezTo>
                  <a:cubicBezTo>
                    <a:pt x="1037" y="526"/>
                    <a:pt x="1037" y="526"/>
                    <a:pt x="1037" y="526"/>
                  </a:cubicBezTo>
                  <a:cubicBezTo>
                    <a:pt x="1037" y="523"/>
                    <a:pt x="1038" y="521"/>
                    <a:pt x="1038" y="519"/>
                  </a:cubicBezTo>
                  <a:cubicBezTo>
                    <a:pt x="1038" y="518"/>
                    <a:pt x="1038" y="518"/>
                    <a:pt x="1038" y="517"/>
                  </a:cubicBezTo>
                  <a:cubicBezTo>
                    <a:pt x="1039" y="515"/>
                    <a:pt x="1039" y="513"/>
                    <a:pt x="1040" y="512"/>
                  </a:cubicBezTo>
                  <a:cubicBezTo>
                    <a:pt x="1040" y="511"/>
                    <a:pt x="1040" y="511"/>
                    <a:pt x="1040" y="511"/>
                  </a:cubicBezTo>
                  <a:cubicBezTo>
                    <a:pt x="1040" y="508"/>
                    <a:pt x="1041" y="506"/>
                    <a:pt x="1042" y="503"/>
                  </a:cubicBezTo>
                  <a:cubicBezTo>
                    <a:pt x="1041" y="503"/>
                    <a:pt x="1041" y="503"/>
                    <a:pt x="1041" y="503"/>
                  </a:cubicBezTo>
                  <a:moveTo>
                    <a:pt x="1626" y="511"/>
                  </a:moveTo>
                  <a:cubicBezTo>
                    <a:pt x="1561" y="582"/>
                    <a:pt x="1497" y="657"/>
                    <a:pt x="1430" y="723"/>
                  </a:cubicBezTo>
                  <a:cubicBezTo>
                    <a:pt x="1429" y="723"/>
                    <a:pt x="1429" y="724"/>
                    <a:pt x="1429" y="725"/>
                  </a:cubicBezTo>
                  <a:cubicBezTo>
                    <a:pt x="1496" y="659"/>
                    <a:pt x="1560" y="585"/>
                    <a:pt x="1624" y="514"/>
                  </a:cubicBezTo>
                  <a:cubicBezTo>
                    <a:pt x="1625" y="513"/>
                    <a:pt x="1625" y="512"/>
                    <a:pt x="1626" y="511"/>
                  </a:cubicBezTo>
                  <a:moveTo>
                    <a:pt x="1154" y="527"/>
                  </a:moveTo>
                  <a:cubicBezTo>
                    <a:pt x="1154" y="527"/>
                    <a:pt x="1153" y="528"/>
                    <a:pt x="1153" y="528"/>
                  </a:cubicBezTo>
                  <a:cubicBezTo>
                    <a:pt x="1153" y="528"/>
                    <a:pt x="1154" y="527"/>
                    <a:pt x="1154" y="527"/>
                  </a:cubicBezTo>
                  <a:cubicBezTo>
                    <a:pt x="1154" y="527"/>
                    <a:pt x="1154" y="527"/>
                    <a:pt x="1154" y="527"/>
                  </a:cubicBezTo>
                  <a:moveTo>
                    <a:pt x="1152" y="527"/>
                  </a:moveTo>
                  <a:cubicBezTo>
                    <a:pt x="1149" y="532"/>
                    <a:pt x="1146" y="537"/>
                    <a:pt x="1142" y="541"/>
                  </a:cubicBezTo>
                  <a:cubicBezTo>
                    <a:pt x="1142" y="542"/>
                    <a:pt x="1141" y="543"/>
                    <a:pt x="1141" y="544"/>
                  </a:cubicBezTo>
                  <a:cubicBezTo>
                    <a:pt x="1144" y="541"/>
                    <a:pt x="1147" y="537"/>
                    <a:pt x="1150" y="533"/>
                  </a:cubicBezTo>
                  <a:cubicBezTo>
                    <a:pt x="1151" y="531"/>
                    <a:pt x="1152" y="529"/>
                    <a:pt x="1152" y="527"/>
                  </a:cubicBezTo>
                  <a:moveTo>
                    <a:pt x="887" y="532"/>
                  </a:moveTo>
                  <a:cubicBezTo>
                    <a:pt x="887" y="533"/>
                    <a:pt x="887" y="534"/>
                    <a:pt x="886" y="535"/>
                  </a:cubicBezTo>
                  <a:cubicBezTo>
                    <a:pt x="886" y="536"/>
                    <a:pt x="886" y="537"/>
                    <a:pt x="886" y="538"/>
                  </a:cubicBezTo>
                  <a:cubicBezTo>
                    <a:pt x="886" y="538"/>
                    <a:pt x="886" y="539"/>
                    <a:pt x="886" y="539"/>
                  </a:cubicBezTo>
                  <a:cubicBezTo>
                    <a:pt x="885" y="541"/>
                    <a:pt x="885" y="543"/>
                    <a:pt x="885" y="545"/>
                  </a:cubicBezTo>
                  <a:cubicBezTo>
                    <a:pt x="885" y="544"/>
                    <a:pt x="886" y="544"/>
                    <a:pt x="886" y="543"/>
                  </a:cubicBezTo>
                  <a:cubicBezTo>
                    <a:pt x="886" y="542"/>
                    <a:pt x="886" y="540"/>
                    <a:pt x="887" y="539"/>
                  </a:cubicBezTo>
                  <a:cubicBezTo>
                    <a:pt x="887" y="537"/>
                    <a:pt x="887" y="536"/>
                    <a:pt x="887" y="534"/>
                  </a:cubicBezTo>
                  <a:cubicBezTo>
                    <a:pt x="887" y="533"/>
                    <a:pt x="887" y="533"/>
                    <a:pt x="887" y="532"/>
                  </a:cubicBezTo>
                  <a:moveTo>
                    <a:pt x="1140" y="543"/>
                  </a:moveTo>
                  <a:cubicBezTo>
                    <a:pt x="1137" y="547"/>
                    <a:pt x="1134" y="550"/>
                    <a:pt x="1130" y="554"/>
                  </a:cubicBezTo>
                  <a:cubicBezTo>
                    <a:pt x="1130" y="554"/>
                    <a:pt x="1130" y="555"/>
                    <a:pt x="1129" y="556"/>
                  </a:cubicBezTo>
                  <a:cubicBezTo>
                    <a:pt x="1133" y="553"/>
                    <a:pt x="1136" y="550"/>
                    <a:pt x="1139" y="546"/>
                  </a:cubicBezTo>
                  <a:cubicBezTo>
                    <a:pt x="1139" y="545"/>
                    <a:pt x="1140" y="544"/>
                    <a:pt x="1140" y="543"/>
                  </a:cubicBezTo>
                  <a:moveTo>
                    <a:pt x="886" y="545"/>
                  </a:moveTo>
                  <a:cubicBezTo>
                    <a:pt x="885" y="546"/>
                    <a:pt x="885" y="546"/>
                    <a:pt x="885" y="547"/>
                  </a:cubicBezTo>
                  <a:cubicBezTo>
                    <a:pt x="884" y="549"/>
                    <a:pt x="884" y="551"/>
                    <a:pt x="883" y="553"/>
                  </a:cubicBezTo>
                  <a:cubicBezTo>
                    <a:pt x="883" y="554"/>
                    <a:pt x="883" y="555"/>
                    <a:pt x="883" y="556"/>
                  </a:cubicBezTo>
                  <a:cubicBezTo>
                    <a:pt x="882" y="558"/>
                    <a:pt x="882" y="560"/>
                    <a:pt x="881" y="561"/>
                  </a:cubicBezTo>
                  <a:cubicBezTo>
                    <a:pt x="882" y="561"/>
                    <a:pt x="882" y="560"/>
                    <a:pt x="883" y="560"/>
                  </a:cubicBezTo>
                  <a:cubicBezTo>
                    <a:pt x="883" y="559"/>
                    <a:pt x="883" y="559"/>
                    <a:pt x="883" y="558"/>
                  </a:cubicBezTo>
                  <a:cubicBezTo>
                    <a:pt x="883" y="557"/>
                    <a:pt x="883" y="557"/>
                    <a:pt x="884" y="556"/>
                  </a:cubicBezTo>
                  <a:cubicBezTo>
                    <a:pt x="885" y="552"/>
                    <a:pt x="885" y="549"/>
                    <a:pt x="886" y="545"/>
                  </a:cubicBezTo>
                  <a:moveTo>
                    <a:pt x="1036" y="546"/>
                  </a:moveTo>
                  <a:cubicBezTo>
                    <a:pt x="1037" y="551"/>
                    <a:pt x="1038" y="554"/>
                    <a:pt x="1039" y="558"/>
                  </a:cubicBezTo>
                  <a:cubicBezTo>
                    <a:pt x="1039" y="557"/>
                    <a:pt x="1039" y="556"/>
                    <a:pt x="1039" y="556"/>
                  </a:cubicBezTo>
                  <a:cubicBezTo>
                    <a:pt x="1039" y="553"/>
                    <a:pt x="1038" y="550"/>
                    <a:pt x="1037" y="547"/>
                  </a:cubicBezTo>
                  <a:cubicBezTo>
                    <a:pt x="1037" y="547"/>
                    <a:pt x="1037" y="547"/>
                    <a:pt x="1036" y="546"/>
                  </a:cubicBezTo>
                  <a:moveTo>
                    <a:pt x="1128" y="555"/>
                  </a:moveTo>
                  <a:cubicBezTo>
                    <a:pt x="1125" y="558"/>
                    <a:pt x="1121" y="561"/>
                    <a:pt x="1118" y="563"/>
                  </a:cubicBezTo>
                  <a:cubicBezTo>
                    <a:pt x="1118" y="563"/>
                    <a:pt x="1118" y="563"/>
                    <a:pt x="1118" y="563"/>
                  </a:cubicBezTo>
                  <a:cubicBezTo>
                    <a:pt x="1117" y="564"/>
                    <a:pt x="1117" y="565"/>
                    <a:pt x="1117" y="565"/>
                  </a:cubicBezTo>
                  <a:cubicBezTo>
                    <a:pt x="1121" y="563"/>
                    <a:pt x="1124" y="560"/>
                    <a:pt x="1128" y="557"/>
                  </a:cubicBezTo>
                  <a:cubicBezTo>
                    <a:pt x="1128" y="556"/>
                    <a:pt x="1128" y="556"/>
                    <a:pt x="1128" y="555"/>
                  </a:cubicBezTo>
                  <a:moveTo>
                    <a:pt x="1040" y="558"/>
                  </a:moveTo>
                  <a:cubicBezTo>
                    <a:pt x="1040" y="558"/>
                    <a:pt x="1040" y="559"/>
                    <a:pt x="1040" y="559"/>
                  </a:cubicBezTo>
                  <a:cubicBezTo>
                    <a:pt x="1046" y="574"/>
                    <a:pt x="1058" y="581"/>
                    <a:pt x="1073" y="581"/>
                  </a:cubicBezTo>
                  <a:cubicBezTo>
                    <a:pt x="1074" y="581"/>
                    <a:pt x="1075" y="581"/>
                    <a:pt x="1075" y="581"/>
                  </a:cubicBezTo>
                  <a:cubicBezTo>
                    <a:pt x="1075" y="580"/>
                    <a:pt x="1075" y="580"/>
                    <a:pt x="1076" y="580"/>
                  </a:cubicBezTo>
                  <a:cubicBezTo>
                    <a:pt x="1075" y="580"/>
                    <a:pt x="1074" y="580"/>
                    <a:pt x="1073" y="580"/>
                  </a:cubicBezTo>
                  <a:cubicBezTo>
                    <a:pt x="1058" y="580"/>
                    <a:pt x="1046" y="573"/>
                    <a:pt x="1040" y="558"/>
                  </a:cubicBezTo>
                  <a:moveTo>
                    <a:pt x="881" y="563"/>
                  </a:moveTo>
                  <a:cubicBezTo>
                    <a:pt x="881" y="563"/>
                    <a:pt x="881" y="563"/>
                    <a:pt x="880" y="564"/>
                  </a:cubicBezTo>
                  <a:cubicBezTo>
                    <a:pt x="879" y="569"/>
                    <a:pt x="876" y="575"/>
                    <a:pt x="874" y="581"/>
                  </a:cubicBezTo>
                  <a:cubicBezTo>
                    <a:pt x="874" y="581"/>
                    <a:pt x="873" y="582"/>
                    <a:pt x="873" y="582"/>
                  </a:cubicBezTo>
                  <a:cubicBezTo>
                    <a:pt x="874" y="582"/>
                    <a:pt x="874" y="581"/>
                    <a:pt x="875" y="581"/>
                  </a:cubicBezTo>
                  <a:cubicBezTo>
                    <a:pt x="878" y="575"/>
                    <a:pt x="880" y="569"/>
                    <a:pt x="882" y="563"/>
                  </a:cubicBezTo>
                  <a:cubicBezTo>
                    <a:pt x="882" y="563"/>
                    <a:pt x="881" y="563"/>
                    <a:pt x="881" y="563"/>
                  </a:cubicBezTo>
                  <a:moveTo>
                    <a:pt x="1116" y="564"/>
                  </a:moveTo>
                  <a:cubicBezTo>
                    <a:pt x="1116" y="565"/>
                    <a:pt x="1116" y="565"/>
                    <a:pt x="1115" y="565"/>
                  </a:cubicBezTo>
                  <a:cubicBezTo>
                    <a:pt x="1113" y="566"/>
                    <a:pt x="1111" y="568"/>
                    <a:pt x="1109" y="569"/>
                  </a:cubicBezTo>
                  <a:cubicBezTo>
                    <a:pt x="1109" y="569"/>
                    <a:pt x="1109" y="569"/>
                    <a:pt x="1110" y="570"/>
                  </a:cubicBezTo>
                  <a:cubicBezTo>
                    <a:pt x="1111" y="569"/>
                    <a:pt x="1113" y="568"/>
                    <a:pt x="1114" y="567"/>
                  </a:cubicBezTo>
                  <a:cubicBezTo>
                    <a:pt x="1115" y="567"/>
                    <a:pt x="1115" y="566"/>
                    <a:pt x="1116" y="566"/>
                  </a:cubicBezTo>
                  <a:cubicBezTo>
                    <a:pt x="1116" y="566"/>
                    <a:pt x="1116" y="565"/>
                    <a:pt x="1116" y="564"/>
                  </a:cubicBezTo>
                  <a:moveTo>
                    <a:pt x="1108" y="570"/>
                  </a:moveTo>
                  <a:cubicBezTo>
                    <a:pt x="1107" y="570"/>
                    <a:pt x="1106" y="571"/>
                    <a:pt x="1105" y="571"/>
                  </a:cubicBezTo>
                  <a:cubicBezTo>
                    <a:pt x="1105" y="572"/>
                    <a:pt x="1104" y="572"/>
                    <a:pt x="1104" y="573"/>
                  </a:cubicBezTo>
                  <a:cubicBezTo>
                    <a:pt x="1106" y="572"/>
                    <a:pt x="1107" y="571"/>
                    <a:pt x="1109" y="570"/>
                  </a:cubicBezTo>
                  <a:cubicBezTo>
                    <a:pt x="1108" y="570"/>
                    <a:pt x="1108" y="570"/>
                    <a:pt x="1108" y="570"/>
                  </a:cubicBezTo>
                  <a:moveTo>
                    <a:pt x="1103" y="572"/>
                  </a:moveTo>
                  <a:cubicBezTo>
                    <a:pt x="1099" y="574"/>
                    <a:pt x="1095" y="576"/>
                    <a:pt x="1091" y="577"/>
                  </a:cubicBezTo>
                  <a:cubicBezTo>
                    <a:pt x="1091" y="577"/>
                    <a:pt x="1091" y="578"/>
                    <a:pt x="1091" y="578"/>
                  </a:cubicBezTo>
                  <a:cubicBezTo>
                    <a:pt x="1095" y="577"/>
                    <a:pt x="1099" y="575"/>
                    <a:pt x="1103" y="573"/>
                  </a:cubicBezTo>
                  <a:cubicBezTo>
                    <a:pt x="1103" y="573"/>
                    <a:pt x="1103" y="572"/>
                    <a:pt x="1103" y="572"/>
                  </a:cubicBezTo>
                  <a:moveTo>
                    <a:pt x="1090" y="577"/>
                  </a:moveTo>
                  <a:cubicBezTo>
                    <a:pt x="1085" y="578"/>
                    <a:pt x="1081" y="579"/>
                    <a:pt x="1077" y="579"/>
                  </a:cubicBezTo>
                  <a:cubicBezTo>
                    <a:pt x="1076" y="580"/>
                    <a:pt x="1076" y="580"/>
                    <a:pt x="1076" y="581"/>
                  </a:cubicBezTo>
                  <a:cubicBezTo>
                    <a:pt x="1081" y="580"/>
                    <a:pt x="1085" y="579"/>
                    <a:pt x="1090" y="578"/>
                  </a:cubicBezTo>
                  <a:cubicBezTo>
                    <a:pt x="1090" y="578"/>
                    <a:pt x="1090" y="577"/>
                    <a:pt x="1090" y="577"/>
                  </a:cubicBezTo>
                  <a:moveTo>
                    <a:pt x="874" y="583"/>
                  </a:moveTo>
                  <a:cubicBezTo>
                    <a:pt x="873" y="584"/>
                    <a:pt x="873" y="584"/>
                    <a:pt x="873" y="584"/>
                  </a:cubicBezTo>
                  <a:cubicBezTo>
                    <a:pt x="872" y="585"/>
                    <a:pt x="872" y="586"/>
                    <a:pt x="872" y="587"/>
                  </a:cubicBezTo>
                  <a:cubicBezTo>
                    <a:pt x="872" y="586"/>
                    <a:pt x="873" y="585"/>
                    <a:pt x="874" y="583"/>
                  </a:cubicBezTo>
                  <a:moveTo>
                    <a:pt x="871" y="587"/>
                  </a:moveTo>
                  <a:cubicBezTo>
                    <a:pt x="870" y="589"/>
                    <a:pt x="869" y="591"/>
                    <a:pt x="868" y="593"/>
                  </a:cubicBezTo>
                  <a:cubicBezTo>
                    <a:pt x="868" y="593"/>
                    <a:pt x="868" y="593"/>
                    <a:pt x="868" y="593"/>
                  </a:cubicBezTo>
                  <a:cubicBezTo>
                    <a:pt x="869" y="591"/>
                    <a:pt x="870" y="589"/>
                    <a:pt x="871" y="587"/>
                  </a:cubicBezTo>
                  <a:moveTo>
                    <a:pt x="867" y="594"/>
                  </a:moveTo>
                  <a:cubicBezTo>
                    <a:pt x="867" y="595"/>
                    <a:pt x="866" y="596"/>
                    <a:pt x="866" y="597"/>
                  </a:cubicBezTo>
                  <a:cubicBezTo>
                    <a:pt x="865" y="597"/>
                    <a:pt x="865" y="597"/>
                    <a:pt x="865" y="598"/>
                  </a:cubicBezTo>
                  <a:cubicBezTo>
                    <a:pt x="865" y="599"/>
                    <a:pt x="864" y="600"/>
                    <a:pt x="864" y="601"/>
                  </a:cubicBezTo>
                  <a:cubicBezTo>
                    <a:pt x="864" y="601"/>
                    <a:pt x="864" y="601"/>
                    <a:pt x="864" y="601"/>
                  </a:cubicBezTo>
                  <a:cubicBezTo>
                    <a:pt x="866" y="599"/>
                    <a:pt x="867" y="596"/>
                    <a:pt x="868" y="594"/>
                  </a:cubicBezTo>
                  <a:cubicBezTo>
                    <a:pt x="868" y="594"/>
                    <a:pt x="868" y="594"/>
                    <a:pt x="868" y="594"/>
                  </a:cubicBezTo>
                  <a:cubicBezTo>
                    <a:pt x="868" y="594"/>
                    <a:pt x="867" y="594"/>
                    <a:pt x="867" y="594"/>
                  </a:cubicBezTo>
                  <a:moveTo>
                    <a:pt x="863" y="601"/>
                  </a:moveTo>
                  <a:cubicBezTo>
                    <a:pt x="863" y="601"/>
                    <a:pt x="863" y="601"/>
                    <a:pt x="863" y="602"/>
                  </a:cubicBezTo>
                  <a:cubicBezTo>
                    <a:pt x="861" y="605"/>
                    <a:pt x="858" y="608"/>
                    <a:pt x="856" y="612"/>
                  </a:cubicBezTo>
                  <a:cubicBezTo>
                    <a:pt x="856" y="612"/>
                    <a:pt x="856" y="612"/>
                    <a:pt x="856" y="612"/>
                  </a:cubicBezTo>
                  <a:cubicBezTo>
                    <a:pt x="857" y="611"/>
                    <a:pt x="858" y="610"/>
                    <a:pt x="859" y="609"/>
                  </a:cubicBezTo>
                  <a:cubicBezTo>
                    <a:pt x="860" y="607"/>
                    <a:pt x="861" y="606"/>
                    <a:pt x="862" y="605"/>
                  </a:cubicBezTo>
                  <a:cubicBezTo>
                    <a:pt x="862" y="604"/>
                    <a:pt x="863" y="602"/>
                    <a:pt x="863" y="601"/>
                  </a:cubicBezTo>
                  <a:moveTo>
                    <a:pt x="856" y="614"/>
                  </a:moveTo>
                  <a:cubicBezTo>
                    <a:pt x="856" y="614"/>
                    <a:pt x="855" y="614"/>
                    <a:pt x="855" y="614"/>
                  </a:cubicBezTo>
                  <a:cubicBezTo>
                    <a:pt x="855" y="614"/>
                    <a:pt x="855" y="615"/>
                    <a:pt x="855" y="615"/>
                  </a:cubicBezTo>
                  <a:cubicBezTo>
                    <a:pt x="855" y="614"/>
                    <a:pt x="855" y="614"/>
                    <a:pt x="856" y="614"/>
                  </a:cubicBezTo>
                  <a:moveTo>
                    <a:pt x="854" y="616"/>
                  </a:moveTo>
                  <a:cubicBezTo>
                    <a:pt x="852" y="619"/>
                    <a:pt x="849" y="622"/>
                    <a:pt x="847" y="625"/>
                  </a:cubicBezTo>
                  <a:cubicBezTo>
                    <a:pt x="847" y="625"/>
                    <a:pt x="847" y="625"/>
                    <a:pt x="847" y="626"/>
                  </a:cubicBezTo>
                  <a:cubicBezTo>
                    <a:pt x="849" y="624"/>
                    <a:pt x="850" y="622"/>
                    <a:pt x="852" y="620"/>
                  </a:cubicBezTo>
                  <a:cubicBezTo>
                    <a:pt x="852" y="619"/>
                    <a:pt x="852" y="619"/>
                    <a:pt x="853" y="618"/>
                  </a:cubicBezTo>
                  <a:cubicBezTo>
                    <a:pt x="853" y="618"/>
                    <a:pt x="853" y="617"/>
                    <a:pt x="854" y="617"/>
                  </a:cubicBezTo>
                  <a:cubicBezTo>
                    <a:pt x="854" y="617"/>
                    <a:pt x="854" y="616"/>
                    <a:pt x="854" y="616"/>
                  </a:cubicBezTo>
                  <a:moveTo>
                    <a:pt x="845" y="628"/>
                  </a:moveTo>
                  <a:cubicBezTo>
                    <a:pt x="845" y="628"/>
                    <a:pt x="845" y="629"/>
                    <a:pt x="844" y="630"/>
                  </a:cubicBezTo>
                  <a:cubicBezTo>
                    <a:pt x="844" y="629"/>
                    <a:pt x="845" y="629"/>
                    <a:pt x="845" y="628"/>
                  </a:cubicBezTo>
                  <a:cubicBezTo>
                    <a:pt x="845" y="628"/>
                    <a:pt x="845" y="628"/>
                    <a:pt x="845" y="628"/>
                  </a:cubicBezTo>
                  <a:moveTo>
                    <a:pt x="843" y="629"/>
                  </a:moveTo>
                  <a:cubicBezTo>
                    <a:pt x="840" y="633"/>
                    <a:pt x="837" y="636"/>
                    <a:pt x="834" y="640"/>
                  </a:cubicBezTo>
                  <a:cubicBezTo>
                    <a:pt x="834" y="640"/>
                    <a:pt x="834" y="640"/>
                    <a:pt x="834" y="640"/>
                  </a:cubicBezTo>
                  <a:cubicBezTo>
                    <a:pt x="834" y="641"/>
                    <a:pt x="833" y="641"/>
                    <a:pt x="833" y="642"/>
                  </a:cubicBezTo>
                  <a:cubicBezTo>
                    <a:pt x="833" y="642"/>
                    <a:pt x="833" y="642"/>
                    <a:pt x="832" y="642"/>
                  </a:cubicBezTo>
                  <a:cubicBezTo>
                    <a:pt x="832" y="643"/>
                    <a:pt x="832" y="643"/>
                    <a:pt x="832" y="643"/>
                  </a:cubicBezTo>
                  <a:cubicBezTo>
                    <a:pt x="829" y="646"/>
                    <a:pt x="826" y="649"/>
                    <a:pt x="823" y="652"/>
                  </a:cubicBezTo>
                  <a:cubicBezTo>
                    <a:pt x="823" y="653"/>
                    <a:pt x="823" y="653"/>
                    <a:pt x="823" y="653"/>
                  </a:cubicBezTo>
                  <a:cubicBezTo>
                    <a:pt x="820" y="656"/>
                    <a:pt x="817" y="659"/>
                    <a:pt x="814" y="662"/>
                  </a:cubicBezTo>
                  <a:cubicBezTo>
                    <a:pt x="814" y="662"/>
                    <a:pt x="814" y="662"/>
                    <a:pt x="814" y="662"/>
                  </a:cubicBezTo>
                  <a:cubicBezTo>
                    <a:pt x="812" y="664"/>
                    <a:pt x="810" y="666"/>
                    <a:pt x="808" y="668"/>
                  </a:cubicBezTo>
                  <a:cubicBezTo>
                    <a:pt x="806" y="669"/>
                    <a:pt x="804" y="671"/>
                    <a:pt x="803" y="673"/>
                  </a:cubicBezTo>
                  <a:cubicBezTo>
                    <a:pt x="800" y="676"/>
                    <a:pt x="797" y="678"/>
                    <a:pt x="794" y="681"/>
                  </a:cubicBezTo>
                  <a:cubicBezTo>
                    <a:pt x="794" y="681"/>
                    <a:pt x="793" y="681"/>
                    <a:pt x="793" y="682"/>
                  </a:cubicBezTo>
                  <a:cubicBezTo>
                    <a:pt x="790" y="684"/>
                    <a:pt x="787" y="687"/>
                    <a:pt x="784" y="690"/>
                  </a:cubicBezTo>
                  <a:cubicBezTo>
                    <a:pt x="784" y="690"/>
                    <a:pt x="784" y="690"/>
                    <a:pt x="784" y="691"/>
                  </a:cubicBezTo>
                  <a:cubicBezTo>
                    <a:pt x="787" y="688"/>
                    <a:pt x="790" y="686"/>
                    <a:pt x="793" y="683"/>
                  </a:cubicBezTo>
                  <a:cubicBezTo>
                    <a:pt x="794" y="683"/>
                    <a:pt x="794" y="682"/>
                    <a:pt x="794" y="682"/>
                  </a:cubicBezTo>
                  <a:cubicBezTo>
                    <a:pt x="798" y="679"/>
                    <a:pt x="801" y="676"/>
                    <a:pt x="804" y="673"/>
                  </a:cubicBezTo>
                  <a:cubicBezTo>
                    <a:pt x="805" y="673"/>
                    <a:pt x="805" y="672"/>
                    <a:pt x="805" y="672"/>
                  </a:cubicBezTo>
                  <a:cubicBezTo>
                    <a:pt x="807" y="671"/>
                    <a:pt x="808" y="669"/>
                    <a:pt x="809" y="668"/>
                  </a:cubicBezTo>
                  <a:cubicBezTo>
                    <a:pt x="811" y="666"/>
                    <a:pt x="813" y="664"/>
                    <a:pt x="815" y="662"/>
                  </a:cubicBezTo>
                  <a:cubicBezTo>
                    <a:pt x="818" y="659"/>
                    <a:pt x="821" y="657"/>
                    <a:pt x="823" y="654"/>
                  </a:cubicBezTo>
                  <a:cubicBezTo>
                    <a:pt x="823" y="654"/>
                    <a:pt x="824" y="654"/>
                    <a:pt x="824" y="653"/>
                  </a:cubicBezTo>
                  <a:cubicBezTo>
                    <a:pt x="827" y="650"/>
                    <a:pt x="830" y="647"/>
                    <a:pt x="832" y="644"/>
                  </a:cubicBezTo>
                  <a:cubicBezTo>
                    <a:pt x="832" y="644"/>
                    <a:pt x="833" y="644"/>
                    <a:pt x="833" y="643"/>
                  </a:cubicBezTo>
                  <a:cubicBezTo>
                    <a:pt x="833" y="643"/>
                    <a:pt x="834" y="643"/>
                    <a:pt x="834" y="642"/>
                  </a:cubicBezTo>
                  <a:cubicBezTo>
                    <a:pt x="834" y="642"/>
                    <a:pt x="834" y="642"/>
                    <a:pt x="834" y="642"/>
                  </a:cubicBezTo>
                  <a:cubicBezTo>
                    <a:pt x="834" y="642"/>
                    <a:pt x="835" y="641"/>
                    <a:pt x="835" y="641"/>
                  </a:cubicBezTo>
                  <a:cubicBezTo>
                    <a:pt x="837" y="639"/>
                    <a:pt x="838" y="637"/>
                    <a:pt x="840" y="635"/>
                  </a:cubicBezTo>
                  <a:cubicBezTo>
                    <a:pt x="841" y="633"/>
                    <a:pt x="842" y="631"/>
                    <a:pt x="843" y="629"/>
                  </a:cubicBezTo>
                  <a:moveTo>
                    <a:pt x="783" y="690"/>
                  </a:moveTo>
                  <a:cubicBezTo>
                    <a:pt x="782" y="691"/>
                    <a:pt x="781" y="692"/>
                    <a:pt x="780" y="693"/>
                  </a:cubicBezTo>
                  <a:cubicBezTo>
                    <a:pt x="780" y="693"/>
                    <a:pt x="779" y="693"/>
                    <a:pt x="779" y="694"/>
                  </a:cubicBezTo>
                  <a:cubicBezTo>
                    <a:pt x="778" y="694"/>
                    <a:pt x="777" y="695"/>
                    <a:pt x="776" y="696"/>
                  </a:cubicBezTo>
                  <a:cubicBezTo>
                    <a:pt x="777" y="696"/>
                    <a:pt x="778" y="695"/>
                    <a:pt x="779" y="695"/>
                  </a:cubicBezTo>
                  <a:cubicBezTo>
                    <a:pt x="779" y="695"/>
                    <a:pt x="779" y="695"/>
                    <a:pt x="779" y="695"/>
                  </a:cubicBezTo>
                  <a:cubicBezTo>
                    <a:pt x="780" y="694"/>
                    <a:pt x="780" y="694"/>
                    <a:pt x="780" y="694"/>
                  </a:cubicBezTo>
                  <a:cubicBezTo>
                    <a:pt x="781" y="693"/>
                    <a:pt x="782" y="692"/>
                    <a:pt x="783" y="692"/>
                  </a:cubicBezTo>
                  <a:cubicBezTo>
                    <a:pt x="783" y="691"/>
                    <a:pt x="783" y="691"/>
                    <a:pt x="783" y="690"/>
                  </a:cubicBezTo>
                  <a:moveTo>
                    <a:pt x="777" y="697"/>
                  </a:moveTo>
                  <a:cubicBezTo>
                    <a:pt x="776" y="697"/>
                    <a:pt x="775" y="698"/>
                    <a:pt x="774" y="698"/>
                  </a:cubicBezTo>
                  <a:cubicBezTo>
                    <a:pt x="771" y="700"/>
                    <a:pt x="767" y="703"/>
                    <a:pt x="764" y="705"/>
                  </a:cubicBezTo>
                  <a:cubicBezTo>
                    <a:pt x="764" y="706"/>
                    <a:pt x="764" y="706"/>
                    <a:pt x="764" y="706"/>
                  </a:cubicBezTo>
                  <a:cubicBezTo>
                    <a:pt x="761" y="708"/>
                    <a:pt x="758" y="710"/>
                    <a:pt x="755" y="712"/>
                  </a:cubicBezTo>
                  <a:cubicBezTo>
                    <a:pt x="756" y="712"/>
                    <a:pt x="757" y="712"/>
                    <a:pt x="757" y="712"/>
                  </a:cubicBezTo>
                  <a:cubicBezTo>
                    <a:pt x="760" y="710"/>
                    <a:pt x="762" y="709"/>
                    <a:pt x="764" y="707"/>
                  </a:cubicBezTo>
                  <a:cubicBezTo>
                    <a:pt x="764" y="707"/>
                    <a:pt x="765" y="706"/>
                    <a:pt x="765" y="706"/>
                  </a:cubicBezTo>
                  <a:cubicBezTo>
                    <a:pt x="769" y="703"/>
                    <a:pt x="773" y="700"/>
                    <a:pt x="777" y="697"/>
                  </a:cubicBezTo>
                  <a:moveTo>
                    <a:pt x="756" y="713"/>
                  </a:moveTo>
                  <a:cubicBezTo>
                    <a:pt x="755" y="713"/>
                    <a:pt x="754" y="713"/>
                    <a:pt x="754" y="713"/>
                  </a:cubicBezTo>
                  <a:cubicBezTo>
                    <a:pt x="752" y="715"/>
                    <a:pt x="749" y="716"/>
                    <a:pt x="747" y="718"/>
                  </a:cubicBezTo>
                  <a:cubicBezTo>
                    <a:pt x="747" y="718"/>
                    <a:pt x="747" y="718"/>
                    <a:pt x="747" y="718"/>
                  </a:cubicBezTo>
                  <a:cubicBezTo>
                    <a:pt x="740" y="723"/>
                    <a:pt x="733" y="728"/>
                    <a:pt x="726" y="733"/>
                  </a:cubicBezTo>
                  <a:cubicBezTo>
                    <a:pt x="726" y="733"/>
                    <a:pt x="726" y="733"/>
                    <a:pt x="726" y="734"/>
                  </a:cubicBezTo>
                  <a:cubicBezTo>
                    <a:pt x="733" y="729"/>
                    <a:pt x="740" y="724"/>
                    <a:pt x="747" y="719"/>
                  </a:cubicBezTo>
                  <a:cubicBezTo>
                    <a:pt x="747" y="719"/>
                    <a:pt x="748" y="719"/>
                    <a:pt x="748" y="719"/>
                  </a:cubicBezTo>
                  <a:cubicBezTo>
                    <a:pt x="751" y="717"/>
                    <a:pt x="753" y="715"/>
                    <a:pt x="756" y="713"/>
                  </a:cubicBezTo>
                  <a:moveTo>
                    <a:pt x="1428" y="724"/>
                  </a:moveTo>
                  <a:cubicBezTo>
                    <a:pt x="1408" y="744"/>
                    <a:pt x="1387" y="763"/>
                    <a:pt x="1367" y="781"/>
                  </a:cubicBezTo>
                  <a:cubicBezTo>
                    <a:pt x="1367" y="781"/>
                    <a:pt x="1367" y="782"/>
                    <a:pt x="1367" y="782"/>
                  </a:cubicBezTo>
                  <a:cubicBezTo>
                    <a:pt x="1387" y="765"/>
                    <a:pt x="1407" y="746"/>
                    <a:pt x="1427" y="726"/>
                  </a:cubicBezTo>
                  <a:cubicBezTo>
                    <a:pt x="1428" y="726"/>
                    <a:pt x="1428" y="725"/>
                    <a:pt x="1428" y="724"/>
                  </a:cubicBezTo>
                  <a:moveTo>
                    <a:pt x="725" y="733"/>
                  </a:moveTo>
                  <a:cubicBezTo>
                    <a:pt x="723" y="734"/>
                    <a:pt x="721" y="735"/>
                    <a:pt x="720" y="736"/>
                  </a:cubicBezTo>
                  <a:cubicBezTo>
                    <a:pt x="720" y="736"/>
                    <a:pt x="721" y="737"/>
                    <a:pt x="721" y="737"/>
                  </a:cubicBezTo>
                  <a:cubicBezTo>
                    <a:pt x="722" y="736"/>
                    <a:pt x="724" y="735"/>
                    <a:pt x="725" y="734"/>
                  </a:cubicBezTo>
                  <a:cubicBezTo>
                    <a:pt x="725" y="734"/>
                    <a:pt x="725" y="734"/>
                    <a:pt x="725" y="733"/>
                  </a:cubicBezTo>
                  <a:moveTo>
                    <a:pt x="718" y="737"/>
                  </a:moveTo>
                  <a:cubicBezTo>
                    <a:pt x="718" y="737"/>
                    <a:pt x="718" y="737"/>
                    <a:pt x="718" y="737"/>
                  </a:cubicBezTo>
                  <a:cubicBezTo>
                    <a:pt x="718" y="738"/>
                    <a:pt x="717" y="738"/>
                    <a:pt x="717" y="738"/>
                  </a:cubicBezTo>
                  <a:cubicBezTo>
                    <a:pt x="716" y="739"/>
                    <a:pt x="714" y="740"/>
                    <a:pt x="713" y="741"/>
                  </a:cubicBezTo>
                  <a:cubicBezTo>
                    <a:pt x="712" y="741"/>
                    <a:pt x="711" y="742"/>
                    <a:pt x="711" y="743"/>
                  </a:cubicBezTo>
                  <a:cubicBezTo>
                    <a:pt x="713" y="742"/>
                    <a:pt x="716" y="740"/>
                    <a:pt x="718" y="738"/>
                  </a:cubicBezTo>
                  <a:cubicBezTo>
                    <a:pt x="719" y="738"/>
                    <a:pt x="719" y="738"/>
                    <a:pt x="719" y="738"/>
                  </a:cubicBezTo>
                  <a:cubicBezTo>
                    <a:pt x="719" y="738"/>
                    <a:pt x="720" y="738"/>
                    <a:pt x="720" y="737"/>
                  </a:cubicBezTo>
                  <a:cubicBezTo>
                    <a:pt x="719" y="737"/>
                    <a:pt x="719" y="737"/>
                    <a:pt x="718" y="737"/>
                  </a:cubicBezTo>
                  <a:moveTo>
                    <a:pt x="710" y="742"/>
                  </a:moveTo>
                  <a:cubicBezTo>
                    <a:pt x="707" y="744"/>
                    <a:pt x="705" y="745"/>
                    <a:pt x="702" y="747"/>
                  </a:cubicBezTo>
                  <a:cubicBezTo>
                    <a:pt x="701" y="747"/>
                    <a:pt x="701" y="748"/>
                    <a:pt x="700" y="748"/>
                  </a:cubicBezTo>
                  <a:cubicBezTo>
                    <a:pt x="696" y="751"/>
                    <a:pt x="691" y="753"/>
                    <a:pt x="687" y="755"/>
                  </a:cubicBezTo>
                  <a:cubicBezTo>
                    <a:pt x="687" y="756"/>
                    <a:pt x="686" y="756"/>
                    <a:pt x="686" y="756"/>
                  </a:cubicBezTo>
                  <a:cubicBezTo>
                    <a:pt x="683" y="758"/>
                    <a:pt x="679" y="759"/>
                    <a:pt x="676" y="761"/>
                  </a:cubicBezTo>
                  <a:cubicBezTo>
                    <a:pt x="677" y="761"/>
                    <a:pt x="677" y="761"/>
                    <a:pt x="678" y="761"/>
                  </a:cubicBezTo>
                  <a:cubicBezTo>
                    <a:pt x="681" y="760"/>
                    <a:pt x="683" y="759"/>
                    <a:pt x="686" y="757"/>
                  </a:cubicBezTo>
                  <a:cubicBezTo>
                    <a:pt x="686" y="757"/>
                    <a:pt x="687" y="757"/>
                    <a:pt x="687" y="757"/>
                  </a:cubicBezTo>
                  <a:cubicBezTo>
                    <a:pt x="691" y="754"/>
                    <a:pt x="695" y="752"/>
                    <a:pt x="698" y="750"/>
                  </a:cubicBezTo>
                  <a:cubicBezTo>
                    <a:pt x="699" y="750"/>
                    <a:pt x="700" y="750"/>
                    <a:pt x="700" y="749"/>
                  </a:cubicBezTo>
                  <a:cubicBezTo>
                    <a:pt x="703" y="748"/>
                    <a:pt x="706" y="746"/>
                    <a:pt x="708" y="744"/>
                  </a:cubicBezTo>
                  <a:cubicBezTo>
                    <a:pt x="709" y="744"/>
                    <a:pt x="709" y="744"/>
                    <a:pt x="709" y="744"/>
                  </a:cubicBezTo>
                  <a:cubicBezTo>
                    <a:pt x="709" y="743"/>
                    <a:pt x="710" y="743"/>
                    <a:pt x="710" y="742"/>
                  </a:cubicBezTo>
                  <a:moveTo>
                    <a:pt x="675" y="762"/>
                  </a:moveTo>
                  <a:cubicBezTo>
                    <a:pt x="673" y="763"/>
                    <a:pt x="671" y="764"/>
                    <a:pt x="669" y="765"/>
                  </a:cubicBezTo>
                  <a:cubicBezTo>
                    <a:pt x="669" y="765"/>
                    <a:pt x="669" y="766"/>
                    <a:pt x="669" y="766"/>
                  </a:cubicBezTo>
                  <a:cubicBezTo>
                    <a:pt x="671" y="765"/>
                    <a:pt x="674" y="763"/>
                    <a:pt x="676" y="762"/>
                  </a:cubicBezTo>
                  <a:cubicBezTo>
                    <a:pt x="676" y="762"/>
                    <a:pt x="675" y="762"/>
                    <a:pt x="675" y="762"/>
                  </a:cubicBezTo>
                  <a:moveTo>
                    <a:pt x="668" y="765"/>
                  </a:moveTo>
                  <a:cubicBezTo>
                    <a:pt x="660" y="769"/>
                    <a:pt x="652" y="773"/>
                    <a:pt x="644" y="776"/>
                  </a:cubicBezTo>
                  <a:cubicBezTo>
                    <a:pt x="643" y="777"/>
                    <a:pt x="642" y="778"/>
                    <a:pt x="642" y="778"/>
                  </a:cubicBezTo>
                  <a:cubicBezTo>
                    <a:pt x="651" y="775"/>
                    <a:pt x="659" y="771"/>
                    <a:pt x="668" y="766"/>
                  </a:cubicBezTo>
                  <a:cubicBezTo>
                    <a:pt x="668" y="766"/>
                    <a:pt x="668" y="766"/>
                    <a:pt x="668" y="765"/>
                  </a:cubicBezTo>
                  <a:moveTo>
                    <a:pt x="641" y="778"/>
                  </a:moveTo>
                  <a:cubicBezTo>
                    <a:pt x="634" y="781"/>
                    <a:pt x="627" y="784"/>
                    <a:pt x="620" y="786"/>
                  </a:cubicBezTo>
                  <a:cubicBezTo>
                    <a:pt x="620" y="786"/>
                    <a:pt x="621" y="787"/>
                    <a:pt x="622" y="787"/>
                  </a:cubicBezTo>
                  <a:cubicBezTo>
                    <a:pt x="627" y="784"/>
                    <a:pt x="633" y="782"/>
                    <a:pt x="639" y="780"/>
                  </a:cubicBezTo>
                  <a:cubicBezTo>
                    <a:pt x="640" y="779"/>
                    <a:pt x="640" y="778"/>
                    <a:pt x="641" y="778"/>
                  </a:cubicBezTo>
                  <a:moveTo>
                    <a:pt x="1366" y="782"/>
                  </a:moveTo>
                  <a:cubicBezTo>
                    <a:pt x="1349" y="796"/>
                    <a:pt x="1332" y="810"/>
                    <a:pt x="1314" y="822"/>
                  </a:cubicBezTo>
                  <a:cubicBezTo>
                    <a:pt x="1314" y="823"/>
                    <a:pt x="1314" y="823"/>
                    <a:pt x="1314" y="823"/>
                  </a:cubicBezTo>
                  <a:cubicBezTo>
                    <a:pt x="1332" y="811"/>
                    <a:pt x="1349" y="797"/>
                    <a:pt x="1366" y="783"/>
                  </a:cubicBezTo>
                  <a:cubicBezTo>
                    <a:pt x="1366" y="783"/>
                    <a:pt x="1366" y="783"/>
                    <a:pt x="1366" y="783"/>
                  </a:cubicBezTo>
                  <a:cubicBezTo>
                    <a:pt x="1366" y="782"/>
                    <a:pt x="1366" y="782"/>
                    <a:pt x="1366" y="782"/>
                  </a:cubicBezTo>
                  <a:moveTo>
                    <a:pt x="617" y="787"/>
                  </a:moveTo>
                  <a:cubicBezTo>
                    <a:pt x="616" y="788"/>
                    <a:pt x="614" y="788"/>
                    <a:pt x="612" y="789"/>
                  </a:cubicBezTo>
                  <a:cubicBezTo>
                    <a:pt x="612" y="789"/>
                    <a:pt x="612" y="790"/>
                    <a:pt x="612" y="790"/>
                  </a:cubicBezTo>
                  <a:cubicBezTo>
                    <a:pt x="615" y="789"/>
                    <a:pt x="617" y="788"/>
                    <a:pt x="620" y="787"/>
                  </a:cubicBezTo>
                  <a:cubicBezTo>
                    <a:pt x="619" y="787"/>
                    <a:pt x="618" y="787"/>
                    <a:pt x="617" y="787"/>
                  </a:cubicBezTo>
                  <a:moveTo>
                    <a:pt x="611" y="789"/>
                  </a:moveTo>
                  <a:cubicBezTo>
                    <a:pt x="603" y="792"/>
                    <a:pt x="594" y="795"/>
                    <a:pt x="586" y="798"/>
                  </a:cubicBezTo>
                  <a:cubicBezTo>
                    <a:pt x="585" y="798"/>
                    <a:pt x="584" y="799"/>
                    <a:pt x="584" y="799"/>
                  </a:cubicBezTo>
                  <a:cubicBezTo>
                    <a:pt x="593" y="797"/>
                    <a:pt x="602" y="794"/>
                    <a:pt x="612" y="790"/>
                  </a:cubicBezTo>
                  <a:cubicBezTo>
                    <a:pt x="611" y="790"/>
                    <a:pt x="611" y="790"/>
                    <a:pt x="611" y="789"/>
                  </a:cubicBezTo>
                  <a:moveTo>
                    <a:pt x="583" y="798"/>
                  </a:moveTo>
                  <a:cubicBezTo>
                    <a:pt x="573" y="801"/>
                    <a:pt x="562" y="804"/>
                    <a:pt x="552" y="806"/>
                  </a:cubicBezTo>
                  <a:cubicBezTo>
                    <a:pt x="552" y="806"/>
                    <a:pt x="552" y="807"/>
                    <a:pt x="552" y="807"/>
                  </a:cubicBezTo>
                  <a:cubicBezTo>
                    <a:pt x="562" y="805"/>
                    <a:pt x="571" y="803"/>
                    <a:pt x="581" y="800"/>
                  </a:cubicBezTo>
                  <a:cubicBezTo>
                    <a:pt x="582" y="799"/>
                    <a:pt x="582" y="799"/>
                    <a:pt x="583" y="798"/>
                  </a:cubicBezTo>
                  <a:moveTo>
                    <a:pt x="551" y="806"/>
                  </a:moveTo>
                  <a:cubicBezTo>
                    <a:pt x="548" y="807"/>
                    <a:pt x="545" y="807"/>
                    <a:pt x="542" y="808"/>
                  </a:cubicBezTo>
                  <a:cubicBezTo>
                    <a:pt x="541" y="808"/>
                    <a:pt x="540" y="809"/>
                    <a:pt x="540" y="809"/>
                  </a:cubicBezTo>
                  <a:cubicBezTo>
                    <a:pt x="544" y="809"/>
                    <a:pt x="547" y="808"/>
                    <a:pt x="551" y="807"/>
                  </a:cubicBezTo>
                  <a:cubicBezTo>
                    <a:pt x="551" y="807"/>
                    <a:pt x="551" y="806"/>
                    <a:pt x="551" y="806"/>
                  </a:cubicBezTo>
                  <a:moveTo>
                    <a:pt x="539" y="808"/>
                  </a:moveTo>
                  <a:cubicBezTo>
                    <a:pt x="531" y="810"/>
                    <a:pt x="522" y="811"/>
                    <a:pt x="513" y="811"/>
                  </a:cubicBezTo>
                  <a:cubicBezTo>
                    <a:pt x="513" y="812"/>
                    <a:pt x="512" y="812"/>
                    <a:pt x="511" y="813"/>
                  </a:cubicBezTo>
                  <a:cubicBezTo>
                    <a:pt x="520" y="812"/>
                    <a:pt x="529" y="811"/>
                    <a:pt x="537" y="810"/>
                  </a:cubicBezTo>
                  <a:cubicBezTo>
                    <a:pt x="538" y="809"/>
                    <a:pt x="539" y="809"/>
                    <a:pt x="539" y="808"/>
                  </a:cubicBezTo>
                  <a:moveTo>
                    <a:pt x="511" y="812"/>
                  </a:moveTo>
                  <a:cubicBezTo>
                    <a:pt x="510" y="812"/>
                    <a:pt x="509" y="812"/>
                    <a:pt x="508" y="812"/>
                  </a:cubicBezTo>
                  <a:cubicBezTo>
                    <a:pt x="501" y="812"/>
                    <a:pt x="493" y="813"/>
                    <a:pt x="484" y="813"/>
                  </a:cubicBezTo>
                  <a:cubicBezTo>
                    <a:pt x="484" y="814"/>
                    <a:pt x="484" y="814"/>
                    <a:pt x="485" y="814"/>
                  </a:cubicBezTo>
                  <a:cubicBezTo>
                    <a:pt x="493" y="814"/>
                    <a:pt x="501" y="813"/>
                    <a:pt x="508" y="813"/>
                  </a:cubicBezTo>
                  <a:cubicBezTo>
                    <a:pt x="509" y="813"/>
                    <a:pt x="509" y="813"/>
                    <a:pt x="509" y="813"/>
                  </a:cubicBezTo>
                  <a:cubicBezTo>
                    <a:pt x="509" y="812"/>
                    <a:pt x="510" y="812"/>
                    <a:pt x="511" y="812"/>
                  </a:cubicBezTo>
                  <a:moveTo>
                    <a:pt x="483" y="813"/>
                  </a:moveTo>
                  <a:cubicBezTo>
                    <a:pt x="473" y="814"/>
                    <a:pt x="463" y="815"/>
                    <a:pt x="452" y="815"/>
                  </a:cubicBezTo>
                  <a:cubicBezTo>
                    <a:pt x="451" y="815"/>
                    <a:pt x="451" y="815"/>
                    <a:pt x="451" y="815"/>
                  </a:cubicBezTo>
                  <a:cubicBezTo>
                    <a:pt x="449" y="815"/>
                    <a:pt x="448" y="816"/>
                    <a:pt x="447" y="816"/>
                  </a:cubicBezTo>
                  <a:cubicBezTo>
                    <a:pt x="446" y="816"/>
                    <a:pt x="446" y="816"/>
                    <a:pt x="445" y="816"/>
                  </a:cubicBezTo>
                  <a:cubicBezTo>
                    <a:pt x="445" y="816"/>
                    <a:pt x="445" y="816"/>
                    <a:pt x="445" y="816"/>
                  </a:cubicBezTo>
                  <a:cubicBezTo>
                    <a:pt x="445" y="816"/>
                    <a:pt x="444" y="816"/>
                    <a:pt x="444" y="816"/>
                  </a:cubicBezTo>
                  <a:cubicBezTo>
                    <a:pt x="439" y="816"/>
                    <a:pt x="434" y="816"/>
                    <a:pt x="429" y="817"/>
                  </a:cubicBezTo>
                  <a:cubicBezTo>
                    <a:pt x="429" y="817"/>
                    <a:pt x="428" y="817"/>
                    <a:pt x="428" y="817"/>
                  </a:cubicBezTo>
                  <a:cubicBezTo>
                    <a:pt x="426" y="817"/>
                    <a:pt x="425" y="817"/>
                    <a:pt x="424" y="817"/>
                  </a:cubicBezTo>
                  <a:cubicBezTo>
                    <a:pt x="423" y="817"/>
                    <a:pt x="423" y="817"/>
                    <a:pt x="422" y="817"/>
                  </a:cubicBezTo>
                  <a:cubicBezTo>
                    <a:pt x="418" y="818"/>
                    <a:pt x="415" y="818"/>
                    <a:pt x="411" y="818"/>
                  </a:cubicBezTo>
                  <a:cubicBezTo>
                    <a:pt x="410" y="818"/>
                    <a:pt x="410" y="818"/>
                    <a:pt x="409" y="818"/>
                  </a:cubicBezTo>
                  <a:cubicBezTo>
                    <a:pt x="404" y="819"/>
                    <a:pt x="398" y="819"/>
                    <a:pt x="392" y="820"/>
                  </a:cubicBezTo>
                  <a:cubicBezTo>
                    <a:pt x="391" y="820"/>
                    <a:pt x="391" y="820"/>
                    <a:pt x="390" y="820"/>
                  </a:cubicBezTo>
                  <a:cubicBezTo>
                    <a:pt x="389" y="820"/>
                    <a:pt x="387" y="820"/>
                    <a:pt x="386" y="820"/>
                  </a:cubicBezTo>
                  <a:cubicBezTo>
                    <a:pt x="385" y="820"/>
                    <a:pt x="384" y="820"/>
                    <a:pt x="383" y="820"/>
                  </a:cubicBezTo>
                  <a:cubicBezTo>
                    <a:pt x="381" y="820"/>
                    <a:pt x="380" y="820"/>
                    <a:pt x="378" y="821"/>
                  </a:cubicBezTo>
                  <a:cubicBezTo>
                    <a:pt x="377" y="821"/>
                    <a:pt x="377" y="821"/>
                    <a:pt x="376" y="821"/>
                  </a:cubicBezTo>
                  <a:cubicBezTo>
                    <a:pt x="376" y="821"/>
                    <a:pt x="375" y="821"/>
                    <a:pt x="374" y="821"/>
                  </a:cubicBezTo>
                  <a:cubicBezTo>
                    <a:pt x="374" y="821"/>
                    <a:pt x="373" y="821"/>
                    <a:pt x="373" y="821"/>
                  </a:cubicBezTo>
                  <a:cubicBezTo>
                    <a:pt x="371" y="821"/>
                    <a:pt x="369" y="821"/>
                    <a:pt x="367" y="821"/>
                  </a:cubicBezTo>
                  <a:cubicBezTo>
                    <a:pt x="366" y="821"/>
                    <a:pt x="366" y="822"/>
                    <a:pt x="366" y="822"/>
                  </a:cubicBezTo>
                  <a:cubicBezTo>
                    <a:pt x="362" y="822"/>
                    <a:pt x="359" y="822"/>
                    <a:pt x="356" y="822"/>
                  </a:cubicBezTo>
                  <a:cubicBezTo>
                    <a:pt x="356" y="822"/>
                    <a:pt x="356" y="822"/>
                    <a:pt x="355" y="822"/>
                  </a:cubicBezTo>
                  <a:cubicBezTo>
                    <a:pt x="307" y="827"/>
                    <a:pt x="255" y="832"/>
                    <a:pt x="206" y="839"/>
                  </a:cubicBezTo>
                  <a:cubicBezTo>
                    <a:pt x="201" y="840"/>
                    <a:pt x="196" y="841"/>
                    <a:pt x="191" y="841"/>
                  </a:cubicBezTo>
                  <a:cubicBezTo>
                    <a:pt x="179" y="843"/>
                    <a:pt x="167" y="845"/>
                    <a:pt x="156" y="848"/>
                  </a:cubicBezTo>
                  <a:cubicBezTo>
                    <a:pt x="155" y="848"/>
                    <a:pt x="154" y="848"/>
                    <a:pt x="154" y="848"/>
                  </a:cubicBezTo>
                  <a:cubicBezTo>
                    <a:pt x="151" y="848"/>
                    <a:pt x="149" y="849"/>
                    <a:pt x="146" y="849"/>
                  </a:cubicBezTo>
                  <a:cubicBezTo>
                    <a:pt x="146" y="850"/>
                    <a:pt x="145" y="850"/>
                    <a:pt x="145" y="850"/>
                  </a:cubicBezTo>
                  <a:cubicBezTo>
                    <a:pt x="129" y="853"/>
                    <a:pt x="115" y="856"/>
                    <a:pt x="101" y="860"/>
                  </a:cubicBezTo>
                  <a:cubicBezTo>
                    <a:pt x="101" y="860"/>
                    <a:pt x="100" y="860"/>
                    <a:pt x="100" y="860"/>
                  </a:cubicBezTo>
                  <a:cubicBezTo>
                    <a:pt x="99" y="860"/>
                    <a:pt x="98" y="861"/>
                    <a:pt x="97" y="861"/>
                  </a:cubicBezTo>
                  <a:cubicBezTo>
                    <a:pt x="96" y="861"/>
                    <a:pt x="96" y="861"/>
                    <a:pt x="95" y="861"/>
                  </a:cubicBezTo>
                  <a:cubicBezTo>
                    <a:pt x="89" y="863"/>
                    <a:pt x="84" y="864"/>
                    <a:pt x="78" y="866"/>
                  </a:cubicBezTo>
                  <a:cubicBezTo>
                    <a:pt x="78" y="866"/>
                    <a:pt x="78" y="866"/>
                    <a:pt x="77" y="867"/>
                  </a:cubicBezTo>
                  <a:cubicBezTo>
                    <a:pt x="77" y="867"/>
                    <a:pt x="76" y="867"/>
                    <a:pt x="75" y="867"/>
                  </a:cubicBezTo>
                  <a:cubicBezTo>
                    <a:pt x="75" y="867"/>
                    <a:pt x="74" y="867"/>
                    <a:pt x="74" y="868"/>
                  </a:cubicBezTo>
                  <a:cubicBezTo>
                    <a:pt x="74" y="868"/>
                    <a:pt x="74" y="868"/>
                    <a:pt x="74" y="868"/>
                  </a:cubicBezTo>
                  <a:cubicBezTo>
                    <a:pt x="73" y="868"/>
                    <a:pt x="73" y="868"/>
                    <a:pt x="73" y="868"/>
                  </a:cubicBezTo>
                  <a:cubicBezTo>
                    <a:pt x="72" y="868"/>
                    <a:pt x="71" y="868"/>
                    <a:pt x="71" y="869"/>
                  </a:cubicBezTo>
                  <a:cubicBezTo>
                    <a:pt x="70" y="869"/>
                    <a:pt x="70" y="869"/>
                    <a:pt x="70" y="869"/>
                  </a:cubicBezTo>
                  <a:cubicBezTo>
                    <a:pt x="69" y="869"/>
                    <a:pt x="69" y="869"/>
                    <a:pt x="69" y="869"/>
                  </a:cubicBezTo>
                  <a:cubicBezTo>
                    <a:pt x="68" y="869"/>
                    <a:pt x="68" y="870"/>
                    <a:pt x="68" y="870"/>
                  </a:cubicBezTo>
                  <a:cubicBezTo>
                    <a:pt x="67" y="870"/>
                    <a:pt x="66" y="870"/>
                    <a:pt x="66" y="870"/>
                  </a:cubicBezTo>
                  <a:cubicBezTo>
                    <a:pt x="65" y="871"/>
                    <a:pt x="65" y="871"/>
                    <a:pt x="65" y="871"/>
                  </a:cubicBezTo>
                  <a:cubicBezTo>
                    <a:pt x="62" y="872"/>
                    <a:pt x="60" y="873"/>
                    <a:pt x="57" y="874"/>
                  </a:cubicBezTo>
                  <a:cubicBezTo>
                    <a:pt x="57" y="874"/>
                    <a:pt x="56" y="874"/>
                    <a:pt x="56" y="874"/>
                  </a:cubicBezTo>
                  <a:cubicBezTo>
                    <a:pt x="55" y="874"/>
                    <a:pt x="55" y="874"/>
                    <a:pt x="54" y="875"/>
                  </a:cubicBezTo>
                  <a:cubicBezTo>
                    <a:pt x="54" y="875"/>
                    <a:pt x="54" y="875"/>
                    <a:pt x="53" y="875"/>
                  </a:cubicBezTo>
                  <a:cubicBezTo>
                    <a:pt x="50" y="876"/>
                    <a:pt x="48" y="877"/>
                    <a:pt x="45" y="879"/>
                  </a:cubicBezTo>
                  <a:cubicBezTo>
                    <a:pt x="45" y="879"/>
                    <a:pt x="44" y="879"/>
                    <a:pt x="44" y="879"/>
                  </a:cubicBezTo>
                  <a:cubicBezTo>
                    <a:pt x="43" y="880"/>
                    <a:pt x="43" y="880"/>
                    <a:pt x="42" y="880"/>
                  </a:cubicBezTo>
                  <a:cubicBezTo>
                    <a:pt x="42" y="880"/>
                    <a:pt x="41" y="880"/>
                    <a:pt x="41" y="881"/>
                  </a:cubicBezTo>
                  <a:cubicBezTo>
                    <a:pt x="40" y="881"/>
                    <a:pt x="40" y="881"/>
                    <a:pt x="39" y="882"/>
                  </a:cubicBezTo>
                  <a:cubicBezTo>
                    <a:pt x="38" y="882"/>
                    <a:pt x="37" y="882"/>
                    <a:pt x="37" y="883"/>
                  </a:cubicBezTo>
                  <a:cubicBezTo>
                    <a:pt x="36" y="883"/>
                    <a:pt x="36" y="883"/>
                    <a:pt x="36" y="883"/>
                  </a:cubicBezTo>
                  <a:cubicBezTo>
                    <a:pt x="35" y="884"/>
                    <a:pt x="34" y="884"/>
                    <a:pt x="33" y="884"/>
                  </a:cubicBezTo>
                  <a:cubicBezTo>
                    <a:pt x="31" y="886"/>
                    <a:pt x="29" y="887"/>
                    <a:pt x="27" y="888"/>
                  </a:cubicBezTo>
                  <a:cubicBezTo>
                    <a:pt x="27" y="888"/>
                    <a:pt x="27" y="888"/>
                    <a:pt x="26" y="889"/>
                  </a:cubicBezTo>
                  <a:cubicBezTo>
                    <a:pt x="26" y="889"/>
                    <a:pt x="25" y="889"/>
                    <a:pt x="25" y="890"/>
                  </a:cubicBezTo>
                  <a:cubicBezTo>
                    <a:pt x="24" y="890"/>
                    <a:pt x="24" y="890"/>
                    <a:pt x="24" y="890"/>
                  </a:cubicBezTo>
                  <a:cubicBezTo>
                    <a:pt x="23" y="891"/>
                    <a:pt x="23" y="891"/>
                    <a:pt x="23" y="891"/>
                  </a:cubicBezTo>
                  <a:cubicBezTo>
                    <a:pt x="22" y="891"/>
                    <a:pt x="22" y="891"/>
                    <a:pt x="22" y="892"/>
                  </a:cubicBezTo>
                  <a:cubicBezTo>
                    <a:pt x="21" y="892"/>
                    <a:pt x="20" y="893"/>
                    <a:pt x="19" y="894"/>
                  </a:cubicBezTo>
                  <a:cubicBezTo>
                    <a:pt x="19" y="894"/>
                    <a:pt x="18" y="894"/>
                    <a:pt x="18" y="894"/>
                  </a:cubicBezTo>
                  <a:cubicBezTo>
                    <a:pt x="18" y="895"/>
                    <a:pt x="18" y="895"/>
                    <a:pt x="17" y="895"/>
                  </a:cubicBezTo>
                  <a:cubicBezTo>
                    <a:pt x="17" y="895"/>
                    <a:pt x="17" y="895"/>
                    <a:pt x="17" y="895"/>
                  </a:cubicBezTo>
                  <a:cubicBezTo>
                    <a:pt x="17" y="895"/>
                    <a:pt x="17" y="895"/>
                    <a:pt x="17" y="895"/>
                  </a:cubicBezTo>
                  <a:cubicBezTo>
                    <a:pt x="17" y="896"/>
                    <a:pt x="17" y="896"/>
                    <a:pt x="16" y="896"/>
                  </a:cubicBezTo>
                  <a:cubicBezTo>
                    <a:pt x="15" y="897"/>
                    <a:pt x="13" y="898"/>
                    <a:pt x="12" y="900"/>
                  </a:cubicBezTo>
                  <a:cubicBezTo>
                    <a:pt x="12" y="900"/>
                    <a:pt x="11" y="900"/>
                    <a:pt x="11" y="901"/>
                  </a:cubicBezTo>
                  <a:cubicBezTo>
                    <a:pt x="10" y="901"/>
                    <a:pt x="10" y="902"/>
                    <a:pt x="9" y="902"/>
                  </a:cubicBezTo>
                  <a:cubicBezTo>
                    <a:pt x="9" y="903"/>
                    <a:pt x="9" y="903"/>
                    <a:pt x="9" y="903"/>
                  </a:cubicBezTo>
                  <a:cubicBezTo>
                    <a:pt x="8" y="904"/>
                    <a:pt x="7" y="905"/>
                    <a:pt x="6" y="906"/>
                  </a:cubicBezTo>
                  <a:cubicBezTo>
                    <a:pt x="6" y="906"/>
                    <a:pt x="6" y="907"/>
                    <a:pt x="6" y="907"/>
                  </a:cubicBezTo>
                  <a:cubicBezTo>
                    <a:pt x="6" y="907"/>
                    <a:pt x="6" y="907"/>
                    <a:pt x="6" y="907"/>
                  </a:cubicBezTo>
                  <a:cubicBezTo>
                    <a:pt x="4" y="909"/>
                    <a:pt x="3" y="911"/>
                    <a:pt x="3" y="913"/>
                  </a:cubicBezTo>
                  <a:cubicBezTo>
                    <a:pt x="2" y="914"/>
                    <a:pt x="2" y="914"/>
                    <a:pt x="2" y="914"/>
                  </a:cubicBezTo>
                  <a:cubicBezTo>
                    <a:pt x="1" y="916"/>
                    <a:pt x="1" y="918"/>
                    <a:pt x="1" y="920"/>
                  </a:cubicBezTo>
                  <a:cubicBezTo>
                    <a:pt x="1" y="920"/>
                    <a:pt x="1" y="921"/>
                    <a:pt x="1" y="921"/>
                  </a:cubicBezTo>
                  <a:cubicBezTo>
                    <a:pt x="0" y="922"/>
                    <a:pt x="0" y="923"/>
                    <a:pt x="0" y="924"/>
                  </a:cubicBezTo>
                  <a:cubicBezTo>
                    <a:pt x="0" y="925"/>
                    <a:pt x="0" y="926"/>
                    <a:pt x="1" y="927"/>
                  </a:cubicBezTo>
                  <a:cubicBezTo>
                    <a:pt x="1" y="927"/>
                    <a:pt x="1" y="928"/>
                    <a:pt x="1" y="928"/>
                  </a:cubicBezTo>
                  <a:cubicBezTo>
                    <a:pt x="1" y="930"/>
                    <a:pt x="2" y="933"/>
                    <a:pt x="2" y="935"/>
                  </a:cubicBezTo>
                  <a:cubicBezTo>
                    <a:pt x="3" y="936"/>
                    <a:pt x="3" y="936"/>
                    <a:pt x="3" y="936"/>
                  </a:cubicBezTo>
                  <a:cubicBezTo>
                    <a:pt x="4" y="939"/>
                    <a:pt x="6" y="942"/>
                    <a:pt x="7" y="945"/>
                  </a:cubicBezTo>
                  <a:cubicBezTo>
                    <a:pt x="8" y="945"/>
                    <a:pt x="8" y="945"/>
                    <a:pt x="8" y="946"/>
                  </a:cubicBezTo>
                  <a:cubicBezTo>
                    <a:pt x="8" y="946"/>
                    <a:pt x="8" y="946"/>
                    <a:pt x="8" y="946"/>
                  </a:cubicBezTo>
                  <a:cubicBezTo>
                    <a:pt x="9" y="946"/>
                    <a:pt x="9" y="947"/>
                    <a:pt x="9" y="947"/>
                  </a:cubicBezTo>
                  <a:cubicBezTo>
                    <a:pt x="9" y="947"/>
                    <a:pt x="9" y="946"/>
                    <a:pt x="9" y="946"/>
                  </a:cubicBezTo>
                  <a:cubicBezTo>
                    <a:pt x="9" y="946"/>
                    <a:pt x="9" y="945"/>
                    <a:pt x="9" y="945"/>
                  </a:cubicBezTo>
                  <a:cubicBezTo>
                    <a:pt x="9" y="945"/>
                    <a:pt x="9" y="945"/>
                    <a:pt x="9" y="945"/>
                  </a:cubicBezTo>
                  <a:cubicBezTo>
                    <a:pt x="7" y="942"/>
                    <a:pt x="5" y="939"/>
                    <a:pt x="4" y="937"/>
                  </a:cubicBezTo>
                  <a:cubicBezTo>
                    <a:pt x="4" y="936"/>
                    <a:pt x="4" y="936"/>
                    <a:pt x="4" y="935"/>
                  </a:cubicBezTo>
                  <a:cubicBezTo>
                    <a:pt x="3" y="933"/>
                    <a:pt x="2" y="931"/>
                    <a:pt x="2" y="928"/>
                  </a:cubicBezTo>
                  <a:cubicBezTo>
                    <a:pt x="2" y="928"/>
                    <a:pt x="2" y="928"/>
                    <a:pt x="2" y="927"/>
                  </a:cubicBezTo>
                  <a:cubicBezTo>
                    <a:pt x="1" y="926"/>
                    <a:pt x="1" y="925"/>
                    <a:pt x="1" y="924"/>
                  </a:cubicBezTo>
                  <a:cubicBezTo>
                    <a:pt x="1" y="923"/>
                    <a:pt x="1" y="922"/>
                    <a:pt x="1" y="922"/>
                  </a:cubicBezTo>
                  <a:cubicBezTo>
                    <a:pt x="1" y="921"/>
                    <a:pt x="2" y="921"/>
                    <a:pt x="2" y="921"/>
                  </a:cubicBezTo>
                  <a:cubicBezTo>
                    <a:pt x="2" y="919"/>
                    <a:pt x="2" y="917"/>
                    <a:pt x="3" y="915"/>
                  </a:cubicBezTo>
                  <a:cubicBezTo>
                    <a:pt x="3" y="914"/>
                    <a:pt x="3" y="914"/>
                    <a:pt x="3" y="914"/>
                  </a:cubicBezTo>
                  <a:cubicBezTo>
                    <a:pt x="4" y="912"/>
                    <a:pt x="5" y="910"/>
                    <a:pt x="6" y="908"/>
                  </a:cubicBezTo>
                  <a:cubicBezTo>
                    <a:pt x="6" y="908"/>
                    <a:pt x="7" y="908"/>
                    <a:pt x="7" y="907"/>
                  </a:cubicBezTo>
                  <a:cubicBezTo>
                    <a:pt x="7" y="907"/>
                    <a:pt x="7" y="907"/>
                    <a:pt x="7" y="907"/>
                  </a:cubicBezTo>
                  <a:cubicBezTo>
                    <a:pt x="8" y="906"/>
                    <a:pt x="9" y="905"/>
                    <a:pt x="10" y="904"/>
                  </a:cubicBezTo>
                  <a:cubicBezTo>
                    <a:pt x="10" y="903"/>
                    <a:pt x="10" y="903"/>
                    <a:pt x="10" y="903"/>
                  </a:cubicBezTo>
                  <a:cubicBezTo>
                    <a:pt x="11" y="902"/>
                    <a:pt x="11" y="902"/>
                    <a:pt x="12" y="901"/>
                  </a:cubicBezTo>
                  <a:cubicBezTo>
                    <a:pt x="12" y="901"/>
                    <a:pt x="12" y="901"/>
                    <a:pt x="13" y="900"/>
                  </a:cubicBezTo>
                  <a:cubicBezTo>
                    <a:pt x="14" y="899"/>
                    <a:pt x="16" y="897"/>
                    <a:pt x="17" y="896"/>
                  </a:cubicBezTo>
                  <a:cubicBezTo>
                    <a:pt x="17" y="896"/>
                    <a:pt x="17" y="896"/>
                    <a:pt x="17" y="896"/>
                  </a:cubicBezTo>
                  <a:cubicBezTo>
                    <a:pt x="18" y="896"/>
                    <a:pt x="18" y="896"/>
                    <a:pt x="18" y="895"/>
                  </a:cubicBezTo>
                  <a:cubicBezTo>
                    <a:pt x="18" y="895"/>
                    <a:pt x="18" y="895"/>
                    <a:pt x="18" y="895"/>
                  </a:cubicBezTo>
                  <a:cubicBezTo>
                    <a:pt x="18" y="895"/>
                    <a:pt x="18" y="895"/>
                    <a:pt x="18" y="895"/>
                  </a:cubicBezTo>
                  <a:cubicBezTo>
                    <a:pt x="18" y="895"/>
                    <a:pt x="19" y="895"/>
                    <a:pt x="19" y="895"/>
                  </a:cubicBezTo>
                  <a:cubicBezTo>
                    <a:pt x="19" y="895"/>
                    <a:pt x="19" y="894"/>
                    <a:pt x="20" y="894"/>
                  </a:cubicBezTo>
                  <a:cubicBezTo>
                    <a:pt x="21" y="894"/>
                    <a:pt x="22" y="893"/>
                    <a:pt x="23" y="892"/>
                  </a:cubicBezTo>
                  <a:cubicBezTo>
                    <a:pt x="23" y="892"/>
                    <a:pt x="23" y="892"/>
                    <a:pt x="23" y="891"/>
                  </a:cubicBezTo>
                  <a:cubicBezTo>
                    <a:pt x="24" y="891"/>
                    <a:pt x="24" y="891"/>
                    <a:pt x="25" y="891"/>
                  </a:cubicBezTo>
                  <a:cubicBezTo>
                    <a:pt x="25" y="890"/>
                    <a:pt x="25" y="890"/>
                    <a:pt x="26" y="890"/>
                  </a:cubicBezTo>
                  <a:cubicBezTo>
                    <a:pt x="26" y="890"/>
                    <a:pt x="27" y="889"/>
                    <a:pt x="27" y="889"/>
                  </a:cubicBezTo>
                  <a:cubicBezTo>
                    <a:pt x="27" y="889"/>
                    <a:pt x="28" y="889"/>
                    <a:pt x="28" y="889"/>
                  </a:cubicBezTo>
                  <a:cubicBezTo>
                    <a:pt x="31" y="887"/>
                    <a:pt x="33" y="885"/>
                    <a:pt x="36" y="884"/>
                  </a:cubicBezTo>
                  <a:cubicBezTo>
                    <a:pt x="37" y="884"/>
                    <a:pt x="37" y="883"/>
                    <a:pt x="37" y="883"/>
                  </a:cubicBezTo>
                  <a:cubicBezTo>
                    <a:pt x="38" y="883"/>
                    <a:pt x="38" y="883"/>
                    <a:pt x="38" y="883"/>
                  </a:cubicBezTo>
                  <a:cubicBezTo>
                    <a:pt x="38" y="883"/>
                    <a:pt x="39" y="883"/>
                    <a:pt x="39" y="883"/>
                  </a:cubicBezTo>
                  <a:cubicBezTo>
                    <a:pt x="41" y="882"/>
                    <a:pt x="43" y="881"/>
                    <a:pt x="45" y="880"/>
                  </a:cubicBezTo>
                  <a:cubicBezTo>
                    <a:pt x="45" y="879"/>
                    <a:pt x="46" y="879"/>
                    <a:pt x="46" y="879"/>
                  </a:cubicBezTo>
                  <a:cubicBezTo>
                    <a:pt x="49" y="878"/>
                    <a:pt x="52" y="877"/>
                    <a:pt x="54" y="876"/>
                  </a:cubicBezTo>
                  <a:cubicBezTo>
                    <a:pt x="55" y="876"/>
                    <a:pt x="55" y="875"/>
                    <a:pt x="55" y="875"/>
                  </a:cubicBezTo>
                  <a:cubicBezTo>
                    <a:pt x="56" y="875"/>
                    <a:pt x="56" y="875"/>
                    <a:pt x="57" y="875"/>
                  </a:cubicBezTo>
                  <a:cubicBezTo>
                    <a:pt x="58" y="874"/>
                    <a:pt x="58" y="874"/>
                    <a:pt x="58" y="874"/>
                  </a:cubicBezTo>
                  <a:cubicBezTo>
                    <a:pt x="61" y="873"/>
                    <a:pt x="63" y="872"/>
                    <a:pt x="66" y="871"/>
                  </a:cubicBezTo>
                  <a:cubicBezTo>
                    <a:pt x="66" y="871"/>
                    <a:pt x="66" y="871"/>
                    <a:pt x="67" y="871"/>
                  </a:cubicBezTo>
                  <a:cubicBezTo>
                    <a:pt x="67" y="871"/>
                    <a:pt x="68" y="871"/>
                    <a:pt x="69" y="870"/>
                  </a:cubicBezTo>
                  <a:cubicBezTo>
                    <a:pt x="69" y="870"/>
                    <a:pt x="69" y="870"/>
                    <a:pt x="70" y="870"/>
                  </a:cubicBezTo>
                  <a:cubicBezTo>
                    <a:pt x="70" y="870"/>
                    <a:pt x="70" y="870"/>
                    <a:pt x="71" y="870"/>
                  </a:cubicBezTo>
                  <a:cubicBezTo>
                    <a:pt x="71" y="870"/>
                    <a:pt x="71" y="870"/>
                    <a:pt x="72" y="869"/>
                  </a:cubicBezTo>
                  <a:cubicBezTo>
                    <a:pt x="72" y="869"/>
                    <a:pt x="73" y="869"/>
                    <a:pt x="74" y="869"/>
                  </a:cubicBezTo>
                  <a:cubicBezTo>
                    <a:pt x="74" y="869"/>
                    <a:pt x="74" y="869"/>
                    <a:pt x="75" y="868"/>
                  </a:cubicBezTo>
                  <a:cubicBezTo>
                    <a:pt x="75" y="868"/>
                    <a:pt x="75" y="868"/>
                    <a:pt x="75" y="868"/>
                  </a:cubicBezTo>
                  <a:cubicBezTo>
                    <a:pt x="75" y="868"/>
                    <a:pt x="76" y="868"/>
                    <a:pt x="76" y="868"/>
                  </a:cubicBezTo>
                  <a:cubicBezTo>
                    <a:pt x="77" y="868"/>
                    <a:pt x="77" y="868"/>
                    <a:pt x="78" y="867"/>
                  </a:cubicBezTo>
                  <a:cubicBezTo>
                    <a:pt x="78" y="867"/>
                    <a:pt x="79" y="867"/>
                    <a:pt x="79" y="867"/>
                  </a:cubicBezTo>
                  <a:cubicBezTo>
                    <a:pt x="85" y="865"/>
                    <a:pt x="91" y="864"/>
                    <a:pt x="97" y="862"/>
                  </a:cubicBezTo>
                  <a:cubicBezTo>
                    <a:pt x="97" y="862"/>
                    <a:pt x="98" y="862"/>
                    <a:pt x="98" y="862"/>
                  </a:cubicBezTo>
                  <a:cubicBezTo>
                    <a:pt x="99" y="861"/>
                    <a:pt x="100" y="861"/>
                    <a:pt x="101" y="861"/>
                  </a:cubicBezTo>
                  <a:cubicBezTo>
                    <a:pt x="102" y="861"/>
                    <a:pt x="103" y="860"/>
                    <a:pt x="103" y="860"/>
                  </a:cubicBezTo>
                  <a:cubicBezTo>
                    <a:pt x="117" y="857"/>
                    <a:pt x="131" y="854"/>
                    <a:pt x="146" y="851"/>
                  </a:cubicBezTo>
                  <a:cubicBezTo>
                    <a:pt x="146" y="850"/>
                    <a:pt x="147" y="850"/>
                    <a:pt x="147" y="850"/>
                  </a:cubicBezTo>
                  <a:cubicBezTo>
                    <a:pt x="150" y="850"/>
                    <a:pt x="153" y="849"/>
                    <a:pt x="156" y="849"/>
                  </a:cubicBezTo>
                  <a:cubicBezTo>
                    <a:pt x="156" y="849"/>
                    <a:pt x="157" y="848"/>
                    <a:pt x="157" y="848"/>
                  </a:cubicBezTo>
                  <a:cubicBezTo>
                    <a:pt x="162" y="847"/>
                    <a:pt x="167" y="847"/>
                    <a:pt x="172" y="846"/>
                  </a:cubicBezTo>
                  <a:cubicBezTo>
                    <a:pt x="178" y="845"/>
                    <a:pt x="184" y="844"/>
                    <a:pt x="190" y="843"/>
                  </a:cubicBezTo>
                  <a:cubicBezTo>
                    <a:pt x="243" y="834"/>
                    <a:pt x="302" y="828"/>
                    <a:pt x="355" y="823"/>
                  </a:cubicBezTo>
                  <a:cubicBezTo>
                    <a:pt x="356" y="823"/>
                    <a:pt x="356" y="823"/>
                    <a:pt x="356" y="823"/>
                  </a:cubicBezTo>
                  <a:cubicBezTo>
                    <a:pt x="359" y="823"/>
                    <a:pt x="362" y="823"/>
                    <a:pt x="365" y="823"/>
                  </a:cubicBezTo>
                  <a:cubicBezTo>
                    <a:pt x="366" y="823"/>
                    <a:pt x="366" y="822"/>
                    <a:pt x="366" y="822"/>
                  </a:cubicBezTo>
                  <a:cubicBezTo>
                    <a:pt x="368" y="822"/>
                    <a:pt x="370" y="822"/>
                    <a:pt x="372" y="822"/>
                  </a:cubicBezTo>
                  <a:cubicBezTo>
                    <a:pt x="373" y="822"/>
                    <a:pt x="373" y="822"/>
                    <a:pt x="373" y="822"/>
                  </a:cubicBezTo>
                  <a:cubicBezTo>
                    <a:pt x="374" y="822"/>
                    <a:pt x="375" y="822"/>
                    <a:pt x="375" y="822"/>
                  </a:cubicBezTo>
                  <a:cubicBezTo>
                    <a:pt x="376" y="822"/>
                    <a:pt x="376" y="822"/>
                    <a:pt x="377" y="822"/>
                  </a:cubicBezTo>
                  <a:cubicBezTo>
                    <a:pt x="378" y="821"/>
                    <a:pt x="380" y="821"/>
                    <a:pt x="381" y="821"/>
                  </a:cubicBezTo>
                  <a:cubicBezTo>
                    <a:pt x="382" y="821"/>
                    <a:pt x="383" y="821"/>
                    <a:pt x="384" y="821"/>
                  </a:cubicBezTo>
                  <a:cubicBezTo>
                    <a:pt x="386" y="821"/>
                    <a:pt x="387" y="821"/>
                    <a:pt x="389" y="821"/>
                  </a:cubicBezTo>
                  <a:cubicBezTo>
                    <a:pt x="390" y="821"/>
                    <a:pt x="390" y="821"/>
                    <a:pt x="391" y="821"/>
                  </a:cubicBezTo>
                  <a:cubicBezTo>
                    <a:pt x="397" y="820"/>
                    <a:pt x="403" y="820"/>
                    <a:pt x="409" y="819"/>
                  </a:cubicBezTo>
                  <a:cubicBezTo>
                    <a:pt x="409" y="819"/>
                    <a:pt x="410" y="819"/>
                    <a:pt x="410" y="819"/>
                  </a:cubicBezTo>
                  <a:cubicBezTo>
                    <a:pt x="414" y="819"/>
                    <a:pt x="418" y="819"/>
                    <a:pt x="421" y="818"/>
                  </a:cubicBezTo>
                  <a:cubicBezTo>
                    <a:pt x="422" y="818"/>
                    <a:pt x="422" y="818"/>
                    <a:pt x="423" y="818"/>
                  </a:cubicBezTo>
                  <a:cubicBezTo>
                    <a:pt x="424" y="818"/>
                    <a:pt x="426" y="818"/>
                    <a:pt x="427" y="818"/>
                  </a:cubicBezTo>
                  <a:cubicBezTo>
                    <a:pt x="428" y="818"/>
                    <a:pt x="428" y="818"/>
                    <a:pt x="428" y="818"/>
                  </a:cubicBezTo>
                  <a:cubicBezTo>
                    <a:pt x="433" y="817"/>
                    <a:pt x="438" y="817"/>
                    <a:pt x="443" y="817"/>
                  </a:cubicBezTo>
                  <a:cubicBezTo>
                    <a:pt x="444" y="817"/>
                    <a:pt x="444" y="817"/>
                    <a:pt x="444" y="817"/>
                  </a:cubicBezTo>
                  <a:cubicBezTo>
                    <a:pt x="445" y="817"/>
                    <a:pt x="445" y="817"/>
                    <a:pt x="445" y="817"/>
                  </a:cubicBezTo>
                  <a:cubicBezTo>
                    <a:pt x="445" y="817"/>
                    <a:pt x="446" y="817"/>
                    <a:pt x="446" y="817"/>
                  </a:cubicBezTo>
                  <a:cubicBezTo>
                    <a:pt x="447" y="817"/>
                    <a:pt x="449" y="816"/>
                    <a:pt x="450" y="816"/>
                  </a:cubicBezTo>
                  <a:cubicBezTo>
                    <a:pt x="450" y="816"/>
                    <a:pt x="451" y="816"/>
                    <a:pt x="451" y="816"/>
                  </a:cubicBezTo>
                  <a:cubicBezTo>
                    <a:pt x="463" y="816"/>
                    <a:pt x="474" y="815"/>
                    <a:pt x="483" y="814"/>
                  </a:cubicBezTo>
                  <a:cubicBezTo>
                    <a:pt x="483" y="814"/>
                    <a:pt x="483" y="814"/>
                    <a:pt x="483" y="813"/>
                  </a:cubicBezTo>
                  <a:moveTo>
                    <a:pt x="1313" y="823"/>
                  </a:moveTo>
                  <a:cubicBezTo>
                    <a:pt x="1300" y="832"/>
                    <a:pt x="1287" y="841"/>
                    <a:pt x="1274" y="850"/>
                  </a:cubicBezTo>
                  <a:cubicBezTo>
                    <a:pt x="1271" y="851"/>
                    <a:pt x="1268" y="853"/>
                    <a:pt x="1265" y="855"/>
                  </a:cubicBezTo>
                  <a:cubicBezTo>
                    <a:pt x="1265" y="855"/>
                    <a:pt x="1265" y="856"/>
                    <a:pt x="1265" y="856"/>
                  </a:cubicBezTo>
                  <a:cubicBezTo>
                    <a:pt x="1268" y="854"/>
                    <a:pt x="1271" y="852"/>
                    <a:pt x="1274" y="850"/>
                  </a:cubicBezTo>
                  <a:cubicBezTo>
                    <a:pt x="1288" y="842"/>
                    <a:pt x="1301" y="833"/>
                    <a:pt x="1314" y="824"/>
                  </a:cubicBezTo>
                  <a:cubicBezTo>
                    <a:pt x="1314" y="824"/>
                    <a:pt x="1313" y="823"/>
                    <a:pt x="1313" y="823"/>
                  </a:cubicBezTo>
                  <a:moveTo>
                    <a:pt x="1264" y="856"/>
                  </a:moveTo>
                  <a:cubicBezTo>
                    <a:pt x="1249" y="865"/>
                    <a:pt x="1234" y="875"/>
                    <a:pt x="1219" y="885"/>
                  </a:cubicBezTo>
                  <a:cubicBezTo>
                    <a:pt x="1219" y="885"/>
                    <a:pt x="1220" y="886"/>
                    <a:pt x="1220" y="886"/>
                  </a:cubicBezTo>
                  <a:cubicBezTo>
                    <a:pt x="1235" y="876"/>
                    <a:pt x="1250" y="866"/>
                    <a:pt x="1265" y="857"/>
                  </a:cubicBezTo>
                  <a:cubicBezTo>
                    <a:pt x="1264" y="856"/>
                    <a:pt x="1264" y="856"/>
                    <a:pt x="1264" y="856"/>
                  </a:cubicBezTo>
                  <a:moveTo>
                    <a:pt x="1218" y="886"/>
                  </a:moveTo>
                  <a:cubicBezTo>
                    <a:pt x="1204" y="896"/>
                    <a:pt x="1189" y="906"/>
                    <a:pt x="1175" y="917"/>
                  </a:cubicBezTo>
                  <a:cubicBezTo>
                    <a:pt x="1175" y="918"/>
                    <a:pt x="1175" y="918"/>
                    <a:pt x="1175" y="918"/>
                  </a:cubicBezTo>
                  <a:cubicBezTo>
                    <a:pt x="1189" y="907"/>
                    <a:pt x="1204" y="897"/>
                    <a:pt x="1219" y="887"/>
                  </a:cubicBezTo>
                  <a:cubicBezTo>
                    <a:pt x="1219" y="886"/>
                    <a:pt x="1219" y="886"/>
                    <a:pt x="1218" y="886"/>
                  </a:cubicBezTo>
                  <a:moveTo>
                    <a:pt x="1174" y="918"/>
                  </a:moveTo>
                  <a:cubicBezTo>
                    <a:pt x="1160" y="929"/>
                    <a:pt x="1146" y="940"/>
                    <a:pt x="1133" y="951"/>
                  </a:cubicBezTo>
                  <a:cubicBezTo>
                    <a:pt x="1134" y="951"/>
                    <a:pt x="1134" y="952"/>
                    <a:pt x="1134" y="952"/>
                  </a:cubicBezTo>
                  <a:cubicBezTo>
                    <a:pt x="1146" y="941"/>
                    <a:pt x="1160" y="930"/>
                    <a:pt x="1174" y="919"/>
                  </a:cubicBezTo>
                  <a:cubicBezTo>
                    <a:pt x="1174" y="918"/>
                    <a:pt x="1174" y="918"/>
                    <a:pt x="1174" y="918"/>
                  </a:cubicBezTo>
                  <a:moveTo>
                    <a:pt x="10" y="947"/>
                  </a:moveTo>
                  <a:cubicBezTo>
                    <a:pt x="10" y="947"/>
                    <a:pt x="10" y="948"/>
                    <a:pt x="10" y="948"/>
                  </a:cubicBezTo>
                  <a:cubicBezTo>
                    <a:pt x="13" y="952"/>
                    <a:pt x="17" y="956"/>
                    <a:pt x="21" y="961"/>
                  </a:cubicBezTo>
                  <a:cubicBezTo>
                    <a:pt x="22" y="960"/>
                    <a:pt x="22" y="960"/>
                    <a:pt x="22" y="960"/>
                  </a:cubicBezTo>
                  <a:cubicBezTo>
                    <a:pt x="17" y="955"/>
                    <a:pt x="13" y="951"/>
                    <a:pt x="10" y="947"/>
                  </a:cubicBezTo>
                  <a:moveTo>
                    <a:pt x="1133" y="952"/>
                  </a:moveTo>
                  <a:cubicBezTo>
                    <a:pt x="1120" y="964"/>
                    <a:pt x="1108" y="975"/>
                    <a:pt x="1098" y="987"/>
                  </a:cubicBezTo>
                  <a:cubicBezTo>
                    <a:pt x="1098" y="988"/>
                    <a:pt x="1098" y="988"/>
                    <a:pt x="1098" y="988"/>
                  </a:cubicBezTo>
                  <a:cubicBezTo>
                    <a:pt x="1108" y="976"/>
                    <a:pt x="1120" y="964"/>
                    <a:pt x="1133" y="953"/>
                  </a:cubicBezTo>
                  <a:cubicBezTo>
                    <a:pt x="1133" y="952"/>
                    <a:pt x="1133" y="952"/>
                    <a:pt x="1133" y="952"/>
                  </a:cubicBezTo>
                  <a:moveTo>
                    <a:pt x="23" y="960"/>
                  </a:moveTo>
                  <a:cubicBezTo>
                    <a:pt x="22" y="961"/>
                    <a:pt x="22" y="961"/>
                    <a:pt x="22" y="961"/>
                  </a:cubicBezTo>
                  <a:cubicBezTo>
                    <a:pt x="23" y="962"/>
                    <a:pt x="25" y="964"/>
                    <a:pt x="26" y="965"/>
                  </a:cubicBezTo>
                  <a:cubicBezTo>
                    <a:pt x="27" y="965"/>
                    <a:pt x="27" y="966"/>
                    <a:pt x="28" y="966"/>
                  </a:cubicBezTo>
                  <a:cubicBezTo>
                    <a:pt x="29" y="967"/>
                    <a:pt x="30" y="968"/>
                    <a:pt x="32" y="969"/>
                  </a:cubicBezTo>
                  <a:cubicBezTo>
                    <a:pt x="32" y="970"/>
                    <a:pt x="33" y="970"/>
                    <a:pt x="34" y="971"/>
                  </a:cubicBezTo>
                  <a:cubicBezTo>
                    <a:pt x="35" y="972"/>
                    <a:pt x="35" y="972"/>
                    <a:pt x="36" y="973"/>
                  </a:cubicBezTo>
                  <a:cubicBezTo>
                    <a:pt x="37" y="973"/>
                    <a:pt x="37" y="972"/>
                    <a:pt x="37" y="972"/>
                  </a:cubicBezTo>
                  <a:cubicBezTo>
                    <a:pt x="37" y="972"/>
                    <a:pt x="37" y="972"/>
                    <a:pt x="36" y="972"/>
                  </a:cubicBezTo>
                  <a:cubicBezTo>
                    <a:pt x="36" y="971"/>
                    <a:pt x="35" y="971"/>
                    <a:pt x="34" y="970"/>
                  </a:cubicBezTo>
                  <a:cubicBezTo>
                    <a:pt x="33" y="969"/>
                    <a:pt x="31" y="968"/>
                    <a:pt x="30" y="967"/>
                  </a:cubicBezTo>
                  <a:cubicBezTo>
                    <a:pt x="29" y="966"/>
                    <a:pt x="29" y="966"/>
                    <a:pt x="28" y="965"/>
                  </a:cubicBezTo>
                  <a:cubicBezTo>
                    <a:pt x="26" y="964"/>
                    <a:pt x="24" y="962"/>
                    <a:pt x="23" y="960"/>
                  </a:cubicBezTo>
                  <a:moveTo>
                    <a:pt x="38" y="973"/>
                  </a:moveTo>
                  <a:cubicBezTo>
                    <a:pt x="38" y="973"/>
                    <a:pt x="37" y="973"/>
                    <a:pt x="37" y="973"/>
                  </a:cubicBezTo>
                  <a:cubicBezTo>
                    <a:pt x="37" y="974"/>
                    <a:pt x="38" y="974"/>
                    <a:pt x="38" y="974"/>
                  </a:cubicBezTo>
                  <a:cubicBezTo>
                    <a:pt x="38" y="974"/>
                    <a:pt x="39" y="975"/>
                    <a:pt x="39" y="975"/>
                  </a:cubicBezTo>
                  <a:cubicBezTo>
                    <a:pt x="42" y="977"/>
                    <a:pt x="46" y="979"/>
                    <a:pt x="49" y="982"/>
                  </a:cubicBezTo>
                  <a:cubicBezTo>
                    <a:pt x="49" y="981"/>
                    <a:pt x="50" y="981"/>
                    <a:pt x="50" y="981"/>
                  </a:cubicBezTo>
                  <a:cubicBezTo>
                    <a:pt x="47" y="979"/>
                    <a:pt x="43" y="976"/>
                    <a:pt x="40" y="974"/>
                  </a:cubicBezTo>
                  <a:cubicBezTo>
                    <a:pt x="40" y="974"/>
                    <a:pt x="39" y="974"/>
                    <a:pt x="39" y="974"/>
                  </a:cubicBezTo>
                  <a:cubicBezTo>
                    <a:pt x="39" y="973"/>
                    <a:pt x="38" y="973"/>
                    <a:pt x="38" y="973"/>
                  </a:cubicBezTo>
                  <a:moveTo>
                    <a:pt x="51" y="982"/>
                  </a:moveTo>
                  <a:cubicBezTo>
                    <a:pt x="51" y="982"/>
                    <a:pt x="50" y="982"/>
                    <a:pt x="50" y="982"/>
                  </a:cubicBezTo>
                  <a:cubicBezTo>
                    <a:pt x="51" y="983"/>
                    <a:pt x="52" y="983"/>
                    <a:pt x="53" y="984"/>
                  </a:cubicBezTo>
                  <a:cubicBezTo>
                    <a:pt x="53" y="984"/>
                    <a:pt x="53" y="984"/>
                    <a:pt x="54" y="983"/>
                  </a:cubicBezTo>
                  <a:cubicBezTo>
                    <a:pt x="53" y="983"/>
                    <a:pt x="52" y="982"/>
                    <a:pt x="51" y="982"/>
                  </a:cubicBezTo>
                  <a:moveTo>
                    <a:pt x="55" y="984"/>
                  </a:moveTo>
                  <a:cubicBezTo>
                    <a:pt x="54" y="984"/>
                    <a:pt x="54" y="984"/>
                    <a:pt x="54" y="984"/>
                  </a:cubicBezTo>
                  <a:cubicBezTo>
                    <a:pt x="54" y="985"/>
                    <a:pt x="55" y="985"/>
                    <a:pt x="55" y="985"/>
                  </a:cubicBezTo>
                  <a:cubicBezTo>
                    <a:pt x="56" y="986"/>
                    <a:pt x="56" y="986"/>
                    <a:pt x="57" y="987"/>
                  </a:cubicBezTo>
                  <a:cubicBezTo>
                    <a:pt x="58" y="987"/>
                    <a:pt x="59" y="988"/>
                    <a:pt x="60" y="989"/>
                  </a:cubicBezTo>
                  <a:cubicBezTo>
                    <a:pt x="61" y="988"/>
                    <a:pt x="61" y="988"/>
                    <a:pt x="62" y="988"/>
                  </a:cubicBezTo>
                  <a:cubicBezTo>
                    <a:pt x="61" y="988"/>
                    <a:pt x="60" y="987"/>
                    <a:pt x="59" y="987"/>
                  </a:cubicBezTo>
                  <a:cubicBezTo>
                    <a:pt x="59" y="986"/>
                    <a:pt x="58" y="986"/>
                    <a:pt x="58" y="986"/>
                  </a:cubicBezTo>
                  <a:cubicBezTo>
                    <a:pt x="57" y="985"/>
                    <a:pt x="56" y="984"/>
                    <a:pt x="55" y="984"/>
                  </a:cubicBezTo>
                  <a:moveTo>
                    <a:pt x="1097" y="988"/>
                  </a:moveTo>
                  <a:cubicBezTo>
                    <a:pt x="1085" y="1002"/>
                    <a:pt x="1076" y="1016"/>
                    <a:pt x="1069" y="1029"/>
                  </a:cubicBezTo>
                  <a:cubicBezTo>
                    <a:pt x="1069" y="1030"/>
                    <a:pt x="1069" y="1030"/>
                    <a:pt x="1069" y="1030"/>
                  </a:cubicBezTo>
                  <a:cubicBezTo>
                    <a:pt x="1076" y="1017"/>
                    <a:pt x="1086" y="1003"/>
                    <a:pt x="1098" y="989"/>
                  </a:cubicBezTo>
                  <a:cubicBezTo>
                    <a:pt x="1097" y="989"/>
                    <a:pt x="1097" y="988"/>
                    <a:pt x="1097" y="988"/>
                  </a:cubicBezTo>
                  <a:moveTo>
                    <a:pt x="63" y="989"/>
                  </a:moveTo>
                  <a:cubicBezTo>
                    <a:pt x="62" y="989"/>
                    <a:pt x="62" y="989"/>
                    <a:pt x="61" y="989"/>
                  </a:cubicBezTo>
                  <a:cubicBezTo>
                    <a:pt x="64" y="991"/>
                    <a:pt x="67" y="992"/>
                    <a:pt x="70" y="994"/>
                  </a:cubicBezTo>
                  <a:cubicBezTo>
                    <a:pt x="70" y="994"/>
                    <a:pt x="71" y="994"/>
                    <a:pt x="71" y="993"/>
                  </a:cubicBezTo>
                  <a:cubicBezTo>
                    <a:pt x="68" y="992"/>
                    <a:pt x="65" y="990"/>
                    <a:pt x="63" y="989"/>
                  </a:cubicBezTo>
                  <a:moveTo>
                    <a:pt x="72" y="994"/>
                  </a:moveTo>
                  <a:cubicBezTo>
                    <a:pt x="72" y="994"/>
                    <a:pt x="71" y="994"/>
                    <a:pt x="71" y="995"/>
                  </a:cubicBezTo>
                  <a:cubicBezTo>
                    <a:pt x="71" y="995"/>
                    <a:pt x="71" y="995"/>
                    <a:pt x="71" y="995"/>
                  </a:cubicBezTo>
                  <a:cubicBezTo>
                    <a:pt x="72" y="995"/>
                    <a:pt x="72" y="994"/>
                    <a:pt x="72" y="994"/>
                  </a:cubicBezTo>
                  <a:cubicBezTo>
                    <a:pt x="72" y="994"/>
                    <a:pt x="72" y="994"/>
                    <a:pt x="72" y="994"/>
                  </a:cubicBezTo>
                  <a:moveTo>
                    <a:pt x="73" y="995"/>
                  </a:moveTo>
                  <a:cubicBezTo>
                    <a:pt x="73" y="995"/>
                    <a:pt x="73" y="995"/>
                    <a:pt x="72" y="995"/>
                  </a:cubicBezTo>
                  <a:cubicBezTo>
                    <a:pt x="73" y="995"/>
                    <a:pt x="73" y="996"/>
                    <a:pt x="73" y="996"/>
                  </a:cubicBezTo>
                  <a:cubicBezTo>
                    <a:pt x="74" y="996"/>
                    <a:pt x="74" y="996"/>
                    <a:pt x="75" y="997"/>
                  </a:cubicBezTo>
                  <a:cubicBezTo>
                    <a:pt x="75" y="997"/>
                    <a:pt x="75" y="997"/>
                    <a:pt x="75" y="997"/>
                  </a:cubicBezTo>
                  <a:cubicBezTo>
                    <a:pt x="77" y="998"/>
                    <a:pt x="80" y="1000"/>
                    <a:pt x="83" y="1001"/>
                  </a:cubicBezTo>
                  <a:cubicBezTo>
                    <a:pt x="83" y="1001"/>
                    <a:pt x="84" y="1001"/>
                    <a:pt x="84" y="1000"/>
                  </a:cubicBezTo>
                  <a:cubicBezTo>
                    <a:pt x="82" y="999"/>
                    <a:pt x="79" y="998"/>
                    <a:pt x="77" y="997"/>
                  </a:cubicBezTo>
                  <a:cubicBezTo>
                    <a:pt x="76" y="996"/>
                    <a:pt x="76" y="996"/>
                    <a:pt x="75" y="996"/>
                  </a:cubicBezTo>
                  <a:cubicBezTo>
                    <a:pt x="75" y="996"/>
                    <a:pt x="75" y="996"/>
                    <a:pt x="75" y="995"/>
                  </a:cubicBezTo>
                  <a:cubicBezTo>
                    <a:pt x="74" y="995"/>
                    <a:pt x="74" y="995"/>
                    <a:pt x="73" y="995"/>
                  </a:cubicBezTo>
                  <a:moveTo>
                    <a:pt x="85" y="1001"/>
                  </a:moveTo>
                  <a:cubicBezTo>
                    <a:pt x="85" y="1001"/>
                    <a:pt x="84" y="1001"/>
                    <a:pt x="84" y="1002"/>
                  </a:cubicBezTo>
                  <a:cubicBezTo>
                    <a:pt x="85" y="1002"/>
                    <a:pt x="87" y="1003"/>
                    <a:pt x="88" y="1003"/>
                  </a:cubicBezTo>
                  <a:cubicBezTo>
                    <a:pt x="88" y="1003"/>
                    <a:pt x="89" y="1003"/>
                    <a:pt x="89" y="1003"/>
                  </a:cubicBezTo>
                  <a:cubicBezTo>
                    <a:pt x="88" y="1002"/>
                    <a:pt x="86" y="1002"/>
                    <a:pt x="85" y="1001"/>
                  </a:cubicBezTo>
                  <a:moveTo>
                    <a:pt x="90" y="1003"/>
                  </a:moveTo>
                  <a:cubicBezTo>
                    <a:pt x="90" y="1004"/>
                    <a:pt x="89" y="1004"/>
                    <a:pt x="89" y="1004"/>
                  </a:cubicBezTo>
                  <a:cubicBezTo>
                    <a:pt x="89" y="1004"/>
                    <a:pt x="90" y="1004"/>
                    <a:pt x="90" y="1004"/>
                  </a:cubicBezTo>
                  <a:cubicBezTo>
                    <a:pt x="91" y="1005"/>
                    <a:pt x="91" y="1005"/>
                    <a:pt x="92" y="1006"/>
                  </a:cubicBezTo>
                  <a:cubicBezTo>
                    <a:pt x="93" y="1005"/>
                    <a:pt x="93" y="1005"/>
                    <a:pt x="93" y="1005"/>
                  </a:cubicBezTo>
                  <a:cubicBezTo>
                    <a:pt x="93" y="1005"/>
                    <a:pt x="92" y="1004"/>
                    <a:pt x="91" y="1004"/>
                  </a:cubicBezTo>
                  <a:cubicBezTo>
                    <a:pt x="91" y="1004"/>
                    <a:pt x="90" y="1004"/>
                    <a:pt x="90" y="1003"/>
                  </a:cubicBezTo>
                  <a:cubicBezTo>
                    <a:pt x="90" y="1003"/>
                    <a:pt x="90" y="1003"/>
                    <a:pt x="90" y="1003"/>
                  </a:cubicBezTo>
                  <a:moveTo>
                    <a:pt x="94" y="1006"/>
                  </a:moveTo>
                  <a:cubicBezTo>
                    <a:pt x="94" y="1006"/>
                    <a:pt x="94" y="1006"/>
                    <a:pt x="93" y="1006"/>
                  </a:cubicBezTo>
                  <a:cubicBezTo>
                    <a:pt x="94" y="1007"/>
                    <a:pt x="95" y="1007"/>
                    <a:pt x="96" y="1007"/>
                  </a:cubicBezTo>
                  <a:cubicBezTo>
                    <a:pt x="96" y="1008"/>
                    <a:pt x="97" y="1008"/>
                    <a:pt x="97" y="1008"/>
                  </a:cubicBezTo>
                  <a:cubicBezTo>
                    <a:pt x="97" y="1008"/>
                    <a:pt x="98" y="1008"/>
                    <a:pt x="98" y="1008"/>
                  </a:cubicBezTo>
                  <a:cubicBezTo>
                    <a:pt x="99" y="1009"/>
                    <a:pt x="99" y="1009"/>
                    <a:pt x="100" y="1009"/>
                  </a:cubicBezTo>
                  <a:cubicBezTo>
                    <a:pt x="100" y="1009"/>
                    <a:pt x="101" y="1009"/>
                    <a:pt x="101" y="1009"/>
                  </a:cubicBezTo>
                  <a:cubicBezTo>
                    <a:pt x="101" y="1009"/>
                    <a:pt x="100" y="1008"/>
                    <a:pt x="100" y="1008"/>
                  </a:cubicBezTo>
                  <a:cubicBezTo>
                    <a:pt x="99" y="1008"/>
                    <a:pt x="97" y="1007"/>
                    <a:pt x="96" y="1006"/>
                  </a:cubicBezTo>
                  <a:cubicBezTo>
                    <a:pt x="96" y="1006"/>
                    <a:pt x="95" y="1006"/>
                    <a:pt x="94" y="1006"/>
                  </a:cubicBezTo>
                  <a:moveTo>
                    <a:pt x="102" y="1009"/>
                  </a:moveTo>
                  <a:cubicBezTo>
                    <a:pt x="102" y="1010"/>
                    <a:pt x="102" y="1010"/>
                    <a:pt x="101" y="1010"/>
                  </a:cubicBezTo>
                  <a:cubicBezTo>
                    <a:pt x="102" y="1010"/>
                    <a:pt x="102" y="1010"/>
                    <a:pt x="102" y="1011"/>
                  </a:cubicBezTo>
                  <a:cubicBezTo>
                    <a:pt x="103" y="1011"/>
                    <a:pt x="103" y="1011"/>
                    <a:pt x="104" y="1011"/>
                  </a:cubicBezTo>
                  <a:cubicBezTo>
                    <a:pt x="104" y="1011"/>
                    <a:pt x="105" y="1012"/>
                    <a:pt x="106" y="1012"/>
                  </a:cubicBezTo>
                  <a:cubicBezTo>
                    <a:pt x="106" y="1012"/>
                    <a:pt x="106" y="1012"/>
                    <a:pt x="107" y="1012"/>
                  </a:cubicBezTo>
                  <a:cubicBezTo>
                    <a:pt x="106" y="1011"/>
                    <a:pt x="105" y="1011"/>
                    <a:pt x="105" y="1011"/>
                  </a:cubicBezTo>
                  <a:cubicBezTo>
                    <a:pt x="104" y="1010"/>
                    <a:pt x="104" y="1010"/>
                    <a:pt x="104" y="1010"/>
                  </a:cubicBezTo>
                  <a:cubicBezTo>
                    <a:pt x="103" y="1010"/>
                    <a:pt x="103" y="1010"/>
                    <a:pt x="102" y="1009"/>
                  </a:cubicBezTo>
                  <a:moveTo>
                    <a:pt x="108" y="1012"/>
                  </a:moveTo>
                  <a:cubicBezTo>
                    <a:pt x="108" y="1012"/>
                    <a:pt x="107" y="1012"/>
                    <a:pt x="107" y="1013"/>
                  </a:cubicBezTo>
                  <a:cubicBezTo>
                    <a:pt x="107" y="1013"/>
                    <a:pt x="108" y="1013"/>
                    <a:pt x="108" y="1013"/>
                  </a:cubicBezTo>
                  <a:cubicBezTo>
                    <a:pt x="109" y="1013"/>
                    <a:pt x="109" y="1013"/>
                    <a:pt x="109" y="1013"/>
                  </a:cubicBezTo>
                  <a:cubicBezTo>
                    <a:pt x="109" y="1013"/>
                    <a:pt x="108" y="1012"/>
                    <a:pt x="108" y="1012"/>
                  </a:cubicBezTo>
                  <a:moveTo>
                    <a:pt x="111" y="1013"/>
                  </a:moveTo>
                  <a:cubicBezTo>
                    <a:pt x="110" y="1014"/>
                    <a:pt x="110" y="1014"/>
                    <a:pt x="109" y="1014"/>
                  </a:cubicBezTo>
                  <a:cubicBezTo>
                    <a:pt x="111" y="1015"/>
                    <a:pt x="113" y="1016"/>
                    <a:pt x="115" y="1016"/>
                  </a:cubicBezTo>
                  <a:cubicBezTo>
                    <a:pt x="115" y="1016"/>
                    <a:pt x="116" y="1016"/>
                    <a:pt x="116" y="1016"/>
                  </a:cubicBezTo>
                  <a:cubicBezTo>
                    <a:pt x="114" y="1015"/>
                    <a:pt x="112" y="1014"/>
                    <a:pt x="111" y="1013"/>
                  </a:cubicBezTo>
                  <a:moveTo>
                    <a:pt x="117" y="1016"/>
                  </a:moveTo>
                  <a:cubicBezTo>
                    <a:pt x="117" y="1017"/>
                    <a:pt x="117" y="1017"/>
                    <a:pt x="116" y="1017"/>
                  </a:cubicBezTo>
                  <a:cubicBezTo>
                    <a:pt x="118" y="1018"/>
                    <a:pt x="119" y="1018"/>
                    <a:pt x="121" y="1019"/>
                  </a:cubicBezTo>
                  <a:cubicBezTo>
                    <a:pt x="121" y="1019"/>
                    <a:pt x="121" y="1019"/>
                    <a:pt x="122" y="1018"/>
                  </a:cubicBezTo>
                  <a:cubicBezTo>
                    <a:pt x="120" y="1018"/>
                    <a:pt x="119" y="1017"/>
                    <a:pt x="117" y="1016"/>
                  </a:cubicBezTo>
                  <a:moveTo>
                    <a:pt x="123" y="1019"/>
                  </a:moveTo>
                  <a:cubicBezTo>
                    <a:pt x="123" y="1019"/>
                    <a:pt x="122" y="1019"/>
                    <a:pt x="122" y="1020"/>
                  </a:cubicBezTo>
                  <a:cubicBezTo>
                    <a:pt x="122" y="1020"/>
                    <a:pt x="123" y="1020"/>
                    <a:pt x="124" y="1020"/>
                  </a:cubicBezTo>
                  <a:cubicBezTo>
                    <a:pt x="124" y="1020"/>
                    <a:pt x="124" y="1020"/>
                    <a:pt x="125" y="1020"/>
                  </a:cubicBezTo>
                  <a:cubicBezTo>
                    <a:pt x="124" y="1019"/>
                    <a:pt x="124" y="1019"/>
                    <a:pt x="123" y="1019"/>
                  </a:cubicBezTo>
                  <a:moveTo>
                    <a:pt x="126" y="1020"/>
                  </a:moveTo>
                  <a:cubicBezTo>
                    <a:pt x="125" y="1020"/>
                    <a:pt x="125" y="1021"/>
                    <a:pt x="125" y="1021"/>
                  </a:cubicBezTo>
                  <a:cubicBezTo>
                    <a:pt x="125" y="1021"/>
                    <a:pt x="126" y="1021"/>
                    <a:pt x="126" y="1021"/>
                  </a:cubicBezTo>
                  <a:cubicBezTo>
                    <a:pt x="126" y="1021"/>
                    <a:pt x="127" y="1021"/>
                    <a:pt x="127" y="1021"/>
                  </a:cubicBezTo>
                  <a:cubicBezTo>
                    <a:pt x="127" y="1021"/>
                    <a:pt x="126" y="1020"/>
                    <a:pt x="126" y="1020"/>
                  </a:cubicBezTo>
                  <a:moveTo>
                    <a:pt x="128" y="1021"/>
                  </a:moveTo>
                  <a:cubicBezTo>
                    <a:pt x="128" y="1021"/>
                    <a:pt x="128" y="1022"/>
                    <a:pt x="127" y="1022"/>
                  </a:cubicBezTo>
                  <a:cubicBezTo>
                    <a:pt x="129" y="1023"/>
                    <a:pt x="132" y="1024"/>
                    <a:pt x="134" y="1025"/>
                  </a:cubicBezTo>
                  <a:cubicBezTo>
                    <a:pt x="135" y="1025"/>
                    <a:pt x="136" y="1025"/>
                    <a:pt x="136" y="1026"/>
                  </a:cubicBezTo>
                  <a:cubicBezTo>
                    <a:pt x="137" y="1026"/>
                    <a:pt x="139" y="1027"/>
                    <a:pt x="140" y="1027"/>
                  </a:cubicBezTo>
                  <a:cubicBezTo>
                    <a:pt x="140" y="1028"/>
                    <a:pt x="141" y="1028"/>
                    <a:pt x="141" y="1028"/>
                  </a:cubicBezTo>
                  <a:cubicBezTo>
                    <a:pt x="142" y="1028"/>
                    <a:pt x="144" y="1029"/>
                    <a:pt x="145" y="1029"/>
                  </a:cubicBezTo>
                  <a:cubicBezTo>
                    <a:pt x="148" y="1031"/>
                    <a:pt x="151" y="1032"/>
                    <a:pt x="154" y="1033"/>
                  </a:cubicBezTo>
                  <a:cubicBezTo>
                    <a:pt x="155" y="1034"/>
                    <a:pt x="156" y="1034"/>
                    <a:pt x="157" y="1035"/>
                  </a:cubicBezTo>
                  <a:cubicBezTo>
                    <a:pt x="175" y="1042"/>
                    <a:pt x="195" y="1049"/>
                    <a:pt x="216" y="1057"/>
                  </a:cubicBezTo>
                  <a:cubicBezTo>
                    <a:pt x="217" y="1057"/>
                    <a:pt x="218" y="1058"/>
                    <a:pt x="220" y="1058"/>
                  </a:cubicBezTo>
                  <a:cubicBezTo>
                    <a:pt x="233" y="1063"/>
                    <a:pt x="248" y="1068"/>
                    <a:pt x="263" y="1073"/>
                  </a:cubicBezTo>
                  <a:cubicBezTo>
                    <a:pt x="264" y="1073"/>
                    <a:pt x="264" y="1073"/>
                    <a:pt x="264" y="1074"/>
                  </a:cubicBezTo>
                  <a:cubicBezTo>
                    <a:pt x="265" y="1074"/>
                    <a:pt x="265" y="1074"/>
                    <a:pt x="266" y="1074"/>
                  </a:cubicBezTo>
                  <a:cubicBezTo>
                    <a:pt x="273" y="1076"/>
                    <a:pt x="280" y="1079"/>
                    <a:pt x="287" y="1081"/>
                  </a:cubicBezTo>
                  <a:cubicBezTo>
                    <a:pt x="287" y="1081"/>
                    <a:pt x="288" y="1081"/>
                    <a:pt x="288" y="1081"/>
                  </a:cubicBezTo>
                  <a:cubicBezTo>
                    <a:pt x="299" y="1085"/>
                    <a:pt x="311" y="1089"/>
                    <a:pt x="323" y="1092"/>
                  </a:cubicBezTo>
                  <a:cubicBezTo>
                    <a:pt x="323" y="1092"/>
                    <a:pt x="323" y="1093"/>
                    <a:pt x="324" y="1093"/>
                  </a:cubicBezTo>
                  <a:cubicBezTo>
                    <a:pt x="333" y="1096"/>
                    <a:pt x="343" y="1099"/>
                    <a:pt x="353" y="1102"/>
                  </a:cubicBezTo>
                  <a:cubicBezTo>
                    <a:pt x="357" y="1103"/>
                    <a:pt x="361" y="1104"/>
                    <a:pt x="366" y="1105"/>
                  </a:cubicBezTo>
                  <a:cubicBezTo>
                    <a:pt x="366" y="1105"/>
                    <a:pt x="366" y="1106"/>
                    <a:pt x="367" y="1106"/>
                  </a:cubicBezTo>
                  <a:cubicBezTo>
                    <a:pt x="372" y="1107"/>
                    <a:pt x="378" y="1109"/>
                    <a:pt x="384" y="1110"/>
                  </a:cubicBezTo>
                  <a:cubicBezTo>
                    <a:pt x="385" y="1110"/>
                    <a:pt x="385" y="1110"/>
                    <a:pt x="386" y="1109"/>
                  </a:cubicBezTo>
                  <a:cubicBezTo>
                    <a:pt x="380" y="1108"/>
                    <a:pt x="373" y="1106"/>
                    <a:pt x="367" y="1105"/>
                  </a:cubicBezTo>
                  <a:cubicBezTo>
                    <a:pt x="367" y="1105"/>
                    <a:pt x="367" y="1105"/>
                    <a:pt x="366" y="1104"/>
                  </a:cubicBezTo>
                  <a:cubicBezTo>
                    <a:pt x="362" y="1103"/>
                    <a:pt x="357" y="1102"/>
                    <a:pt x="353" y="1101"/>
                  </a:cubicBezTo>
                  <a:cubicBezTo>
                    <a:pt x="343" y="1098"/>
                    <a:pt x="334" y="1095"/>
                    <a:pt x="324" y="1092"/>
                  </a:cubicBezTo>
                  <a:cubicBezTo>
                    <a:pt x="324" y="1092"/>
                    <a:pt x="324" y="1092"/>
                    <a:pt x="323" y="1092"/>
                  </a:cubicBezTo>
                  <a:cubicBezTo>
                    <a:pt x="311" y="1088"/>
                    <a:pt x="300" y="1084"/>
                    <a:pt x="289" y="1081"/>
                  </a:cubicBezTo>
                  <a:cubicBezTo>
                    <a:pt x="288" y="1080"/>
                    <a:pt x="288" y="1080"/>
                    <a:pt x="288" y="1080"/>
                  </a:cubicBezTo>
                  <a:cubicBezTo>
                    <a:pt x="281" y="1078"/>
                    <a:pt x="274" y="1076"/>
                    <a:pt x="267" y="1073"/>
                  </a:cubicBezTo>
                  <a:cubicBezTo>
                    <a:pt x="267" y="1073"/>
                    <a:pt x="266" y="1073"/>
                    <a:pt x="266" y="1073"/>
                  </a:cubicBezTo>
                  <a:cubicBezTo>
                    <a:pt x="266" y="1073"/>
                    <a:pt x="266" y="1073"/>
                    <a:pt x="265" y="1073"/>
                  </a:cubicBezTo>
                  <a:cubicBezTo>
                    <a:pt x="265" y="1073"/>
                    <a:pt x="265" y="1073"/>
                    <a:pt x="264" y="1072"/>
                  </a:cubicBezTo>
                  <a:cubicBezTo>
                    <a:pt x="250" y="1068"/>
                    <a:pt x="236" y="1063"/>
                    <a:pt x="223" y="1058"/>
                  </a:cubicBezTo>
                  <a:cubicBezTo>
                    <a:pt x="222" y="1058"/>
                    <a:pt x="221" y="1057"/>
                    <a:pt x="220" y="1057"/>
                  </a:cubicBezTo>
                  <a:cubicBezTo>
                    <a:pt x="198" y="1049"/>
                    <a:pt x="179" y="1042"/>
                    <a:pt x="161" y="1035"/>
                  </a:cubicBezTo>
                  <a:cubicBezTo>
                    <a:pt x="160" y="1034"/>
                    <a:pt x="159" y="1034"/>
                    <a:pt x="158" y="1034"/>
                  </a:cubicBezTo>
                  <a:cubicBezTo>
                    <a:pt x="155" y="1032"/>
                    <a:pt x="152" y="1031"/>
                    <a:pt x="149" y="1030"/>
                  </a:cubicBezTo>
                  <a:cubicBezTo>
                    <a:pt x="147" y="1029"/>
                    <a:pt x="146" y="1029"/>
                    <a:pt x="145" y="1028"/>
                  </a:cubicBezTo>
                  <a:cubicBezTo>
                    <a:pt x="145" y="1028"/>
                    <a:pt x="145" y="1028"/>
                    <a:pt x="145" y="1028"/>
                  </a:cubicBezTo>
                  <a:cubicBezTo>
                    <a:pt x="144" y="1028"/>
                    <a:pt x="144" y="1028"/>
                    <a:pt x="144" y="1028"/>
                  </a:cubicBezTo>
                  <a:cubicBezTo>
                    <a:pt x="143" y="1027"/>
                    <a:pt x="141" y="1027"/>
                    <a:pt x="140" y="1026"/>
                  </a:cubicBezTo>
                  <a:cubicBezTo>
                    <a:pt x="139" y="1026"/>
                    <a:pt x="139" y="1026"/>
                    <a:pt x="138" y="1025"/>
                  </a:cubicBezTo>
                  <a:cubicBezTo>
                    <a:pt x="135" y="1024"/>
                    <a:pt x="131" y="1023"/>
                    <a:pt x="128" y="1021"/>
                  </a:cubicBezTo>
                  <a:moveTo>
                    <a:pt x="1068" y="1030"/>
                  </a:moveTo>
                  <a:cubicBezTo>
                    <a:pt x="1062" y="1044"/>
                    <a:pt x="1058" y="1058"/>
                    <a:pt x="1058" y="1071"/>
                  </a:cubicBezTo>
                  <a:cubicBezTo>
                    <a:pt x="1058" y="1077"/>
                    <a:pt x="1059" y="1083"/>
                    <a:pt x="1060" y="1089"/>
                  </a:cubicBezTo>
                  <a:cubicBezTo>
                    <a:pt x="1061" y="1089"/>
                    <a:pt x="1061" y="1090"/>
                    <a:pt x="1062" y="1090"/>
                  </a:cubicBezTo>
                  <a:cubicBezTo>
                    <a:pt x="1060" y="1084"/>
                    <a:pt x="1059" y="1078"/>
                    <a:pt x="1059" y="1071"/>
                  </a:cubicBezTo>
                  <a:cubicBezTo>
                    <a:pt x="1059" y="1058"/>
                    <a:pt x="1063" y="1045"/>
                    <a:pt x="1069" y="1031"/>
                  </a:cubicBezTo>
                  <a:cubicBezTo>
                    <a:pt x="1069" y="1031"/>
                    <a:pt x="1069" y="1031"/>
                    <a:pt x="1068" y="1030"/>
                  </a:cubicBezTo>
                  <a:moveTo>
                    <a:pt x="1061" y="1091"/>
                  </a:moveTo>
                  <a:cubicBezTo>
                    <a:pt x="1063" y="1099"/>
                    <a:pt x="1067" y="1107"/>
                    <a:pt x="1073" y="1115"/>
                  </a:cubicBezTo>
                  <a:cubicBezTo>
                    <a:pt x="1113" y="1167"/>
                    <a:pt x="1136" y="1209"/>
                    <a:pt x="1136" y="1238"/>
                  </a:cubicBezTo>
                  <a:cubicBezTo>
                    <a:pt x="1136" y="1264"/>
                    <a:pt x="1117" y="1279"/>
                    <a:pt x="1074" y="1279"/>
                  </a:cubicBezTo>
                  <a:cubicBezTo>
                    <a:pt x="1050" y="1279"/>
                    <a:pt x="1019" y="1274"/>
                    <a:pt x="980" y="1265"/>
                  </a:cubicBezTo>
                  <a:cubicBezTo>
                    <a:pt x="980" y="1265"/>
                    <a:pt x="981" y="1266"/>
                    <a:pt x="981" y="1266"/>
                  </a:cubicBezTo>
                  <a:cubicBezTo>
                    <a:pt x="1020" y="1275"/>
                    <a:pt x="1050" y="1280"/>
                    <a:pt x="1074" y="1280"/>
                  </a:cubicBezTo>
                  <a:cubicBezTo>
                    <a:pt x="1117" y="1280"/>
                    <a:pt x="1137" y="1265"/>
                    <a:pt x="1137" y="1238"/>
                  </a:cubicBezTo>
                  <a:cubicBezTo>
                    <a:pt x="1137" y="1209"/>
                    <a:pt x="1113" y="1166"/>
                    <a:pt x="1074" y="1114"/>
                  </a:cubicBezTo>
                  <a:cubicBezTo>
                    <a:pt x="1069" y="1107"/>
                    <a:pt x="1065" y="1100"/>
                    <a:pt x="1062" y="1093"/>
                  </a:cubicBezTo>
                  <a:cubicBezTo>
                    <a:pt x="1062" y="1092"/>
                    <a:pt x="1061" y="1091"/>
                    <a:pt x="1061" y="1091"/>
                  </a:cubicBezTo>
                  <a:moveTo>
                    <a:pt x="388" y="1110"/>
                  </a:moveTo>
                  <a:cubicBezTo>
                    <a:pt x="387" y="1110"/>
                    <a:pt x="386" y="1110"/>
                    <a:pt x="386" y="1110"/>
                  </a:cubicBezTo>
                  <a:cubicBezTo>
                    <a:pt x="394" y="1112"/>
                    <a:pt x="402" y="1114"/>
                    <a:pt x="410" y="1116"/>
                  </a:cubicBezTo>
                  <a:cubicBezTo>
                    <a:pt x="411" y="1115"/>
                    <a:pt x="412" y="1115"/>
                    <a:pt x="412" y="1115"/>
                  </a:cubicBezTo>
                  <a:cubicBezTo>
                    <a:pt x="404" y="1113"/>
                    <a:pt x="396" y="1112"/>
                    <a:pt x="388" y="1110"/>
                  </a:cubicBezTo>
                  <a:moveTo>
                    <a:pt x="415" y="1115"/>
                  </a:moveTo>
                  <a:cubicBezTo>
                    <a:pt x="414" y="1116"/>
                    <a:pt x="413" y="1116"/>
                    <a:pt x="413" y="1116"/>
                  </a:cubicBezTo>
                  <a:cubicBezTo>
                    <a:pt x="421" y="1117"/>
                    <a:pt x="429" y="1119"/>
                    <a:pt x="437" y="1120"/>
                  </a:cubicBezTo>
                  <a:cubicBezTo>
                    <a:pt x="438" y="1120"/>
                    <a:pt x="439" y="1120"/>
                    <a:pt x="439" y="1119"/>
                  </a:cubicBezTo>
                  <a:cubicBezTo>
                    <a:pt x="431" y="1118"/>
                    <a:pt x="423" y="1117"/>
                    <a:pt x="415" y="1115"/>
                  </a:cubicBezTo>
                  <a:moveTo>
                    <a:pt x="442" y="1120"/>
                  </a:moveTo>
                  <a:cubicBezTo>
                    <a:pt x="441" y="1120"/>
                    <a:pt x="440" y="1120"/>
                    <a:pt x="440" y="1120"/>
                  </a:cubicBezTo>
                  <a:cubicBezTo>
                    <a:pt x="448" y="1122"/>
                    <a:pt x="457" y="1123"/>
                    <a:pt x="466" y="1124"/>
                  </a:cubicBezTo>
                  <a:cubicBezTo>
                    <a:pt x="467" y="1124"/>
                    <a:pt x="467" y="1124"/>
                    <a:pt x="468" y="1124"/>
                  </a:cubicBezTo>
                  <a:cubicBezTo>
                    <a:pt x="468" y="1124"/>
                    <a:pt x="468" y="1124"/>
                    <a:pt x="468" y="1124"/>
                  </a:cubicBezTo>
                  <a:cubicBezTo>
                    <a:pt x="469" y="1124"/>
                    <a:pt x="470" y="1124"/>
                    <a:pt x="470" y="1123"/>
                  </a:cubicBezTo>
                  <a:cubicBezTo>
                    <a:pt x="470" y="1123"/>
                    <a:pt x="470" y="1123"/>
                    <a:pt x="470" y="1123"/>
                  </a:cubicBezTo>
                  <a:cubicBezTo>
                    <a:pt x="469" y="1123"/>
                    <a:pt x="468" y="1123"/>
                    <a:pt x="468" y="1123"/>
                  </a:cubicBezTo>
                  <a:cubicBezTo>
                    <a:pt x="459" y="1122"/>
                    <a:pt x="450" y="1121"/>
                    <a:pt x="442" y="1120"/>
                  </a:cubicBezTo>
                  <a:moveTo>
                    <a:pt x="473" y="1124"/>
                  </a:moveTo>
                  <a:cubicBezTo>
                    <a:pt x="472" y="1124"/>
                    <a:pt x="471" y="1124"/>
                    <a:pt x="471" y="1124"/>
                  </a:cubicBezTo>
                  <a:cubicBezTo>
                    <a:pt x="478" y="1125"/>
                    <a:pt x="486" y="1126"/>
                    <a:pt x="494" y="1127"/>
                  </a:cubicBezTo>
                  <a:cubicBezTo>
                    <a:pt x="494" y="1127"/>
                    <a:pt x="495" y="1127"/>
                    <a:pt x="495" y="1127"/>
                  </a:cubicBezTo>
                  <a:cubicBezTo>
                    <a:pt x="495" y="1127"/>
                    <a:pt x="496" y="1127"/>
                    <a:pt x="496" y="1127"/>
                  </a:cubicBezTo>
                  <a:cubicBezTo>
                    <a:pt x="497" y="1127"/>
                    <a:pt x="498" y="1127"/>
                    <a:pt x="499" y="1126"/>
                  </a:cubicBezTo>
                  <a:cubicBezTo>
                    <a:pt x="497" y="1126"/>
                    <a:pt x="496" y="1126"/>
                    <a:pt x="494" y="1126"/>
                  </a:cubicBezTo>
                  <a:cubicBezTo>
                    <a:pt x="494" y="1126"/>
                    <a:pt x="493" y="1126"/>
                    <a:pt x="493" y="1126"/>
                  </a:cubicBezTo>
                  <a:cubicBezTo>
                    <a:pt x="486" y="1125"/>
                    <a:pt x="480" y="1124"/>
                    <a:pt x="473" y="1124"/>
                  </a:cubicBezTo>
                  <a:moveTo>
                    <a:pt x="502" y="1127"/>
                  </a:moveTo>
                  <a:cubicBezTo>
                    <a:pt x="501" y="1127"/>
                    <a:pt x="500" y="1127"/>
                    <a:pt x="499" y="1127"/>
                  </a:cubicBezTo>
                  <a:cubicBezTo>
                    <a:pt x="500" y="1128"/>
                    <a:pt x="502" y="1128"/>
                    <a:pt x="503" y="1128"/>
                  </a:cubicBezTo>
                  <a:cubicBezTo>
                    <a:pt x="504" y="1128"/>
                    <a:pt x="504" y="1128"/>
                    <a:pt x="505" y="1128"/>
                  </a:cubicBezTo>
                  <a:cubicBezTo>
                    <a:pt x="512" y="1129"/>
                    <a:pt x="518" y="1129"/>
                    <a:pt x="525" y="1130"/>
                  </a:cubicBezTo>
                  <a:cubicBezTo>
                    <a:pt x="526" y="1129"/>
                    <a:pt x="526" y="1129"/>
                    <a:pt x="527" y="1129"/>
                  </a:cubicBezTo>
                  <a:cubicBezTo>
                    <a:pt x="521" y="1128"/>
                    <a:pt x="514" y="1128"/>
                    <a:pt x="507" y="1127"/>
                  </a:cubicBezTo>
                  <a:cubicBezTo>
                    <a:pt x="506" y="1127"/>
                    <a:pt x="506" y="1127"/>
                    <a:pt x="505" y="1127"/>
                  </a:cubicBezTo>
                  <a:cubicBezTo>
                    <a:pt x="504" y="1127"/>
                    <a:pt x="503" y="1127"/>
                    <a:pt x="502" y="1127"/>
                  </a:cubicBezTo>
                  <a:moveTo>
                    <a:pt x="530" y="1129"/>
                  </a:moveTo>
                  <a:cubicBezTo>
                    <a:pt x="529" y="1129"/>
                    <a:pt x="528" y="1130"/>
                    <a:pt x="527" y="1130"/>
                  </a:cubicBezTo>
                  <a:cubicBezTo>
                    <a:pt x="537" y="1131"/>
                    <a:pt x="547" y="1131"/>
                    <a:pt x="556" y="1132"/>
                  </a:cubicBezTo>
                  <a:cubicBezTo>
                    <a:pt x="557" y="1132"/>
                    <a:pt x="557" y="1132"/>
                    <a:pt x="558" y="1132"/>
                  </a:cubicBezTo>
                  <a:cubicBezTo>
                    <a:pt x="559" y="1132"/>
                    <a:pt x="560" y="1133"/>
                    <a:pt x="561" y="1133"/>
                  </a:cubicBezTo>
                  <a:cubicBezTo>
                    <a:pt x="561" y="1133"/>
                    <a:pt x="561" y="1133"/>
                    <a:pt x="561" y="1133"/>
                  </a:cubicBezTo>
                  <a:cubicBezTo>
                    <a:pt x="562" y="1132"/>
                    <a:pt x="563" y="1132"/>
                    <a:pt x="564" y="1132"/>
                  </a:cubicBezTo>
                  <a:cubicBezTo>
                    <a:pt x="563" y="1132"/>
                    <a:pt x="563" y="1132"/>
                    <a:pt x="563" y="1132"/>
                  </a:cubicBezTo>
                  <a:cubicBezTo>
                    <a:pt x="561" y="1132"/>
                    <a:pt x="559" y="1131"/>
                    <a:pt x="557" y="1131"/>
                  </a:cubicBezTo>
                  <a:cubicBezTo>
                    <a:pt x="556" y="1131"/>
                    <a:pt x="556" y="1131"/>
                    <a:pt x="555" y="1131"/>
                  </a:cubicBezTo>
                  <a:cubicBezTo>
                    <a:pt x="547" y="1130"/>
                    <a:pt x="539" y="1130"/>
                    <a:pt x="530" y="1129"/>
                  </a:cubicBezTo>
                  <a:moveTo>
                    <a:pt x="567" y="1132"/>
                  </a:moveTo>
                  <a:cubicBezTo>
                    <a:pt x="566" y="1132"/>
                    <a:pt x="565" y="1133"/>
                    <a:pt x="564" y="1133"/>
                  </a:cubicBezTo>
                  <a:cubicBezTo>
                    <a:pt x="572" y="1134"/>
                    <a:pt x="581" y="1134"/>
                    <a:pt x="589" y="1135"/>
                  </a:cubicBezTo>
                  <a:cubicBezTo>
                    <a:pt x="590" y="1135"/>
                    <a:pt x="591" y="1135"/>
                    <a:pt x="592" y="1135"/>
                  </a:cubicBezTo>
                  <a:cubicBezTo>
                    <a:pt x="584" y="1134"/>
                    <a:pt x="575" y="1133"/>
                    <a:pt x="567" y="1132"/>
                  </a:cubicBezTo>
                  <a:moveTo>
                    <a:pt x="595" y="1135"/>
                  </a:moveTo>
                  <a:cubicBezTo>
                    <a:pt x="594" y="1135"/>
                    <a:pt x="593" y="1135"/>
                    <a:pt x="592" y="1136"/>
                  </a:cubicBezTo>
                  <a:cubicBezTo>
                    <a:pt x="600" y="1136"/>
                    <a:pt x="607" y="1137"/>
                    <a:pt x="614" y="1138"/>
                  </a:cubicBezTo>
                  <a:cubicBezTo>
                    <a:pt x="615" y="1138"/>
                    <a:pt x="616" y="1138"/>
                    <a:pt x="617" y="1138"/>
                  </a:cubicBezTo>
                  <a:cubicBezTo>
                    <a:pt x="610" y="1137"/>
                    <a:pt x="602" y="1136"/>
                    <a:pt x="595" y="1135"/>
                  </a:cubicBezTo>
                  <a:moveTo>
                    <a:pt x="620" y="1138"/>
                  </a:moveTo>
                  <a:cubicBezTo>
                    <a:pt x="619" y="1138"/>
                    <a:pt x="618" y="1139"/>
                    <a:pt x="617" y="1139"/>
                  </a:cubicBezTo>
                  <a:cubicBezTo>
                    <a:pt x="621" y="1139"/>
                    <a:pt x="626" y="1140"/>
                    <a:pt x="630" y="1141"/>
                  </a:cubicBezTo>
                  <a:cubicBezTo>
                    <a:pt x="633" y="1141"/>
                    <a:pt x="635" y="1141"/>
                    <a:pt x="638" y="1141"/>
                  </a:cubicBezTo>
                  <a:cubicBezTo>
                    <a:pt x="638" y="1141"/>
                    <a:pt x="638" y="1141"/>
                    <a:pt x="639" y="1141"/>
                  </a:cubicBezTo>
                  <a:cubicBezTo>
                    <a:pt x="637" y="1141"/>
                    <a:pt x="636" y="1141"/>
                    <a:pt x="634" y="1140"/>
                  </a:cubicBezTo>
                  <a:cubicBezTo>
                    <a:pt x="633" y="1140"/>
                    <a:pt x="633" y="1140"/>
                    <a:pt x="632" y="1140"/>
                  </a:cubicBezTo>
                  <a:cubicBezTo>
                    <a:pt x="628" y="1139"/>
                    <a:pt x="624" y="1139"/>
                    <a:pt x="620" y="1138"/>
                  </a:cubicBezTo>
                  <a:moveTo>
                    <a:pt x="645" y="1143"/>
                  </a:moveTo>
                  <a:cubicBezTo>
                    <a:pt x="644" y="1143"/>
                    <a:pt x="644" y="1143"/>
                    <a:pt x="644" y="1143"/>
                  </a:cubicBezTo>
                  <a:cubicBezTo>
                    <a:pt x="644" y="1143"/>
                    <a:pt x="644" y="1143"/>
                    <a:pt x="644" y="1143"/>
                  </a:cubicBezTo>
                  <a:cubicBezTo>
                    <a:pt x="644" y="1143"/>
                    <a:pt x="644" y="1143"/>
                    <a:pt x="645" y="1143"/>
                  </a:cubicBezTo>
                  <a:moveTo>
                    <a:pt x="648" y="1144"/>
                  </a:moveTo>
                  <a:cubicBezTo>
                    <a:pt x="648" y="1144"/>
                    <a:pt x="647" y="1144"/>
                    <a:pt x="647" y="1144"/>
                  </a:cubicBezTo>
                  <a:cubicBezTo>
                    <a:pt x="647" y="1144"/>
                    <a:pt x="647" y="1144"/>
                    <a:pt x="647" y="1144"/>
                  </a:cubicBezTo>
                  <a:cubicBezTo>
                    <a:pt x="648" y="1144"/>
                    <a:pt x="649" y="1144"/>
                    <a:pt x="649" y="1144"/>
                  </a:cubicBezTo>
                  <a:cubicBezTo>
                    <a:pt x="649" y="1144"/>
                    <a:pt x="649" y="1144"/>
                    <a:pt x="648" y="1144"/>
                  </a:cubicBezTo>
                  <a:moveTo>
                    <a:pt x="652" y="1144"/>
                  </a:moveTo>
                  <a:cubicBezTo>
                    <a:pt x="651" y="1144"/>
                    <a:pt x="651" y="1144"/>
                    <a:pt x="650" y="1145"/>
                  </a:cubicBezTo>
                  <a:cubicBezTo>
                    <a:pt x="678" y="1151"/>
                    <a:pt x="702" y="1160"/>
                    <a:pt x="720" y="1175"/>
                  </a:cubicBezTo>
                  <a:cubicBezTo>
                    <a:pt x="720" y="1175"/>
                    <a:pt x="720" y="1174"/>
                    <a:pt x="720" y="1174"/>
                  </a:cubicBezTo>
                  <a:cubicBezTo>
                    <a:pt x="702" y="1160"/>
                    <a:pt x="680" y="1151"/>
                    <a:pt x="653" y="1144"/>
                  </a:cubicBezTo>
                  <a:cubicBezTo>
                    <a:pt x="653" y="1144"/>
                    <a:pt x="652" y="1144"/>
                    <a:pt x="652" y="1144"/>
                  </a:cubicBezTo>
                  <a:moveTo>
                    <a:pt x="721" y="1175"/>
                  </a:moveTo>
                  <a:cubicBezTo>
                    <a:pt x="721" y="1175"/>
                    <a:pt x="721" y="1176"/>
                    <a:pt x="721" y="1176"/>
                  </a:cubicBezTo>
                  <a:cubicBezTo>
                    <a:pt x="722" y="1177"/>
                    <a:pt x="723" y="1178"/>
                    <a:pt x="724" y="1179"/>
                  </a:cubicBezTo>
                  <a:cubicBezTo>
                    <a:pt x="729" y="1181"/>
                    <a:pt x="734" y="1183"/>
                    <a:pt x="739" y="1185"/>
                  </a:cubicBezTo>
                  <a:cubicBezTo>
                    <a:pt x="739" y="1185"/>
                    <a:pt x="739" y="1184"/>
                    <a:pt x="739" y="1184"/>
                  </a:cubicBezTo>
                  <a:cubicBezTo>
                    <a:pt x="734" y="1182"/>
                    <a:pt x="729" y="1180"/>
                    <a:pt x="725" y="1178"/>
                  </a:cubicBezTo>
                  <a:cubicBezTo>
                    <a:pt x="723" y="1177"/>
                    <a:pt x="722" y="1176"/>
                    <a:pt x="721" y="1175"/>
                  </a:cubicBezTo>
                  <a:moveTo>
                    <a:pt x="740" y="1184"/>
                  </a:moveTo>
                  <a:cubicBezTo>
                    <a:pt x="740" y="1185"/>
                    <a:pt x="740" y="1185"/>
                    <a:pt x="740" y="1186"/>
                  </a:cubicBezTo>
                  <a:cubicBezTo>
                    <a:pt x="746" y="1188"/>
                    <a:pt x="753" y="1190"/>
                    <a:pt x="759" y="1193"/>
                  </a:cubicBezTo>
                  <a:cubicBezTo>
                    <a:pt x="759" y="1193"/>
                    <a:pt x="759" y="1192"/>
                    <a:pt x="759" y="1192"/>
                  </a:cubicBezTo>
                  <a:cubicBezTo>
                    <a:pt x="752" y="1189"/>
                    <a:pt x="746" y="1187"/>
                    <a:pt x="740" y="1184"/>
                  </a:cubicBezTo>
                  <a:moveTo>
                    <a:pt x="760" y="1192"/>
                  </a:moveTo>
                  <a:cubicBezTo>
                    <a:pt x="760" y="1193"/>
                    <a:pt x="760" y="1193"/>
                    <a:pt x="760" y="1193"/>
                  </a:cubicBezTo>
                  <a:cubicBezTo>
                    <a:pt x="767" y="1196"/>
                    <a:pt x="773" y="1198"/>
                    <a:pt x="780" y="1201"/>
                  </a:cubicBezTo>
                  <a:cubicBezTo>
                    <a:pt x="780" y="1201"/>
                    <a:pt x="780" y="1201"/>
                    <a:pt x="780" y="1200"/>
                  </a:cubicBezTo>
                  <a:cubicBezTo>
                    <a:pt x="776" y="1199"/>
                    <a:pt x="773" y="1197"/>
                    <a:pt x="769" y="1196"/>
                  </a:cubicBezTo>
                  <a:cubicBezTo>
                    <a:pt x="766" y="1195"/>
                    <a:pt x="763" y="1193"/>
                    <a:pt x="760" y="1192"/>
                  </a:cubicBezTo>
                  <a:moveTo>
                    <a:pt x="781" y="1201"/>
                  </a:moveTo>
                  <a:cubicBezTo>
                    <a:pt x="781" y="1201"/>
                    <a:pt x="781" y="1201"/>
                    <a:pt x="781" y="1201"/>
                  </a:cubicBezTo>
                  <a:cubicBezTo>
                    <a:pt x="784" y="1202"/>
                    <a:pt x="787" y="1204"/>
                    <a:pt x="789" y="1205"/>
                  </a:cubicBezTo>
                  <a:cubicBezTo>
                    <a:pt x="787" y="1203"/>
                    <a:pt x="784" y="1202"/>
                    <a:pt x="781" y="1201"/>
                  </a:cubicBezTo>
                  <a:moveTo>
                    <a:pt x="789" y="1203"/>
                  </a:moveTo>
                  <a:cubicBezTo>
                    <a:pt x="793" y="1205"/>
                    <a:pt x="798" y="1207"/>
                    <a:pt x="802" y="1209"/>
                  </a:cubicBezTo>
                  <a:cubicBezTo>
                    <a:pt x="802" y="1209"/>
                    <a:pt x="802" y="1209"/>
                    <a:pt x="802" y="1208"/>
                  </a:cubicBezTo>
                  <a:cubicBezTo>
                    <a:pt x="798" y="1207"/>
                    <a:pt x="793" y="1205"/>
                    <a:pt x="789" y="1203"/>
                  </a:cubicBezTo>
                  <a:moveTo>
                    <a:pt x="803" y="1209"/>
                  </a:moveTo>
                  <a:cubicBezTo>
                    <a:pt x="803" y="1209"/>
                    <a:pt x="803" y="1209"/>
                    <a:pt x="804" y="1210"/>
                  </a:cubicBezTo>
                  <a:cubicBezTo>
                    <a:pt x="805" y="1210"/>
                    <a:pt x="807" y="1211"/>
                    <a:pt x="808" y="1212"/>
                  </a:cubicBezTo>
                  <a:cubicBezTo>
                    <a:pt x="815" y="1214"/>
                    <a:pt x="821" y="1216"/>
                    <a:pt x="827" y="1218"/>
                  </a:cubicBezTo>
                  <a:cubicBezTo>
                    <a:pt x="827" y="1218"/>
                    <a:pt x="827" y="1218"/>
                    <a:pt x="827" y="1218"/>
                  </a:cubicBezTo>
                  <a:cubicBezTo>
                    <a:pt x="825" y="1217"/>
                    <a:pt x="822" y="1216"/>
                    <a:pt x="820" y="1215"/>
                  </a:cubicBezTo>
                  <a:cubicBezTo>
                    <a:pt x="815" y="1213"/>
                    <a:pt x="809" y="1211"/>
                    <a:pt x="803" y="1209"/>
                  </a:cubicBezTo>
                  <a:moveTo>
                    <a:pt x="830" y="1218"/>
                  </a:moveTo>
                  <a:cubicBezTo>
                    <a:pt x="833" y="1220"/>
                    <a:pt x="836" y="1221"/>
                    <a:pt x="839" y="1223"/>
                  </a:cubicBezTo>
                  <a:cubicBezTo>
                    <a:pt x="846" y="1225"/>
                    <a:pt x="853" y="1228"/>
                    <a:pt x="860" y="1230"/>
                  </a:cubicBezTo>
                  <a:cubicBezTo>
                    <a:pt x="860" y="1230"/>
                    <a:pt x="860" y="1229"/>
                    <a:pt x="859" y="1229"/>
                  </a:cubicBezTo>
                  <a:cubicBezTo>
                    <a:pt x="859" y="1229"/>
                    <a:pt x="858" y="1229"/>
                    <a:pt x="858" y="1228"/>
                  </a:cubicBezTo>
                  <a:cubicBezTo>
                    <a:pt x="849" y="1225"/>
                    <a:pt x="839" y="1222"/>
                    <a:pt x="830" y="1218"/>
                  </a:cubicBezTo>
                  <a:moveTo>
                    <a:pt x="828" y="1219"/>
                  </a:moveTo>
                  <a:cubicBezTo>
                    <a:pt x="828" y="1219"/>
                    <a:pt x="828" y="1219"/>
                    <a:pt x="828" y="1219"/>
                  </a:cubicBezTo>
                  <a:cubicBezTo>
                    <a:pt x="829" y="1219"/>
                    <a:pt x="829" y="1219"/>
                    <a:pt x="830" y="1219"/>
                  </a:cubicBezTo>
                  <a:cubicBezTo>
                    <a:pt x="829" y="1219"/>
                    <a:pt x="828" y="1219"/>
                    <a:pt x="828" y="1219"/>
                  </a:cubicBezTo>
                  <a:moveTo>
                    <a:pt x="861" y="1230"/>
                  </a:moveTo>
                  <a:cubicBezTo>
                    <a:pt x="861" y="1230"/>
                    <a:pt x="862" y="1230"/>
                    <a:pt x="862" y="1231"/>
                  </a:cubicBezTo>
                  <a:cubicBezTo>
                    <a:pt x="862" y="1231"/>
                    <a:pt x="863" y="1231"/>
                    <a:pt x="864" y="1231"/>
                  </a:cubicBezTo>
                  <a:cubicBezTo>
                    <a:pt x="863" y="1231"/>
                    <a:pt x="862" y="1230"/>
                    <a:pt x="861" y="1230"/>
                  </a:cubicBezTo>
                  <a:moveTo>
                    <a:pt x="864" y="1230"/>
                  </a:moveTo>
                  <a:cubicBezTo>
                    <a:pt x="866" y="1231"/>
                    <a:pt x="867" y="1232"/>
                    <a:pt x="869" y="1233"/>
                  </a:cubicBezTo>
                  <a:cubicBezTo>
                    <a:pt x="877" y="1236"/>
                    <a:pt x="884" y="1238"/>
                    <a:pt x="891" y="1241"/>
                  </a:cubicBezTo>
                  <a:cubicBezTo>
                    <a:pt x="891" y="1240"/>
                    <a:pt x="891" y="1240"/>
                    <a:pt x="891" y="1240"/>
                  </a:cubicBezTo>
                  <a:cubicBezTo>
                    <a:pt x="890" y="1240"/>
                    <a:pt x="889" y="1239"/>
                    <a:pt x="888" y="1238"/>
                  </a:cubicBezTo>
                  <a:cubicBezTo>
                    <a:pt x="886" y="1238"/>
                    <a:pt x="885" y="1237"/>
                    <a:pt x="883" y="1237"/>
                  </a:cubicBezTo>
                  <a:cubicBezTo>
                    <a:pt x="877" y="1235"/>
                    <a:pt x="870" y="1233"/>
                    <a:pt x="864" y="1230"/>
                  </a:cubicBezTo>
                  <a:moveTo>
                    <a:pt x="892" y="1240"/>
                  </a:moveTo>
                  <a:cubicBezTo>
                    <a:pt x="894" y="1241"/>
                    <a:pt x="895" y="1241"/>
                    <a:pt x="896" y="1242"/>
                  </a:cubicBezTo>
                  <a:cubicBezTo>
                    <a:pt x="903" y="1244"/>
                    <a:pt x="910" y="1247"/>
                    <a:pt x="917" y="1249"/>
                  </a:cubicBezTo>
                  <a:cubicBezTo>
                    <a:pt x="916" y="1248"/>
                    <a:pt x="915" y="1247"/>
                    <a:pt x="914" y="1247"/>
                  </a:cubicBezTo>
                  <a:cubicBezTo>
                    <a:pt x="908" y="1245"/>
                    <a:pt x="901" y="1243"/>
                    <a:pt x="894" y="1240"/>
                  </a:cubicBezTo>
                  <a:cubicBezTo>
                    <a:pt x="893" y="1240"/>
                    <a:pt x="893" y="1240"/>
                    <a:pt x="892" y="1240"/>
                  </a:cubicBezTo>
                  <a:moveTo>
                    <a:pt x="917" y="1248"/>
                  </a:moveTo>
                  <a:cubicBezTo>
                    <a:pt x="918" y="1248"/>
                    <a:pt x="919" y="1249"/>
                    <a:pt x="920" y="1250"/>
                  </a:cubicBezTo>
                  <a:cubicBezTo>
                    <a:pt x="922" y="1250"/>
                    <a:pt x="924" y="1251"/>
                    <a:pt x="925" y="1251"/>
                  </a:cubicBezTo>
                  <a:cubicBezTo>
                    <a:pt x="925" y="1251"/>
                    <a:pt x="924" y="1250"/>
                    <a:pt x="924" y="1250"/>
                  </a:cubicBezTo>
                  <a:cubicBezTo>
                    <a:pt x="922" y="1249"/>
                    <a:pt x="919" y="1248"/>
                    <a:pt x="917" y="1248"/>
                  </a:cubicBezTo>
                  <a:moveTo>
                    <a:pt x="926" y="1250"/>
                  </a:moveTo>
                  <a:cubicBezTo>
                    <a:pt x="926" y="1251"/>
                    <a:pt x="926" y="1251"/>
                    <a:pt x="927" y="1252"/>
                  </a:cubicBezTo>
                  <a:cubicBezTo>
                    <a:pt x="931" y="1253"/>
                    <a:pt x="935" y="1254"/>
                    <a:pt x="940" y="1255"/>
                  </a:cubicBezTo>
                  <a:cubicBezTo>
                    <a:pt x="939" y="1255"/>
                    <a:pt x="938" y="1254"/>
                    <a:pt x="937" y="1254"/>
                  </a:cubicBezTo>
                  <a:cubicBezTo>
                    <a:pt x="933" y="1252"/>
                    <a:pt x="929" y="1251"/>
                    <a:pt x="926" y="1250"/>
                  </a:cubicBezTo>
                  <a:moveTo>
                    <a:pt x="940" y="1254"/>
                  </a:moveTo>
                  <a:cubicBezTo>
                    <a:pt x="941" y="1255"/>
                    <a:pt x="941" y="1255"/>
                    <a:pt x="942" y="1256"/>
                  </a:cubicBezTo>
                  <a:cubicBezTo>
                    <a:pt x="948" y="1258"/>
                    <a:pt x="954" y="1259"/>
                    <a:pt x="960" y="1261"/>
                  </a:cubicBezTo>
                  <a:cubicBezTo>
                    <a:pt x="959" y="1260"/>
                    <a:pt x="959" y="1260"/>
                    <a:pt x="958" y="1259"/>
                  </a:cubicBezTo>
                  <a:cubicBezTo>
                    <a:pt x="952" y="1258"/>
                    <a:pt x="946" y="1256"/>
                    <a:pt x="940" y="1254"/>
                  </a:cubicBezTo>
                  <a:moveTo>
                    <a:pt x="961" y="1260"/>
                  </a:moveTo>
                  <a:cubicBezTo>
                    <a:pt x="962" y="1261"/>
                    <a:pt x="962" y="1261"/>
                    <a:pt x="963" y="1262"/>
                  </a:cubicBezTo>
                  <a:cubicBezTo>
                    <a:pt x="968" y="1263"/>
                    <a:pt x="974" y="1264"/>
                    <a:pt x="979" y="1266"/>
                  </a:cubicBezTo>
                  <a:cubicBezTo>
                    <a:pt x="979" y="1265"/>
                    <a:pt x="978" y="1265"/>
                    <a:pt x="977" y="1264"/>
                  </a:cubicBezTo>
                  <a:cubicBezTo>
                    <a:pt x="972" y="1263"/>
                    <a:pt x="967" y="1262"/>
                    <a:pt x="961" y="1260"/>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58" name="Freeform 87"/>
            <p:cNvSpPr>
              <a:spLocks noEditPoints="1"/>
            </p:cNvSpPr>
            <p:nvPr userDrawn="1"/>
          </p:nvSpPr>
          <p:spPr bwMode="auto">
            <a:xfrm>
              <a:off x="1981" y="3261"/>
              <a:ext cx="3612" cy="2587"/>
            </a:xfrm>
            <a:custGeom>
              <a:avLst/>
              <a:gdLst>
                <a:gd name="T0" fmla="*/ 2147483646 w 1782"/>
                <a:gd name="T1" fmla="*/ 2147483646 h 1276"/>
                <a:gd name="T2" fmla="*/ 2147483646 w 1782"/>
                <a:gd name="T3" fmla="*/ 2147483646 h 1276"/>
                <a:gd name="T4" fmla="*/ 2147483646 w 1782"/>
                <a:gd name="T5" fmla="*/ 2147483646 h 1276"/>
                <a:gd name="T6" fmla="*/ 2147483646 w 1782"/>
                <a:gd name="T7" fmla="*/ 2147483646 h 1276"/>
                <a:gd name="T8" fmla="*/ 2147483646 w 1782"/>
                <a:gd name="T9" fmla="*/ 2147483646 h 1276"/>
                <a:gd name="T10" fmla="*/ 2147483646 w 1782"/>
                <a:gd name="T11" fmla="*/ 2147483646 h 1276"/>
                <a:gd name="T12" fmla="*/ 2147483646 w 1782"/>
                <a:gd name="T13" fmla="*/ 2147483646 h 1276"/>
                <a:gd name="T14" fmla="*/ 2147483646 w 1782"/>
                <a:gd name="T15" fmla="*/ 2147483646 h 1276"/>
                <a:gd name="T16" fmla="*/ 2147483646 w 1782"/>
                <a:gd name="T17" fmla="*/ 2147483646 h 1276"/>
                <a:gd name="T18" fmla="*/ 2147483646 w 1782"/>
                <a:gd name="T19" fmla="*/ 2147483646 h 1276"/>
                <a:gd name="T20" fmla="*/ 2147483646 w 1782"/>
                <a:gd name="T21" fmla="*/ 2147483646 h 1276"/>
                <a:gd name="T22" fmla="*/ 2147483646 w 1782"/>
                <a:gd name="T23" fmla="*/ 2147483646 h 1276"/>
                <a:gd name="T24" fmla="*/ 2147483646 w 1782"/>
                <a:gd name="T25" fmla="*/ 2147483646 h 1276"/>
                <a:gd name="T26" fmla="*/ 2147483646 w 1782"/>
                <a:gd name="T27" fmla="*/ 2147483646 h 1276"/>
                <a:gd name="T28" fmla="*/ 2147483646 w 1782"/>
                <a:gd name="T29" fmla="*/ 2147483646 h 1276"/>
                <a:gd name="T30" fmla="*/ 2147483646 w 1782"/>
                <a:gd name="T31" fmla="*/ 2147483646 h 1276"/>
                <a:gd name="T32" fmla="*/ 2147483646 w 1782"/>
                <a:gd name="T33" fmla="*/ 2147483646 h 1276"/>
                <a:gd name="T34" fmla="*/ 2147483646 w 1782"/>
                <a:gd name="T35" fmla="*/ 2147483646 h 1276"/>
                <a:gd name="T36" fmla="*/ 2147483646 w 1782"/>
                <a:gd name="T37" fmla="*/ 2147483646 h 1276"/>
                <a:gd name="T38" fmla="*/ 2147483646 w 1782"/>
                <a:gd name="T39" fmla="*/ 2147483646 h 1276"/>
                <a:gd name="T40" fmla="*/ 2147483646 w 1782"/>
                <a:gd name="T41" fmla="*/ 2147483646 h 1276"/>
                <a:gd name="T42" fmla="*/ 2147483646 w 1782"/>
                <a:gd name="T43" fmla="*/ 2147483646 h 1276"/>
                <a:gd name="T44" fmla="*/ 2147483646 w 1782"/>
                <a:gd name="T45" fmla="*/ 2147483646 h 1276"/>
                <a:gd name="T46" fmla="*/ 2147483646 w 1782"/>
                <a:gd name="T47" fmla="*/ 2147483646 h 1276"/>
                <a:gd name="T48" fmla="*/ 2147483646 w 1782"/>
                <a:gd name="T49" fmla="*/ 2147483646 h 1276"/>
                <a:gd name="T50" fmla="*/ 2147483646 w 1782"/>
                <a:gd name="T51" fmla="*/ 2147483646 h 1276"/>
                <a:gd name="T52" fmla="*/ 2147483646 w 1782"/>
                <a:gd name="T53" fmla="*/ 2147483646 h 1276"/>
                <a:gd name="T54" fmla="*/ 2147483646 w 1782"/>
                <a:gd name="T55" fmla="*/ 2147483646 h 1276"/>
                <a:gd name="T56" fmla="*/ 2147483646 w 1782"/>
                <a:gd name="T57" fmla="*/ 2147483646 h 1276"/>
                <a:gd name="T58" fmla="*/ 2147483646 w 1782"/>
                <a:gd name="T59" fmla="*/ 2147483646 h 1276"/>
                <a:gd name="T60" fmla="*/ 2147483646 w 1782"/>
                <a:gd name="T61" fmla="*/ 2147483646 h 1276"/>
                <a:gd name="T62" fmla="*/ 2147483646 w 1782"/>
                <a:gd name="T63" fmla="*/ 2147483646 h 1276"/>
                <a:gd name="T64" fmla="*/ 2147483646 w 1782"/>
                <a:gd name="T65" fmla="*/ 2147483646 h 1276"/>
                <a:gd name="T66" fmla="*/ 2147483646 w 1782"/>
                <a:gd name="T67" fmla="*/ 2147483646 h 1276"/>
                <a:gd name="T68" fmla="*/ 2147483646 w 1782"/>
                <a:gd name="T69" fmla="*/ 2147483646 h 1276"/>
                <a:gd name="T70" fmla="*/ 2147483646 w 1782"/>
                <a:gd name="T71" fmla="*/ 2147483646 h 1276"/>
                <a:gd name="T72" fmla="*/ 0 w 1782"/>
                <a:gd name="T73" fmla="*/ 2147483646 h 1276"/>
                <a:gd name="T74" fmla="*/ 2147483646 w 1782"/>
                <a:gd name="T75" fmla="*/ 2147483646 h 1276"/>
                <a:gd name="T76" fmla="*/ 2147483646 w 1782"/>
                <a:gd name="T77" fmla="*/ 2147483646 h 1276"/>
                <a:gd name="T78" fmla="*/ 2147483646 w 1782"/>
                <a:gd name="T79" fmla="*/ 2147483646 h 1276"/>
                <a:gd name="T80" fmla="*/ 2147483646 w 1782"/>
                <a:gd name="T81" fmla="*/ 2147483646 h 1276"/>
                <a:gd name="T82" fmla="*/ 2147483646 w 1782"/>
                <a:gd name="T83" fmla="*/ 2147483646 h 1276"/>
                <a:gd name="T84" fmla="*/ 2147483646 w 1782"/>
                <a:gd name="T85" fmla="*/ 2147483646 h 1276"/>
                <a:gd name="T86" fmla="*/ 2147483646 w 1782"/>
                <a:gd name="T87" fmla="*/ 2147483646 h 1276"/>
                <a:gd name="T88" fmla="*/ 2147483646 w 1782"/>
                <a:gd name="T89" fmla="*/ 2147483646 h 1276"/>
                <a:gd name="T90" fmla="*/ 2147483646 w 1782"/>
                <a:gd name="T91" fmla="*/ 2147483646 h 1276"/>
                <a:gd name="T92" fmla="*/ 2147483646 w 1782"/>
                <a:gd name="T93" fmla="*/ 2147483646 h 1276"/>
                <a:gd name="T94" fmla="*/ 2147483646 w 1782"/>
                <a:gd name="T95" fmla="*/ 2147483646 h 1276"/>
                <a:gd name="T96" fmla="*/ 2147483646 w 1782"/>
                <a:gd name="T97" fmla="*/ 2147483646 h 1276"/>
                <a:gd name="T98" fmla="*/ 2147483646 w 1782"/>
                <a:gd name="T99" fmla="*/ 2147483646 h 1276"/>
                <a:gd name="T100" fmla="*/ 2147483646 w 1782"/>
                <a:gd name="T101" fmla="*/ 2147483646 h 1276"/>
                <a:gd name="T102" fmla="*/ 2147483646 w 1782"/>
                <a:gd name="T103" fmla="*/ 2147483646 h 1276"/>
                <a:gd name="T104" fmla="*/ 2147483646 w 1782"/>
                <a:gd name="T105" fmla="*/ 2147483646 h 1276"/>
                <a:gd name="T106" fmla="*/ 2147483646 w 1782"/>
                <a:gd name="T107" fmla="*/ 2147483646 h 1276"/>
                <a:gd name="T108" fmla="*/ 2147483646 w 1782"/>
                <a:gd name="T109" fmla="*/ 2147483646 h 1276"/>
                <a:gd name="T110" fmla="*/ 2147483646 w 1782"/>
                <a:gd name="T111" fmla="*/ 2147483646 h 1276"/>
                <a:gd name="T112" fmla="*/ 2147483646 w 1782"/>
                <a:gd name="T113" fmla="*/ 2147483646 h 1276"/>
                <a:gd name="T114" fmla="*/ 2147483646 w 1782"/>
                <a:gd name="T115" fmla="*/ 2147483646 h 1276"/>
                <a:gd name="T116" fmla="*/ 2147483646 w 1782"/>
                <a:gd name="T117" fmla="*/ 2147483646 h 1276"/>
                <a:gd name="T118" fmla="*/ 2147483646 w 1782"/>
                <a:gd name="T119" fmla="*/ 2147483646 h 1276"/>
                <a:gd name="T120" fmla="*/ 2147483646 w 1782"/>
                <a:gd name="T121" fmla="*/ 2147483646 h 1276"/>
                <a:gd name="T122" fmla="*/ 2147483646 w 1782"/>
                <a:gd name="T123" fmla="*/ 2147483646 h 127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782" h="1276">
                  <a:moveTo>
                    <a:pt x="1577" y="0"/>
                  </a:moveTo>
                  <a:cubicBezTo>
                    <a:pt x="1537" y="0"/>
                    <a:pt x="1499" y="15"/>
                    <a:pt x="1463" y="38"/>
                  </a:cubicBezTo>
                  <a:cubicBezTo>
                    <a:pt x="1463" y="38"/>
                    <a:pt x="1462" y="39"/>
                    <a:pt x="1462" y="39"/>
                  </a:cubicBezTo>
                  <a:cubicBezTo>
                    <a:pt x="1432" y="59"/>
                    <a:pt x="1403" y="85"/>
                    <a:pt x="1376" y="115"/>
                  </a:cubicBezTo>
                  <a:cubicBezTo>
                    <a:pt x="1376" y="115"/>
                    <a:pt x="1376" y="115"/>
                    <a:pt x="1376" y="115"/>
                  </a:cubicBezTo>
                  <a:cubicBezTo>
                    <a:pt x="1370" y="122"/>
                    <a:pt x="1364" y="129"/>
                    <a:pt x="1358" y="136"/>
                  </a:cubicBezTo>
                  <a:cubicBezTo>
                    <a:pt x="1354" y="140"/>
                    <a:pt x="1350" y="145"/>
                    <a:pt x="1347" y="150"/>
                  </a:cubicBezTo>
                  <a:cubicBezTo>
                    <a:pt x="1350" y="145"/>
                    <a:pt x="1354" y="141"/>
                    <a:pt x="1358" y="137"/>
                  </a:cubicBezTo>
                  <a:cubicBezTo>
                    <a:pt x="1364" y="130"/>
                    <a:pt x="1370" y="123"/>
                    <a:pt x="1376" y="116"/>
                  </a:cubicBezTo>
                  <a:cubicBezTo>
                    <a:pt x="1377" y="116"/>
                    <a:pt x="1377" y="116"/>
                    <a:pt x="1377" y="115"/>
                  </a:cubicBezTo>
                  <a:cubicBezTo>
                    <a:pt x="1404" y="85"/>
                    <a:pt x="1433" y="59"/>
                    <a:pt x="1463" y="39"/>
                  </a:cubicBezTo>
                  <a:cubicBezTo>
                    <a:pt x="1463" y="39"/>
                    <a:pt x="1464" y="39"/>
                    <a:pt x="1464" y="39"/>
                  </a:cubicBezTo>
                  <a:cubicBezTo>
                    <a:pt x="1500" y="15"/>
                    <a:pt x="1538" y="1"/>
                    <a:pt x="1577" y="1"/>
                  </a:cubicBezTo>
                  <a:cubicBezTo>
                    <a:pt x="1584" y="1"/>
                    <a:pt x="1591" y="2"/>
                    <a:pt x="1598" y="3"/>
                  </a:cubicBezTo>
                  <a:cubicBezTo>
                    <a:pt x="1599" y="3"/>
                    <a:pt x="1599" y="3"/>
                    <a:pt x="1600" y="3"/>
                  </a:cubicBezTo>
                  <a:cubicBezTo>
                    <a:pt x="1622" y="6"/>
                    <a:pt x="1644" y="14"/>
                    <a:pt x="1667" y="27"/>
                  </a:cubicBezTo>
                  <a:cubicBezTo>
                    <a:pt x="1703" y="47"/>
                    <a:pt x="1730" y="70"/>
                    <a:pt x="1749" y="95"/>
                  </a:cubicBezTo>
                  <a:cubicBezTo>
                    <a:pt x="1749" y="96"/>
                    <a:pt x="1749" y="96"/>
                    <a:pt x="1749" y="96"/>
                  </a:cubicBezTo>
                  <a:cubicBezTo>
                    <a:pt x="1771" y="126"/>
                    <a:pt x="1781" y="159"/>
                    <a:pt x="1781" y="193"/>
                  </a:cubicBezTo>
                  <a:cubicBezTo>
                    <a:pt x="1781" y="210"/>
                    <a:pt x="1779" y="227"/>
                    <a:pt x="1774" y="244"/>
                  </a:cubicBezTo>
                  <a:cubicBezTo>
                    <a:pt x="1774" y="245"/>
                    <a:pt x="1774" y="246"/>
                    <a:pt x="1774" y="247"/>
                  </a:cubicBezTo>
                  <a:cubicBezTo>
                    <a:pt x="1773" y="249"/>
                    <a:pt x="1772" y="252"/>
                    <a:pt x="1771" y="255"/>
                  </a:cubicBezTo>
                  <a:cubicBezTo>
                    <a:pt x="1771" y="256"/>
                    <a:pt x="1770" y="257"/>
                    <a:pt x="1770" y="258"/>
                  </a:cubicBezTo>
                  <a:cubicBezTo>
                    <a:pt x="1770" y="259"/>
                    <a:pt x="1770" y="259"/>
                    <a:pt x="1770" y="259"/>
                  </a:cubicBezTo>
                  <a:cubicBezTo>
                    <a:pt x="1769" y="261"/>
                    <a:pt x="1769" y="262"/>
                    <a:pt x="1768" y="264"/>
                  </a:cubicBezTo>
                  <a:cubicBezTo>
                    <a:pt x="1762" y="283"/>
                    <a:pt x="1753" y="302"/>
                    <a:pt x="1742" y="322"/>
                  </a:cubicBezTo>
                  <a:cubicBezTo>
                    <a:pt x="1739" y="326"/>
                    <a:pt x="1736" y="331"/>
                    <a:pt x="1733" y="336"/>
                  </a:cubicBezTo>
                  <a:cubicBezTo>
                    <a:pt x="1729" y="343"/>
                    <a:pt x="1724" y="350"/>
                    <a:pt x="1719" y="358"/>
                  </a:cubicBezTo>
                  <a:cubicBezTo>
                    <a:pt x="1716" y="363"/>
                    <a:pt x="1713" y="368"/>
                    <a:pt x="1710" y="373"/>
                  </a:cubicBezTo>
                  <a:cubicBezTo>
                    <a:pt x="1722" y="356"/>
                    <a:pt x="1733" y="339"/>
                    <a:pt x="1743" y="322"/>
                  </a:cubicBezTo>
                  <a:cubicBezTo>
                    <a:pt x="1745" y="318"/>
                    <a:pt x="1747" y="314"/>
                    <a:pt x="1749" y="310"/>
                  </a:cubicBezTo>
                  <a:cubicBezTo>
                    <a:pt x="1758" y="293"/>
                    <a:pt x="1765" y="276"/>
                    <a:pt x="1771" y="260"/>
                  </a:cubicBezTo>
                  <a:cubicBezTo>
                    <a:pt x="1771" y="258"/>
                    <a:pt x="1772" y="257"/>
                    <a:pt x="1772" y="256"/>
                  </a:cubicBezTo>
                  <a:cubicBezTo>
                    <a:pt x="1772" y="256"/>
                    <a:pt x="1772" y="255"/>
                    <a:pt x="1772" y="255"/>
                  </a:cubicBezTo>
                  <a:cubicBezTo>
                    <a:pt x="1772" y="254"/>
                    <a:pt x="1773" y="253"/>
                    <a:pt x="1773" y="252"/>
                  </a:cubicBezTo>
                  <a:cubicBezTo>
                    <a:pt x="1774" y="249"/>
                    <a:pt x="1775" y="247"/>
                    <a:pt x="1775" y="244"/>
                  </a:cubicBezTo>
                  <a:cubicBezTo>
                    <a:pt x="1775" y="243"/>
                    <a:pt x="1776" y="242"/>
                    <a:pt x="1776" y="242"/>
                  </a:cubicBezTo>
                  <a:cubicBezTo>
                    <a:pt x="1780" y="225"/>
                    <a:pt x="1782" y="209"/>
                    <a:pt x="1782" y="193"/>
                  </a:cubicBezTo>
                  <a:cubicBezTo>
                    <a:pt x="1782" y="158"/>
                    <a:pt x="1772" y="125"/>
                    <a:pt x="1750" y="95"/>
                  </a:cubicBezTo>
                  <a:cubicBezTo>
                    <a:pt x="1749" y="95"/>
                    <a:pt x="1749" y="94"/>
                    <a:pt x="1749" y="94"/>
                  </a:cubicBezTo>
                  <a:cubicBezTo>
                    <a:pt x="1730" y="69"/>
                    <a:pt x="1704" y="46"/>
                    <a:pt x="1668" y="26"/>
                  </a:cubicBezTo>
                  <a:cubicBezTo>
                    <a:pt x="1644" y="13"/>
                    <a:pt x="1621" y="5"/>
                    <a:pt x="1599" y="2"/>
                  </a:cubicBezTo>
                  <a:cubicBezTo>
                    <a:pt x="1598" y="2"/>
                    <a:pt x="1598" y="2"/>
                    <a:pt x="1598" y="2"/>
                  </a:cubicBezTo>
                  <a:cubicBezTo>
                    <a:pt x="1591" y="1"/>
                    <a:pt x="1584" y="0"/>
                    <a:pt x="1577" y="0"/>
                  </a:cubicBezTo>
                  <a:moveTo>
                    <a:pt x="1348" y="150"/>
                  </a:moveTo>
                  <a:cubicBezTo>
                    <a:pt x="1347" y="151"/>
                    <a:pt x="1346" y="152"/>
                    <a:pt x="1345" y="153"/>
                  </a:cubicBezTo>
                  <a:cubicBezTo>
                    <a:pt x="1345" y="153"/>
                    <a:pt x="1346" y="153"/>
                    <a:pt x="1346" y="152"/>
                  </a:cubicBezTo>
                  <a:cubicBezTo>
                    <a:pt x="1347" y="151"/>
                    <a:pt x="1347" y="151"/>
                    <a:pt x="1348" y="150"/>
                  </a:cubicBezTo>
                  <a:moveTo>
                    <a:pt x="1342" y="158"/>
                  </a:moveTo>
                  <a:cubicBezTo>
                    <a:pt x="1340" y="159"/>
                    <a:pt x="1338" y="161"/>
                    <a:pt x="1337" y="163"/>
                  </a:cubicBezTo>
                  <a:cubicBezTo>
                    <a:pt x="1336" y="163"/>
                    <a:pt x="1335" y="164"/>
                    <a:pt x="1335" y="165"/>
                  </a:cubicBezTo>
                  <a:cubicBezTo>
                    <a:pt x="1333" y="167"/>
                    <a:pt x="1332" y="168"/>
                    <a:pt x="1331" y="170"/>
                  </a:cubicBezTo>
                  <a:cubicBezTo>
                    <a:pt x="1332" y="169"/>
                    <a:pt x="1333" y="168"/>
                    <a:pt x="1334" y="167"/>
                  </a:cubicBezTo>
                  <a:cubicBezTo>
                    <a:pt x="1337" y="164"/>
                    <a:pt x="1339" y="161"/>
                    <a:pt x="1341" y="158"/>
                  </a:cubicBezTo>
                  <a:cubicBezTo>
                    <a:pt x="1341" y="158"/>
                    <a:pt x="1341" y="158"/>
                    <a:pt x="1342" y="158"/>
                  </a:cubicBezTo>
                  <a:moveTo>
                    <a:pt x="1332" y="171"/>
                  </a:moveTo>
                  <a:cubicBezTo>
                    <a:pt x="1331" y="172"/>
                    <a:pt x="1329" y="173"/>
                    <a:pt x="1328" y="174"/>
                  </a:cubicBezTo>
                  <a:cubicBezTo>
                    <a:pt x="1325" y="178"/>
                    <a:pt x="1322" y="182"/>
                    <a:pt x="1319" y="187"/>
                  </a:cubicBezTo>
                  <a:cubicBezTo>
                    <a:pt x="1319" y="186"/>
                    <a:pt x="1320" y="186"/>
                    <a:pt x="1321" y="185"/>
                  </a:cubicBezTo>
                  <a:cubicBezTo>
                    <a:pt x="1325" y="180"/>
                    <a:pt x="1328" y="175"/>
                    <a:pt x="1332" y="171"/>
                  </a:cubicBezTo>
                  <a:moveTo>
                    <a:pt x="1319" y="187"/>
                  </a:moveTo>
                  <a:cubicBezTo>
                    <a:pt x="1319" y="188"/>
                    <a:pt x="1318" y="189"/>
                    <a:pt x="1317" y="189"/>
                  </a:cubicBezTo>
                  <a:cubicBezTo>
                    <a:pt x="1313" y="195"/>
                    <a:pt x="1309" y="201"/>
                    <a:pt x="1305" y="207"/>
                  </a:cubicBezTo>
                  <a:cubicBezTo>
                    <a:pt x="1305" y="206"/>
                    <a:pt x="1306" y="206"/>
                    <a:pt x="1307" y="206"/>
                  </a:cubicBezTo>
                  <a:cubicBezTo>
                    <a:pt x="1311" y="199"/>
                    <a:pt x="1315" y="193"/>
                    <a:pt x="1319" y="187"/>
                  </a:cubicBezTo>
                  <a:cubicBezTo>
                    <a:pt x="1319" y="187"/>
                    <a:pt x="1319" y="187"/>
                    <a:pt x="1319" y="187"/>
                  </a:cubicBezTo>
                  <a:moveTo>
                    <a:pt x="1305" y="207"/>
                  </a:moveTo>
                  <a:cubicBezTo>
                    <a:pt x="1305" y="208"/>
                    <a:pt x="1304" y="208"/>
                    <a:pt x="1303" y="209"/>
                  </a:cubicBezTo>
                  <a:cubicBezTo>
                    <a:pt x="1300" y="213"/>
                    <a:pt x="1297" y="218"/>
                    <a:pt x="1293" y="223"/>
                  </a:cubicBezTo>
                  <a:cubicBezTo>
                    <a:pt x="1293" y="224"/>
                    <a:pt x="1293" y="224"/>
                    <a:pt x="1293" y="225"/>
                  </a:cubicBezTo>
                  <a:cubicBezTo>
                    <a:pt x="1291" y="226"/>
                    <a:pt x="1290" y="228"/>
                    <a:pt x="1289" y="229"/>
                  </a:cubicBezTo>
                  <a:cubicBezTo>
                    <a:pt x="1290" y="229"/>
                    <a:pt x="1290" y="229"/>
                    <a:pt x="1291" y="229"/>
                  </a:cubicBezTo>
                  <a:cubicBezTo>
                    <a:pt x="1292" y="228"/>
                    <a:pt x="1292" y="227"/>
                    <a:pt x="1293" y="226"/>
                  </a:cubicBezTo>
                  <a:cubicBezTo>
                    <a:pt x="1293" y="226"/>
                    <a:pt x="1293" y="225"/>
                    <a:pt x="1294" y="225"/>
                  </a:cubicBezTo>
                  <a:cubicBezTo>
                    <a:pt x="1297" y="219"/>
                    <a:pt x="1301" y="213"/>
                    <a:pt x="1305" y="207"/>
                  </a:cubicBezTo>
                  <a:moveTo>
                    <a:pt x="1290" y="230"/>
                  </a:moveTo>
                  <a:cubicBezTo>
                    <a:pt x="1290" y="230"/>
                    <a:pt x="1289" y="231"/>
                    <a:pt x="1288" y="231"/>
                  </a:cubicBezTo>
                  <a:cubicBezTo>
                    <a:pt x="1283" y="239"/>
                    <a:pt x="1278" y="247"/>
                    <a:pt x="1273" y="254"/>
                  </a:cubicBezTo>
                  <a:cubicBezTo>
                    <a:pt x="1274" y="254"/>
                    <a:pt x="1274" y="254"/>
                    <a:pt x="1275" y="254"/>
                  </a:cubicBezTo>
                  <a:cubicBezTo>
                    <a:pt x="1280" y="246"/>
                    <a:pt x="1285" y="238"/>
                    <a:pt x="1290" y="230"/>
                  </a:cubicBezTo>
                  <a:moveTo>
                    <a:pt x="1274" y="255"/>
                  </a:moveTo>
                  <a:cubicBezTo>
                    <a:pt x="1274" y="255"/>
                    <a:pt x="1273" y="256"/>
                    <a:pt x="1273" y="256"/>
                  </a:cubicBezTo>
                  <a:cubicBezTo>
                    <a:pt x="1268" y="263"/>
                    <a:pt x="1264" y="269"/>
                    <a:pt x="1260" y="276"/>
                  </a:cubicBezTo>
                  <a:cubicBezTo>
                    <a:pt x="1260" y="276"/>
                    <a:pt x="1261" y="276"/>
                    <a:pt x="1261" y="276"/>
                  </a:cubicBezTo>
                  <a:cubicBezTo>
                    <a:pt x="1265" y="269"/>
                    <a:pt x="1270" y="262"/>
                    <a:pt x="1274" y="255"/>
                  </a:cubicBezTo>
                  <a:moveTo>
                    <a:pt x="1260" y="277"/>
                  </a:moveTo>
                  <a:cubicBezTo>
                    <a:pt x="1260" y="277"/>
                    <a:pt x="1260" y="277"/>
                    <a:pt x="1259" y="277"/>
                  </a:cubicBezTo>
                  <a:cubicBezTo>
                    <a:pt x="1253" y="287"/>
                    <a:pt x="1247" y="297"/>
                    <a:pt x="1242" y="307"/>
                  </a:cubicBezTo>
                  <a:cubicBezTo>
                    <a:pt x="1242" y="307"/>
                    <a:pt x="1242" y="307"/>
                    <a:pt x="1243" y="307"/>
                  </a:cubicBezTo>
                  <a:cubicBezTo>
                    <a:pt x="1249" y="297"/>
                    <a:pt x="1254" y="287"/>
                    <a:pt x="1260" y="277"/>
                  </a:cubicBezTo>
                  <a:moveTo>
                    <a:pt x="1241" y="308"/>
                  </a:moveTo>
                  <a:cubicBezTo>
                    <a:pt x="1234" y="320"/>
                    <a:pt x="1228" y="332"/>
                    <a:pt x="1221" y="343"/>
                  </a:cubicBezTo>
                  <a:cubicBezTo>
                    <a:pt x="1221" y="343"/>
                    <a:pt x="1222" y="344"/>
                    <a:pt x="1222" y="344"/>
                  </a:cubicBezTo>
                  <a:cubicBezTo>
                    <a:pt x="1229" y="332"/>
                    <a:pt x="1235" y="320"/>
                    <a:pt x="1242" y="308"/>
                  </a:cubicBezTo>
                  <a:cubicBezTo>
                    <a:pt x="1242" y="308"/>
                    <a:pt x="1241" y="308"/>
                    <a:pt x="1241" y="308"/>
                  </a:cubicBezTo>
                  <a:moveTo>
                    <a:pt x="1221" y="344"/>
                  </a:moveTo>
                  <a:cubicBezTo>
                    <a:pt x="1214" y="356"/>
                    <a:pt x="1207" y="368"/>
                    <a:pt x="1201" y="380"/>
                  </a:cubicBezTo>
                  <a:cubicBezTo>
                    <a:pt x="1202" y="380"/>
                    <a:pt x="1202" y="380"/>
                    <a:pt x="1202" y="380"/>
                  </a:cubicBezTo>
                  <a:cubicBezTo>
                    <a:pt x="1209" y="368"/>
                    <a:pt x="1215" y="357"/>
                    <a:pt x="1222" y="345"/>
                  </a:cubicBezTo>
                  <a:cubicBezTo>
                    <a:pt x="1221" y="344"/>
                    <a:pt x="1221" y="344"/>
                    <a:pt x="1221" y="344"/>
                  </a:cubicBezTo>
                  <a:moveTo>
                    <a:pt x="1709" y="372"/>
                  </a:moveTo>
                  <a:cubicBezTo>
                    <a:pt x="1705" y="377"/>
                    <a:pt x="1702" y="382"/>
                    <a:pt x="1698" y="386"/>
                  </a:cubicBezTo>
                  <a:cubicBezTo>
                    <a:pt x="1696" y="389"/>
                    <a:pt x="1695" y="392"/>
                    <a:pt x="1693" y="395"/>
                  </a:cubicBezTo>
                  <a:cubicBezTo>
                    <a:pt x="1694" y="393"/>
                    <a:pt x="1696" y="391"/>
                    <a:pt x="1697" y="389"/>
                  </a:cubicBezTo>
                  <a:cubicBezTo>
                    <a:pt x="1701" y="383"/>
                    <a:pt x="1705" y="378"/>
                    <a:pt x="1709" y="372"/>
                  </a:cubicBezTo>
                  <a:moveTo>
                    <a:pt x="1201" y="381"/>
                  </a:moveTo>
                  <a:cubicBezTo>
                    <a:pt x="1197" y="389"/>
                    <a:pt x="1193" y="396"/>
                    <a:pt x="1189" y="404"/>
                  </a:cubicBezTo>
                  <a:cubicBezTo>
                    <a:pt x="1189" y="404"/>
                    <a:pt x="1189" y="404"/>
                    <a:pt x="1190" y="404"/>
                  </a:cubicBezTo>
                  <a:cubicBezTo>
                    <a:pt x="1194" y="396"/>
                    <a:pt x="1198" y="389"/>
                    <a:pt x="1202" y="381"/>
                  </a:cubicBezTo>
                  <a:cubicBezTo>
                    <a:pt x="1202" y="381"/>
                    <a:pt x="1201" y="381"/>
                    <a:pt x="1201" y="381"/>
                  </a:cubicBezTo>
                  <a:moveTo>
                    <a:pt x="1692" y="394"/>
                  </a:moveTo>
                  <a:cubicBezTo>
                    <a:pt x="1688" y="399"/>
                    <a:pt x="1684" y="404"/>
                    <a:pt x="1680" y="409"/>
                  </a:cubicBezTo>
                  <a:cubicBezTo>
                    <a:pt x="1679" y="411"/>
                    <a:pt x="1677" y="413"/>
                    <a:pt x="1676" y="415"/>
                  </a:cubicBezTo>
                  <a:cubicBezTo>
                    <a:pt x="1679" y="411"/>
                    <a:pt x="1683" y="407"/>
                    <a:pt x="1686" y="403"/>
                  </a:cubicBezTo>
                  <a:cubicBezTo>
                    <a:pt x="1688" y="400"/>
                    <a:pt x="1690" y="397"/>
                    <a:pt x="1692" y="394"/>
                  </a:cubicBezTo>
                  <a:moveTo>
                    <a:pt x="1188" y="405"/>
                  </a:moveTo>
                  <a:cubicBezTo>
                    <a:pt x="1181" y="418"/>
                    <a:pt x="1175" y="431"/>
                    <a:pt x="1168" y="443"/>
                  </a:cubicBezTo>
                  <a:cubicBezTo>
                    <a:pt x="1169" y="443"/>
                    <a:pt x="1169" y="443"/>
                    <a:pt x="1169" y="443"/>
                  </a:cubicBezTo>
                  <a:cubicBezTo>
                    <a:pt x="1175" y="432"/>
                    <a:pt x="1181" y="421"/>
                    <a:pt x="1186" y="410"/>
                  </a:cubicBezTo>
                  <a:cubicBezTo>
                    <a:pt x="1187" y="408"/>
                    <a:pt x="1188" y="407"/>
                    <a:pt x="1189" y="405"/>
                  </a:cubicBezTo>
                  <a:cubicBezTo>
                    <a:pt x="1189" y="405"/>
                    <a:pt x="1188" y="405"/>
                    <a:pt x="1188" y="405"/>
                  </a:cubicBezTo>
                  <a:moveTo>
                    <a:pt x="999" y="410"/>
                  </a:moveTo>
                  <a:cubicBezTo>
                    <a:pt x="998" y="410"/>
                    <a:pt x="997" y="410"/>
                    <a:pt x="996" y="410"/>
                  </a:cubicBezTo>
                  <a:cubicBezTo>
                    <a:pt x="995" y="410"/>
                    <a:pt x="995" y="410"/>
                    <a:pt x="994" y="410"/>
                  </a:cubicBezTo>
                  <a:cubicBezTo>
                    <a:pt x="990" y="411"/>
                    <a:pt x="985" y="411"/>
                    <a:pt x="980" y="412"/>
                  </a:cubicBezTo>
                  <a:cubicBezTo>
                    <a:pt x="980" y="413"/>
                    <a:pt x="979" y="413"/>
                    <a:pt x="979" y="413"/>
                  </a:cubicBezTo>
                  <a:cubicBezTo>
                    <a:pt x="977" y="413"/>
                    <a:pt x="975" y="414"/>
                    <a:pt x="973" y="414"/>
                  </a:cubicBezTo>
                  <a:cubicBezTo>
                    <a:pt x="972" y="414"/>
                    <a:pt x="972" y="415"/>
                    <a:pt x="972" y="415"/>
                  </a:cubicBezTo>
                  <a:cubicBezTo>
                    <a:pt x="968" y="416"/>
                    <a:pt x="964" y="417"/>
                    <a:pt x="960" y="419"/>
                  </a:cubicBezTo>
                  <a:cubicBezTo>
                    <a:pt x="960" y="419"/>
                    <a:pt x="960" y="420"/>
                    <a:pt x="959" y="420"/>
                  </a:cubicBezTo>
                  <a:cubicBezTo>
                    <a:pt x="963" y="419"/>
                    <a:pt x="967" y="417"/>
                    <a:pt x="971" y="416"/>
                  </a:cubicBezTo>
                  <a:cubicBezTo>
                    <a:pt x="972" y="416"/>
                    <a:pt x="972" y="416"/>
                    <a:pt x="972" y="415"/>
                  </a:cubicBezTo>
                  <a:cubicBezTo>
                    <a:pt x="974" y="415"/>
                    <a:pt x="976" y="414"/>
                    <a:pt x="977" y="414"/>
                  </a:cubicBezTo>
                  <a:cubicBezTo>
                    <a:pt x="978" y="414"/>
                    <a:pt x="979" y="414"/>
                    <a:pt x="979" y="414"/>
                  </a:cubicBezTo>
                  <a:cubicBezTo>
                    <a:pt x="984" y="413"/>
                    <a:pt x="989" y="412"/>
                    <a:pt x="993" y="411"/>
                  </a:cubicBezTo>
                  <a:cubicBezTo>
                    <a:pt x="994" y="411"/>
                    <a:pt x="994" y="411"/>
                    <a:pt x="995" y="411"/>
                  </a:cubicBezTo>
                  <a:cubicBezTo>
                    <a:pt x="996" y="411"/>
                    <a:pt x="997" y="411"/>
                    <a:pt x="999" y="411"/>
                  </a:cubicBezTo>
                  <a:cubicBezTo>
                    <a:pt x="1001" y="411"/>
                    <a:pt x="1004" y="411"/>
                    <a:pt x="1006" y="412"/>
                  </a:cubicBezTo>
                  <a:cubicBezTo>
                    <a:pt x="1006" y="412"/>
                    <a:pt x="1007" y="412"/>
                    <a:pt x="1007" y="412"/>
                  </a:cubicBezTo>
                  <a:cubicBezTo>
                    <a:pt x="1007" y="412"/>
                    <a:pt x="1007" y="412"/>
                    <a:pt x="1007" y="412"/>
                  </a:cubicBezTo>
                  <a:cubicBezTo>
                    <a:pt x="1010" y="412"/>
                    <a:pt x="1013" y="413"/>
                    <a:pt x="1015" y="414"/>
                  </a:cubicBezTo>
                  <a:cubicBezTo>
                    <a:pt x="1015" y="414"/>
                    <a:pt x="1015" y="413"/>
                    <a:pt x="1016" y="413"/>
                  </a:cubicBezTo>
                  <a:cubicBezTo>
                    <a:pt x="1013" y="412"/>
                    <a:pt x="1010" y="411"/>
                    <a:pt x="1007" y="411"/>
                  </a:cubicBezTo>
                  <a:cubicBezTo>
                    <a:pt x="1007" y="411"/>
                    <a:pt x="1007" y="411"/>
                    <a:pt x="1007" y="411"/>
                  </a:cubicBezTo>
                  <a:cubicBezTo>
                    <a:pt x="1007" y="411"/>
                    <a:pt x="1007" y="411"/>
                    <a:pt x="1006" y="411"/>
                  </a:cubicBezTo>
                  <a:cubicBezTo>
                    <a:pt x="1004" y="410"/>
                    <a:pt x="1001" y="410"/>
                    <a:pt x="999" y="410"/>
                  </a:cubicBezTo>
                  <a:moveTo>
                    <a:pt x="1017" y="413"/>
                  </a:moveTo>
                  <a:cubicBezTo>
                    <a:pt x="1016" y="414"/>
                    <a:pt x="1016" y="414"/>
                    <a:pt x="1016" y="414"/>
                  </a:cubicBezTo>
                  <a:cubicBezTo>
                    <a:pt x="1016" y="414"/>
                    <a:pt x="1017" y="414"/>
                    <a:pt x="1017" y="414"/>
                  </a:cubicBezTo>
                  <a:cubicBezTo>
                    <a:pt x="1017" y="415"/>
                    <a:pt x="1017" y="415"/>
                    <a:pt x="1018" y="415"/>
                  </a:cubicBezTo>
                  <a:cubicBezTo>
                    <a:pt x="1024" y="418"/>
                    <a:pt x="1028" y="422"/>
                    <a:pt x="1031" y="428"/>
                  </a:cubicBezTo>
                  <a:cubicBezTo>
                    <a:pt x="1031" y="428"/>
                    <a:pt x="1031" y="428"/>
                    <a:pt x="1031" y="428"/>
                  </a:cubicBezTo>
                  <a:cubicBezTo>
                    <a:pt x="1031" y="428"/>
                    <a:pt x="1032" y="428"/>
                    <a:pt x="1032" y="428"/>
                  </a:cubicBezTo>
                  <a:cubicBezTo>
                    <a:pt x="1032" y="428"/>
                    <a:pt x="1032" y="428"/>
                    <a:pt x="1032" y="428"/>
                  </a:cubicBezTo>
                  <a:cubicBezTo>
                    <a:pt x="1032" y="428"/>
                    <a:pt x="1031" y="427"/>
                    <a:pt x="1031" y="427"/>
                  </a:cubicBezTo>
                  <a:cubicBezTo>
                    <a:pt x="1029" y="421"/>
                    <a:pt x="1024" y="417"/>
                    <a:pt x="1018" y="414"/>
                  </a:cubicBezTo>
                  <a:cubicBezTo>
                    <a:pt x="1018" y="414"/>
                    <a:pt x="1018" y="414"/>
                    <a:pt x="1017" y="414"/>
                  </a:cubicBezTo>
                  <a:cubicBezTo>
                    <a:pt x="1017" y="414"/>
                    <a:pt x="1017" y="413"/>
                    <a:pt x="1017" y="413"/>
                  </a:cubicBezTo>
                  <a:moveTo>
                    <a:pt x="1675" y="414"/>
                  </a:moveTo>
                  <a:cubicBezTo>
                    <a:pt x="1671" y="419"/>
                    <a:pt x="1667" y="424"/>
                    <a:pt x="1663" y="428"/>
                  </a:cubicBezTo>
                  <a:cubicBezTo>
                    <a:pt x="1662" y="430"/>
                    <a:pt x="1661" y="431"/>
                    <a:pt x="1660" y="433"/>
                  </a:cubicBezTo>
                  <a:cubicBezTo>
                    <a:pt x="1664" y="429"/>
                    <a:pt x="1667" y="425"/>
                    <a:pt x="1671" y="421"/>
                  </a:cubicBezTo>
                  <a:cubicBezTo>
                    <a:pt x="1672" y="418"/>
                    <a:pt x="1674" y="416"/>
                    <a:pt x="1675" y="414"/>
                  </a:cubicBezTo>
                  <a:moveTo>
                    <a:pt x="959" y="419"/>
                  </a:moveTo>
                  <a:cubicBezTo>
                    <a:pt x="950" y="423"/>
                    <a:pt x="942" y="427"/>
                    <a:pt x="934" y="432"/>
                  </a:cubicBezTo>
                  <a:cubicBezTo>
                    <a:pt x="935" y="432"/>
                    <a:pt x="936" y="432"/>
                    <a:pt x="936" y="432"/>
                  </a:cubicBezTo>
                  <a:cubicBezTo>
                    <a:pt x="943" y="428"/>
                    <a:pt x="950" y="424"/>
                    <a:pt x="957" y="421"/>
                  </a:cubicBezTo>
                  <a:cubicBezTo>
                    <a:pt x="958" y="420"/>
                    <a:pt x="958" y="420"/>
                    <a:pt x="959" y="419"/>
                  </a:cubicBezTo>
                  <a:moveTo>
                    <a:pt x="1031" y="429"/>
                  </a:moveTo>
                  <a:cubicBezTo>
                    <a:pt x="1033" y="433"/>
                    <a:pt x="1034" y="438"/>
                    <a:pt x="1034" y="443"/>
                  </a:cubicBezTo>
                  <a:cubicBezTo>
                    <a:pt x="1034" y="445"/>
                    <a:pt x="1033" y="448"/>
                    <a:pt x="1033" y="450"/>
                  </a:cubicBezTo>
                  <a:cubicBezTo>
                    <a:pt x="1033" y="451"/>
                    <a:pt x="1033" y="451"/>
                    <a:pt x="1033" y="452"/>
                  </a:cubicBezTo>
                  <a:cubicBezTo>
                    <a:pt x="1033" y="455"/>
                    <a:pt x="1032" y="458"/>
                    <a:pt x="1031" y="461"/>
                  </a:cubicBezTo>
                  <a:cubicBezTo>
                    <a:pt x="1031" y="461"/>
                    <a:pt x="1032" y="461"/>
                    <a:pt x="1032" y="461"/>
                  </a:cubicBezTo>
                  <a:cubicBezTo>
                    <a:pt x="1033" y="460"/>
                    <a:pt x="1033" y="458"/>
                    <a:pt x="1033" y="456"/>
                  </a:cubicBezTo>
                  <a:cubicBezTo>
                    <a:pt x="1033" y="456"/>
                    <a:pt x="1033" y="456"/>
                    <a:pt x="1033" y="455"/>
                  </a:cubicBezTo>
                  <a:cubicBezTo>
                    <a:pt x="1034" y="451"/>
                    <a:pt x="1035" y="447"/>
                    <a:pt x="1035" y="443"/>
                  </a:cubicBezTo>
                  <a:cubicBezTo>
                    <a:pt x="1035" y="443"/>
                    <a:pt x="1035" y="442"/>
                    <a:pt x="1035" y="441"/>
                  </a:cubicBezTo>
                  <a:cubicBezTo>
                    <a:pt x="1034" y="437"/>
                    <a:pt x="1034" y="433"/>
                    <a:pt x="1032" y="429"/>
                  </a:cubicBezTo>
                  <a:cubicBezTo>
                    <a:pt x="1032" y="429"/>
                    <a:pt x="1032" y="429"/>
                    <a:pt x="1031" y="429"/>
                  </a:cubicBezTo>
                  <a:moveTo>
                    <a:pt x="1659" y="432"/>
                  </a:moveTo>
                  <a:cubicBezTo>
                    <a:pt x="1655" y="437"/>
                    <a:pt x="1651" y="442"/>
                    <a:pt x="1646" y="446"/>
                  </a:cubicBezTo>
                  <a:cubicBezTo>
                    <a:pt x="1645" y="447"/>
                    <a:pt x="1645" y="449"/>
                    <a:pt x="1644" y="450"/>
                  </a:cubicBezTo>
                  <a:cubicBezTo>
                    <a:pt x="1644" y="450"/>
                    <a:pt x="1644" y="449"/>
                    <a:pt x="1645" y="449"/>
                  </a:cubicBezTo>
                  <a:cubicBezTo>
                    <a:pt x="1648" y="445"/>
                    <a:pt x="1652" y="441"/>
                    <a:pt x="1656" y="437"/>
                  </a:cubicBezTo>
                  <a:cubicBezTo>
                    <a:pt x="1657" y="436"/>
                    <a:pt x="1658" y="434"/>
                    <a:pt x="1659" y="432"/>
                  </a:cubicBezTo>
                  <a:moveTo>
                    <a:pt x="934" y="433"/>
                  </a:moveTo>
                  <a:cubicBezTo>
                    <a:pt x="934" y="433"/>
                    <a:pt x="933" y="433"/>
                    <a:pt x="932" y="433"/>
                  </a:cubicBezTo>
                  <a:cubicBezTo>
                    <a:pt x="932" y="433"/>
                    <a:pt x="932" y="433"/>
                    <a:pt x="932" y="434"/>
                  </a:cubicBezTo>
                  <a:cubicBezTo>
                    <a:pt x="920" y="441"/>
                    <a:pt x="909" y="450"/>
                    <a:pt x="900" y="460"/>
                  </a:cubicBezTo>
                  <a:cubicBezTo>
                    <a:pt x="900" y="460"/>
                    <a:pt x="901" y="460"/>
                    <a:pt x="901" y="460"/>
                  </a:cubicBezTo>
                  <a:cubicBezTo>
                    <a:pt x="910" y="451"/>
                    <a:pt x="920" y="442"/>
                    <a:pt x="931" y="435"/>
                  </a:cubicBezTo>
                  <a:cubicBezTo>
                    <a:pt x="931" y="435"/>
                    <a:pt x="932" y="435"/>
                    <a:pt x="932" y="434"/>
                  </a:cubicBezTo>
                  <a:cubicBezTo>
                    <a:pt x="933" y="434"/>
                    <a:pt x="934" y="433"/>
                    <a:pt x="934" y="433"/>
                  </a:cubicBezTo>
                  <a:moveTo>
                    <a:pt x="1168" y="443"/>
                  </a:moveTo>
                  <a:cubicBezTo>
                    <a:pt x="1167" y="445"/>
                    <a:pt x="1167" y="446"/>
                    <a:pt x="1166" y="447"/>
                  </a:cubicBezTo>
                  <a:cubicBezTo>
                    <a:pt x="1161" y="456"/>
                    <a:pt x="1157" y="465"/>
                    <a:pt x="1152" y="474"/>
                  </a:cubicBezTo>
                  <a:cubicBezTo>
                    <a:pt x="1150" y="478"/>
                    <a:pt x="1148" y="482"/>
                    <a:pt x="1146" y="485"/>
                  </a:cubicBezTo>
                  <a:cubicBezTo>
                    <a:pt x="1146" y="486"/>
                    <a:pt x="1147" y="486"/>
                    <a:pt x="1147" y="486"/>
                  </a:cubicBezTo>
                  <a:cubicBezTo>
                    <a:pt x="1153" y="474"/>
                    <a:pt x="1160" y="461"/>
                    <a:pt x="1167" y="448"/>
                  </a:cubicBezTo>
                  <a:cubicBezTo>
                    <a:pt x="1168" y="446"/>
                    <a:pt x="1168" y="445"/>
                    <a:pt x="1169" y="444"/>
                  </a:cubicBezTo>
                  <a:cubicBezTo>
                    <a:pt x="1169" y="444"/>
                    <a:pt x="1168" y="443"/>
                    <a:pt x="1168" y="443"/>
                  </a:cubicBezTo>
                  <a:moveTo>
                    <a:pt x="1643" y="449"/>
                  </a:moveTo>
                  <a:cubicBezTo>
                    <a:pt x="1638" y="454"/>
                    <a:pt x="1634" y="459"/>
                    <a:pt x="1629" y="464"/>
                  </a:cubicBezTo>
                  <a:cubicBezTo>
                    <a:pt x="1628" y="466"/>
                    <a:pt x="1627" y="467"/>
                    <a:pt x="1627" y="468"/>
                  </a:cubicBezTo>
                  <a:cubicBezTo>
                    <a:pt x="1631" y="463"/>
                    <a:pt x="1636" y="458"/>
                    <a:pt x="1640" y="454"/>
                  </a:cubicBezTo>
                  <a:cubicBezTo>
                    <a:pt x="1641" y="452"/>
                    <a:pt x="1642" y="451"/>
                    <a:pt x="1643" y="449"/>
                  </a:cubicBezTo>
                  <a:moveTo>
                    <a:pt x="900" y="461"/>
                  </a:moveTo>
                  <a:cubicBezTo>
                    <a:pt x="900" y="461"/>
                    <a:pt x="899" y="461"/>
                    <a:pt x="899" y="461"/>
                  </a:cubicBezTo>
                  <a:cubicBezTo>
                    <a:pt x="892" y="468"/>
                    <a:pt x="886" y="476"/>
                    <a:pt x="881" y="484"/>
                  </a:cubicBezTo>
                  <a:cubicBezTo>
                    <a:pt x="880" y="486"/>
                    <a:pt x="880" y="487"/>
                    <a:pt x="879" y="488"/>
                  </a:cubicBezTo>
                  <a:cubicBezTo>
                    <a:pt x="879" y="489"/>
                    <a:pt x="878" y="489"/>
                    <a:pt x="878" y="490"/>
                  </a:cubicBezTo>
                  <a:cubicBezTo>
                    <a:pt x="878" y="490"/>
                    <a:pt x="879" y="490"/>
                    <a:pt x="879" y="490"/>
                  </a:cubicBezTo>
                  <a:cubicBezTo>
                    <a:pt x="879" y="490"/>
                    <a:pt x="879" y="489"/>
                    <a:pt x="880" y="489"/>
                  </a:cubicBezTo>
                  <a:cubicBezTo>
                    <a:pt x="885" y="479"/>
                    <a:pt x="892" y="470"/>
                    <a:pt x="900" y="461"/>
                  </a:cubicBezTo>
                  <a:moveTo>
                    <a:pt x="1031" y="462"/>
                  </a:moveTo>
                  <a:cubicBezTo>
                    <a:pt x="1030" y="464"/>
                    <a:pt x="1030" y="467"/>
                    <a:pt x="1029" y="469"/>
                  </a:cubicBezTo>
                  <a:cubicBezTo>
                    <a:pt x="1029" y="470"/>
                    <a:pt x="1029" y="470"/>
                    <a:pt x="1028" y="470"/>
                  </a:cubicBezTo>
                  <a:cubicBezTo>
                    <a:pt x="1028" y="471"/>
                    <a:pt x="1028" y="472"/>
                    <a:pt x="1027" y="473"/>
                  </a:cubicBezTo>
                  <a:cubicBezTo>
                    <a:pt x="1027" y="476"/>
                    <a:pt x="1026" y="478"/>
                    <a:pt x="1025" y="480"/>
                  </a:cubicBezTo>
                  <a:cubicBezTo>
                    <a:pt x="1025" y="481"/>
                    <a:pt x="1025" y="481"/>
                    <a:pt x="1025" y="482"/>
                  </a:cubicBezTo>
                  <a:cubicBezTo>
                    <a:pt x="1024" y="483"/>
                    <a:pt x="1024" y="484"/>
                    <a:pt x="1024" y="485"/>
                  </a:cubicBezTo>
                  <a:cubicBezTo>
                    <a:pt x="1024" y="486"/>
                    <a:pt x="1023" y="486"/>
                    <a:pt x="1023" y="487"/>
                  </a:cubicBezTo>
                  <a:cubicBezTo>
                    <a:pt x="1023" y="487"/>
                    <a:pt x="1023" y="487"/>
                    <a:pt x="1023" y="488"/>
                  </a:cubicBezTo>
                  <a:cubicBezTo>
                    <a:pt x="1022" y="493"/>
                    <a:pt x="1021" y="498"/>
                    <a:pt x="1020" y="503"/>
                  </a:cubicBezTo>
                  <a:cubicBezTo>
                    <a:pt x="1020" y="503"/>
                    <a:pt x="1021" y="503"/>
                    <a:pt x="1021" y="503"/>
                  </a:cubicBezTo>
                  <a:cubicBezTo>
                    <a:pt x="1022" y="498"/>
                    <a:pt x="1023" y="493"/>
                    <a:pt x="1024" y="487"/>
                  </a:cubicBezTo>
                  <a:cubicBezTo>
                    <a:pt x="1024" y="487"/>
                    <a:pt x="1024" y="487"/>
                    <a:pt x="1024" y="486"/>
                  </a:cubicBezTo>
                  <a:cubicBezTo>
                    <a:pt x="1025" y="486"/>
                    <a:pt x="1025" y="486"/>
                    <a:pt x="1025" y="486"/>
                  </a:cubicBezTo>
                  <a:cubicBezTo>
                    <a:pt x="1025" y="484"/>
                    <a:pt x="1025" y="482"/>
                    <a:pt x="1026" y="481"/>
                  </a:cubicBezTo>
                  <a:cubicBezTo>
                    <a:pt x="1026" y="480"/>
                    <a:pt x="1026" y="479"/>
                    <a:pt x="1027" y="479"/>
                  </a:cubicBezTo>
                  <a:cubicBezTo>
                    <a:pt x="1027" y="477"/>
                    <a:pt x="1028" y="475"/>
                    <a:pt x="1028" y="474"/>
                  </a:cubicBezTo>
                  <a:cubicBezTo>
                    <a:pt x="1029" y="472"/>
                    <a:pt x="1029" y="471"/>
                    <a:pt x="1029" y="470"/>
                  </a:cubicBezTo>
                  <a:cubicBezTo>
                    <a:pt x="1030" y="470"/>
                    <a:pt x="1030" y="470"/>
                    <a:pt x="1030" y="469"/>
                  </a:cubicBezTo>
                  <a:cubicBezTo>
                    <a:pt x="1030" y="469"/>
                    <a:pt x="1030" y="469"/>
                    <a:pt x="1030" y="469"/>
                  </a:cubicBezTo>
                  <a:cubicBezTo>
                    <a:pt x="1031" y="467"/>
                    <a:pt x="1031" y="464"/>
                    <a:pt x="1032" y="462"/>
                  </a:cubicBezTo>
                  <a:cubicBezTo>
                    <a:pt x="1032" y="462"/>
                    <a:pt x="1031" y="462"/>
                    <a:pt x="1031" y="462"/>
                  </a:cubicBezTo>
                  <a:moveTo>
                    <a:pt x="1626" y="468"/>
                  </a:moveTo>
                  <a:cubicBezTo>
                    <a:pt x="1620" y="474"/>
                    <a:pt x="1615" y="480"/>
                    <a:pt x="1610" y="486"/>
                  </a:cubicBezTo>
                  <a:cubicBezTo>
                    <a:pt x="1609" y="487"/>
                    <a:pt x="1608" y="489"/>
                    <a:pt x="1607" y="490"/>
                  </a:cubicBezTo>
                  <a:cubicBezTo>
                    <a:pt x="1612" y="484"/>
                    <a:pt x="1618" y="478"/>
                    <a:pt x="1623" y="472"/>
                  </a:cubicBezTo>
                  <a:cubicBezTo>
                    <a:pt x="1624" y="471"/>
                    <a:pt x="1625" y="469"/>
                    <a:pt x="1626" y="468"/>
                  </a:cubicBezTo>
                  <a:moveTo>
                    <a:pt x="1146" y="486"/>
                  </a:moveTo>
                  <a:cubicBezTo>
                    <a:pt x="1142" y="493"/>
                    <a:pt x="1139" y="500"/>
                    <a:pt x="1135" y="505"/>
                  </a:cubicBezTo>
                  <a:cubicBezTo>
                    <a:pt x="1135" y="506"/>
                    <a:pt x="1135" y="506"/>
                    <a:pt x="1135" y="507"/>
                  </a:cubicBezTo>
                  <a:cubicBezTo>
                    <a:pt x="1133" y="510"/>
                    <a:pt x="1131" y="513"/>
                    <a:pt x="1130" y="516"/>
                  </a:cubicBezTo>
                  <a:cubicBezTo>
                    <a:pt x="1132" y="513"/>
                    <a:pt x="1134" y="509"/>
                    <a:pt x="1136" y="506"/>
                  </a:cubicBezTo>
                  <a:cubicBezTo>
                    <a:pt x="1140" y="500"/>
                    <a:pt x="1143" y="494"/>
                    <a:pt x="1147" y="487"/>
                  </a:cubicBezTo>
                  <a:cubicBezTo>
                    <a:pt x="1146" y="487"/>
                    <a:pt x="1146" y="486"/>
                    <a:pt x="1146" y="486"/>
                  </a:cubicBezTo>
                  <a:moveTo>
                    <a:pt x="1606" y="490"/>
                  </a:moveTo>
                  <a:cubicBezTo>
                    <a:pt x="1586" y="513"/>
                    <a:pt x="1566" y="537"/>
                    <a:pt x="1547" y="561"/>
                  </a:cubicBezTo>
                  <a:cubicBezTo>
                    <a:pt x="1547" y="561"/>
                    <a:pt x="1547" y="561"/>
                    <a:pt x="1547" y="560"/>
                  </a:cubicBezTo>
                  <a:cubicBezTo>
                    <a:pt x="1547" y="560"/>
                    <a:pt x="1548" y="560"/>
                    <a:pt x="1548" y="560"/>
                  </a:cubicBezTo>
                  <a:cubicBezTo>
                    <a:pt x="1551" y="557"/>
                    <a:pt x="1553" y="553"/>
                    <a:pt x="1556" y="550"/>
                  </a:cubicBezTo>
                  <a:cubicBezTo>
                    <a:pt x="1572" y="532"/>
                    <a:pt x="1587" y="513"/>
                    <a:pt x="1603" y="495"/>
                  </a:cubicBezTo>
                  <a:cubicBezTo>
                    <a:pt x="1604" y="493"/>
                    <a:pt x="1605" y="491"/>
                    <a:pt x="1606" y="490"/>
                  </a:cubicBezTo>
                  <a:moveTo>
                    <a:pt x="877" y="491"/>
                  </a:moveTo>
                  <a:cubicBezTo>
                    <a:pt x="876" y="493"/>
                    <a:pt x="875" y="495"/>
                    <a:pt x="875" y="497"/>
                  </a:cubicBezTo>
                  <a:cubicBezTo>
                    <a:pt x="874" y="498"/>
                    <a:pt x="874" y="499"/>
                    <a:pt x="873" y="500"/>
                  </a:cubicBezTo>
                  <a:cubicBezTo>
                    <a:pt x="872" y="503"/>
                    <a:pt x="871" y="506"/>
                    <a:pt x="870" y="509"/>
                  </a:cubicBezTo>
                  <a:cubicBezTo>
                    <a:pt x="870" y="510"/>
                    <a:pt x="869" y="512"/>
                    <a:pt x="869" y="513"/>
                  </a:cubicBezTo>
                  <a:cubicBezTo>
                    <a:pt x="869" y="514"/>
                    <a:pt x="869" y="515"/>
                    <a:pt x="869" y="515"/>
                  </a:cubicBezTo>
                  <a:cubicBezTo>
                    <a:pt x="869" y="514"/>
                    <a:pt x="870" y="513"/>
                    <a:pt x="870" y="512"/>
                  </a:cubicBezTo>
                  <a:cubicBezTo>
                    <a:pt x="871" y="511"/>
                    <a:pt x="871" y="510"/>
                    <a:pt x="871" y="509"/>
                  </a:cubicBezTo>
                  <a:cubicBezTo>
                    <a:pt x="873" y="504"/>
                    <a:pt x="875" y="499"/>
                    <a:pt x="877" y="494"/>
                  </a:cubicBezTo>
                  <a:cubicBezTo>
                    <a:pt x="878" y="493"/>
                    <a:pt x="878" y="492"/>
                    <a:pt x="878" y="491"/>
                  </a:cubicBezTo>
                  <a:cubicBezTo>
                    <a:pt x="878" y="491"/>
                    <a:pt x="879" y="491"/>
                    <a:pt x="879" y="491"/>
                  </a:cubicBezTo>
                  <a:cubicBezTo>
                    <a:pt x="878" y="491"/>
                    <a:pt x="878" y="491"/>
                    <a:pt x="877" y="491"/>
                  </a:cubicBezTo>
                  <a:moveTo>
                    <a:pt x="1020" y="504"/>
                  </a:moveTo>
                  <a:cubicBezTo>
                    <a:pt x="1019" y="508"/>
                    <a:pt x="1019" y="513"/>
                    <a:pt x="1019" y="517"/>
                  </a:cubicBezTo>
                  <a:cubicBezTo>
                    <a:pt x="1019" y="517"/>
                    <a:pt x="1019" y="518"/>
                    <a:pt x="1019" y="518"/>
                  </a:cubicBezTo>
                  <a:cubicBezTo>
                    <a:pt x="1019" y="519"/>
                    <a:pt x="1019" y="519"/>
                    <a:pt x="1019" y="519"/>
                  </a:cubicBezTo>
                  <a:cubicBezTo>
                    <a:pt x="1019" y="528"/>
                    <a:pt x="1021" y="536"/>
                    <a:pt x="1023" y="542"/>
                  </a:cubicBezTo>
                  <a:cubicBezTo>
                    <a:pt x="1023" y="542"/>
                    <a:pt x="1023" y="541"/>
                    <a:pt x="1024" y="541"/>
                  </a:cubicBezTo>
                  <a:cubicBezTo>
                    <a:pt x="1021" y="535"/>
                    <a:pt x="1020" y="527"/>
                    <a:pt x="1020" y="518"/>
                  </a:cubicBezTo>
                  <a:cubicBezTo>
                    <a:pt x="1020" y="518"/>
                    <a:pt x="1020" y="517"/>
                    <a:pt x="1020" y="517"/>
                  </a:cubicBezTo>
                  <a:cubicBezTo>
                    <a:pt x="1020" y="516"/>
                    <a:pt x="1020" y="515"/>
                    <a:pt x="1020" y="515"/>
                  </a:cubicBezTo>
                  <a:cubicBezTo>
                    <a:pt x="1020" y="511"/>
                    <a:pt x="1020" y="508"/>
                    <a:pt x="1021" y="504"/>
                  </a:cubicBezTo>
                  <a:cubicBezTo>
                    <a:pt x="1021" y="504"/>
                    <a:pt x="1020" y="504"/>
                    <a:pt x="1020" y="504"/>
                  </a:cubicBezTo>
                  <a:moveTo>
                    <a:pt x="869" y="516"/>
                  </a:moveTo>
                  <a:cubicBezTo>
                    <a:pt x="869" y="517"/>
                    <a:pt x="868" y="518"/>
                    <a:pt x="868" y="519"/>
                  </a:cubicBezTo>
                  <a:cubicBezTo>
                    <a:pt x="868" y="519"/>
                    <a:pt x="868" y="520"/>
                    <a:pt x="867" y="521"/>
                  </a:cubicBezTo>
                  <a:cubicBezTo>
                    <a:pt x="868" y="521"/>
                    <a:pt x="868" y="521"/>
                    <a:pt x="868" y="521"/>
                  </a:cubicBezTo>
                  <a:cubicBezTo>
                    <a:pt x="869" y="519"/>
                    <a:pt x="869" y="517"/>
                    <a:pt x="869" y="516"/>
                  </a:cubicBezTo>
                  <a:moveTo>
                    <a:pt x="1129" y="516"/>
                  </a:moveTo>
                  <a:cubicBezTo>
                    <a:pt x="1127" y="519"/>
                    <a:pt x="1124" y="522"/>
                    <a:pt x="1122" y="526"/>
                  </a:cubicBezTo>
                  <a:cubicBezTo>
                    <a:pt x="1121" y="527"/>
                    <a:pt x="1121" y="528"/>
                    <a:pt x="1120" y="529"/>
                  </a:cubicBezTo>
                  <a:cubicBezTo>
                    <a:pt x="1122" y="527"/>
                    <a:pt x="1124" y="524"/>
                    <a:pt x="1126" y="522"/>
                  </a:cubicBezTo>
                  <a:cubicBezTo>
                    <a:pt x="1127" y="520"/>
                    <a:pt x="1128" y="518"/>
                    <a:pt x="1129" y="516"/>
                  </a:cubicBezTo>
                  <a:moveTo>
                    <a:pt x="867" y="521"/>
                  </a:moveTo>
                  <a:cubicBezTo>
                    <a:pt x="867" y="522"/>
                    <a:pt x="867" y="523"/>
                    <a:pt x="867" y="524"/>
                  </a:cubicBezTo>
                  <a:cubicBezTo>
                    <a:pt x="867" y="525"/>
                    <a:pt x="867" y="526"/>
                    <a:pt x="867" y="527"/>
                  </a:cubicBezTo>
                  <a:cubicBezTo>
                    <a:pt x="867" y="527"/>
                    <a:pt x="867" y="526"/>
                    <a:pt x="868" y="526"/>
                  </a:cubicBezTo>
                  <a:cubicBezTo>
                    <a:pt x="868" y="525"/>
                    <a:pt x="868" y="525"/>
                    <a:pt x="868" y="524"/>
                  </a:cubicBezTo>
                  <a:cubicBezTo>
                    <a:pt x="868" y="523"/>
                    <a:pt x="868" y="522"/>
                    <a:pt x="868" y="522"/>
                  </a:cubicBezTo>
                  <a:cubicBezTo>
                    <a:pt x="868" y="521"/>
                    <a:pt x="868" y="521"/>
                    <a:pt x="867" y="521"/>
                  </a:cubicBezTo>
                  <a:moveTo>
                    <a:pt x="867" y="528"/>
                  </a:moveTo>
                  <a:cubicBezTo>
                    <a:pt x="867" y="528"/>
                    <a:pt x="867" y="529"/>
                    <a:pt x="866" y="529"/>
                  </a:cubicBezTo>
                  <a:cubicBezTo>
                    <a:pt x="865" y="534"/>
                    <a:pt x="864" y="538"/>
                    <a:pt x="863" y="543"/>
                  </a:cubicBezTo>
                  <a:cubicBezTo>
                    <a:pt x="863" y="542"/>
                    <a:pt x="864" y="542"/>
                    <a:pt x="864" y="541"/>
                  </a:cubicBezTo>
                  <a:cubicBezTo>
                    <a:pt x="864" y="541"/>
                    <a:pt x="865" y="540"/>
                    <a:pt x="865" y="540"/>
                  </a:cubicBezTo>
                  <a:cubicBezTo>
                    <a:pt x="866" y="536"/>
                    <a:pt x="867" y="532"/>
                    <a:pt x="867" y="528"/>
                  </a:cubicBezTo>
                  <a:moveTo>
                    <a:pt x="1120" y="528"/>
                  </a:moveTo>
                  <a:cubicBezTo>
                    <a:pt x="1117" y="531"/>
                    <a:pt x="1115" y="533"/>
                    <a:pt x="1113" y="536"/>
                  </a:cubicBezTo>
                  <a:cubicBezTo>
                    <a:pt x="1113" y="536"/>
                    <a:pt x="1113" y="536"/>
                    <a:pt x="1114" y="536"/>
                  </a:cubicBezTo>
                  <a:cubicBezTo>
                    <a:pt x="1115" y="535"/>
                    <a:pt x="1117" y="533"/>
                    <a:pt x="1118" y="531"/>
                  </a:cubicBezTo>
                  <a:cubicBezTo>
                    <a:pt x="1119" y="530"/>
                    <a:pt x="1119" y="529"/>
                    <a:pt x="1120" y="528"/>
                  </a:cubicBezTo>
                  <a:moveTo>
                    <a:pt x="1112" y="536"/>
                  </a:moveTo>
                  <a:cubicBezTo>
                    <a:pt x="1112" y="537"/>
                    <a:pt x="1111" y="537"/>
                    <a:pt x="1111" y="537"/>
                  </a:cubicBezTo>
                  <a:cubicBezTo>
                    <a:pt x="1111" y="538"/>
                    <a:pt x="1110" y="539"/>
                    <a:pt x="1110" y="540"/>
                  </a:cubicBezTo>
                  <a:cubicBezTo>
                    <a:pt x="1111" y="539"/>
                    <a:pt x="1112" y="538"/>
                    <a:pt x="1113" y="537"/>
                  </a:cubicBezTo>
                  <a:cubicBezTo>
                    <a:pt x="1113" y="537"/>
                    <a:pt x="1112" y="536"/>
                    <a:pt x="1112" y="536"/>
                  </a:cubicBezTo>
                  <a:moveTo>
                    <a:pt x="1109" y="539"/>
                  </a:moveTo>
                  <a:cubicBezTo>
                    <a:pt x="1106" y="542"/>
                    <a:pt x="1103" y="544"/>
                    <a:pt x="1100" y="547"/>
                  </a:cubicBezTo>
                  <a:cubicBezTo>
                    <a:pt x="1099" y="547"/>
                    <a:pt x="1099" y="548"/>
                    <a:pt x="1099" y="548"/>
                  </a:cubicBezTo>
                  <a:cubicBezTo>
                    <a:pt x="1102" y="546"/>
                    <a:pt x="1105" y="544"/>
                    <a:pt x="1108" y="541"/>
                  </a:cubicBezTo>
                  <a:cubicBezTo>
                    <a:pt x="1109" y="540"/>
                    <a:pt x="1109" y="540"/>
                    <a:pt x="1109" y="539"/>
                  </a:cubicBezTo>
                  <a:moveTo>
                    <a:pt x="1024" y="542"/>
                  </a:moveTo>
                  <a:cubicBezTo>
                    <a:pt x="1024" y="543"/>
                    <a:pt x="1024" y="543"/>
                    <a:pt x="1024" y="544"/>
                  </a:cubicBezTo>
                  <a:cubicBezTo>
                    <a:pt x="1025" y="546"/>
                    <a:pt x="1026" y="547"/>
                    <a:pt x="1027" y="549"/>
                  </a:cubicBezTo>
                  <a:cubicBezTo>
                    <a:pt x="1027" y="549"/>
                    <a:pt x="1028" y="549"/>
                    <a:pt x="1028" y="550"/>
                  </a:cubicBezTo>
                  <a:cubicBezTo>
                    <a:pt x="1027" y="548"/>
                    <a:pt x="1025" y="545"/>
                    <a:pt x="1024" y="542"/>
                  </a:cubicBezTo>
                  <a:moveTo>
                    <a:pt x="864" y="543"/>
                  </a:moveTo>
                  <a:cubicBezTo>
                    <a:pt x="863" y="544"/>
                    <a:pt x="863" y="545"/>
                    <a:pt x="862" y="545"/>
                  </a:cubicBezTo>
                  <a:cubicBezTo>
                    <a:pt x="862" y="545"/>
                    <a:pt x="862" y="546"/>
                    <a:pt x="862" y="546"/>
                  </a:cubicBezTo>
                  <a:cubicBezTo>
                    <a:pt x="861" y="548"/>
                    <a:pt x="860" y="550"/>
                    <a:pt x="859" y="552"/>
                  </a:cubicBezTo>
                  <a:cubicBezTo>
                    <a:pt x="860" y="552"/>
                    <a:pt x="860" y="552"/>
                    <a:pt x="860" y="552"/>
                  </a:cubicBezTo>
                  <a:cubicBezTo>
                    <a:pt x="861" y="552"/>
                    <a:pt x="861" y="552"/>
                    <a:pt x="861" y="551"/>
                  </a:cubicBezTo>
                  <a:cubicBezTo>
                    <a:pt x="861" y="551"/>
                    <a:pt x="861" y="550"/>
                    <a:pt x="862" y="549"/>
                  </a:cubicBezTo>
                  <a:cubicBezTo>
                    <a:pt x="862" y="548"/>
                    <a:pt x="862" y="547"/>
                    <a:pt x="863" y="546"/>
                  </a:cubicBezTo>
                  <a:cubicBezTo>
                    <a:pt x="863" y="545"/>
                    <a:pt x="863" y="544"/>
                    <a:pt x="864" y="543"/>
                  </a:cubicBezTo>
                  <a:moveTo>
                    <a:pt x="1098" y="548"/>
                  </a:moveTo>
                  <a:cubicBezTo>
                    <a:pt x="1095" y="550"/>
                    <a:pt x="1091" y="552"/>
                    <a:pt x="1088" y="554"/>
                  </a:cubicBezTo>
                  <a:cubicBezTo>
                    <a:pt x="1087" y="555"/>
                    <a:pt x="1087" y="555"/>
                    <a:pt x="1087" y="556"/>
                  </a:cubicBezTo>
                  <a:cubicBezTo>
                    <a:pt x="1091" y="554"/>
                    <a:pt x="1094" y="552"/>
                    <a:pt x="1098" y="549"/>
                  </a:cubicBezTo>
                  <a:cubicBezTo>
                    <a:pt x="1098" y="549"/>
                    <a:pt x="1098" y="548"/>
                    <a:pt x="1098" y="548"/>
                  </a:cubicBezTo>
                  <a:moveTo>
                    <a:pt x="1028" y="550"/>
                  </a:moveTo>
                  <a:cubicBezTo>
                    <a:pt x="1034" y="559"/>
                    <a:pt x="1043" y="563"/>
                    <a:pt x="1054" y="564"/>
                  </a:cubicBezTo>
                  <a:cubicBezTo>
                    <a:pt x="1053" y="564"/>
                    <a:pt x="1053" y="563"/>
                    <a:pt x="1052" y="563"/>
                  </a:cubicBezTo>
                  <a:cubicBezTo>
                    <a:pt x="1043" y="562"/>
                    <a:pt x="1035" y="558"/>
                    <a:pt x="1030" y="551"/>
                  </a:cubicBezTo>
                  <a:cubicBezTo>
                    <a:pt x="1029" y="551"/>
                    <a:pt x="1028" y="551"/>
                    <a:pt x="1028" y="550"/>
                  </a:cubicBezTo>
                  <a:moveTo>
                    <a:pt x="859" y="553"/>
                  </a:moveTo>
                  <a:cubicBezTo>
                    <a:pt x="858" y="555"/>
                    <a:pt x="857" y="558"/>
                    <a:pt x="856" y="560"/>
                  </a:cubicBezTo>
                  <a:cubicBezTo>
                    <a:pt x="856" y="560"/>
                    <a:pt x="856" y="560"/>
                    <a:pt x="856" y="561"/>
                  </a:cubicBezTo>
                  <a:cubicBezTo>
                    <a:pt x="855" y="562"/>
                    <a:pt x="855" y="563"/>
                    <a:pt x="855" y="563"/>
                  </a:cubicBezTo>
                  <a:cubicBezTo>
                    <a:pt x="855" y="563"/>
                    <a:pt x="856" y="562"/>
                    <a:pt x="856" y="562"/>
                  </a:cubicBezTo>
                  <a:cubicBezTo>
                    <a:pt x="857" y="561"/>
                    <a:pt x="857" y="561"/>
                    <a:pt x="857" y="561"/>
                  </a:cubicBezTo>
                  <a:cubicBezTo>
                    <a:pt x="857" y="561"/>
                    <a:pt x="857" y="560"/>
                    <a:pt x="857" y="560"/>
                  </a:cubicBezTo>
                  <a:cubicBezTo>
                    <a:pt x="858" y="558"/>
                    <a:pt x="859" y="555"/>
                    <a:pt x="860" y="553"/>
                  </a:cubicBezTo>
                  <a:cubicBezTo>
                    <a:pt x="860" y="553"/>
                    <a:pt x="859" y="553"/>
                    <a:pt x="859" y="553"/>
                  </a:cubicBezTo>
                  <a:moveTo>
                    <a:pt x="1086" y="555"/>
                  </a:moveTo>
                  <a:cubicBezTo>
                    <a:pt x="1086" y="555"/>
                    <a:pt x="1085" y="555"/>
                    <a:pt x="1085" y="556"/>
                  </a:cubicBezTo>
                  <a:cubicBezTo>
                    <a:pt x="1084" y="556"/>
                    <a:pt x="1084" y="556"/>
                    <a:pt x="1083" y="557"/>
                  </a:cubicBezTo>
                  <a:cubicBezTo>
                    <a:pt x="1080" y="558"/>
                    <a:pt x="1077" y="559"/>
                    <a:pt x="1075" y="560"/>
                  </a:cubicBezTo>
                  <a:cubicBezTo>
                    <a:pt x="1075" y="560"/>
                    <a:pt x="1075" y="561"/>
                    <a:pt x="1074" y="561"/>
                  </a:cubicBezTo>
                  <a:cubicBezTo>
                    <a:pt x="1077" y="560"/>
                    <a:pt x="1079" y="559"/>
                    <a:pt x="1082" y="558"/>
                  </a:cubicBezTo>
                  <a:cubicBezTo>
                    <a:pt x="1082" y="558"/>
                    <a:pt x="1083" y="558"/>
                    <a:pt x="1084" y="557"/>
                  </a:cubicBezTo>
                  <a:cubicBezTo>
                    <a:pt x="1084" y="557"/>
                    <a:pt x="1085" y="557"/>
                    <a:pt x="1086" y="556"/>
                  </a:cubicBezTo>
                  <a:cubicBezTo>
                    <a:pt x="1086" y="556"/>
                    <a:pt x="1086" y="555"/>
                    <a:pt x="1086" y="555"/>
                  </a:cubicBezTo>
                  <a:moveTo>
                    <a:pt x="1074" y="560"/>
                  </a:moveTo>
                  <a:cubicBezTo>
                    <a:pt x="1069" y="561"/>
                    <a:pt x="1065" y="562"/>
                    <a:pt x="1061" y="563"/>
                  </a:cubicBezTo>
                  <a:cubicBezTo>
                    <a:pt x="1061" y="563"/>
                    <a:pt x="1061" y="563"/>
                    <a:pt x="1061" y="564"/>
                  </a:cubicBezTo>
                  <a:cubicBezTo>
                    <a:pt x="1065" y="563"/>
                    <a:pt x="1069" y="563"/>
                    <a:pt x="1073" y="561"/>
                  </a:cubicBezTo>
                  <a:cubicBezTo>
                    <a:pt x="1073" y="561"/>
                    <a:pt x="1074" y="561"/>
                    <a:pt x="1074" y="560"/>
                  </a:cubicBezTo>
                  <a:moveTo>
                    <a:pt x="1060" y="563"/>
                  </a:moveTo>
                  <a:cubicBezTo>
                    <a:pt x="1059" y="563"/>
                    <a:pt x="1058" y="563"/>
                    <a:pt x="1056" y="563"/>
                  </a:cubicBezTo>
                  <a:cubicBezTo>
                    <a:pt x="1056" y="563"/>
                    <a:pt x="1055" y="563"/>
                    <a:pt x="1054" y="563"/>
                  </a:cubicBezTo>
                  <a:cubicBezTo>
                    <a:pt x="1055" y="563"/>
                    <a:pt x="1055" y="564"/>
                    <a:pt x="1056" y="564"/>
                  </a:cubicBezTo>
                  <a:cubicBezTo>
                    <a:pt x="1056" y="564"/>
                    <a:pt x="1056" y="564"/>
                    <a:pt x="1056" y="564"/>
                  </a:cubicBezTo>
                  <a:cubicBezTo>
                    <a:pt x="1057" y="564"/>
                    <a:pt x="1059" y="564"/>
                    <a:pt x="1060" y="564"/>
                  </a:cubicBezTo>
                  <a:cubicBezTo>
                    <a:pt x="1060" y="564"/>
                    <a:pt x="1060" y="563"/>
                    <a:pt x="1060" y="563"/>
                  </a:cubicBezTo>
                  <a:moveTo>
                    <a:pt x="855" y="564"/>
                  </a:moveTo>
                  <a:cubicBezTo>
                    <a:pt x="855" y="565"/>
                    <a:pt x="854" y="565"/>
                    <a:pt x="853" y="566"/>
                  </a:cubicBezTo>
                  <a:cubicBezTo>
                    <a:pt x="853" y="567"/>
                    <a:pt x="853" y="567"/>
                    <a:pt x="852" y="567"/>
                  </a:cubicBezTo>
                  <a:cubicBezTo>
                    <a:pt x="852" y="570"/>
                    <a:pt x="851" y="572"/>
                    <a:pt x="849" y="575"/>
                  </a:cubicBezTo>
                  <a:cubicBezTo>
                    <a:pt x="852" y="571"/>
                    <a:pt x="853" y="568"/>
                    <a:pt x="855" y="564"/>
                  </a:cubicBezTo>
                  <a:moveTo>
                    <a:pt x="1542" y="567"/>
                  </a:moveTo>
                  <a:cubicBezTo>
                    <a:pt x="1542" y="567"/>
                    <a:pt x="1542" y="567"/>
                    <a:pt x="1542" y="567"/>
                  </a:cubicBezTo>
                  <a:cubicBezTo>
                    <a:pt x="1541" y="568"/>
                    <a:pt x="1541" y="568"/>
                    <a:pt x="1540" y="569"/>
                  </a:cubicBezTo>
                  <a:cubicBezTo>
                    <a:pt x="1541" y="569"/>
                    <a:pt x="1541" y="568"/>
                    <a:pt x="1541" y="568"/>
                  </a:cubicBezTo>
                  <a:cubicBezTo>
                    <a:pt x="1541" y="568"/>
                    <a:pt x="1542" y="567"/>
                    <a:pt x="1542" y="567"/>
                  </a:cubicBezTo>
                  <a:moveTo>
                    <a:pt x="1537" y="573"/>
                  </a:moveTo>
                  <a:cubicBezTo>
                    <a:pt x="1537" y="574"/>
                    <a:pt x="1536" y="574"/>
                    <a:pt x="1536" y="574"/>
                  </a:cubicBezTo>
                  <a:cubicBezTo>
                    <a:pt x="1536" y="574"/>
                    <a:pt x="1536" y="575"/>
                    <a:pt x="1535" y="575"/>
                  </a:cubicBezTo>
                  <a:cubicBezTo>
                    <a:pt x="1536" y="575"/>
                    <a:pt x="1536" y="574"/>
                    <a:pt x="1536" y="574"/>
                  </a:cubicBezTo>
                  <a:cubicBezTo>
                    <a:pt x="1536" y="574"/>
                    <a:pt x="1537" y="574"/>
                    <a:pt x="1537" y="573"/>
                  </a:cubicBezTo>
                  <a:moveTo>
                    <a:pt x="849" y="575"/>
                  </a:moveTo>
                  <a:cubicBezTo>
                    <a:pt x="848" y="575"/>
                    <a:pt x="848" y="576"/>
                    <a:pt x="848" y="576"/>
                  </a:cubicBezTo>
                  <a:cubicBezTo>
                    <a:pt x="847" y="577"/>
                    <a:pt x="847" y="577"/>
                    <a:pt x="847" y="577"/>
                  </a:cubicBezTo>
                  <a:cubicBezTo>
                    <a:pt x="846" y="579"/>
                    <a:pt x="845" y="581"/>
                    <a:pt x="843" y="583"/>
                  </a:cubicBezTo>
                  <a:cubicBezTo>
                    <a:pt x="843" y="585"/>
                    <a:pt x="842" y="586"/>
                    <a:pt x="842" y="588"/>
                  </a:cubicBezTo>
                  <a:cubicBezTo>
                    <a:pt x="843" y="586"/>
                    <a:pt x="844" y="585"/>
                    <a:pt x="844" y="583"/>
                  </a:cubicBezTo>
                  <a:cubicBezTo>
                    <a:pt x="846" y="580"/>
                    <a:pt x="847" y="577"/>
                    <a:pt x="849" y="575"/>
                  </a:cubicBezTo>
                  <a:moveTo>
                    <a:pt x="1533" y="579"/>
                  </a:moveTo>
                  <a:cubicBezTo>
                    <a:pt x="1532" y="580"/>
                    <a:pt x="1531" y="580"/>
                    <a:pt x="1531" y="581"/>
                  </a:cubicBezTo>
                  <a:cubicBezTo>
                    <a:pt x="1523" y="590"/>
                    <a:pt x="1516" y="600"/>
                    <a:pt x="1508" y="610"/>
                  </a:cubicBezTo>
                  <a:cubicBezTo>
                    <a:pt x="1507" y="612"/>
                    <a:pt x="1505" y="614"/>
                    <a:pt x="1504" y="617"/>
                  </a:cubicBezTo>
                  <a:cubicBezTo>
                    <a:pt x="1511" y="607"/>
                    <a:pt x="1519" y="598"/>
                    <a:pt x="1526" y="589"/>
                  </a:cubicBezTo>
                  <a:cubicBezTo>
                    <a:pt x="1528" y="585"/>
                    <a:pt x="1530" y="582"/>
                    <a:pt x="1533" y="579"/>
                  </a:cubicBezTo>
                  <a:moveTo>
                    <a:pt x="841" y="587"/>
                  </a:moveTo>
                  <a:cubicBezTo>
                    <a:pt x="840" y="589"/>
                    <a:pt x="839" y="590"/>
                    <a:pt x="838" y="592"/>
                  </a:cubicBezTo>
                  <a:cubicBezTo>
                    <a:pt x="838" y="592"/>
                    <a:pt x="838" y="592"/>
                    <a:pt x="838" y="592"/>
                  </a:cubicBezTo>
                  <a:cubicBezTo>
                    <a:pt x="838" y="591"/>
                    <a:pt x="839" y="590"/>
                    <a:pt x="840" y="590"/>
                  </a:cubicBezTo>
                  <a:cubicBezTo>
                    <a:pt x="840" y="589"/>
                    <a:pt x="840" y="588"/>
                    <a:pt x="841" y="587"/>
                  </a:cubicBezTo>
                  <a:moveTo>
                    <a:pt x="838" y="593"/>
                  </a:moveTo>
                  <a:cubicBezTo>
                    <a:pt x="838" y="593"/>
                    <a:pt x="838" y="593"/>
                    <a:pt x="837" y="593"/>
                  </a:cubicBezTo>
                  <a:cubicBezTo>
                    <a:pt x="837" y="594"/>
                    <a:pt x="837" y="594"/>
                    <a:pt x="837" y="594"/>
                  </a:cubicBezTo>
                  <a:cubicBezTo>
                    <a:pt x="838" y="593"/>
                    <a:pt x="838" y="593"/>
                    <a:pt x="838" y="593"/>
                  </a:cubicBezTo>
                  <a:moveTo>
                    <a:pt x="836" y="595"/>
                  </a:moveTo>
                  <a:cubicBezTo>
                    <a:pt x="836" y="595"/>
                    <a:pt x="835" y="596"/>
                    <a:pt x="834" y="597"/>
                  </a:cubicBezTo>
                  <a:cubicBezTo>
                    <a:pt x="834" y="597"/>
                    <a:pt x="834" y="598"/>
                    <a:pt x="834" y="599"/>
                  </a:cubicBezTo>
                  <a:cubicBezTo>
                    <a:pt x="834" y="598"/>
                    <a:pt x="835" y="597"/>
                    <a:pt x="836" y="596"/>
                  </a:cubicBezTo>
                  <a:cubicBezTo>
                    <a:pt x="836" y="596"/>
                    <a:pt x="836" y="596"/>
                    <a:pt x="836" y="595"/>
                  </a:cubicBezTo>
                  <a:cubicBezTo>
                    <a:pt x="836" y="595"/>
                    <a:pt x="836" y="595"/>
                    <a:pt x="836" y="595"/>
                  </a:cubicBezTo>
                  <a:moveTo>
                    <a:pt x="833" y="599"/>
                  </a:moveTo>
                  <a:cubicBezTo>
                    <a:pt x="833" y="599"/>
                    <a:pt x="832" y="599"/>
                    <a:pt x="832" y="599"/>
                  </a:cubicBezTo>
                  <a:cubicBezTo>
                    <a:pt x="832" y="600"/>
                    <a:pt x="832" y="600"/>
                    <a:pt x="831" y="600"/>
                  </a:cubicBezTo>
                  <a:cubicBezTo>
                    <a:pt x="830" y="602"/>
                    <a:pt x="829" y="603"/>
                    <a:pt x="828" y="605"/>
                  </a:cubicBezTo>
                  <a:cubicBezTo>
                    <a:pt x="828" y="605"/>
                    <a:pt x="827" y="606"/>
                    <a:pt x="827" y="606"/>
                  </a:cubicBezTo>
                  <a:cubicBezTo>
                    <a:pt x="827" y="606"/>
                    <a:pt x="827" y="606"/>
                    <a:pt x="826" y="607"/>
                  </a:cubicBezTo>
                  <a:cubicBezTo>
                    <a:pt x="826" y="608"/>
                    <a:pt x="826" y="608"/>
                    <a:pt x="826" y="609"/>
                  </a:cubicBezTo>
                  <a:cubicBezTo>
                    <a:pt x="826" y="609"/>
                    <a:pt x="826" y="609"/>
                    <a:pt x="826" y="609"/>
                  </a:cubicBezTo>
                  <a:cubicBezTo>
                    <a:pt x="826" y="609"/>
                    <a:pt x="826" y="608"/>
                    <a:pt x="827" y="608"/>
                  </a:cubicBezTo>
                  <a:cubicBezTo>
                    <a:pt x="827" y="608"/>
                    <a:pt x="827" y="607"/>
                    <a:pt x="827" y="607"/>
                  </a:cubicBezTo>
                  <a:cubicBezTo>
                    <a:pt x="828" y="607"/>
                    <a:pt x="828" y="606"/>
                    <a:pt x="828" y="606"/>
                  </a:cubicBezTo>
                  <a:cubicBezTo>
                    <a:pt x="829" y="605"/>
                    <a:pt x="830" y="603"/>
                    <a:pt x="832" y="602"/>
                  </a:cubicBezTo>
                  <a:cubicBezTo>
                    <a:pt x="832" y="601"/>
                    <a:pt x="832" y="600"/>
                    <a:pt x="833" y="599"/>
                  </a:cubicBezTo>
                  <a:moveTo>
                    <a:pt x="825" y="609"/>
                  </a:moveTo>
                  <a:cubicBezTo>
                    <a:pt x="823" y="611"/>
                    <a:pt x="822" y="613"/>
                    <a:pt x="821" y="615"/>
                  </a:cubicBezTo>
                  <a:cubicBezTo>
                    <a:pt x="821" y="614"/>
                    <a:pt x="822" y="614"/>
                    <a:pt x="822" y="614"/>
                  </a:cubicBezTo>
                  <a:cubicBezTo>
                    <a:pt x="823" y="613"/>
                    <a:pt x="823" y="612"/>
                    <a:pt x="824" y="612"/>
                  </a:cubicBezTo>
                  <a:cubicBezTo>
                    <a:pt x="824" y="611"/>
                    <a:pt x="824" y="610"/>
                    <a:pt x="825" y="609"/>
                  </a:cubicBezTo>
                  <a:moveTo>
                    <a:pt x="820" y="614"/>
                  </a:moveTo>
                  <a:cubicBezTo>
                    <a:pt x="819" y="615"/>
                    <a:pt x="818" y="617"/>
                    <a:pt x="817" y="618"/>
                  </a:cubicBezTo>
                  <a:cubicBezTo>
                    <a:pt x="817" y="618"/>
                    <a:pt x="817" y="618"/>
                    <a:pt x="816" y="619"/>
                  </a:cubicBezTo>
                  <a:cubicBezTo>
                    <a:pt x="813" y="622"/>
                    <a:pt x="811" y="625"/>
                    <a:pt x="807" y="628"/>
                  </a:cubicBezTo>
                  <a:cubicBezTo>
                    <a:pt x="807" y="629"/>
                    <a:pt x="807" y="629"/>
                    <a:pt x="807" y="629"/>
                  </a:cubicBezTo>
                  <a:cubicBezTo>
                    <a:pt x="803" y="633"/>
                    <a:pt x="800" y="636"/>
                    <a:pt x="797" y="639"/>
                  </a:cubicBezTo>
                  <a:cubicBezTo>
                    <a:pt x="796" y="640"/>
                    <a:pt x="796" y="640"/>
                    <a:pt x="796" y="640"/>
                  </a:cubicBezTo>
                  <a:cubicBezTo>
                    <a:pt x="793" y="643"/>
                    <a:pt x="790" y="646"/>
                    <a:pt x="787" y="649"/>
                  </a:cubicBezTo>
                  <a:cubicBezTo>
                    <a:pt x="787" y="649"/>
                    <a:pt x="788" y="649"/>
                    <a:pt x="788" y="648"/>
                  </a:cubicBezTo>
                  <a:cubicBezTo>
                    <a:pt x="789" y="648"/>
                    <a:pt x="789" y="648"/>
                    <a:pt x="790" y="647"/>
                  </a:cubicBezTo>
                  <a:cubicBezTo>
                    <a:pt x="792" y="645"/>
                    <a:pt x="794" y="644"/>
                    <a:pt x="796" y="642"/>
                  </a:cubicBezTo>
                  <a:cubicBezTo>
                    <a:pt x="796" y="642"/>
                    <a:pt x="796" y="641"/>
                    <a:pt x="797" y="641"/>
                  </a:cubicBezTo>
                  <a:cubicBezTo>
                    <a:pt x="800" y="637"/>
                    <a:pt x="804" y="634"/>
                    <a:pt x="807" y="631"/>
                  </a:cubicBezTo>
                  <a:cubicBezTo>
                    <a:pt x="807" y="630"/>
                    <a:pt x="807" y="630"/>
                    <a:pt x="808" y="630"/>
                  </a:cubicBezTo>
                  <a:cubicBezTo>
                    <a:pt x="811" y="626"/>
                    <a:pt x="814" y="623"/>
                    <a:pt x="817" y="620"/>
                  </a:cubicBezTo>
                  <a:cubicBezTo>
                    <a:pt x="817" y="620"/>
                    <a:pt x="817" y="619"/>
                    <a:pt x="817" y="619"/>
                  </a:cubicBezTo>
                  <a:cubicBezTo>
                    <a:pt x="818" y="619"/>
                    <a:pt x="818" y="619"/>
                    <a:pt x="818" y="619"/>
                  </a:cubicBezTo>
                  <a:cubicBezTo>
                    <a:pt x="819" y="617"/>
                    <a:pt x="819" y="616"/>
                    <a:pt x="820" y="614"/>
                  </a:cubicBezTo>
                  <a:moveTo>
                    <a:pt x="1503" y="616"/>
                  </a:moveTo>
                  <a:cubicBezTo>
                    <a:pt x="1497" y="624"/>
                    <a:pt x="1490" y="633"/>
                    <a:pt x="1484" y="641"/>
                  </a:cubicBezTo>
                  <a:cubicBezTo>
                    <a:pt x="1483" y="643"/>
                    <a:pt x="1482" y="644"/>
                    <a:pt x="1482" y="645"/>
                  </a:cubicBezTo>
                  <a:cubicBezTo>
                    <a:pt x="1488" y="637"/>
                    <a:pt x="1494" y="630"/>
                    <a:pt x="1500" y="622"/>
                  </a:cubicBezTo>
                  <a:cubicBezTo>
                    <a:pt x="1501" y="620"/>
                    <a:pt x="1502" y="618"/>
                    <a:pt x="1503" y="616"/>
                  </a:cubicBezTo>
                  <a:moveTo>
                    <a:pt x="1481" y="645"/>
                  </a:moveTo>
                  <a:cubicBezTo>
                    <a:pt x="1475" y="652"/>
                    <a:pt x="1469" y="660"/>
                    <a:pt x="1463" y="667"/>
                  </a:cubicBezTo>
                  <a:cubicBezTo>
                    <a:pt x="1463" y="668"/>
                    <a:pt x="1463" y="669"/>
                    <a:pt x="1462" y="670"/>
                  </a:cubicBezTo>
                  <a:cubicBezTo>
                    <a:pt x="1468" y="663"/>
                    <a:pt x="1474" y="656"/>
                    <a:pt x="1479" y="648"/>
                  </a:cubicBezTo>
                  <a:cubicBezTo>
                    <a:pt x="1480" y="647"/>
                    <a:pt x="1480" y="646"/>
                    <a:pt x="1481" y="645"/>
                  </a:cubicBezTo>
                  <a:moveTo>
                    <a:pt x="786" y="650"/>
                  </a:moveTo>
                  <a:cubicBezTo>
                    <a:pt x="786" y="650"/>
                    <a:pt x="786" y="650"/>
                    <a:pt x="785" y="650"/>
                  </a:cubicBezTo>
                  <a:cubicBezTo>
                    <a:pt x="785" y="650"/>
                    <a:pt x="785" y="651"/>
                    <a:pt x="784" y="651"/>
                  </a:cubicBezTo>
                  <a:cubicBezTo>
                    <a:pt x="784" y="651"/>
                    <a:pt x="784" y="651"/>
                    <a:pt x="784" y="652"/>
                  </a:cubicBezTo>
                  <a:cubicBezTo>
                    <a:pt x="784" y="651"/>
                    <a:pt x="785" y="651"/>
                    <a:pt x="786" y="650"/>
                  </a:cubicBezTo>
                  <a:moveTo>
                    <a:pt x="784" y="652"/>
                  </a:moveTo>
                  <a:cubicBezTo>
                    <a:pt x="781" y="655"/>
                    <a:pt x="778" y="657"/>
                    <a:pt x="776" y="659"/>
                  </a:cubicBezTo>
                  <a:cubicBezTo>
                    <a:pt x="776" y="660"/>
                    <a:pt x="776" y="660"/>
                    <a:pt x="776" y="660"/>
                  </a:cubicBezTo>
                  <a:cubicBezTo>
                    <a:pt x="776" y="660"/>
                    <a:pt x="777" y="659"/>
                    <a:pt x="777" y="659"/>
                  </a:cubicBezTo>
                  <a:cubicBezTo>
                    <a:pt x="780" y="657"/>
                    <a:pt x="782" y="655"/>
                    <a:pt x="784" y="652"/>
                  </a:cubicBezTo>
                  <a:moveTo>
                    <a:pt x="775" y="660"/>
                  </a:moveTo>
                  <a:cubicBezTo>
                    <a:pt x="772" y="663"/>
                    <a:pt x="769" y="665"/>
                    <a:pt x="767" y="668"/>
                  </a:cubicBezTo>
                  <a:cubicBezTo>
                    <a:pt x="769" y="666"/>
                    <a:pt x="771" y="664"/>
                    <a:pt x="773" y="663"/>
                  </a:cubicBezTo>
                  <a:cubicBezTo>
                    <a:pt x="773" y="662"/>
                    <a:pt x="773" y="662"/>
                    <a:pt x="774" y="662"/>
                  </a:cubicBezTo>
                  <a:cubicBezTo>
                    <a:pt x="774" y="662"/>
                    <a:pt x="774" y="661"/>
                    <a:pt x="775" y="661"/>
                  </a:cubicBezTo>
                  <a:cubicBezTo>
                    <a:pt x="775" y="661"/>
                    <a:pt x="775" y="660"/>
                    <a:pt x="775" y="660"/>
                  </a:cubicBezTo>
                  <a:moveTo>
                    <a:pt x="766" y="667"/>
                  </a:moveTo>
                  <a:cubicBezTo>
                    <a:pt x="765" y="668"/>
                    <a:pt x="763" y="669"/>
                    <a:pt x="762" y="670"/>
                  </a:cubicBezTo>
                  <a:cubicBezTo>
                    <a:pt x="762" y="670"/>
                    <a:pt x="762" y="670"/>
                    <a:pt x="763" y="670"/>
                  </a:cubicBezTo>
                  <a:cubicBezTo>
                    <a:pt x="764" y="669"/>
                    <a:pt x="765" y="668"/>
                    <a:pt x="766" y="667"/>
                  </a:cubicBezTo>
                  <a:moveTo>
                    <a:pt x="1461" y="670"/>
                  </a:moveTo>
                  <a:cubicBezTo>
                    <a:pt x="1445" y="690"/>
                    <a:pt x="1429" y="711"/>
                    <a:pt x="1412" y="730"/>
                  </a:cubicBezTo>
                  <a:cubicBezTo>
                    <a:pt x="1412" y="731"/>
                    <a:pt x="1412" y="732"/>
                    <a:pt x="1412" y="732"/>
                  </a:cubicBezTo>
                  <a:cubicBezTo>
                    <a:pt x="1428" y="713"/>
                    <a:pt x="1444" y="693"/>
                    <a:pt x="1460" y="672"/>
                  </a:cubicBezTo>
                  <a:cubicBezTo>
                    <a:pt x="1461" y="671"/>
                    <a:pt x="1461" y="670"/>
                    <a:pt x="1461" y="670"/>
                  </a:cubicBezTo>
                  <a:moveTo>
                    <a:pt x="761" y="671"/>
                  </a:moveTo>
                  <a:cubicBezTo>
                    <a:pt x="758" y="674"/>
                    <a:pt x="755" y="676"/>
                    <a:pt x="753" y="678"/>
                  </a:cubicBezTo>
                  <a:cubicBezTo>
                    <a:pt x="750" y="680"/>
                    <a:pt x="747" y="682"/>
                    <a:pt x="743" y="685"/>
                  </a:cubicBezTo>
                  <a:cubicBezTo>
                    <a:pt x="743" y="685"/>
                    <a:pt x="743" y="685"/>
                    <a:pt x="743" y="685"/>
                  </a:cubicBezTo>
                  <a:cubicBezTo>
                    <a:pt x="737" y="690"/>
                    <a:pt x="731" y="694"/>
                    <a:pt x="725" y="698"/>
                  </a:cubicBezTo>
                  <a:cubicBezTo>
                    <a:pt x="725" y="698"/>
                    <a:pt x="726" y="698"/>
                    <a:pt x="726" y="698"/>
                  </a:cubicBezTo>
                  <a:cubicBezTo>
                    <a:pt x="731" y="695"/>
                    <a:pt x="736" y="691"/>
                    <a:pt x="741" y="688"/>
                  </a:cubicBezTo>
                  <a:cubicBezTo>
                    <a:pt x="745" y="685"/>
                    <a:pt x="749" y="682"/>
                    <a:pt x="753" y="679"/>
                  </a:cubicBezTo>
                  <a:cubicBezTo>
                    <a:pt x="755" y="677"/>
                    <a:pt x="757" y="676"/>
                    <a:pt x="759" y="674"/>
                  </a:cubicBezTo>
                  <a:cubicBezTo>
                    <a:pt x="759" y="674"/>
                    <a:pt x="759" y="674"/>
                    <a:pt x="760" y="673"/>
                  </a:cubicBezTo>
                  <a:cubicBezTo>
                    <a:pt x="760" y="673"/>
                    <a:pt x="761" y="673"/>
                    <a:pt x="761" y="672"/>
                  </a:cubicBezTo>
                  <a:cubicBezTo>
                    <a:pt x="761" y="672"/>
                    <a:pt x="762" y="672"/>
                    <a:pt x="762" y="671"/>
                  </a:cubicBezTo>
                  <a:cubicBezTo>
                    <a:pt x="761" y="671"/>
                    <a:pt x="761" y="671"/>
                    <a:pt x="761" y="671"/>
                  </a:cubicBezTo>
                  <a:moveTo>
                    <a:pt x="724" y="699"/>
                  </a:moveTo>
                  <a:cubicBezTo>
                    <a:pt x="723" y="699"/>
                    <a:pt x="722" y="700"/>
                    <a:pt x="720" y="701"/>
                  </a:cubicBezTo>
                  <a:cubicBezTo>
                    <a:pt x="720" y="701"/>
                    <a:pt x="720" y="701"/>
                    <a:pt x="719" y="701"/>
                  </a:cubicBezTo>
                  <a:cubicBezTo>
                    <a:pt x="719" y="702"/>
                    <a:pt x="719" y="702"/>
                    <a:pt x="718" y="702"/>
                  </a:cubicBezTo>
                  <a:cubicBezTo>
                    <a:pt x="719" y="702"/>
                    <a:pt x="719" y="703"/>
                    <a:pt x="719" y="703"/>
                  </a:cubicBezTo>
                  <a:cubicBezTo>
                    <a:pt x="719" y="703"/>
                    <a:pt x="720" y="702"/>
                    <a:pt x="721" y="702"/>
                  </a:cubicBezTo>
                  <a:cubicBezTo>
                    <a:pt x="721" y="702"/>
                    <a:pt x="721" y="701"/>
                    <a:pt x="722" y="701"/>
                  </a:cubicBezTo>
                  <a:cubicBezTo>
                    <a:pt x="723" y="700"/>
                    <a:pt x="724" y="700"/>
                    <a:pt x="725" y="699"/>
                  </a:cubicBezTo>
                  <a:cubicBezTo>
                    <a:pt x="725" y="699"/>
                    <a:pt x="724" y="699"/>
                    <a:pt x="724" y="699"/>
                  </a:cubicBezTo>
                  <a:moveTo>
                    <a:pt x="718" y="703"/>
                  </a:moveTo>
                  <a:cubicBezTo>
                    <a:pt x="706" y="710"/>
                    <a:pt x="694" y="718"/>
                    <a:pt x="682" y="725"/>
                  </a:cubicBezTo>
                  <a:cubicBezTo>
                    <a:pt x="682" y="725"/>
                    <a:pt x="683" y="725"/>
                    <a:pt x="683" y="725"/>
                  </a:cubicBezTo>
                  <a:cubicBezTo>
                    <a:pt x="695" y="718"/>
                    <a:pt x="707" y="711"/>
                    <a:pt x="718" y="704"/>
                  </a:cubicBezTo>
                  <a:cubicBezTo>
                    <a:pt x="718" y="703"/>
                    <a:pt x="718" y="703"/>
                    <a:pt x="718" y="703"/>
                  </a:cubicBezTo>
                  <a:moveTo>
                    <a:pt x="681" y="725"/>
                  </a:moveTo>
                  <a:cubicBezTo>
                    <a:pt x="680" y="726"/>
                    <a:pt x="679" y="727"/>
                    <a:pt x="679" y="728"/>
                  </a:cubicBezTo>
                  <a:cubicBezTo>
                    <a:pt x="679" y="727"/>
                    <a:pt x="679" y="727"/>
                    <a:pt x="679" y="727"/>
                  </a:cubicBezTo>
                  <a:cubicBezTo>
                    <a:pt x="679" y="727"/>
                    <a:pt x="680" y="727"/>
                    <a:pt x="680" y="727"/>
                  </a:cubicBezTo>
                  <a:cubicBezTo>
                    <a:pt x="680" y="727"/>
                    <a:pt x="681" y="726"/>
                    <a:pt x="681" y="726"/>
                  </a:cubicBezTo>
                  <a:cubicBezTo>
                    <a:pt x="681" y="726"/>
                    <a:pt x="682" y="726"/>
                    <a:pt x="682" y="726"/>
                  </a:cubicBezTo>
                  <a:cubicBezTo>
                    <a:pt x="682" y="726"/>
                    <a:pt x="681" y="725"/>
                    <a:pt x="681" y="725"/>
                  </a:cubicBezTo>
                  <a:moveTo>
                    <a:pt x="678" y="727"/>
                  </a:moveTo>
                  <a:cubicBezTo>
                    <a:pt x="678" y="727"/>
                    <a:pt x="678" y="727"/>
                    <a:pt x="678" y="727"/>
                  </a:cubicBezTo>
                  <a:cubicBezTo>
                    <a:pt x="673" y="729"/>
                    <a:pt x="668" y="732"/>
                    <a:pt x="663" y="735"/>
                  </a:cubicBezTo>
                  <a:cubicBezTo>
                    <a:pt x="663" y="735"/>
                    <a:pt x="663" y="735"/>
                    <a:pt x="663" y="736"/>
                  </a:cubicBezTo>
                  <a:cubicBezTo>
                    <a:pt x="667" y="734"/>
                    <a:pt x="671" y="732"/>
                    <a:pt x="675" y="729"/>
                  </a:cubicBezTo>
                  <a:cubicBezTo>
                    <a:pt x="676" y="729"/>
                    <a:pt x="677" y="728"/>
                    <a:pt x="678" y="727"/>
                  </a:cubicBezTo>
                  <a:moveTo>
                    <a:pt x="1411" y="732"/>
                  </a:moveTo>
                  <a:cubicBezTo>
                    <a:pt x="1395" y="751"/>
                    <a:pt x="1378" y="769"/>
                    <a:pt x="1362" y="787"/>
                  </a:cubicBezTo>
                  <a:cubicBezTo>
                    <a:pt x="1362" y="787"/>
                    <a:pt x="1362" y="787"/>
                    <a:pt x="1362" y="788"/>
                  </a:cubicBezTo>
                  <a:cubicBezTo>
                    <a:pt x="1379" y="771"/>
                    <a:pt x="1395" y="752"/>
                    <a:pt x="1411" y="733"/>
                  </a:cubicBezTo>
                  <a:cubicBezTo>
                    <a:pt x="1411" y="733"/>
                    <a:pt x="1411" y="732"/>
                    <a:pt x="1411" y="732"/>
                  </a:cubicBezTo>
                  <a:moveTo>
                    <a:pt x="662" y="735"/>
                  </a:moveTo>
                  <a:cubicBezTo>
                    <a:pt x="652" y="741"/>
                    <a:pt x="641" y="746"/>
                    <a:pt x="630" y="750"/>
                  </a:cubicBezTo>
                  <a:cubicBezTo>
                    <a:pt x="631" y="751"/>
                    <a:pt x="631" y="751"/>
                    <a:pt x="632" y="751"/>
                  </a:cubicBezTo>
                  <a:cubicBezTo>
                    <a:pt x="642" y="746"/>
                    <a:pt x="652" y="741"/>
                    <a:pt x="662" y="736"/>
                  </a:cubicBezTo>
                  <a:cubicBezTo>
                    <a:pt x="662" y="736"/>
                    <a:pt x="662" y="735"/>
                    <a:pt x="662" y="735"/>
                  </a:cubicBezTo>
                  <a:moveTo>
                    <a:pt x="629" y="751"/>
                  </a:moveTo>
                  <a:cubicBezTo>
                    <a:pt x="622" y="754"/>
                    <a:pt x="615" y="757"/>
                    <a:pt x="608" y="760"/>
                  </a:cubicBezTo>
                  <a:cubicBezTo>
                    <a:pt x="608" y="760"/>
                    <a:pt x="608" y="760"/>
                    <a:pt x="608" y="761"/>
                  </a:cubicBezTo>
                  <a:cubicBezTo>
                    <a:pt x="616" y="758"/>
                    <a:pt x="623" y="755"/>
                    <a:pt x="630" y="751"/>
                  </a:cubicBezTo>
                  <a:cubicBezTo>
                    <a:pt x="630" y="751"/>
                    <a:pt x="629" y="751"/>
                    <a:pt x="629" y="751"/>
                  </a:cubicBezTo>
                  <a:moveTo>
                    <a:pt x="607" y="760"/>
                  </a:moveTo>
                  <a:cubicBezTo>
                    <a:pt x="605" y="761"/>
                    <a:pt x="604" y="761"/>
                    <a:pt x="602" y="762"/>
                  </a:cubicBezTo>
                  <a:cubicBezTo>
                    <a:pt x="601" y="763"/>
                    <a:pt x="600" y="763"/>
                    <a:pt x="599" y="764"/>
                  </a:cubicBezTo>
                  <a:cubicBezTo>
                    <a:pt x="602" y="763"/>
                    <a:pt x="605" y="762"/>
                    <a:pt x="607" y="761"/>
                  </a:cubicBezTo>
                  <a:cubicBezTo>
                    <a:pt x="607" y="761"/>
                    <a:pt x="607" y="760"/>
                    <a:pt x="607" y="760"/>
                  </a:cubicBezTo>
                  <a:moveTo>
                    <a:pt x="599" y="763"/>
                  </a:moveTo>
                  <a:cubicBezTo>
                    <a:pt x="589" y="767"/>
                    <a:pt x="579" y="770"/>
                    <a:pt x="570" y="773"/>
                  </a:cubicBezTo>
                  <a:cubicBezTo>
                    <a:pt x="570" y="773"/>
                    <a:pt x="571" y="773"/>
                    <a:pt x="571" y="773"/>
                  </a:cubicBezTo>
                  <a:cubicBezTo>
                    <a:pt x="580" y="771"/>
                    <a:pt x="588" y="768"/>
                    <a:pt x="596" y="765"/>
                  </a:cubicBezTo>
                  <a:cubicBezTo>
                    <a:pt x="597" y="765"/>
                    <a:pt x="598" y="764"/>
                    <a:pt x="599" y="763"/>
                  </a:cubicBezTo>
                  <a:moveTo>
                    <a:pt x="568" y="773"/>
                  </a:moveTo>
                  <a:cubicBezTo>
                    <a:pt x="562" y="775"/>
                    <a:pt x="556" y="777"/>
                    <a:pt x="550" y="778"/>
                  </a:cubicBezTo>
                  <a:cubicBezTo>
                    <a:pt x="550" y="778"/>
                    <a:pt x="550" y="779"/>
                    <a:pt x="550" y="779"/>
                  </a:cubicBezTo>
                  <a:cubicBezTo>
                    <a:pt x="557" y="777"/>
                    <a:pt x="563" y="776"/>
                    <a:pt x="570" y="774"/>
                  </a:cubicBezTo>
                  <a:cubicBezTo>
                    <a:pt x="569" y="774"/>
                    <a:pt x="568" y="773"/>
                    <a:pt x="568" y="773"/>
                  </a:cubicBezTo>
                  <a:moveTo>
                    <a:pt x="549" y="778"/>
                  </a:moveTo>
                  <a:cubicBezTo>
                    <a:pt x="547" y="779"/>
                    <a:pt x="546" y="779"/>
                    <a:pt x="545" y="779"/>
                  </a:cubicBezTo>
                  <a:cubicBezTo>
                    <a:pt x="544" y="780"/>
                    <a:pt x="543" y="780"/>
                    <a:pt x="542" y="781"/>
                  </a:cubicBezTo>
                  <a:cubicBezTo>
                    <a:pt x="545" y="780"/>
                    <a:pt x="547" y="780"/>
                    <a:pt x="549" y="779"/>
                  </a:cubicBezTo>
                  <a:cubicBezTo>
                    <a:pt x="549" y="779"/>
                    <a:pt x="549" y="779"/>
                    <a:pt x="549" y="778"/>
                  </a:cubicBezTo>
                  <a:moveTo>
                    <a:pt x="542" y="780"/>
                  </a:moveTo>
                  <a:cubicBezTo>
                    <a:pt x="529" y="783"/>
                    <a:pt x="516" y="785"/>
                    <a:pt x="503" y="786"/>
                  </a:cubicBezTo>
                  <a:cubicBezTo>
                    <a:pt x="502" y="787"/>
                    <a:pt x="502" y="787"/>
                    <a:pt x="501" y="787"/>
                  </a:cubicBezTo>
                  <a:cubicBezTo>
                    <a:pt x="514" y="786"/>
                    <a:pt x="527" y="784"/>
                    <a:pt x="539" y="781"/>
                  </a:cubicBezTo>
                  <a:cubicBezTo>
                    <a:pt x="540" y="781"/>
                    <a:pt x="541" y="780"/>
                    <a:pt x="542" y="780"/>
                  </a:cubicBezTo>
                  <a:moveTo>
                    <a:pt x="501" y="786"/>
                  </a:moveTo>
                  <a:cubicBezTo>
                    <a:pt x="500" y="787"/>
                    <a:pt x="498" y="787"/>
                    <a:pt x="497" y="787"/>
                  </a:cubicBezTo>
                  <a:cubicBezTo>
                    <a:pt x="493" y="787"/>
                    <a:pt x="489" y="787"/>
                    <a:pt x="485" y="788"/>
                  </a:cubicBezTo>
                  <a:cubicBezTo>
                    <a:pt x="486" y="788"/>
                    <a:pt x="486" y="788"/>
                    <a:pt x="486" y="789"/>
                  </a:cubicBezTo>
                  <a:cubicBezTo>
                    <a:pt x="490" y="788"/>
                    <a:pt x="493" y="788"/>
                    <a:pt x="497" y="788"/>
                  </a:cubicBezTo>
                  <a:cubicBezTo>
                    <a:pt x="498" y="788"/>
                    <a:pt x="498" y="788"/>
                    <a:pt x="499" y="788"/>
                  </a:cubicBezTo>
                  <a:cubicBezTo>
                    <a:pt x="500" y="787"/>
                    <a:pt x="500" y="787"/>
                    <a:pt x="501" y="786"/>
                  </a:cubicBezTo>
                  <a:moveTo>
                    <a:pt x="1361" y="787"/>
                  </a:moveTo>
                  <a:cubicBezTo>
                    <a:pt x="1347" y="802"/>
                    <a:pt x="1332" y="816"/>
                    <a:pt x="1317" y="829"/>
                  </a:cubicBezTo>
                  <a:cubicBezTo>
                    <a:pt x="1318" y="829"/>
                    <a:pt x="1318" y="830"/>
                    <a:pt x="1318" y="830"/>
                  </a:cubicBezTo>
                  <a:cubicBezTo>
                    <a:pt x="1332" y="817"/>
                    <a:pt x="1347" y="803"/>
                    <a:pt x="1361" y="789"/>
                  </a:cubicBezTo>
                  <a:cubicBezTo>
                    <a:pt x="1361" y="788"/>
                    <a:pt x="1361" y="788"/>
                    <a:pt x="1361" y="787"/>
                  </a:cubicBezTo>
                  <a:moveTo>
                    <a:pt x="484" y="788"/>
                  </a:moveTo>
                  <a:cubicBezTo>
                    <a:pt x="481" y="788"/>
                    <a:pt x="477" y="788"/>
                    <a:pt x="474" y="789"/>
                  </a:cubicBezTo>
                  <a:cubicBezTo>
                    <a:pt x="473" y="789"/>
                    <a:pt x="472" y="789"/>
                    <a:pt x="472" y="790"/>
                  </a:cubicBezTo>
                  <a:cubicBezTo>
                    <a:pt x="476" y="789"/>
                    <a:pt x="481" y="789"/>
                    <a:pt x="485" y="789"/>
                  </a:cubicBezTo>
                  <a:cubicBezTo>
                    <a:pt x="485" y="788"/>
                    <a:pt x="484" y="788"/>
                    <a:pt x="484" y="788"/>
                  </a:cubicBezTo>
                  <a:moveTo>
                    <a:pt x="471" y="789"/>
                  </a:moveTo>
                  <a:cubicBezTo>
                    <a:pt x="465" y="789"/>
                    <a:pt x="459" y="790"/>
                    <a:pt x="453" y="791"/>
                  </a:cubicBezTo>
                  <a:cubicBezTo>
                    <a:pt x="452" y="791"/>
                    <a:pt x="451" y="791"/>
                    <a:pt x="450" y="792"/>
                  </a:cubicBezTo>
                  <a:cubicBezTo>
                    <a:pt x="457" y="791"/>
                    <a:pt x="463" y="791"/>
                    <a:pt x="469" y="790"/>
                  </a:cubicBezTo>
                  <a:cubicBezTo>
                    <a:pt x="470" y="790"/>
                    <a:pt x="471" y="789"/>
                    <a:pt x="471" y="789"/>
                  </a:cubicBezTo>
                  <a:moveTo>
                    <a:pt x="450" y="791"/>
                  </a:moveTo>
                  <a:cubicBezTo>
                    <a:pt x="444" y="791"/>
                    <a:pt x="438" y="792"/>
                    <a:pt x="431" y="792"/>
                  </a:cubicBezTo>
                  <a:cubicBezTo>
                    <a:pt x="431" y="793"/>
                    <a:pt x="430" y="793"/>
                    <a:pt x="430" y="793"/>
                  </a:cubicBezTo>
                  <a:cubicBezTo>
                    <a:pt x="428" y="793"/>
                    <a:pt x="427" y="793"/>
                    <a:pt x="426" y="793"/>
                  </a:cubicBezTo>
                  <a:cubicBezTo>
                    <a:pt x="426" y="793"/>
                    <a:pt x="425" y="793"/>
                    <a:pt x="425" y="793"/>
                  </a:cubicBezTo>
                  <a:cubicBezTo>
                    <a:pt x="423" y="793"/>
                    <a:pt x="422" y="793"/>
                    <a:pt x="420" y="793"/>
                  </a:cubicBezTo>
                  <a:cubicBezTo>
                    <a:pt x="420" y="793"/>
                    <a:pt x="419" y="794"/>
                    <a:pt x="419" y="794"/>
                  </a:cubicBezTo>
                  <a:cubicBezTo>
                    <a:pt x="415" y="794"/>
                    <a:pt x="411" y="794"/>
                    <a:pt x="407" y="795"/>
                  </a:cubicBezTo>
                  <a:cubicBezTo>
                    <a:pt x="406" y="795"/>
                    <a:pt x="406" y="795"/>
                    <a:pt x="405" y="795"/>
                  </a:cubicBezTo>
                  <a:cubicBezTo>
                    <a:pt x="400" y="795"/>
                    <a:pt x="394" y="796"/>
                    <a:pt x="389" y="797"/>
                  </a:cubicBezTo>
                  <a:cubicBezTo>
                    <a:pt x="388" y="797"/>
                    <a:pt x="387" y="797"/>
                    <a:pt x="386" y="797"/>
                  </a:cubicBezTo>
                  <a:cubicBezTo>
                    <a:pt x="386" y="797"/>
                    <a:pt x="385" y="797"/>
                    <a:pt x="385" y="797"/>
                  </a:cubicBezTo>
                  <a:cubicBezTo>
                    <a:pt x="384" y="797"/>
                    <a:pt x="384" y="797"/>
                    <a:pt x="383" y="797"/>
                  </a:cubicBezTo>
                  <a:cubicBezTo>
                    <a:pt x="375" y="798"/>
                    <a:pt x="367" y="799"/>
                    <a:pt x="359" y="800"/>
                  </a:cubicBezTo>
                  <a:cubicBezTo>
                    <a:pt x="358" y="800"/>
                    <a:pt x="358" y="800"/>
                    <a:pt x="357" y="800"/>
                  </a:cubicBezTo>
                  <a:cubicBezTo>
                    <a:pt x="354" y="800"/>
                    <a:pt x="351" y="801"/>
                    <a:pt x="348" y="801"/>
                  </a:cubicBezTo>
                  <a:cubicBezTo>
                    <a:pt x="347" y="801"/>
                    <a:pt x="347" y="801"/>
                    <a:pt x="346" y="801"/>
                  </a:cubicBezTo>
                  <a:cubicBezTo>
                    <a:pt x="345" y="801"/>
                    <a:pt x="345" y="801"/>
                    <a:pt x="344" y="801"/>
                  </a:cubicBezTo>
                  <a:cubicBezTo>
                    <a:pt x="343" y="801"/>
                    <a:pt x="343" y="801"/>
                    <a:pt x="343" y="801"/>
                  </a:cubicBezTo>
                  <a:cubicBezTo>
                    <a:pt x="343" y="801"/>
                    <a:pt x="343" y="801"/>
                    <a:pt x="342" y="801"/>
                  </a:cubicBezTo>
                  <a:cubicBezTo>
                    <a:pt x="342" y="802"/>
                    <a:pt x="341" y="802"/>
                    <a:pt x="340" y="802"/>
                  </a:cubicBezTo>
                  <a:cubicBezTo>
                    <a:pt x="332" y="803"/>
                    <a:pt x="323" y="804"/>
                    <a:pt x="314" y="805"/>
                  </a:cubicBezTo>
                  <a:cubicBezTo>
                    <a:pt x="312" y="805"/>
                    <a:pt x="309" y="805"/>
                    <a:pt x="307" y="806"/>
                  </a:cubicBezTo>
                  <a:cubicBezTo>
                    <a:pt x="267" y="811"/>
                    <a:pt x="225" y="817"/>
                    <a:pt x="187" y="824"/>
                  </a:cubicBezTo>
                  <a:cubicBezTo>
                    <a:pt x="186" y="824"/>
                    <a:pt x="185" y="824"/>
                    <a:pt x="185" y="824"/>
                  </a:cubicBezTo>
                  <a:cubicBezTo>
                    <a:pt x="179" y="825"/>
                    <a:pt x="174" y="827"/>
                    <a:pt x="169" y="828"/>
                  </a:cubicBezTo>
                  <a:cubicBezTo>
                    <a:pt x="168" y="828"/>
                    <a:pt x="168" y="828"/>
                    <a:pt x="167" y="828"/>
                  </a:cubicBezTo>
                  <a:cubicBezTo>
                    <a:pt x="158" y="830"/>
                    <a:pt x="149" y="832"/>
                    <a:pt x="140" y="834"/>
                  </a:cubicBezTo>
                  <a:cubicBezTo>
                    <a:pt x="140" y="834"/>
                    <a:pt x="139" y="834"/>
                    <a:pt x="138" y="834"/>
                  </a:cubicBezTo>
                  <a:cubicBezTo>
                    <a:pt x="133" y="836"/>
                    <a:pt x="127" y="837"/>
                    <a:pt x="121" y="838"/>
                  </a:cubicBezTo>
                  <a:cubicBezTo>
                    <a:pt x="121" y="838"/>
                    <a:pt x="120" y="839"/>
                    <a:pt x="120" y="839"/>
                  </a:cubicBezTo>
                  <a:cubicBezTo>
                    <a:pt x="108" y="842"/>
                    <a:pt x="97" y="845"/>
                    <a:pt x="86" y="848"/>
                  </a:cubicBezTo>
                  <a:cubicBezTo>
                    <a:pt x="86" y="848"/>
                    <a:pt x="85" y="849"/>
                    <a:pt x="85" y="849"/>
                  </a:cubicBezTo>
                  <a:cubicBezTo>
                    <a:pt x="85" y="849"/>
                    <a:pt x="84" y="849"/>
                    <a:pt x="84" y="849"/>
                  </a:cubicBezTo>
                  <a:cubicBezTo>
                    <a:pt x="84" y="849"/>
                    <a:pt x="83" y="849"/>
                    <a:pt x="83" y="849"/>
                  </a:cubicBezTo>
                  <a:cubicBezTo>
                    <a:pt x="83" y="849"/>
                    <a:pt x="83" y="849"/>
                    <a:pt x="82" y="850"/>
                  </a:cubicBezTo>
                  <a:cubicBezTo>
                    <a:pt x="82" y="850"/>
                    <a:pt x="82" y="850"/>
                    <a:pt x="82" y="850"/>
                  </a:cubicBezTo>
                  <a:cubicBezTo>
                    <a:pt x="82" y="850"/>
                    <a:pt x="82" y="850"/>
                    <a:pt x="82" y="850"/>
                  </a:cubicBezTo>
                  <a:cubicBezTo>
                    <a:pt x="81" y="850"/>
                    <a:pt x="81" y="850"/>
                    <a:pt x="80" y="850"/>
                  </a:cubicBezTo>
                  <a:cubicBezTo>
                    <a:pt x="80" y="850"/>
                    <a:pt x="80" y="851"/>
                    <a:pt x="79" y="851"/>
                  </a:cubicBezTo>
                  <a:cubicBezTo>
                    <a:pt x="79" y="851"/>
                    <a:pt x="78" y="851"/>
                    <a:pt x="77" y="851"/>
                  </a:cubicBezTo>
                  <a:cubicBezTo>
                    <a:pt x="75" y="852"/>
                    <a:pt x="74" y="853"/>
                    <a:pt x="72" y="853"/>
                  </a:cubicBezTo>
                  <a:cubicBezTo>
                    <a:pt x="71" y="853"/>
                    <a:pt x="71" y="854"/>
                    <a:pt x="71" y="854"/>
                  </a:cubicBezTo>
                  <a:cubicBezTo>
                    <a:pt x="68" y="855"/>
                    <a:pt x="65" y="856"/>
                    <a:pt x="62" y="857"/>
                  </a:cubicBezTo>
                  <a:cubicBezTo>
                    <a:pt x="62" y="857"/>
                    <a:pt x="61" y="857"/>
                    <a:pt x="61" y="857"/>
                  </a:cubicBezTo>
                  <a:cubicBezTo>
                    <a:pt x="61" y="857"/>
                    <a:pt x="60" y="857"/>
                    <a:pt x="60" y="858"/>
                  </a:cubicBezTo>
                  <a:cubicBezTo>
                    <a:pt x="60" y="858"/>
                    <a:pt x="59" y="858"/>
                    <a:pt x="59" y="858"/>
                  </a:cubicBezTo>
                  <a:cubicBezTo>
                    <a:pt x="58" y="859"/>
                    <a:pt x="57" y="859"/>
                    <a:pt x="55" y="860"/>
                  </a:cubicBezTo>
                  <a:cubicBezTo>
                    <a:pt x="55" y="860"/>
                    <a:pt x="55" y="860"/>
                    <a:pt x="54" y="860"/>
                  </a:cubicBezTo>
                  <a:cubicBezTo>
                    <a:pt x="51" y="861"/>
                    <a:pt x="48" y="863"/>
                    <a:pt x="45" y="864"/>
                  </a:cubicBezTo>
                  <a:cubicBezTo>
                    <a:pt x="45" y="864"/>
                    <a:pt x="45" y="864"/>
                    <a:pt x="44" y="865"/>
                  </a:cubicBezTo>
                  <a:cubicBezTo>
                    <a:pt x="44" y="865"/>
                    <a:pt x="44" y="865"/>
                    <a:pt x="44" y="865"/>
                  </a:cubicBezTo>
                  <a:cubicBezTo>
                    <a:pt x="44" y="865"/>
                    <a:pt x="43" y="865"/>
                    <a:pt x="43" y="865"/>
                  </a:cubicBezTo>
                  <a:cubicBezTo>
                    <a:pt x="42" y="866"/>
                    <a:pt x="40" y="867"/>
                    <a:pt x="39" y="867"/>
                  </a:cubicBezTo>
                  <a:cubicBezTo>
                    <a:pt x="38" y="867"/>
                    <a:pt x="38" y="868"/>
                    <a:pt x="38" y="868"/>
                  </a:cubicBezTo>
                  <a:cubicBezTo>
                    <a:pt x="37" y="868"/>
                    <a:pt x="37" y="868"/>
                    <a:pt x="37" y="868"/>
                  </a:cubicBezTo>
                  <a:cubicBezTo>
                    <a:pt x="37" y="868"/>
                    <a:pt x="36" y="868"/>
                    <a:pt x="36" y="869"/>
                  </a:cubicBezTo>
                  <a:cubicBezTo>
                    <a:pt x="36" y="869"/>
                    <a:pt x="36" y="869"/>
                    <a:pt x="35" y="869"/>
                  </a:cubicBezTo>
                  <a:cubicBezTo>
                    <a:pt x="34" y="870"/>
                    <a:pt x="33" y="870"/>
                    <a:pt x="32" y="871"/>
                  </a:cubicBezTo>
                  <a:cubicBezTo>
                    <a:pt x="32" y="871"/>
                    <a:pt x="31" y="871"/>
                    <a:pt x="31" y="872"/>
                  </a:cubicBezTo>
                  <a:cubicBezTo>
                    <a:pt x="31" y="872"/>
                    <a:pt x="31" y="872"/>
                    <a:pt x="30" y="872"/>
                  </a:cubicBezTo>
                  <a:cubicBezTo>
                    <a:pt x="30" y="872"/>
                    <a:pt x="29" y="873"/>
                    <a:pt x="28" y="873"/>
                  </a:cubicBezTo>
                  <a:cubicBezTo>
                    <a:pt x="28" y="873"/>
                    <a:pt x="28" y="874"/>
                    <a:pt x="27" y="874"/>
                  </a:cubicBezTo>
                  <a:cubicBezTo>
                    <a:pt x="25" y="875"/>
                    <a:pt x="23" y="877"/>
                    <a:pt x="21" y="878"/>
                  </a:cubicBezTo>
                  <a:cubicBezTo>
                    <a:pt x="21" y="878"/>
                    <a:pt x="21" y="878"/>
                    <a:pt x="20" y="879"/>
                  </a:cubicBezTo>
                  <a:cubicBezTo>
                    <a:pt x="19" y="880"/>
                    <a:pt x="17" y="881"/>
                    <a:pt x="15" y="883"/>
                  </a:cubicBezTo>
                  <a:cubicBezTo>
                    <a:pt x="15" y="883"/>
                    <a:pt x="15" y="883"/>
                    <a:pt x="15" y="883"/>
                  </a:cubicBezTo>
                  <a:cubicBezTo>
                    <a:pt x="15" y="883"/>
                    <a:pt x="15" y="883"/>
                    <a:pt x="15" y="883"/>
                  </a:cubicBezTo>
                  <a:cubicBezTo>
                    <a:pt x="13" y="884"/>
                    <a:pt x="12" y="886"/>
                    <a:pt x="11" y="887"/>
                  </a:cubicBezTo>
                  <a:cubicBezTo>
                    <a:pt x="11" y="887"/>
                    <a:pt x="10" y="887"/>
                    <a:pt x="10" y="888"/>
                  </a:cubicBezTo>
                  <a:cubicBezTo>
                    <a:pt x="9" y="889"/>
                    <a:pt x="8" y="890"/>
                    <a:pt x="7" y="891"/>
                  </a:cubicBezTo>
                  <a:cubicBezTo>
                    <a:pt x="7" y="891"/>
                    <a:pt x="7" y="891"/>
                    <a:pt x="7" y="892"/>
                  </a:cubicBezTo>
                  <a:cubicBezTo>
                    <a:pt x="5" y="893"/>
                    <a:pt x="4" y="895"/>
                    <a:pt x="3" y="897"/>
                  </a:cubicBezTo>
                  <a:cubicBezTo>
                    <a:pt x="3" y="897"/>
                    <a:pt x="3" y="898"/>
                    <a:pt x="3" y="898"/>
                  </a:cubicBezTo>
                  <a:cubicBezTo>
                    <a:pt x="2" y="900"/>
                    <a:pt x="1" y="901"/>
                    <a:pt x="1" y="903"/>
                  </a:cubicBezTo>
                  <a:cubicBezTo>
                    <a:pt x="1" y="903"/>
                    <a:pt x="1" y="904"/>
                    <a:pt x="1" y="904"/>
                  </a:cubicBezTo>
                  <a:cubicBezTo>
                    <a:pt x="0" y="904"/>
                    <a:pt x="0" y="905"/>
                    <a:pt x="0" y="905"/>
                  </a:cubicBezTo>
                  <a:cubicBezTo>
                    <a:pt x="0" y="905"/>
                    <a:pt x="0" y="906"/>
                    <a:pt x="0" y="906"/>
                  </a:cubicBezTo>
                  <a:cubicBezTo>
                    <a:pt x="0" y="908"/>
                    <a:pt x="0" y="909"/>
                    <a:pt x="0" y="911"/>
                  </a:cubicBezTo>
                  <a:cubicBezTo>
                    <a:pt x="0" y="914"/>
                    <a:pt x="0" y="917"/>
                    <a:pt x="1" y="920"/>
                  </a:cubicBezTo>
                  <a:cubicBezTo>
                    <a:pt x="1" y="921"/>
                    <a:pt x="1" y="921"/>
                    <a:pt x="1" y="921"/>
                  </a:cubicBezTo>
                  <a:cubicBezTo>
                    <a:pt x="2" y="922"/>
                    <a:pt x="2" y="922"/>
                    <a:pt x="2" y="923"/>
                  </a:cubicBezTo>
                  <a:cubicBezTo>
                    <a:pt x="2" y="923"/>
                    <a:pt x="2" y="924"/>
                    <a:pt x="3" y="924"/>
                  </a:cubicBezTo>
                  <a:cubicBezTo>
                    <a:pt x="4" y="927"/>
                    <a:pt x="6" y="930"/>
                    <a:pt x="8" y="933"/>
                  </a:cubicBezTo>
                  <a:cubicBezTo>
                    <a:pt x="8" y="933"/>
                    <a:pt x="8" y="933"/>
                    <a:pt x="8" y="932"/>
                  </a:cubicBezTo>
                  <a:cubicBezTo>
                    <a:pt x="6" y="929"/>
                    <a:pt x="5" y="927"/>
                    <a:pt x="4" y="924"/>
                  </a:cubicBezTo>
                  <a:cubicBezTo>
                    <a:pt x="3" y="924"/>
                    <a:pt x="3" y="924"/>
                    <a:pt x="3" y="923"/>
                  </a:cubicBezTo>
                  <a:cubicBezTo>
                    <a:pt x="3" y="923"/>
                    <a:pt x="3" y="922"/>
                    <a:pt x="2" y="922"/>
                  </a:cubicBezTo>
                  <a:cubicBezTo>
                    <a:pt x="2" y="921"/>
                    <a:pt x="2" y="921"/>
                    <a:pt x="2" y="921"/>
                  </a:cubicBezTo>
                  <a:cubicBezTo>
                    <a:pt x="1" y="917"/>
                    <a:pt x="1" y="914"/>
                    <a:pt x="1" y="911"/>
                  </a:cubicBezTo>
                  <a:cubicBezTo>
                    <a:pt x="1" y="910"/>
                    <a:pt x="1" y="908"/>
                    <a:pt x="1" y="907"/>
                  </a:cubicBezTo>
                  <a:cubicBezTo>
                    <a:pt x="1" y="907"/>
                    <a:pt x="1" y="906"/>
                    <a:pt x="1" y="906"/>
                  </a:cubicBezTo>
                  <a:cubicBezTo>
                    <a:pt x="1" y="906"/>
                    <a:pt x="1" y="905"/>
                    <a:pt x="1" y="905"/>
                  </a:cubicBezTo>
                  <a:cubicBezTo>
                    <a:pt x="1" y="905"/>
                    <a:pt x="1" y="905"/>
                    <a:pt x="1" y="904"/>
                  </a:cubicBezTo>
                  <a:cubicBezTo>
                    <a:pt x="1" y="904"/>
                    <a:pt x="1" y="904"/>
                    <a:pt x="2" y="904"/>
                  </a:cubicBezTo>
                  <a:cubicBezTo>
                    <a:pt x="2" y="903"/>
                    <a:pt x="2" y="903"/>
                    <a:pt x="2" y="902"/>
                  </a:cubicBezTo>
                  <a:cubicBezTo>
                    <a:pt x="2" y="901"/>
                    <a:pt x="3" y="900"/>
                    <a:pt x="4" y="898"/>
                  </a:cubicBezTo>
                  <a:cubicBezTo>
                    <a:pt x="4" y="898"/>
                    <a:pt x="4" y="898"/>
                    <a:pt x="4" y="897"/>
                  </a:cubicBezTo>
                  <a:cubicBezTo>
                    <a:pt x="5" y="895"/>
                    <a:pt x="6" y="894"/>
                    <a:pt x="8" y="892"/>
                  </a:cubicBezTo>
                  <a:cubicBezTo>
                    <a:pt x="8" y="892"/>
                    <a:pt x="8" y="891"/>
                    <a:pt x="8" y="891"/>
                  </a:cubicBezTo>
                  <a:cubicBezTo>
                    <a:pt x="9" y="890"/>
                    <a:pt x="10" y="889"/>
                    <a:pt x="11" y="888"/>
                  </a:cubicBezTo>
                  <a:cubicBezTo>
                    <a:pt x="11" y="888"/>
                    <a:pt x="11" y="887"/>
                    <a:pt x="12" y="887"/>
                  </a:cubicBezTo>
                  <a:cubicBezTo>
                    <a:pt x="13" y="886"/>
                    <a:pt x="14" y="885"/>
                    <a:pt x="15" y="884"/>
                  </a:cubicBezTo>
                  <a:cubicBezTo>
                    <a:pt x="15" y="884"/>
                    <a:pt x="16" y="883"/>
                    <a:pt x="16" y="883"/>
                  </a:cubicBezTo>
                  <a:cubicBezTo>
                    <a:pt x="16" y="883"/>
                    <a:pt x="16" y="883"/>
                    <a:pt x="16" y="883"/>
                  </a:cubicBezTo>
                  <a:cubicBezTo>
                    <a:pt x="18" y="882"/>
                    <a:pt x="19" y="880"/>
                    <a:pt x="21" y="879"/>
                  </a:cubicBezTo>
                  <a:cubicBezTo>
                    <a:pt x="21" y="879"/>
                    <a:pt x="22" y="879"/>
                    <a:pt x="22" y="878"/>
                  </a:cubicBezTo>
                  <a:cubicBezTo>
                    <a:pt x="24" y="877"/>
                    <a:pt x="26" y="876"/>
                    <a:pt x="28" y="874"/>
                  </a:cubicBezTo>
                  <a:cubicBezTo>
                    <a:pt x="28" y="874"/>
                    <a:pt x="29" y="874"/>
                    <a:pt x="29" y="874"/>
                  </a:cubicBezTo>
                  <a:cubicBezTo>
                    <a:pt x="30" y="873"/>
                    <a:pt x="31" y="873"/>
                    <a:pt x="32" y="872"/>
                  </a:cubicBezTo>
                  <a:cubicBezTo>
                    <a:pt x="32" y="872"/>
                    <a:pt x="32" y="872"/>
                    <a:pt x="32" y="872"/>
                  </a:cubicBezTo>
                  <a:cubicBezTo>
                    <a:pt x="32" y="872"/>
                    <a:pt x="32" y="872"/>
                    <a:pt x="33" y="872"/>
                  </a:cubicBezTo>
                  <a:cubicBezTo>
                    <a:pt x="34" y="871"/>
                    <a:pt x="35" y="870"/>
                    <a:pt x="36" y="870"/>
                  </a:cubicBezTo>
                  <a:cubicBezTo>
                    <a:pt x="36" y="870"/>
                    <a:pt x="37" y="869"/>
                    <a:pt x="37" y="869"/>
                  </a:cubicBezTo>
                  <a:cubicBezTo>
                    <a:pt x="37" y="869"/>
                    <a:pt x="38" y="869"/>
                    <a:pt x="38" y="869"/>
                  </a:cubicBezTo>
                  <a:cubicBezTo>
                    <a:pt x="38" y="869"/>
                    <a:pt x="38" y="868"/>
                    <a:pt x="39" y="868"/>
                  </a:cubicBezTo>
                  <a:cubicBezTo>
                    <a:pt x="39" y="868"/>
                    <a:pt x="39" y="868"/>
                    <a:pt x="40" y="868"/>
                  </a:cubicBezTo>
                  <a:cubicBezTo>
                    <a:pt x="41" y="867"/>
                    <a:pt x="43" y="866"/>
                    <a:pt x="44" y="866"/>
                  </a:cubicBezTo>
                  <a:cubicBezTo>
                    <a:pt x="44" y="865"/>
                    <a:pt x="45" y="865"/>
                    <a:pt x="45" y="865"/>
                  </a:cubicBezTo>
                  <a:cubicBezTo>
                    <a:pt x="46" y="865"/>
                    <a:pt x="46" y="865"/>
                    <a:pt x="46" y="865"/>
                  </a:cubicBezTo>
                  <a:cubicBezTo>
                    <a:pt x="49" y="863"/>
                    <a:pt x="52" y="862"/>
                    <a:pt x="55" y="861"/>
                  </a:cubicBezTo>
                  <a:cubicBezTo>
                    <a:pt x="56" y="861"/>
                    <a:pt x="56" y="860"/>
                    <a:pt x="56" y="860"/>
                  </a:cubicBezTo>
                  <a:cubicBezTo>
                    <a:pt x="58" y="860"/>
                    <a:pt x="59" y="859"/>
                    <a:pt x="60" y="859"/>
                  </a:cubicBezTo>
                  <a:cubicBezTo>
                    <a:pt x="61" y="859"/>
                    <a:pt x="61" y="858"/>
                    <a:pt x="61" y="858"/>
                  </a:cubicBezTo>
                  <a:cubicBezTo>
                    <a:pt x="62" y="858"/>
                    <a:pt x="62" y="858"/>
                    <a:pt x="62" y="858"/>
                  </a:cubicBezTo>
                  <a:cubicBezTo>
                    <a:pt x="62" y="858"/>
                    <a:pt x="63" y="858"/>
                    <a:pt x="63" y="857"/>
                  </a:cubicBezTo>
                  <a:cubicBezTo>
                    <a:pt x="66" y="856"/>
                    <a:pt x="69" y="855"/>
                    <a:pt x="72" y="854"/>
                  </a:cubicBezTo>
                  <a:cubicBezTo>
                    <a:pt x="72" y="854"/>
                    <a:pt x="72" y="854"/>
                    <a:pt x="72" y="854"/>
                  </a:cubicBezTo>
                  <a:cubicBezTo>
                    <a:pt x="74" y="853"/>
                    <a:pt x="77" y="853"/>
                    <a:pt x="79" y="852"/>
                  </a:cubicBezTo>
                  <a:cubicBezTo>
                    <a:pt x="79" y="852"/>
                    <a:pt x="79" y="852"/>
                    <a:pt x="79" y="852"/>
                  </a:cubicBezTo>
                  <a:cubicBezTo>
                    <a:pt x="80" y="851"/>
                    <a:pt x="80" y="851"/>
                    <a:pt x="81" y="851"/>
                  </a:cubicBezTo>
                  <a:cubicBezTo>
                    <a:pt x="81" y="851"/>
                    <a:pt x="81" y="851"/>
                    <a:pt x="81" y="851"/>
                  </a:cubicBezTo>
                  <a:cubicBezTo>
                    <a:pt x="81" y="851"/>
                    <a:pt x="81" y="851"/>
                    <a:pt x="81" y="851"/>
                  </a:cubicBezTo>
                  <a:cubicBezTo>
                    <a:pt x="82" y="851"/>
                    <a:pt x="82" y="851"/>
                    <a:pt x="83" y="851"/>
                  </a:cubicBezTo>
                  <a:cubicBezTo>
                    <a:pt x="83" y="851"/>
                    <a:pt x="83" y="851"/>
                    <a:pt x="83" y="850"/>
                  </a:cubicBezTo>
                  <a:cubicBezTo>
                    <a:pt x="83" y="850"/>
                    <a:pt x="84" y="850"/>
                    <a:pt x="84" y="850"/>
                  </a:cubicBezTo>
                  <a:cubicBezTo>
                    <a:pt x="84" y="850"/>
                    <a:pt x="84" y="850"/>
                    <a:pt x="84" y="850"/>
                  </a:cubicBezTo>
                  <a:cubicBezTo>
                    <a:pt x="85" y="850"/>
                    <a:pt x="85" y="850"/>
                    <a:pt x="86" y="850"/>
                  </a:cubicBezTo>
                  <a:cubicBezTo>
                    <a:pt x="86" y="849"/>
                    <a:pt x="86" y="849"/>
                    <a:pt x="87" y="849"/>
                  </a:cubicBezTo>
                  <a:cubicBezTo>
                    <a:pt x="98" y="846"/>
                    <a:pt x="109" y="843"/>
                    <a:pt x="121" y="839"/>
                  </a:cubicBezTo>
                  <a:cubicBezTo>
                    <a:pt x="122" y="839"/>
                    <a:pt x="122" y="839"/>
                    <a:pt x="123" y="839"/>
                  </a:cubicBezTo>
                  <a:cubicBezTo>
                    <a:pt x="129" y="838"/>
                    <a:pt x="135" y="836"/>
                    <a:pt x="141" y="835"/>
                  </a:cubicBezTo>
                  <a:cubicBezTo>
                    <a:pt x="141" y="835"/>
                    <a:pt x="142" y="834"/>
                    <a:pt x="143" y="834"/>
                  </a:cubicBezTo>
                  <a:cubicBezTo>
                    <a:pt x="151" y="832"/>
                    <a:pt x="160" y="831"/>
                    <a:pt x="169" y="829"/>
                  </a:cubicBezTo>
                  <a:cubicBezTo>
                    <a:pt x="169" y="829"/>
                    <a:pt x="170" y="829"/>
                    <a:pt x="170" y="828"/>
                  </a:cubicBezTo>
                  <a:cubicBezTo>
                    <a:pt x="176" y="827"/>
                    <a:pt x="181" y="826"/>
                    <a:pt x="187" y="825"/>
                  </a:cubicBezTo>
                  <a:cubicBezTo>
                    <a:pt x="187" y="825"/>
                    <a:pt x="188" y="825"/>
                    <a:pt x="188" y="825"/>
                  </a:cubicBezTo>
                  <a:cubicBezTo>
                    <a:pt x="224" y="818"/>
                    <a:pt x="261" y="813"/>
                    <a:pt x="297" y="808"/>
                  </a:cubicBezTo>
                  <a:cubicBezTo>
                    <a:pt x="301" y="808"/>
                    <a:pt x="304" y="807"/>
                    <a:pt x="307" y="807"/>
                  </a:cubicBezTo>
                  <a:cubicBezTo>
                    <a:pt x="317" y="805"/>
                    <a:pt x="328" y="804"/>
                    <a:pt x="338" y="803"/>
                  </a:cubicBezTo>
                  <a:cubicBezTo>
                    <a:pt x="339" y="803"/>
                    <a:pt x="340" y="803"/>
                    <a:pt x="341" y="803"/>
                  </a:cubicBezTo>
                  <a:cubicBezTo>
                    <a:pt x="341" y="803"/>
                    <a:pt x="342" y="803"/>
                    <a:pt x="342" y="802"/>
                  </a:cubicBezTo>
                  <a:cubicBezTo>
                    <a:pt x="343" y="802"/>
                    <a:pt x="343" y="802"/>
                    <a:pt x="343" y="802"/>
                  </a:cubicBezTo>
                  <a:cubicBezTo>
                    <a:pt x="344" y="802"/>
                    <a:pt x="344" y="802"/>
                    <a:pt x="345" y="802"/>
                  </a:cubicBezTo>
                  <a:cubicBezTo>
                    <a:pt x="345" y="802"/>
                    <a:pt x="346" y="802"/>
                    <a:pt x="347" y="802"/>
                  </a:cubicBezTo>
                  <a:cubicBezTo>
                    <a:pt x="347" y="802"/>
                    <a:pt x="347" y="802"/>
                    <a:pt x="347" y="802"/>
                  </a:cubicBezTo>
                  <a:cubicBezTo>
                    <a:pt x="350" y="802"/>
                    <a:pt x="353" y="801"/>
                    <a:pt x="355" y="801"/>
                  </a:cubicBezTo>
                  <a:cubicBezTo>
                    <a:pt x="356" y="801"/>
                    <a:pt x="357" y="801"/>
                    <a:pt x="357" y="801"/>
                  </a:cubicBezTo>
                  <a:cubicBezTo>
                    <a:pt x="366" y="800"/>
                    <a:pt x="374" y="799"/>
                    <a:pt x="382" y="798"/>
                  </a:cubicBezTo>
                  <a:cubicBezTo>
                    <a:pt x="383" y="798"/>
                    <a:pt x="383" y="798"/>
                    <a:pt x="384" y="798"/>
                  </a:cubicBezTo>
                  <a:cubicBezTo>
                    <a:pt x="384" y="798"/>
                    <a:pt x="384" y="798"/>
                    <a:pt x="384" y="798"/>
                  </a:cubicBezTo>
                  <a:cubicBezTo>
                    <a:pt x="385" y="798"/>
                    <a:pt x="386" y="798"/>
                    <a:pt x="387" y="798"/>
                  </a:cubicBezTo>
                  <a:cubicBezTo>
                    <a:pt x="393" y="797"/>
                    <a:pt x="399" y="796"/>
                    <a:pt x="404" y="796"/>
                  </a:cubicBezTo>
                  <a:cubicBezTo>
                    <a:pt x="405" y="796"/>
                    <a:pt x="405" y="796"/>
                    <a:pt x="406" y="796"/>
                  </a:cubicBezTo>
                  <a:cubicBezTo>
                    <a:pt x="410" y="795"/>
                    <a:pt x="414" y="795"/>
                    <a:pt x="418" y="795"/>
                  </a:cubicBezTo>
                  <a:cubicBezTo>
                    <a:pt x="418" y="795"/>
                    <a:pt x="419" y="795"/>
                    <a:pt x="419" y="794"/>
                  </a:cubicBezTo>
                  <a:cubicBezTo>
                    <a:pt x="421" y="794"/>
                    <a:pt x="422" y="794"/>
                    <a:pt x="424" y="794"/>
                  </a:cubicBezTo>
                  <a:cubicBezTo>
                    <a:pt x="424" y="794"/>
                    <a:pt x="425" y="794"/>
                    <a:pt x="425" y="794"/>
                  </a:cubicBezTo>
                  <a:cubicBezTo>
                    <a:pt x="426" y="794"/>
                    <a:pt x="428" y="794"/>
                    <a:pt x="429" y="794"/>
                  </a:cubicBezTo>
                  <a:cubicBezTo>
                    <a:pt x="429" y="794"/>
                    <a:pt x="430" y="794"/>
                    <a:pt x="430" y="793"/>
                  </a:cubicBezTo>
                  <a:cubicBezTo>
                    <a:pt x="436" y="793"/>
                    <a:pt x="442" y="792"/>
                    <a:pt x="447" y="792"/>
                  </a:cubicBezTo>
                  <a:cubicBezTo>
                    <a:pt x="448" y="792"/>
                    <a:pt x="449" y="791"/>
                    <a:pt x="450" y="791"/>
                  </a:cubicBezTo>
                  <a:moveTo>
                    <a:pt x="1317" y="830"/>
                  </a:moveTo>
                  <a:cubicBezTo>
                    <a:pt x="1310" y="836"/>
                    <a:pt x="1303" y="841"/>
                    <a:pt x="1296" y="847"/>
                  </a:cubicBezTo>
                  <a:cubicBezTo>
                    <a:pt x="1289" y="852"/>
                    <a:pt x="1282" y="858"/>
                    <a:pt x="1275" y="863"/>
                  </a:cubicBezTo>
                  <a:cubicBezTo>
                    <a:pt x="1275" y="864"/>
                    <a:pt x="1275" y="864"/>
                    <a:pt x="1275" y="864"/>
                  </a:cubicBezTo>
                  <a:cubicBezTo>
                    <a:pt x="1283" y="859"/>
                    <a:pt x="1290" y="853"/>
                    <a:pt x="1297" y="848"/>
                  </a:cubicBezTo>
                  <a:cubicBezTo>
                    <a:pt x="1303" y="842"/>
                    <a:pt x="1310" y="837"/>
                    <a:pt x="1317" y="831"/>
                  </a:cubicBezTo>
                  <a:cubicBezTo>
                    <a:pt x="1317" y="830"/>
                    <a:pt x="1317" y="830"/>
                    <a:pt x="1317" y="830"/>
                  </a:cubicBezTo>
                  <a:moveTo>
                    <a:pt x="1274" y="864"/>
                  </a:moveTo>
                  <a:cubicBezTo>
                    <a:pt x="1261" y="874"/>
                    <a:pt x="1249" y="885"/>
                    <a:pt x="1236" y="895"/>
                  </a:cubicBezTo>
                  <a:cubicBezTo>
                    <a:pt x="1236" y="896"/>
                    <a:pt x="1236" y="896"/>
                    <a:pt x="1236" y="896"/>
                  </a:cubicBezTo>
                  <a:cubicBezTo>
                    <a:pt x="1249" y="886"/>
                    <a:pt x="1262" y="875"/>
                    <a:pt x="1275" y="865"/>
                  </a:cubicBezTo>
                  <a:cubicBezTo>
                    <a:pt x="1274" y="865"/>
                    <a:pt x="1274" y="864"/>
                    <a:pt x="1274" y="864"/>
                  </a:cubicBezTo>
                  <a:moveTo>
                    <a:pt x="1235" y="896"/>
                  </a:moveTo>
                  <a:cubicBezTo>
                    <a:pt x="1222" y="907"/>
                    <a:pt x="1210" y="918"/>
                    <a:pt x="1198" y="929"/>
                  </a:cubicBezTo>
                  <a:cubicBezTo>
                    <a:pt x="1198" y="930"/>
                    <a:pt x="1198" y="930"/>
                    <a:pt x="1198" y="930"/>
                  </a:cubicBezTo>
                  <a:cubicBezTo>
                    <a:pt x="1210" y="919"/>
                    <a:pt x="1223" y="908"/>
                    <a:pt x="1236" y="897"/>
                  </a:cubicBezTo>
                  <a:cubicBezTo>
                    <a:pt x="1235" y="897"/>
                    <a:pt x="1235" y="896"/>
                    <a:pt x="1235" y="896"/>
                  </a:cubicBezTo>
                  <a:moveTo>
                    <a:pt x="1197" y="930"/>
                  </a:moveTo>
                  <a:cubicBezTo>
                    <a:pt x="1185" y="942"/>
                    <a:pt x="1173" y="953"/>
                    <a:pt x="1163" y="965"/>
                  </a:cubicBezTo>
                  <a:cubicBezTo>
                    <a:pt x="1163" y="965"/>
                    <a:pt x="1164" y="966"/>
                    <a:pt x="1164" y="966"/>
                  </a:cubicBezTo>
                  <a:cubicBezTo>
                    <a:pt x="1174" y="954"/>
                    <a:pt x="1185" y="942"/>
                    <a:pt x="1197" y="931"/>
                  </a:cubicBezTo>
                  <a:cubicBezTo>
                    <a:pt x="1197" y="931"/>
                    <a:pt x="1197" y="930"/>
                    <a:pt x="1197" y="930"/>
                  </a:cubicBezTo>
                  <a:moveTo>
                    <a:pt x="9" y="933"/>
                  </a:moveTo>
                  <a:cubicBezTo>
                    <a:pt x="9" y="934"/>
                    <a:pt x="9" y="934"/>
                    <a:pt x="9" y="935"/>
                  </a:cubicBezTo>
                  <a:cubicBezTo>
                    <a:pt x="10" y="936"/>
                    <a:pt x="11" y="938"/>
                    <a:pt x="13" y="940"/>
                  </a:cubicBezTo>
                  <a:cubicBezTo>
                    <a:pt x="13" y="940"/>
                    <a:pt x="14" y="941"/>
                    <a:pt x="14" y="941"/>
                  </a:cubicBezTo>
                  <a:cubicBezTo>
                    <a:pt x="15" y="942"/>
                    <a:pt x="17" y="944"/>
                    <a:pt x="18" y="945"/>
                  </a:cubicBezTo>
                  <a:cubicBezTo>
                    <a:pt x="18" y="945"/>
                    <a:pt x="18" y="945"/>
                    <a:pt x="18" y="945"/>
                  </a:cubicBezTo>
                  <a:cubicBezTo>
                    <a:pt x="19" y="945"/>
                    <a:pt x="19" y="945"/>
                    <a:pt x="19" y="944"/>
                  </a:cubicBezTo>
                  <a:cubicBezTo>
                    <a:pt x="19" y="944"/>
                    <a:pt x="19" y="944"/>
                    <a:pt x="18" y="944"/>
                  </a:cubicBezTo>
                  <a:cubicBezTo>
                    <a:pt x="17" y="943"/>
                    <a:pt x="17" y="942"/>
                    <a:pt x="16" y="941"/>
                  </a:cubicBezTo>
                  <a:cubicBezTo>
                    <a:pt x="15" y="941"/>
                    <a:pt x="15" y="941"/>
                    <a:pt x="15" y="940"/>
                  </a:cubicBezTo>
                  <a:cubicBezTo>
                    <a:pt x="12" y="938"/>
                    <a:pt x="11" y="936"/>
                    <a:pt x="9" y="933"/>
                  </a:cubicBezTo>
                  <a:moveTo>
                    <a:pt x="20" y="945"/>
                  </a:moveTo>
                  <a:cubicBezTo>
                    <a:pt x="19" y="945"/>
                    <a:pt x="19" y="946"/>
                    <a:pt x="19" y="946"/>
                  </a:cubicBezTo>
                  <a:cubicBezTo>
                    <a:pt x="20" y="947"/>
                    <a:pt x="22" y="948"/>
                    <a:pt x="23" y="949"/>
                  </a:cubicBezTo>
                  <a:cubicBezTo>
                    <a:pt x="23" y="949"/>
                    <a:pt x="24" y="949"/>
                    <a:pt x="24" y="949"/>
                  </a:cubicBezTo>
                  <a:cubicBezTo>
                    <a:pt x="22" y="948"/>
                    <a:pt x="21" y="946"/>
                    <a:pt x="20" y="945"/>
                  </a:cubicBezTo>
                  <a:moveTo>
                    <a:pt x="25" y="950"/>
                  </a:moveTo>
                  <a:cubicBezTo>
                    <a:pt x="24" y="950"/>
                    <a:pt x="24" y="950"/>
                    <a:pt x="24" y="950"/>
                  </a:cubicBezTo>
                  <a:cubicBezTo>
                    <a:pt x="25" y="951"/>
                    <a:pt x="26" y="952"/>
                    <a:pt x="27" y="953"/>
                  </a:cubicBezTo>
                  <a:cubicBezTo>
                    <a:pt x="28" y="953"/>
                    <a:pt x="28" y="953"/>
                    <a:pt x="28" y="954"/>
                  </a:cubicBezTo>
                  <a:cubicBezTo>
                    <a:pt x="29" y="954"/>
                    <a:pt x="29" y="955"/>
                    <a:pt x="30" y="955"/>
                  </a:cubicBezTo>
                  <a:cubicBezTo>
                    <a:pt x="30" y="955"/>
                    <a:pt x="31" y="956"/>
                    <a:pt x="31" y="956"/>
                  </a:cubicBezTo>
                  <a:cubicBezTo>
                    <a:pt x="32" y="956"/>
                    <a:pt x="32" y="956"/>
                    <a:pt x="32" y="955"/>
                  </a:cubicBezTo>
                  <a:cubicBezTo>
                    <a:pt x="31" y="955"/>
                    <a:pt x="31" y="955"/>
                    <a:pt x="30" y="954"/>
                  </a:cubicBezTo>
                  <a:cubicBezTo>
                    <a:pt x="30" y="954"/>
                    <a:pt x="30" y="954"/>
                    <a:pt x="29" y="953"/>
                  </a:cubicBezTo>
                  <a:cubicBezTo>
                    <a:pt x="28" y="952"/>
                    <a:pt x="26" y="951"/>
                    <a:pt x="25" y="950"/>
                  </a:cubicBezTo>
                  <a:moveTo>
                    <a:pt x="33" y="956"/>
                  </a:moveTo>
                  <a:cubicBezTo>
                    <a:pt x="33" y="956"/>
                    <a:pt x="32" y="956"/>
                    <a:pt x="32" y="957"/>
                  </a:cubicBezTo>
                  <a:cubicBezTo>
                    <a:pt x="32" y="957"/>
                    <a:pt x="33" y="957"/>
                    <a:pt x="33" y="957"/>
                  </a:cubicBezTo>
                  <a:cubicBezTo>
                    <a:pt x="33" y="957"/>
                    <a:pt x="33" y="957"/>
                    <a:pt x="34" y="957"/>
                  </a:cubicBezTo>
                  <a:cubicBezTo>
                    <a:pt x="33" y="956"/>
                    <a:pt x="33" y="956"/>
                    <a:pt x="33" y="956"/>
                  </a:cubicBezTo>
                  <a:moveTo>
                    <a:pt x="35" y="957"/>
                  </a:moveTo>
                  <a:cubicBezTo>
                    <a:pt x="34" y="957"/>
                    <a:pt x="34" y="958"/>
                    <a:pt x="34" y="958"/>
                  </a:cubicBezTo>
                  <a:cubicBezTo>
                    <a:pt x="36" y="960"/>
                    <a:pt x="39" y="962"/>
                    <a:pt x="43" y="964"/>
                  </a:cubicBezTo>
                  <a:cubicBezTo>
                    <a:pt x="43" y="964"/>
                    <a:pt x="43" y="963"/>
                    <a:pt x="44" y="963"/>
                  </a:cubicBezTo>
                  <a:cubicBezTo>
                    <a:pt x="40" y="961"/>
                    <a:pt x="37" y="959"/>
                    <a:pt x="35" y="957"/>
                  </a:cubicBezTo>
                  <a:moveTo>
                    <a:pt x="45" y="964"/>
                  </a:moveTo>
                  <a:cubicBezTo>
                    <a:pt x="44" y="964"/>
                    <a:pt x="44" y="964"/>
                    <a:pt x="43" y="964"/>
                  </a:cubicBezTo>
                  <a:cubicBezTo>
                    <a:pt x="44" y="965"/>
                    <a:pt x="45" y="966"/>
                    <a:pt x="46" y="966"/>
                  </a:cubicBezTo>
                  <a:cubicBezTo>
                    <a:pt x="46" y="966"/>
                    <a:pt x="47" y="966"/>
                    <a:pt x="47" y="965"/>
                  </a:cubicBezTo>
                  <a:cubicBezTo>
                    <a:pt x="46" y="965"/>
                    <a:pt x="45" y="964"/>
                    <a:pt x="45" y="964"/>
                  </a:cubicBezTo>
                  <a:moveTo>
                    <a:pt x="1162" y="966"/>
                  </a:moveTo>
                  <a:cubicBezTo>
                    <a:pt x="1152" y="978"/>
                    <a:pt x="1142" y="990"/>
                    <a:pt x="1134" y="1003"/>
                  </a:cubicBezTo>
                  <a:cubicBezTo>
                    <a:pt x="1134" y="1003"/>
                    <a:pt x="1134" y="1003"/>
                    <a:pt x="1135" y="1003"/>
                  </a:cubicBezTo>
                  <a:cubicBezTo>
                    <a:pt x="1143" y="991"/>
                    <a:pt x="1152" y="979"/>
                    <a:pt x="1163" y="967"/>
                  </a:cubicBezTo>
                  <a:cubicBezTo>
                    <a:pt x="1163" y="966"/>
                    <a:pt x="1163" y="966"/>
                    <a:pt x="1162" y="966"/>
                  </a:cubicBezTo>
                  <a:moveTo>
                    <a:pt x="48" y="966"/>
                  </a:moveTo>
                  <a:cubicBezTo>
                    <a:pt x="47" y="966"/>
                    <a:pt x="47" y="966"/>
                    <a:pt x="47" y="967"/>
                  </a:cubicBezTo>
                  <a:cubicBezTo>
                    <a:pt x="49" y="968"/>
                    <a:pt x="51" y="969"/>
                    <a:pt x="53" y="970"/>
                  </a:cubicBezTo>
                  <a:cubicBezTo>
                    <a:pt x="54" y="970"/>
                    <a:pt x="54" y="970"/>
                    <a:pt x="54" y="970"/>
                  </a:cubicBezTo>
                  <a:cubicBezTo>
                    <a:pt x="54" y="970"/>
                    <a:pt x="54" y="970"/>
                    <a:pt x="54" y="970"/>
                  </a:cubicBezTo>
                  <a:cubicBezTo>
                    <a:pt x="53" y="969"/>
                    <a:pt x="52" y="968"/>
                    <a:pt x="51" y="968"/>
                  </a:cubicBezTo>
                  <a:cubicBezTo>
                    <a:pt x="50" y="967"/>
                    <a:pt x="49" y="966"/>
                    <a:pt x="48" y="966"/>
                  </a:cubicBezTo>
                  <a:moveTo>
                    <a:pt x="55" y="970"/>
                  </a:moveTo>
                  <a:cubicBezTo>
                    <a:pt x="55" y="971"/>
                    <a:pt x="55" y="971"/>
                    <a:pt x="54" y="971"/>
                  </a:cubicBezTo>
                  <a:cubicBezTo>
                    <a:pt x="55" y="971"/>
                    <a:pt x="56" y="972"/>
                    <a:pt x="56" y="972"/>
                  </a:cubicBezTo>
                  <a:cubicBezTo>
                    <a:pt x="57" y="973"/>
                    <a:pt x="58" y="973"/>
                    <a:pt x="59" y="974"/>
                  </a:cubicBezTo>
                  <a:cubicBezTo>
                    <a:pt x="60" y="974"/>
                    <a:pt x="60" y="974"/>
                    <a:pt x="60" y="975"/>
                  </a:cubicBezTo>
                  <a:cubicBezTo>
                    <a:pt x="61" y="975"/>
                    <a:pt x="61" y="975"/>
                    <a:pt x="62" y="975"/>
                  </a:cubicBezTo>
                  <a:cubicBezTo>
                    <a:pt x="62" y="975"/>
                    <a:pt x="62" y="975"/>
                    <a:pt x="63" y="975"/>
                  </a:cubicBezTo>
                  <a:cubicBezTo>
                    <a:pt x="62" y="975"/>
                    <a:pt x="62" y="975"/>
                    <a:pt x="62" y="975"/>
                  </a:cubicBezTo>
                  <a:cubicBezTo>
                    <a:pt x="61" y="974"/>
                    <a:pt x="61" y="974"/>
                    <a:pt x="60" y="973"/>
                  </a:cubicBezTo>
                  <a:cubicBezTo>
                    <a:pt x="58" y="972"/>
                    <a:pt x="57" y="971"/>
                    <a:pt x="55" y="970"/>
                  </a:cubicBezTo>
                  <a:moveTo>
                    <a:pt x="64" y="975"/>
                  </a:moveTo>
                  <a:cubicBezTo>
                    <a:pt x="63" y="976"/>
                    <a:pt x="63" y="976"/>
                    <a:pt x="63" y="976"/>
                  </a:cubicBezTo>
                  <a:cubicBezTo>
                    <a:pt x="63" y="976"/>
                    <a:pt x="64" y="977"/>
                    <a:pt x="65" y="977"/>
                  </a:cubicBezTo>
                  <a:cubicBezTo>
                    <a:pt x="65" y="977"/>
                    <a:pt x="65" y="977"/>
                    <a:pt x="65" y="977"/>
                  </a:cubicBezTo>
                  <a:cubicBezTo>
                    <a:pt x="66" y="977"/>
                    <a:pt x="66" y="978"/>
                    <a:pt x="67" y="978"/>
                  </a:cubicBezTo>
                  <a:cubicBezTo>
                    <a:pt x="68" y="979"/>
                    <a:pt x="69" y="979"/>
                    <a:pt x="69" y="979"/>
                  </a:cubicBezTo>
                  <a:cubicBezTo>
                    <a:pt x="69" y="979"/>
                    <a:pt x="70" y="979"/>
                    <a:pt x="70" y="979"/>
                  </a:cubicBezTo>
                  <a:cubicBezTo>
                    <a:pt x="69" y="978"/>
                    <a:pt x="69" y="978"/>
                    <a:pt x="68" y="978"/>
                  </a:cubicBezTo>
                  <a:cubicBezTo>
                    <a:pt x="67" y="977"/>
                    <a:pt x="66" y="977"/>
                    <a:pt x="65" y="976"/>
                  </a:cubicBezTo>
                  <a:cubicBezTo>
                    <a:pt x="65" y="976"/>
                    <a:pt x="64" y="976"/>
                    <a:pt x="64" y="975"/>
                  </a:cubicBezTo>
                  <a:moveTo>
                    <a:pt x="71" y="979"/>
                  </a:moveTo>
                  <a:cubicBezTo>
                    <a:pt x="71" y="980"/>
                    <a:pt x="71" y="980"/>
                    <a:pt x="70" y="980"/>
                  </a:cubicBezTo>
                  <a:cubicBezTo>
                    <a:pt x="72" y="981"/>
                    <a:pt x="75" y="982"/>
                    <a:pt x="77" y="983"/>
                  </a:cubicBezTo>
                  <a:cubicBezTo>
                    <a:pt x="77" y="983"/>
                    <a:pt x="78" y="983"/>
                    <a:pt x="78" y="983"/>
                  </a:cubicBezTo>
                  <a:cubicBezTo>
                    <a:pt x="76" y="982"/>
                    <a:pt x="74" y="980"/>
                    <a:pt x="71" y="979"/>
                  </a:cubicBezTo>
                  <a:moveTo>
                    <a:pt x="80" y="984"/>
                  </a:moveTo>
                  <a:cubicBezTo>
                    <a:pt x="80" y="984"/>
                    <a:pt x="79" y="984"/>
                    <a:pt x="79" y="984"/>
                  </a:cubicBezTo>
                  <a:cubicBezTo>
                    <a:pt x="80" y="985"/>
                    <a:pt x="80" y="985"/>
                    <a:pt x="81" y="985"/>
                  </a:cubicBezTo>
                  <a:cubicBezTo>
                    <a:pt x="82" y="986"/>
                    <a:pt x="83" y="986"/>
                    <a:pt x="84" y="987"/>
                  </a:cubicBezTo>
                  <a:cubicBezTo>
                    <a:pt x="84" y="986"/>
                    <a:pt x="84" y="986"/>
                    <a:pt x="85" y="986"/>
                  </a:cubicBezTo>
                  <a:cubicBezTo>
                    <a:pt x="84" y="986"/>
                    <a:pt x="84" y="986"/>
                    <a:pt x="84" y="986"/>
                  </a:cubicBezTo>
                  <a:cubicBezTo>
                    <a:pt x="83" y="985"/>
                    <a:pt x="81" y="984"/>
                    <a:pt x="80" y="984"/>
                  </a:cubicBezTo>
                  <a:moveTo>
                    <a:pt x="86" y="987"/>
                  </a:moveTo>
                  <a:cubicBezTo>
                    <a:pt x="85" y="987"/>
                    <a:pt x="85" y="987"/>
                    <a:pt x="85" y="987"/>
                  </a:cubicBezTo>
                  <a:cubicBezTo>
                    <a:pt x="86" y="988"/>
                    <a:pt x="88" y="989"/>
                    <a:pt x="90" y="990"/>
                  </a:cubicBezTo>
                  <a:cubicBezTo>
                    <a:pt x="90" y="989"/>
                    <a:pt x="90" y="989"/>
                    <a:pt x="91" y="989"/>
                  </a:cubicBezTo>
                  <a:cubicBezTo>
                    <a:pt x="89" y="988"/>
                    <a:pt x="88" y="988"/>
                    <a:pt x="87" y="987"/>
                  </a:cubicBezTo>
                  <a:cubicBezTo>
                    <a:pt x="86" y="987"/>
                    <a:pt x="86" y="987"/>
                    <a:pt x="86" y="987"/>
                  </a:cubicBezTo>
                  <a:moveTo>
                    <a:pt x="92" y="990"/>
                  </a:moveTo>
                  <a:cubicBezTo>
                    <a:pt x="92" y="990"/>
                    <a:pt x="91" y="990"/>
                    <a:pt x="91" y="990"/>
                  </a:cubicBezTo>
                  <a:cubicBezTo>
                    <a:pt x="92" y="991"/>
                    <a:pt x="93" y="991"/>
                    <a:pt x="95" y="992"/>
                  </a:cubicBezTo>
                  <a:cubicBezTo>
                    <a:pt x="95" y="992"/>
                    <a:pt x="95" y="992"/>
                    <a:pt x="96" y="991"/>
                  </a:cubicBezTo>
                  <a:cubicBezTo>
                    <a:pt x="94" y="991"/>
                    <a:pt x="93" y="990"/>
                    <a:pt x="92" y="990"/>
                  </a:cubicBezTo>
                  <a:moveTo>
                    <a:pt x="97" y="992"/>
                  </a:moveTo>
                  <a:cubicBezTo>
                    <a:pt x="97" y="992"/>
                    <a:pt x="96" y="992"/>
                    <a:pt x="96" y="992"/>
                  </a:cubicBezTo>
                  <a:cubicBezTo>
                    <a:pt x="96" y="992"/>
                    <a:pt x="97" y="992"/>
                    <a:pt x="97" y="992"/>
                  </a:cubicBezTo>
                  <a:cubicBezTo>
                    <a:pt x="97" y="992"/>
                    <a:pt x="97" y="992"/>
                    <a:pt x="97" y="992"/>
                  </a:cubicBezTo>
                  <a:moveTo>
                    <a:pt x="98" y="992"/>
                  </a:moveTo>
                  <a:cubicBezTo>
                    <a:pt x="98" y="993"/>
                    <a:pt x="97" y="993"/>
                    <a:pt x="97" y="993"/>
                  </a:cubicBezTo>
                  <a:cubicBezTo>
                    <a:pt x="110" y="999"/>
                    <a:pt x="124" y="1005"/>
                    <a:pt x="139" y="1011"/>
                  </a:cubicBezTo>
                  <a:cubicBezTo>
                    <a:pt x="140" y="1011"/>
                    <a:pt x="141" y="1012"/>
                    <a:pt x="143" y="1012"/>
                  </a:cubicBezTo>
                  <a:cubicBezTo>
                    <a:pt x="163" y="1020"/>
                    <a:pt x="185" y="1028"/>
                    <a:pt x="210" y="1036"/>
                  </a:cubicBezTo>
                  <a:cubicBezTo>
                    <a:pt x="212" y="1037"/>
                    <a:pt x="213" y="1038"/>
                    <a:pt x="215" y="1038"/>
                  </a:cubicBezTo>
                  <a:cubicBezTo>
                    <a:pt x="219" y="1040"/>
                    <a:pt x="224" y="1041"/>
                    <a:pt x="229" y="1043"/>
                  </a:cubicBezTo>
                  <a:cubicBezTo>
                    <a:pt x="230" y="1043"/>
                    <a:pt x="230" y="1043"/>
                    <a:pt x="230" y="1043"/>
                  </a:cubicBezTo>
                  <a:cubicBezTo>
                    <a:pt x="231" y="1043"/>
                    <a:pt x="231" y="1043"/>
                    <a:pt x="232" y="1044"/>
                  </a:cubicBezTo>
                  <a:cubicBezTo>
                    <a:pt x="233" y="1044"/>
                    <a:pt x="234" y="1044"/>
                    <a:pt x="235" y="1045"/>
                  </a:cubicBezTo>
                  <a:cubicBezTo>
                    <a:pt x="235" y="1045"/>
                    <a:pt x="236" y="1045"/>
                    <a:pt x="236" y="1045"/>
                  </a:cubicBezTo>
                  <a:cubicBezTo>
                    <a:pt x="244" y="1048"/>
                    <a:pt x="253" y="1050"/>
                    <a:pt x="262" y="1053"/>
                  </a:cubicBezTo>
                  <a:cubicBezTo>
                    <a:pt x="262" y="1053"/>
                    <a:pt x="262" y="1053"/>
                    <a:pt x="263" y="1053"/>
                  </a:cubicBezTo>
                  <a:cubicBezTo>
                    <a:pt x="275" y="1057"/>
                    <a:pt x="287" y="1061"/>
                    <a:pt x="301" y="1065"/>
                  </a:cubicBezTo>
                  <a:cubicBezTo>
                    <a:pt x="301" y="1065"/>
                    <a:pt x="301" y="1065"/>
                    <a:pt x="302" y="1065"/>
                  </a:cubicBezTo>
                  <a:cubicBezTo>
                    <a:pt x="314" y="1069"/>
                    <a:pt x="326" y="1072"/>
                    <a:pt x="339" y="1076"/>
                  </a:cubicBezTo>
                  <a:cubicBezTo>
                    <a:pt x="342" y="1077"/>
                    <a:pt x="345" y="1077"/>
                    <a:pt x="347" y="1078"/>
                  </a:cubicBezTo>
                  <a:cubicBezTo>
                    <a:pt x="348" y="1078"/>
                    <a:pt x="348" y="1078"/>
                    <a:pt x="349" y="1077"/>
                  </a:cubicBezTo>
                  <a:cubicBezTo>
                    <a:pt x="349" y="1077"/>
                    <a:pt x="349" y="1077"/>
                    <a:pt x="348" y="1077"/>
                  </a:cubicBezTo>
                  <a:cubicBezTo>
                    <a:pt x="346" y="1077"/>
                    <a:pt x="343" y="1076"/>
                    <a:pt x="340" y="1075"/>
                  </a:cubicBezTo>
                  <a:cubicBezTo>
                    <a:pt x="327" y="1071"/>
                    <a:pt x="314" y="1068"/>
                    <a:pt x="302" y="1064"/>
                  </a:cubicBezTo>
                  <a:cubicBezTo>
                    <a:pt x="302" y="1064"/>
                    <a:pt x="302" y="1064"/>
                    <a:pt x="301" y="1064"/>
                  </a:cubicBezTo>
                  <a:cubicBezTo>
                    <a:pt x="288" y="1060"/>
                    <a:pt x="276" y="1056"/>
                    <a:pt x="264" y="1053"/>
                  </a:cubicBezTo>
                  <a:cubicBezTo>
                    <a:pt x="263" y="1053"/>
                    <a:pt x="263" y="1052"/>
                    <a:pt x="263" y="1052"/>
                  </a:cubicBezTo>
                  <a:cubicBezTo>
                    <a:pt x="254" y="1050"/>
                    <a:pt x="245" y="1047"/>
                    <a:pt x="237" y="1044"/>
                  </a:cubicBezTo>
                  <a:cubicBezTo>
                    <a:pt x="237" y="1044"/>
                    <a:pt x="236" y="1044"/>
                    <a:pt x="236" y="1044"/>
                  </a:cubicBezTo>
                  <a:cubicBezTo>
                    <a:pt x="235" y="1044"/>
                    <a:pt x="234" y="1043"/>
                    <a:pt x="233" y="1043"/>
                  </a:cubicBezTo>
                  <a:cubicBezTo>
                    <a:pt x="232" y="1043"/>
                    <a:pt x="232" y="1043"/>
                    <a:pt x="231" y="1043"/>
                  </a:cubicBezTo>
                  <a:cubicBezTo>
                    <a:pt x="231" y="1042"/>
                    <a:pt x="231" y="1042"/>
                    <a:pt x="230" y="1042"/>
                  </a:cubicBezTo>
                  <a:cubicBezTo>
                    <a:pt x="230" y="1042"/>
                    <a:pt x="229" y="1042"/>
                    <a:pt x="228" y="1042"/>
                  </a:cubicBezTo>
                  <a:cubicBezTo>
                    <a:pt x="226" y="1041"/>
                    <a:pt x="223" y="1040"/>
                    <a:pt x="221" y="1039"/>
                  </a:cubicBezTo>
                  <a:cubicBezTo>
                    <a:pt x="219" y="1038"/>
                    <a:pt x="217" y="1038"/>
                    <a:pt x="215" y="1037"/>
                  </a:cubicBezTo>
                  <a:cubicBezTo>
                    <a:pt x="189" y="1029"/>
                    <a:pt x="166" y="1020"/>
                    <a:pt x="146" y="1012"/>
                  </a:cubicBezTo>
                  <a:cubicBezTo>
                    <a:pt x="145" y="1012"/>
                    <a:pt x="144" y="1012"/>
                    <a:pt x="143" y="1011"/>
                  </a:cubicBezTo>
                  <a:cubicBezTo>
                    <a:pt x="126" y="1005"/>
                    <a:pt x="111" y="998"/>
                    <a:pt x="98" y="992"/>
                  </a:cubicBezTo>
                  <a:moveTo>
                    <a:pt x="1133" y="1003"/>
                  </a:moveTo>
                  <a:cubicBezTo>
                    <a:pt x="1124" y="1018"/>
                    <a:pt x="1117" y="1033"/>
                    <a:pt x="1113" y="1047"/>
                  </a:cubicBezTo>
                  <a:cubicBezTo>
                    <a:pt x="1113" y="1048"/>
                    <a:pt x="1114" y="1048"/>
                    <a:pt x="1114" y="1048"/>
                  </a:cubicBezTo>
                  <a:cubicBezTo>
                    <a:pt x="1118" y="1034"/>
                    <a:pt x="1125" y="1019"/>
                    <a:pt x="1134" y="1004"/>
                  </a:cubicBezTo>
                  <a:cubicBezTo>
                    <a:pt x="1134" y="1004"/>
                    <a:pt x="1134" y="1004"/>
                    <a:pt x="1133" y="1003"/>
                  </a:cubicBezTo>
                  <a:moveTo>
                    <a:pt x="1113" y="1049"/>
                  </a:moveTo>
                  <a:cubicBezTo>
                    <a:pt x="1111" y="1056"/>
                    <a:pt x="1110" y="1064"/>
                    <a:pt x="1110" y="1071"/>
                  </a:cubicBezTo>
                  <a:cubicBezTo>
                    <a:pt x="1110" y="1088"/>
                    <a:pt x="1115" y="1103"/>
                    <a:pt x="1125" y="1118"/>
                  </a:cubicBezTo>
                  <a:cubicBezTo>
                    <a:pt x="1127" y="1121"/>
                    <a:pt x="1130" y="1124"/>
                    <a:pt x="1132" y="1127"/>
                  </a:cubicBezTo>
                  <a:cubicBezTo>
                    <a:pt x="1133" y="1128"/>
                    <a:pt x="1134" y="1129"/>
                    <a:pt x="1135" y="1130"/>
                  </a:cubicBezTo>
                  <a:cubicBezTo>
                    <a:pt x="1132" y="1126"/>
                    <a:pt x="1129" y="1122"/>
                    <a:pt x="1126" y="1117"/>
                  </a:cubicBezTo>
                  <a:cubicBezTo>
                    <a:pt x="1115" y="1103"/>
                    <a:pt x="1111" y="1087"/>
                    <a:pt x="1111" y="1071"/>
                  </a:cubicBezTo>
                  <a:cubicBezTo>
                    <a:pt x="1111" y="1064"/>
                    <a:pt x="1112" y="1057"/>
                    <a:pt x="1114" y="1049"/>
                  </a:cubicBezTo>
                  <a:cubicBezTo>
                    <a:pt x="1113" y="1049"/>
                    <a:pt x="1113" y="1049"/>
                    <a:pt x="1113" y="1049"/>
                  </a:cubicBezTo>
                  <a:moveTo>
                    <a:pt x="351" y="1078"/>
                  </a:moveTo>
                  <a:cubicBezTo>
                    <a:pt x="350" y="1078"/>
                    <a:pt x="350" y="1078"/>
                    <a:pt x="349" y="1078"/>
                  </a:cubicBezTo>
                  <a:cubicBezTo>
                    <a:pt x="357" y="1080"/>
                    <a:pt x="365" y="1082"/>
                    <a:pt x="373" y="1084"/>
                  </a:cubicBezTo>
                  <a:cubicBezTo>
                    <a:pt x="374" y="1084"/>
                    <a:pt x="374" y="1083"/>
                    <a:pt x="375" y="1083"/>
                  </a:cubicBezTo>
                  <a:cubicBezTo>
                    <a:pt x="367" y="1082"/>
                    <a:pt x="359" y="1080"/>
                    <a:pt x="351" y="1078"/>
                  </a:cubicBezTo>
                  <a:moveTo>
                    <a:pt x="377" y="1084"/>
                  </a:moveTo>
                  <a:cubicBezTo>
                    <a:pt x="376" y="1084"/>
                    <a:pt x="376" y="1084"/>
                    <a:pt x="375" y="1084"/>
                  </a:cubicBezTo>
                  <a:cubicBezTo>
                    <a:pt x="383" y="1086"/>
                    <a:pt x="391" y="1087"/>
                    <a:pt x="400" y="1088"/>
                  </a:cubicBezTo>
                  <a:cubicBezTo>
                    <a:pt x="400" y="1088"/>
                    <a:pt x="401" y="1088"/>
                    <a:pt x="402" y="1088"/>
                  </a:cubicBezTo>
                  <a:cubicBezTo>
                    <a:pt x="393" y="1087"/>
                    <a:pt x="385" y="1085"/>
                    <a:pt x="377" y="1084"/>
                  </a:cubicBezTo>
                  <a:moveTo>
                    <a:pt x="404" y="1088"/>
                  </a:moveTo>
                  <a:cubicBezTo>
                    <a:pt x="403" y="1088"/>
                    <a:pt x="402" y="1088"/>
                    <a:pt x="402" y="1089"/>
                  </a:cubicBezTo>
                  <a:cubicBezTo>
                    <a:pt x="411" y="1090"/>
                    <a:pt x="421" y="1091"/>
                    <a:pt x="431" y="1092"/>
                  </a:cubicBezTo>
                  <a:cubicBezTo>
                    <a:pt x="431" y="1092"/>
                    <a:pt x="432" y="1092"/>
                    <a:pt x="433" y="1091"/>
                  </a:cubicBezTo>
                  <a:cubicBezTo>
                    <a:pt x="423" y="1091"/>
                    <a:pt x="413" y="1089"/>
                    <a:pt x="404" y="1088"/>
                  </a:cubicBezTo>
                  <a:moveTo>
                    <a:pt x="435" y="1092"/>
                  </a:moveTo>
                  <a:cubicBezTo>
                    <a:pt x="435" y="1092"/>
                    <a:pt x="434" y="1092"/>
                    <a:pt x="433" y="1092"/>
                  </a:cubicBezTo>
                  <a:cubicBezTo>
                    <a:pt x="434" y="1092"/>
                    <a:pt x="434" y="1093"/>
                    <a:pt x="435" y="1093"/>
                  </a:cubicBezTo>
                  <a:cubicBezTo>
                    <a:pt x="435" y="1093"/>
                    <a:pt x="436" y="1093"/>
                    <a:pt x="437" y="1093"/>
                  </a:cubicBezTo>
                  <a:cubicBezTo>
                    <a:pt x="445" y="1093"/>
                    <a:pt x="452" y="1094"/>
                    <a:pt x="460" y="1095"/>
                  </a:cubicBezTo>
                  <a:cubicBezTo>
                    <a:pt x="461" y="1094"/>
                    <a:pt x="462" y="1094"/>
                    <a:pt x="463" y="1094"/>
                  </a:cubicBezTo>
                  <a:cubicBezTo>
                    <a:pt x="455" y="1093"/>
                    <a:pt x="447" y="1093"/>
                    <a:pt x="439" y="1092"/>
                  </a:cubicBezTo>
                  <a:cubicBezTo>
                    <a:pt x="438" y="1092"/>
                    <a:pt x="437" y="1092"/>
                    <a:pt x="437" y="1092"/>
                  </a:cubicBezTo>
                  <a:cubicBezTo>
                    <a:pt x="436" y="1092"/>
                    <a:pt x="436" y="1092"/>
                    <a:pt x="435" y="1092"/>
                  </a:cubicBezTo>
                  <a:moveTo>
                    <a:pt x="465" y="1094"/>
                  </a:moveTo>
                  <a:cubicBezTo>
                    <a:pt x="465" y="1094"/>
                    <a:pt x="464" y="1094"/>
                    <a:pt x="463" y="1095"/>
                  </a:cubicBezTo>
                  <a:cubicBezTo>
                    <a:pt x="467" y="1095"/>
                    <a:pt x="471" y="1095"/>
                    <a:pt x="476" y="1095"/>
                  </a:cubicBezTo>
                  <a:cubicBezTo>
                    <a:pt x="476" y="1095"/>
                    <a:pt x="477" y="1095"/>
                    <a:pt x="478" y="1096"/>
                  </a:cubicBezTo>
                  <a:cubicBezTo>
                    <a:pt x="482" y="1096"/>
                    <a:pt x="486" y="1096"/>
                    <a:pt x="491" y="1096"/>
                  </a:cubicBezTo>
                  <a:cubicBezTo>
                    <a:pt x="491" y="1096"/>
                    <a:pt x="492" y="1095"/>
                    <a:pt x="493" y="1095"/>
                  </a:cubicBezTo>
                  <a:cubicBezTo>
                    <a:pt x="493" y="1095"/>
                    <a:pt x="493" y="1095"/>
                    <a:pt x="493" y="1095"/>
                  </a:cubicBezTo>
                  <a:cubicBezTo>
                    <a:pt x="492" y="1095"/>
                    <a:pt x="492" y="1095"/>
                    <a:pt x="492" y="1095"/>
                  </a:cubicBezTo>
                  <a:cubicBezTo>
                    <a:pt x="488" y="1095"/>
                    <a:pt x="484" y="1095"/>
                    <a:pt x="480" y="1095"/>
                  </a:cubicBezTo>
                  <a:cubicBezTo>
                    <a:pt x="479" y="1095"/>
                    <a:pt x="478" y="1095"/>
                    <a:pt x="477" y="1095"/>
                  </a:cubicBezTo>
                  <a:cubicBezTo>
                    <a:pt x="473" y="1094"/>
                    <a:pt x="469" y="1094"/>
                    <a:pt x="465" y="1094"/>
                  </a:cubicBezTo>
                  <a:moveTo>
                    <a:pt x="497" y="1095"/>
                  </a:moveTo>
                  <a:cubicBezTo>
                    <a:pt x="496" y="1096"/>
                    <a:pt x="495" y="1096"/>
                    <a:pt x="494" y="1096"/>
                  </a:cubicBezTo>
                  <a:cubicBezTo>
                    <a:pt x="507" y="1097"/>
                    <a:pt x="519" y="1097"/>
                    <a:pt x="532" y="1097"/>
                  </a:cubicBezTo>
                  <a:cubicBezTo>
                    <a:pt x="533" y="1097"/>
                    <a:pt x="534" y="1097"/>
                    <a:pt x="535" y="1096"/>
                  </a:cubicBezTo>
                  <a:cubicBezTo>
                    <a:pt x="523" y="1096"/>
                    <a:pt x="510" y="1096"/>
                    <a:pt x="497" y="1095"/>
                  </a:cubicBezTo>
                  <a:moveTo>
                    <a:pt x="539" y="1096"/>
                  </a:moveTo>
                  <a:cubicBezTo>
                    <a:pt x="538" y="1097"/>
                    <a:pt x="537" y="1097"/>
                    <a:pt x="536" y="1097"/>
                  </a:cubicBezTo>
                  <a:cubicBezTo>
                    <a:pt x="536" y="1097"/>
                    <a:pt x="536" y="1097"/>
                    <a:pt x="537" y="1097"/>
                  </a:cubicBezTo>
                  <a:cubicBezTo>
                    <a:pt x="538" y="1097"/>
                    <a:pt x="539" y="1097"/>
                    <a:pt x="540" y="1097"/>
                  </a:cubicBezTo>
                  <a:cubicBezTo>
                    <a:pt x="544" y="1098"/>
                    <a:pt x="549" y="1098"/>
                    <a:pt x="553" y="1098"/>
                  </a:cubicBezTo>
                  <a:cubicBezTo>
                    <a:pt x="553" y="1098"/>
                    <a:pt x="554" y="1098"/>
                    <a:pt x="554" y="1098"/>
                  </a:cubicBezTo>
                  <a:cubicBezTo>
                    <a:pt x="558" y="1098"/>
                    <a:pt x="562" y="1098"/>
                    <a:pt x="566" y="1098"/>
                  </a:cubicBezTo>
                  <a:cubicBezTo>
                    <a:pt x="567" y="1098"/>
                    <a:pt x="568" y="1097"/>
                    <a:pt x="569" y="1097"/>
                  </a:cubicBezTo>
                  <a:cubicBezTo>
                    <a:pt x="564" y="1097"/>
                    <a:pt x="559" y="1097"/>
                    <a:pt x="553" y="1097"/>
                  </a:cubicBezTo>
                  <a:cubicBezTo>
                    <a:pt x="553" y="1097"/>
                    <a:pt x="552" y="1097"/>
                    <a:pt x="552" y="1097"/>
                  </a:cubicBezTo>
                  <a:cubicBezTo>
                    <a:pt x="549" y="1097"/>
                    <a:pt x="545" y="1097"/>
                    <a:pt x="542" y="1096"/>
                  </a:cubicBezTo>
                  <a:cubicBezTo>
                    <a:pt x="541" y="1096"/>
                    <a:pt x="540" y="1096"/>
                    <a:pt x="539" y="1096"/>
                  </a:cubicBezTo>
                  <a:cubicBezTo>
                    <a:pt x="539" y="1096"/>
                    <a:pt x="539" y="1096"/>
                    <a:pt x="539" y="1096"/>
                  </a:cubicBezTo>
                  <a:moveTo>
                    <a:pt x="573" y="1097"/>
                  </a:moveTo>
                  <a:cubicBezTo>
                    <a:pt x="572" y="1098"/>
                    <a:pt x="571" y="1098"/>
                    <a:pt x="570" y="1098"/>
                  </a:cubicBezTo>
                  <a:cubicBezTo>
                    <a:pt x="579" y="1098"/>
                    <a:pt x="589" y="1099"/>
                    <a:pt x="598" y="1099"/>
                  </a:cubicBezTo>
                  <a:cubicBezTo>
                    <a:pt x="599" y="1099"/>
                    <a:pt x="600" y="1099"/>
                    <a:pt x="601" y="1098"/>
                  </a:cubicBezTo>
                  <a:cubicBezTo>
                    <a:pt x="592" y="1098"/>
                    <a:pt x="583" y="1098"/>
                    <a:pt x="573" y="1097"/>
                  </a:cubicBezTo>
                  <a:moveTo>
                    <a:pt x="605" y="1099"/>
                  </a:moveTo>
                  <a:cubicBezTo>
                    <a:pt x="603" y="1099"/>
                    <a:pt x="602" y="1099"/>
                    <a:pt x="601" y="1099"/>
                  </a:cubicBezTo>
                  <a:cubicBezTo>
                    <a:pt x="606" y="1100"/>
                    <a:pt x="611" y="1100"/>
                    <a:pt x="616" y="1100"/>
                  </a:cubicBezTo>
                  <a:cubicBezTo>
                    <a:pt x="620" y="1100"/>
                    <a:pt x="624" y="1100"/>
                    <a:pt x="628" y="1101"/>
                  </a:cubicBezTo>
                  <a:cubicBezTo>
                    <a:pt x="628" y="1101"/>
                    <a:pt x="629" y="1100"/>
                    <a:pt x="629" y="1100"/>
                  </a:cubicBezTo>
                  <a:cubicBezTo>
                    <a:pt x="626" y="1100"/>
                    <a:pt x="624" y="1100"/>
                    <a:pt x="621" y="1100"/>
                  </a:cubicBezTo>
                  <a:cubicBezTo>
                    <a:pt x="616" y="1099"/>
                    <a:pt x="610" y="1099"/>
                    <a:pt x="605" y="1099"/>
                  </a:cubicBezTo>
                  <a:moveTo>
                    <a:pt x="643" y="1102"/>
                  </a:moveTo>
                  <a:cubicBezTo>
                    <a:pt x="642" y="1102"/>
                    <a:pt x="641" y="1102"/>
                    <a:pt x="639" y="1103"/>
                  </a:cubicBezTo>
                  <a:cubicBezTo>
                    <a:pt x="640" y="1103"/>
                    <a:pt x="640" y="1103"/>
                    <a:pt x="640" y="1103"/>
                  </a:cubicBezTo>
                  <a:cubicBezTo>
                    <a:pt x="641" y="1103"/>
                    <a:pt x="642" y="1102"/>
                    <a:pt x="643" y="1102"/>
                  </a:cubicBezTo>
                  <a:cubicBezTo>
                    <a:pt x="643" y="1102"/>
                    <a:pt x="643" y="1102"/>
                    <a:pt x="643" y="1102"/>
                  </a:cubicBezTo>
                  <a:moveTo>
                    <a:pt x="646" y="1102"/>
                  </a:moveTo>
                  <a:cubicBezTo>
                    <a:pt x="645" y="1103"/>
                    <a:pt x="644" y="1103"/>
                    <a:pt x="643" y="1103"/>
                  </a:cubicBezTo>
                  <a:cubicBezTo>
                    <a:pt x="643" y="1103"/>
                    <a:pt x="644" y="1103"/>
                    <a:pt x="644" y="1103"/>
                  </a:cubicBezTo>
                  <a:cubicBezTo>
                    <a:pt x="650" y="1104"/>
                    <a:pt x="655" y="1105"/>
                    <a:pt x="661" y="1106"/>
                  </a:cubicBezTo>
                  <a:cubicBezTo>
                    <a:pt x="661" y="1106"/>
                    <a:pt x="662" y="1106"/>
                    <a:pt x="662" y="1106"/>
                  </a:cubicBezTo>
                  <a:cubicBezTo>
                    <a:pt x="664" y="1107"/>
                    <a:pt x="666" y="1107"/>
                    <a:pt x="668" y="1108"/>
                  </a:cubicBezTo>
                  <a:cubicBezTo>
                    <a:pt x="675" y="1109"/>
                    <a:pt x="681" y="1111"/>
                    <a:pt x="687" y="1113"/>
                  </a:cubicBezTo>
                  <a:cubicBezTo>
                    <a:pt x="689" y="1113"/>
                    <a:pt x="692" y="1114"/>
                    <a:pt x="694" y="1115"/>
                  </a:cubicBezTo>
                  <a:cubicBezTo>
                    <a:pt x="695" y="1115"/>
                    <a:pt x="695" y="1116"/>
                    <a:pt x="696" y="1116"/>
                  </a:cubicBezTo>
                  <a:cubicBezTo>
                    <a:pt x="701" y="1118"/>
                    <a:pt x="705" y="1120"/>
                    <a:pt x="710" y="1122"/>
                  </a:cubicBezTo>
                  <a:cubicBezTo>
                    <a:pt x="710" y="1122"/>
                    <a:pt x="710" y="1121"/>
                    <a:pt x="710" y="1121"/>
                  </a:cubicBezTo>
                  <a:cubicBezTo>
                    <a:pt x="707" y="1120"/>
                    <a:pt x="705" y="1119"/>
                    <a:pt x="702" y="1118"/>
                  </a:cubicBezTo>
                  <a:cubicBezTo>
                    <a:pt x="700" y="1117"/>
                    <a:pt x="698" y="1116"/>
                    <a:pt x="696" y="1115"/>
                  </a:cubicBezTo>
                  <a:cubicBezTo>
                    <a:pt x="693" y="1114"/>
                    <a:pt x="690" y="1113"/>
                    <a:pt x="687" y="1112"/>
                  </a:cubicBezTo>
                  <a:cubicBezTo>
                    <a:pt x="685" y="1111"/>
                    <a:pt x="683" y="1110"/>
                    <a:pt x="681" y="1110"/>
                  </a:cubicBezTo>
                  <a:cubicBezTo>
                    <a:pt x="675" y="1108"/>
                    <a:pt x="669" y="1107"/>
                    <a:pt x="663" y="1105"/>
                  </a:cubicBezTo>
                  <a:cubicBezTo>
                    <a:pt x="661" y="1105"/>
                    <a:pt x="659" y="1105"/>
                    <a:pt x="657" y="1104"/>
                  </a:cubicBezTo>
                  <a:cubicBezTo>
                    <a:pt x="655" y="1104"/>
                    <a:pt x="654" y="1104"/>
                    <a:pt x="652" y="1103"/>
                  </a:cubicBezTo>
                  <a:cubicBezTo>
                    <a:pt x="650" y="1103"/>
                    <a:pt x="648" y="1103"/>
                    <a:pt x="646" y="1102"/>
                  </a:cubicBezTo>
                  <a:moveTo>
                    <a:pt x="711" y="1122"/>
                  </a:moveTo>
                  <a:cubicBezTo>
                    <a:pt x="711" y="1122"/>
                    <a:pt x="711" y="1122"/>
                    <a:pt x="711" y="1123"/>
                  </a:cubicBezTo>
                  <a:cubicBezTo>
                    <a:pt x="713" y="1124"/>
                    <a:pt x="715" y="1126"/>
                    <a:pt x="718" y="1127"/>
                  </a:cubicBezTo>
                  <a:cubicBezTo>
                    <a:pt x="718" y="1127"/>
                    <a:pt x="719" y="1128"/>
                    <a:pt x="719" y="1128"/>
                  </a:cubicBezTo>
                  <a:cubicBezTo>
                    <a:pt x="721" y="1129"/>
                    <a:pt x="722" y="1130"/>
                    <a:pt x="724" y="1132"/>
                  </a:cubicBezTo>
                  <a:cubicBezTo>
                    <a:pt x="726" y="1133"/>
                    <a:pt x="728" y="1134"/>
                    <a:pt x="729" y="1136"/>
                  </a:cubicBezTo>
                  <a:cubicBezTo>
                    <a:pt x="729" y="1135"/>
                    <a:pt x="729" y="1135"/>
                    <a:pt x="729" y="1135"/>
                  </a:cubicBezTo>
                  <a:cubicBezTo>
                    <a:pt x="729" y="1134"/>
                    <a:pt x="728" y="1134"/>
                    <a:pt x="728" y="1133"/>
                  </a:cubicBezTo>
                  <a:cubicBezTo>
                    <a:pt x="727" y="1132"/>
                    <a:pt x="725" y="1131"/>
                    <a:pt x="724" y="1130"/>
                  </a:cubicBezTo>
                  <a:cubicBezTo>
                    <a:pt x="723" y="1130"/>
                    <a:pt x="722" y="1129"/>
                    <a:pt x="721" y="1128"/>
                  </a:cubicBezTo>
                  <a:cubicBezTo>
                    <a:pt x="718" y="1126"/>
                    <a:pt x="714" y="1124"/>
                    <a:pt x="711" y="1122"/>
                  </a:cubicBezTo>
                  <a:moveTo>
                    <a:pt x="1135" y="1131"/>
                  </a:moveTo>
                  <a:cubicBezTo>
                    <a:pt x="1168" y="1179"/>
                    <a:pt x="1184" y="1215"/>
                    <a:pt x="1184" y="1239"/>
                  </a:cubicBezTo>
                  <a:cubicBezTo>
                    <a:pt x="1184" y="1263"/>
                    <a:pt x="1167" y="1275"/>
                    <a:pt x="1132" y="1275"/>
                  </a:cubicBezTo>
                  <a:cubicBezTo>
                    <a:pt x="1132" y="1275"/>
                    <a:pt x="1132" y="1275"/>
                    <a:pt x="1132" y="1275"/>
                  </a:cubicBezTo>
                  <a:cubicBezTo>
                    <a:pt x="1101" y="1275"/>
                    <a:pt x="1056" y="1265"/>
                    <a:pt x="998" y="1246"/>
                  </a:cubicBezTo>
                  <a:cubicBezTo>
                    <a:pt x="998" y="1247"/>
                    <a:pt x="999" y="1247"/>
                    <a:pt x="1000" y="1248"/>
                  </a:cubicBezTo>
                  <a:cubicBezTo>
                    <a:pt x="1057" y="1266"/>
                    <a:pt x="1102" y="1276"/>
                    <a:pt x="1132" y="1276"/>
                  </a:cubicBezTo>
                  <a:cubicBezTo>
                    <a:pt x="1168" y="1276"/>
                    <a:pt x="1185" y="1263"/>
                    <a:pt x="1185" y="1239"/>
                  </a:cubicBezTo>
                  <a:cubicBezTo>
                    <a:pt x="1185" y="1215"/>
                    <a:pt x="1170" y="1180"/>
                    <a:pt x="1138" y="1135"/>
                  </a:cubicBezTo>
                  <a:cubicBezTo>
                    <a:pt x="1137" y="1133"/>
                    <a:pt x="1136" y="1132"/>
                    <a:pt x="1135" y="1131"/>
                  </a:cubicBezTo>
                  <a:moveTo>
                    <a:pt x="730" y="1136"/>
                  </a:moveTo>
                  <a:cubicBezTo>
                    <a:pt x="730" y="1136"/>
                    <a:pt x="730" y="1136"/>
                    <a:pt x="730" y="1137"/>
                  </a:cubicBezTo>
                  <a:cubicBezTo>
                    <a:pt x="733" y="1140"/>
                    <a:pt x="736" y="1142"/>
                    <a:pt x="738" y="1145"/>
                  </a:cubicBezTo>
                  <a:cubicBezTo>
                    <a:pt x="742" y="1147"/>
                    <a:pt x="746" y="1149"/>
                    <a:pt x="750" y="1150"/>
                  </a:cubicBezTo>
                  <a:cubicBezTo>
                    <a:pt x="749" y="1150"/>
                    <a:pt x="749" y="1150"/>
                    <a:pt x="749" y="1149"/>
                  </a:cubicBezTo>
                  <a:cubicBezTo>
                    <a:pt x="746" y="1148"/>
                    <a:pt x="742" y="1146"/>
                    <a:pt x="739" y="1144"/>
                  </a:cubicBezTo>
                  <a:cubicBezTo>
                    <a:pt x="736" y="1141"/>
                    <a:pt x="733" y="1138"/>
                    <a:pt x="730" y="1136"/>
                  </a:cubicBezTo>
                  <a:moveTo>
                    <a:pt x="750" y="1150"/>
                  </a:moveTo>
                  <a:cubicBezTo>
                    <a:pt x="750" y="1150"/>
                    <a:pt x="751" y="1150"/>
                    <a:pt x="751" y="1151"/>
                  </a:cubicBezTo>
                  <a:cubicBezTo>
                    <a:pt x="754" y="1152"/>
                    <a:pt x="757" y="1154"/>
                    <a:pt x="760" y="1155"/>
                  </a:cubicBezTo>
                  <a:cubicBezTo>
                    <a:pt x="764" y="1156"/>
                    <a:pt x="767" y="1158"/>
                    <a:pt x="771" y="1159"/>
                  </a:cubicBezTo>
                  <a:cubicBezTo>
                    <a:pt x="771" y="1159"/>
                    <a:pt x="770" y="1159"/>
                    <a:pt x="770" y="1158"/>
                  </a:cubicBezTo>
                  <a:cubicBezTo>
                    <a:pt x="764" y="1155"/>
                    <a:pt x="757" y="1153"/>
                    <a:pt x="750" y="1150"/>
                  </a:cubicBezTo>
                  <a:moveTo>
                    <a:pt x="771" y="1159"/>
                  </a:moveTo>
                  <a:cubicBezTo>
                    <a:pt x="772" y="1159"/>
                    <a:pt x="772" y="1159"/>
                    <a:pt x="772" y="1160"/>
                  </a:cubicBezTo>
                  <a:cubicBezTo>
                    <a:pt x="775" y="1161"/>
                    <a:pt x="778" y="1162"/>
                    <a:pt x="780" y="1164"/>
                  </a:cubicBezTo>
                  <a:cubicBezTo>
                    <a:pt x="785" y="1166"/>
                    <a:pt x="789" y="1167"/>
                    <a:pt x="794" y="1169"/>
                  </a:cubicBezTo>
                  <a:cubicBezTo>
                    <a:pt x="794" y="1169"/>
                    <a:pt x="793" y="1169"/>
                    <a:pt x="793" y="1168"/>
                  </a:cubicBezTo>
                  <a:cubicBezTo>
                    <a:pt x="789" y="1166"/>
                    <a:pt x="784" y="1164"/>
                    <a:pt x="780" y="1162"/>
                  </a:cubicBezTo>
                  <a:cubicBezTo>
                    <a:pt x="777" y="1161"/>
                    <a:pt x="774" y="1160"/>
                    <a:pt x="771" y="1159"/>
                  </a:cubicBezTo>
                  <a:moveTo>
                    <a:pt x="795" y="1169"/>
                  </a:moveTo>
                  <a:cubicBezTo>
                    <a:pt x="795" y="1169"/>
                    <a:pt x="795" y="1169"/>
                    <a:pt x="795" y="1170"/>
                  </a:cubicBezTo>
                  <a:cubicBezTo>
                    <a:pt x="803" y="1173"/>
                    <a:pt x="811" y="1177"/>
                    <a:pt x="819" y="1180"/>
                  </a:cubicBezTo>
                  <a:cubicBezTo>
                    <a:pt x="819" y="1180"/>
                    <a:pt x="819" y="1179"/>
                    <a:pt x="818" y="1179"/>
                  </a:cubicBezTo>
                  <a:cubicBezTo>
                    <a:pt x="812" y="1176"/>
                    <a:pt x="806" y="1173"/>
                    <a:pt x="799" y="1171"/>
                  </a:cubicBezTo>
                  <a:cubicBezTo>
                    <a:pt x="798" y="1170"/>
                    <a:pt x="796" y="1169"/>
                    <a:pt x="795" y="1169"/>
                  </a:cubicBezTo>
                  <a:moveTo>
                    <a:pt x="820" y="1179"/>
                  </a:moveTo>
                  <a:cubicBezTo>
                    <a:pt x="820" y="1180"/>
                    <a:pt x="820" y="1180"/>
                    <a:pt x="820" y="1180"/>
                  </a:cubicBezTo>
                  <a:cubicBezTo>
                    <a:pt x="832" y="1186"/>
                    <a:pt x="844" y="1190"/>
                    <a:pt x="856" y="1195"/>
                  </a:cubicBezTo>
                  <a:cubicBezTo>
                    <a:pt x="855" y="1195"/>
                    <a:pt x="855" y="1195"/>
                    <a:pt x="855" y="1195"/>
                  </a:cubicBezTo>
                  <a:cubicBezTo>
                    <a:pt x="851" y="1193"/>
                    <a:pt x="846" y="1190"/>
                    <a:pt x="841" y="1188"/>
                  </a:cubicBezTo>
                  <a:cubicBezTo>
                    <a:pt x="834" y="1185"/>
                    <a:pt x="827" y="1182"/>
                    <a:pt x="820" y="1179"/>
                  </a:cubicBezTo>
                  <a:moveTo>
                    <a:pt x="859" y="1195"/>
                  </a:moveTo>
                  <a:cubicBezTo>
                    <a:pt x="865" y="1198"/>
                    <a:pt x="870" y="1201"/>
                    <a:pt x="876" y="1203"/>
                  </a:cubicBezTo>
                  <a:cubicBezTo>
                    <a:pt x="880" y="1205"/>
                    <a:pt x="885" y="1207"/>
                    <a:pt x="889" y="1208"/>
                  </a:cubicBezTo>
                  <a:cubicBezTo>
                    <a:pt x="886" y="1207"/>
                    <a:pt x="884" y="1206"/>
                    <a:pt x="881" y="1204"/>
                  </a:cubicBezTo>
                  <a:cubicBezTo>
                    <a:pt x="874" y="1201"/>
                    <a:pt x="866" y="1198"/>
                    <a:pt x="859" y="1195"/>
                  </a:cubicBezTo>
                  <a:moveTo>
                    <a:pt x="857" y="1196"/>
                  </a:moveTo>
                  <a:cubicBezTo>
                    <a:pt x="857" y="1196"/>
                    <a:pt x="857" y="1196"/>
                    <a:pt x="857" y="1196"/>
                  </a:cubicBezTo>
                  <a:cubicBezTo>
                    <a:pt x="858" y="1196"/>
                    <a:pt x="858" y="1196"/>
                    <a:pt x="858" y="1196"/>
                  </a:cubicBezTo>
                  <a:cubicBezTo>
                    <a:pt x="858" y="1196"/>
                    <a:pt x="858" y="1196"/>
                    <a:pt x="857" y="1196"/>
                  </a:cubicBezTo>
                  <a:moveTo>
                    <a:pt x="891" y="1208"/>
                  </a:moveTo>
                  <a:cubicBezTo>
                    <a:pt x="891" y="1208"/>
                    <a:pt x="891" y="1208"/>
                    <a:pt x="891" y="1208"/>
                  </a:cubicBezTo>
                  <a:cubicBezTo>
                    <a:pt x="893" y="1209"/>
                    <a:pt x="895" y="1211"/>
                    <a:pt x="898" y="1212"/>
                  </a:cubicBezTo>
                  <a:cubicBezTo>
                    <a:pt x="904" y="1214"/>
                    <a:pt x="909" y="1216"/>
                    <a:pt x="915" y="1218"/>
                  </a:cubicBezTo>
                  <a:cubicBezTo>
                    <a:pt x="913" y="1217"/>
                    <a:pt x="912" y="1216"/>
                    <a:pt x="910" y="1215"/>
                  </a:cubicBezTo>
                  <a:cubicBezTo>
                    <a:pt x="904" y="1213"/>
                    <a:pt x="897" y="1211"/>
                    <a:pt x="891" y="1208"/>
                  </a:cubicBezTo>
                  <a:moveTo>
                    <a:pt x="915" y="1217"/>
                  </a:moveTo>
                  <a:cubicBezTo>
                    <a:pt x="917" y="1218"/>
                    <a:pt x="919" y="1219"/>
                    <a:pt x="921" y="1220"/>
                  </a:cubicBezTo>
                  <a:cubicBezTo>
                    <a:pt x="924" y="1222"/>
                    <a:pt x="927" y="1223"/>
                    <a:pt x="929" y="1224"/>
                  </a:cubicBezTo>
                  <a:cubicBezTo>
                    <a:pt x="929" y="1223"/>
                    <a:pt x="928" y="1223"/>
                    <a:pt x="928" y="1222"/>
                  </a:cubicBezTo>
                  <a:cubicBezTo>
                    <a:pt x="924" y="1221"/>
                    <a:pt x="920" y="1219"/>
                    <a:pt x="915" y="1217"/>
                  </a:cubicBezTo>
                  <a:moveTo>
                    <a:pt x="930" y="1223"/>
                  </a:moveTo>
                  <a:cubicBezTo>
                    <a:pt x="930" y="1223"/>
                    <a:pt x="931" y="1224"/>
                    <a:pt x="931" y="1225"/>
                  </a:cubicBezTo>
                  <a:cubicBezTo>
                    <a:pt x="934" y="1225"/>
                    <a:pt x="936" y="1226"/>
                    <a:pt x="938" y="1227"/>
                  </a:cubicBezTo>
                  <a:cubicBezTo>
                    <a:pt x="937" y="1226"/>
                    <a:pt x="936" y="1225"/>
                    <a:pt x="935" y="1225"/>
                  </a:cubicBezTo>
                  <a:cubicBezTo>
                    <a:pt x="933" y="1224"/>
                    <a:pt x="931" y="1223"/>
                    <a:pt x="930" y="1223"/>
                  </a:cubicBezTo>
                  <a:moveTo>
                    <a:pt x="939" y="1226"/>
                  </a:moveTo>
                  <a:cubicBezTo>
                    <a:pt x="940" y="1227"/>
                    <a:pt x="941" y="1228"/>
                    <a:pt x="942" y="1229"/>
                  </a:cubicBezTo>
                  <a:cubicBezTo>
                    <a:pt x="948" y="1231"/>
                    <a:pt x="954" y="1233"/>
                    <a:pt x="959" y="1235"/>
                  </a:cubicBezTo>
                  <a:cubicBezTo>
                    <a:pt x="958" y="1234"/>
                    <a:pt x="957" y="1233"/>
                    <a:pt x="956" y="1232"/>
                  </a:cubicBezTo>
                  <a:cubicBezTo>
                    <a:pt x="951" y="1230"/>
                    <a:pt x="945" y="1228"/>
                    <a:pt x="939" y="1226"/>
                  </a:cubicBezTo>
                  <a:moveTo>
                    <a:pt x="960" y="1234"/>
                  </a:moveTo>
                  <a:cubicBezTo>
                    <a:pt x="961" y="1234"/>
                    <a:pt x="962" y="1235"/>
                    <a:pt x="963" y="1236"/>
                  </a:cubicBezTo>
                  <a:cubicBezTo>
                    <a:pt x="966" y="1237"/>
                    <a:pt x="969" y="1238"/>
                    <a:pt x="973" y="1239"/>
                  </a:cubicBezTo>
                  <a:cubicBezTo>
                    <a:pt x="972" y="1239"/>
                    <a:pt x="971" y="1238"/>
                    <a:pt x="971" y="1237"/>
                  </a:cubicBezTo>
                  <a:cubicBezTo>
                    <a:pt x="967" y="1236"/>
                    <a:pt x="963" y="1235"/>
                    <a:pt x="960" y="1234"/>
                  </a:cubicBezTo>
                  <a:moveTo>
                    <a:pt x="973" y="1238"/>
                  </a:moveTo>
                  <a:cubicBezTo>
                    <a:pt x="974" y="1239"/>
                    <a:pt x="974" y="1239"/>
                    <a:pt x="975" y="1240"/>
                  </a:cubicBezTo>
                  <a:cubicBezTo>
                    <a:pt x="976" y="1240"/>
                    <a:pt x="977" y="1241"/>
                    <a:pt x="979" y="1241"/>
                  </a:cubicBezTo>
                  <a:cubicBezTo>
                    <a:pt x="978" y="1241"/>
                    <a:pt x="977" y="1240"/>
                    <a:pt x="976" y="1239"/>
                  </a:cubicBezTo>
                  <a:cubicBezTo>
                    <a:pt x="975" y="1239"/>
                    <a:pt x="974" y="1239"/>
                    <a:pt x="973" y="1238"/>
                  </a:cubicBezTo>
                  <a:moveTo>
                    <a:pt x="979" y="1240"/>
                  </a:moveTo>
                  <a:cubicBezTo>
                    <a:pt x="980" y="1241"/>
                    <a:pt x="981" y="1242"/>
                    <a:pt x="982" y="1242"/>
                  </a:cubicBezTo>
                  <a:cubicBezTo>
                    <a:pt x="987" y="1244"/>
                    <a:pt x="992" y="1246"/>
                    <a:pt x="997" y="1247"/>
                  </a:cubicBezTo>
                  <a:cubicBezTo>
                    <a:pt x="996" y="1247"/>
                    <a:pt x="996" y="1246"/>
                    <a:pt x="995" y="1246"/>
                  </a:cubicBezTo>
                  <a:cubicBezTo>
                    <a:pt x="990" y="1244"/>
                    <a:pt x="984" y="1242"/>
                    <a:pt x="979" y="1240"/>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59" name="Freeform 88"/>
            <p:cNvSpPr>
              <a:spLocks noEditPoints="1"/>
            </p:cNvSpPr>
            <p:nvPr userDrawn="1"/>
          </p:nvSpPr>
          <p:spPr bwMode="auto">
            <a:xfrm>
              <a:off x="1997" y="3340"/>
              <a:ext cx="3552" cy="2588"/>
            </a:xfrm>
            <a:custGeom>
              <a:avLst/>
              <a:gdLst>
                <a:gd name="T0" fmla="*/ 2147483646 w 1753"/>
                <a:gd name="T1" fmla="*/ 2147483646 h 1277"/>
                <a:gd name="T2" fmla="*/ 2147483646 w 1753"/>
                <a:gd name="T3" fmla="*/ 2147483646 h 1277"/>
                <a:gd name="T4" fmla="*/ 2147483646 w 1753"/>
                <a:gd name="T5" fmla="*/ 2147483646 h 1277"/>
                <a:gd name="T6" fmla="*/ 2147483646 w 1753"/>
                <a:gd name="T7" fmla="*/ 2147483646 h 1277"/>
                <a:gd name="T8" fmla="*/ 2147483646 w 1753"/>
                <a:gd name="T9" fmla="*/ 2147483646 h 1277"/>
                <a:gd name="T10" fmla="*/ 2147483646 w 1753"/>
                <a:gd name="T11" fmla="*/ 2147483646 h 1277"/>
                <a:gd name="T12" fmla="*/ 2147483646 w 1753"/>
                <a:gd name="T13" fmla="*/ 2147483646 h 1277"/>
                <a:gd name="T14" fmla="*/ 2147483646 w 1753"/>
                <a:gd name="T15" fmla="*/ 2147483646 h 1277"/>
                <a:gd name="T16" fmla="*/ 2147483646 w 1753"/>
                <a:gd name="T17" fmla="*/ 2147483646 h 1277"/>
                <a:gd name="T18" fmla="*/ 2147483646 w 1753"/>
                <a:gd name="T19" fmla="*/ 2147483646 h 1277"/>
                <a:gd name="T20" fmla="*/ 2147483646 w 1753"/>
                <a:gd name="T21" fmla="*/ 2147483646 h 1277"/>
                <a:gd name="T22" fmla="*/ 2147483646 w 1753"/>
                <a:gd name="T23" fmla="*/ 2147483646 h 1277"/>
                <a:gd name="T24" fmla="*/ 2147483646 w 1753"/>
                <a:gd name="T25" fmla="*/ 2147483646 h 1277"/>
                <a:gd name="T26" fmla="*/ 2147483646 w 1753"/>
                <a:gd name="T27" fmla="*/ 2147483646 h 1277"/>
                <a:gd name="T28" fmla="*/ 2147483646 w 1753"/>
                <a:gd name="T29" fmla="*/ 2147483646 h 1277"/>
                <a:gd name="T30" fmla="*/ 2147483646 w 1753"/>
                <a:gd name="T31" fmla="*/ 2147483646 h 1277"/>
                <a:gd name="T32" fmla="*/ 2147483646 w 1753"/>
                <a:gd name="T33" fmla="*/ 2147483646 h 1277"/>
                <a:gd name="T34" fmla="*/ 2147483646 w 1753"/>
                <a:gd name="T35" fmla="*/ 2147483646 h 1277"/>
                <a:gd name="T36" fmla="*/ 2147483646 w 1753"/>
                <a:gd name="T37" fmla="*/ 2147483646 h 1277"/>
                <a:gd name="T38" fmla="*/ 2147483646 w 1753"/>
                <a:gd name="T39" fmla="*/ 2147483646 h 1277"/>
                <a:gd name="T40" fmla="*/ 2147483646 w 1753"/>
                <a:gd name="T41" fmla="*/ 2147483646 h 1277"/>
                <a:gd name="T42" fmla="*/ 2147483646 w 1753"/>
                <a:gd name="T43" fmla="*/ 2147483646 h 1277"/>
                <a:gd name="T44" fmla="*/ 2147483646 w 1753"/>
                <a:gd name="T45" fmla="*/ 2147483646 h 1277"/>
                <a:gd name="T46" fmla="*/ 2147483646 w 1753"/>
                <a:gd name="T47" fmla="*/ 2147483646 h 1277"/>
                <a:gd name="T48" fmla="*/ 2147483646 w 1753"/>
                <a:gd name="T49" fmla="*/ 2147483646 h 1277"/>
                <a:gd name="T50" fmla="*/ 2147483646 w 1753"/>
                <a:gd name="T51" fmla="*/ 2147483646 h 1277"/>
                <a:gd name="T52" fmla="*/ 2147483646 w 1753"/>
                <a:gd name="T53" fmla="*/ 2147483646 h 1277"/>
                <a:gd name="T54" fmla="*/ 2147483646 w 1753"/>
                <a:gd name="T55" fmla="*/ 2147483646 h 1277"/>
                <a:gd name="T56" fmla="*/ 2147483646 w 1753"/>
                <a:gd name="T57" fmla="*/ 2147483646 h 1277"/>
                <a:gd name="T58" fmla="*/ 2147483646 w 1753"/>
                <a:gd name="T59" fmla="*/ 2147483646 h 1277"/>
                <a:gd name="T60" fmla="*/ 2147483646 w 1753"/>
                <a:gd name="T61" fmla="*/ 2147483646 h 1277"/>
                <a:gd name="T62" fmla="*/ 2147483646 w 1753"/>
                <a:gd name="T63" fmla="*/ 2147483646 h 1277"/>
                <a:gd name="T64" fmla="*/ 2147483646 w 1753"/>
                <a:gd name="T65" fmla="*/ 2147483646 h 1277"/>
                <a:gd name="T66" fmla="*/ 2147483646 w 1753"/>
                <a:gd name="T67" fmla="*/ 2147483646 h 1277"/>
                <a:gd name="T68" fmla="*/ 2147483646 w 1753"/>
                <a:gd name="T69" fmla="*/ 2147483646 h 1277"/>
                <a:gd name="T70" fmla="*/ 2147483646 w 1753"/>
                <a:gd name="T71" fmla="*/ 2147483646 h 1277"/>
                <a:gd name="T72" fmla="*/ 2147483646 w 1753"/>
                <a:gd name="T73" fmla="*/ 2147483646 h 1277"/>
                <a:gd name="T74" fmla="*/ 2147483646 w 1753"/>
                <a:gd name="T75" fmla="*/ 2147483646 h 1277"/>
                <a:gd name="T76" fmla="*/ 2147483646 w 1753"/>
                <a:gd name="T77" fmla="*/ 2147483646 h 1277"/>
                <a:gd name="T78" fmla="*/ 2147483646 w 1753"/>
                <a:gd name="T79" fmla="*/ 2147483646 h 1277"/>
                <a:gd name="T80" fmla="*/ 2147483646 w 1753"/>
                <a:gd name="T81" fmla="*/ 2147483646 h 1277"/>
                <a:gd name="T82" fmla="*/ 2147483646 w 1753"/>
                <a:gd name="T83" fmla="*/ 2147483646 h 1277"/>
                <a:gd name="T84" fmla="*/ 2147483646 w 1753"/>
                <a:gd name="T85" fmla="*/ 2147483646 h 1277"/>
                <a:gd name="T86" fmla="*/ 2147483646 w 1753"/>
                <a:gd name="T87" fmla="*/ 2147483646 h 1277"/>
                <a:gd name="T88" fmla="*/ 2147483646 w 1753"/>
                <a:gd name="T89" fmla="*/ 2147483646 h 1277"/>
                <a:gd name="T90" fmla="*/ 2147483646 w 1753"/>
                <a:gd name="T91" fmla="*/ 2147483646 h 1277"/>
                <a:gd name="T92" fmla="*/ 2147483646 w 1753"/>
                <a:gd name="T93" fmla="*/ 2147483646 h 1277"/>
                <a:gd name="T94" fmla="*/ 2147483646 w 1753"/>
                <a:gd name="T95" fmla="*/ 2147483646 h 1277"/>
                <a:gd name="T96" fmla="*/ 2147483646 w 1753"/>
                <a:gd name="T97" fmla="*/ 2147483646 h 1277"/>
                <a:gd name="T98" fmla="*/ 2147483646 w 1753"/>
                <a:gd name="T99" fmla="*/ 2147483646 h 1277"/>
                <a:gd name="T100" fmla="*/ 2147483646 w 1753"/>
                <a:gd name="T101" fmla="*/ 2147483646 h 1277"/>
                <a:gd name="T102" fmla="*/ 2147483646 w 1753"/>
                <a:gd name="T103" fmla="*/ 2147483646 h 1277"/>
                <a:gd name="T104" fmla="*/ 2147483646 w 1753"/>
                <a:gd name="T105" fmla="*/ 2147483646 h 1277"/>
                <a:gd name="T106" fmla="*/ 2147483646 w 1753"/>
                <a:gd name="T107" fmla="*/ 2147483646 h 1277"/>
                <a:gd name="T108" fmla="*/ 2147483646 w 1753"/>
                <a:gd name="T109" fmla="*/ 2147483646 h 1277"/>
                <a:gd name="T110" fmla="*/ 2147483646 w 1753"/>
                <a:gd name="T111" fmla="*/ 2147483646 h 1277"/>
                <a:gd name="T112" fmla="*/ 2147483646 w 1753"/>
                <a:gd name="T113" fmla="*/ 2147483646 h 1277"/>
                <a:gd name="T114" fmla="*/ 2147483646 w 1753"/>
                <a:gd name="T115" fmla="*/ 2147483646 h 1277"/>
                <a:gd name="T116" fmla="*/ 2147483646 w 1753"/>
                <a:gd name="T117" fmla="*/ 2147483646 h 1277"/>
                <a:gd name="T118" fmla="*/ 2147483646 w 1753"/>
                <a:gd name="T119" fmla="*/ 2147483646 h 1277"/>
                <a:gd name="T120" fmla="*/ 2147483646 w 1753"/>
                <a:gd name="T121" fmla="*/ 2147483646 h 127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53" h="1277">
                  <a:moveTo>
                    <a:pt x="1536" y="0"/>
                  </a:moveTo>
                  <a:cubicBezTo>
                    <a:pt x="1514" y="0"/>
                    <a:pt x="1493" y="4"/>
                    <a:pt x="1472" y="12"/>
                  </a:cubicBezTo>
                  <a:cubicBezTo>
                    <a:pt x="1472" y="12"/>
                    <a:pt x="1472" y="12"/>
                    <a:pt x="1471" y="12"/>
                  </a:cubicBezTo>
                  <a:cubicBezTo>
                    <a:pt x="1436" y="25"/>
                    <a:pt x="1402" y="48"/>
                    <a:pt x="1371" y="78"/>
                  </a:cubicBezTo>
                  <a:cubicBezTo>
                    <a:pt x="1370" y="78"/>
                    <a:pt x="1370" y="78"/>
                    <a:pt x="1370" y="79"/>
                  </a:cubicBezTo>
                  <a:cubicBezTo>
                    <a:pt x="1363" y="85"/>
                    <a:pt x="1357" y="91"/>
                    <a:pt x="1350" y="98"/>
                  </a:cubicBezTo>
                  <a:cubicBezTo>
                    <a:pt x="1346" y="102"/>
                    <a:pt x="1342" y="106"/>
                    <a:pt x="1339" y="111"/>
                  </a:cubicBezTo>
                  <a:cubicBezTo>
                    <a:pt x="1338" y="112"/>
                    <a:pt x="1337" y="112"/>
                    <a:pt x="1336" y="113"/>
                  </a:cubicBezTo>
                  <a:cubicBezTo>
                    <a:pt x="1333" y="117"/>
                    <a:pt x="1331" y="120"/>
                    <a:pt x="1328" y="123"/>
                  </a:cubicBezTo>
                  <a:cubicBezTo>
                    <a:pt x="1331" y="120"/>
                    <a:pt x="1334" y="117"/>
                    <a:pt x="1337" y="114"/>
                  </a:cubicBezTo>
                  <a:cubicBezTo>
                    <a:pt x="1338" y="113"/>
                    <a:pt x="1339" y="112"/>
                    <a:pt x="1340" y="111"/>
                  </a:cubicBezTo>
                  <a:cubicBezTo>
                    <a:pt x="1350" y="100"/>
                    <a:pt x="1360" y="89"/>
                    <a:pt x="1371" y="79"/>
                  </a:cubicBezTo>
                  <a:cubicBezTo>
                    <a:pt x="1371" y="79"/>
                    <a:pt x="1371" y="79"/>
                    <a:pt x="1371" y="79"/>
                  </a:cubicBezTo>
                  <a:cubicBezTo>
                    <a:pt x="1403" y="49"/>
                    <a:pt x="1436" y="26"/>
                    <a:pt x="1472" y="13"/>
                  </a:cubicBezTo>
                  <a:cubicBezTo>
                    <a:pt x="1472" y="13"/>
                    <a:pt x="1473" y="13"/>
                    <a:pt x="1473" y="13"/>
                  </a:cubicBezTo>
                  <a:cubicBezTo>
                    <a:pt x="1493" y="5"/>
                    <a:pt x="1515" y="1"/>
                    <a:pt x="1536" y="1"/>
                  </a:cubicBezTo>
                  <a:cubicBezTo>
                    <a:pt x="1563" y="1"/>
                    <a:pt x="1590" y="7"/>
                    <a:pt x="1618" y="20"/>
                  </a:cubicBezTo>
                  <a:cubicBezTo>
                    <a:pt x="1618" y="20"/>
                    <a:pt x="1619" y="21"/>
                    <a:pt x="1619" y="21"/>
                  </a:cubicBezTo>
                  <a:cubicBezTo>
                    <a:pt x="1621" y="22"/>
                    <a:pt x="1622" y="22"/>
                    <a:pt x="1623" y="23"/>
                  </a:cubicBezTo>
                  <a:cubicBezTo>
                    <a:pt x="1675" y="49"/>
                    <a:pt x="1709" y="78"/>
                    <a:pt x="1729" y="110"/>
                  </a:cubicBezTo>
                  <a:cubicBezTo>
                    <a:pt x="1729" y="111"/>
                    <a:pt x="1730" y="111"/>
                    <a:pt x="1730" y="112"/>
                  </a:cubicBezTo>
                  <a:cubicBezTo>
                    <a:pt x="1745" y="136"/>
                    <a:pt x="1752" y="163"/>
                    <a:pt x="1752" y="190"/>
                  </a:cubicBezTo>
                  <a:cubicBezTo>
                    <a:pt x="1752" y="204"/>
                    <a:pt x="1750" y="217"/>
                    <a:pt x="1747" y="231"/>
                  </a:cubicBezTo>
                  <a:cubicBezTo>
                    <a:pt x="1747" y="231"/>
                    <a:pt x="1747" y="232"/>
                    <a:pt x="1747" y="233"/>
                  </a:cubicBezTo>
                  <a:cubicBezTo>
                    <a:pt x="1746" y="236"/>
                    <a:pt x="1745" y="240"/>
                    <a:pt x="1744" y="243"/>
                  </a:cubicBezTo>
                  <a:cubicBezTo>
                    <a:pt x="1744" y="244"/>
                    <a:pt x="1744" y="245"/>
                    <a:pt x="1743" y="246"/>
                  </a:cubicBezTo>
                  <a:cubicBezTo>
                    <a:pt x="1743" y="248"/>
                    <a:pt x="1742" y="250"/>
                    <a:pt x="1741" y="252"/>
                  </a:cubicBezTo>
                  <a:cubicBezTo>
                    <a:pt x="1741" y="253"/>
                    <a:pt x="1741" y="254"/>
                    <a:pt x="1740" y="255"/>
                  </a:cubicBezTo>
                  <a:cubicBezTo>
                    <a:pt x="1734" y="272"/>
                    <a:pt x="1726" y="290"/>
                    <a:pt x="1716" y="308"/>
                  </a:cubicBezTo>
                  <a:cubicBezTo>
                    <a:pt x="1715" y="310"/>
                    <a:pt x="1714" y="313"/>
                    <a:pt x="1712" y="315"/>
                  </a:cubicBezTo>
                  <a:cubicBezTo>
                    <a:pt x="1709" y="321"/>
                    <a:pt x="1705" y="327"/>
                    <a:pt x="1701" y="333"/>
                  </a:cubicBezTo>
                  <a:cubicBezTo>
                    <a:pt x="1697" y="339"/>
                    <a:pt x="1693" y="344"/>
                    <a:pt x="1689" y="350"/>
                  </a:cubicBezTo>
                  <a:cubicBezTo>
                    <a:pt x="1687" y="354"/>
                    <a:pt x="1684" y="357"/>
                    <a:pt x="1681" y="361"/>
                  </a:cubicBezTo>
                  <a:cubicBezTo>
                    <a:pt x="1678" y="366"/>
                    <a:pt x="1673" y="372"/>
                    <a:pt x="1669" y="378"/>
                  </a:cubicBezTo>
                  <a:cubicBezTo>
                    <a:pt x="1681" y="363"/>
                    <a:pt x="1692" y="349"/>
                    <a:pt x="1702" y="334"/>
                  </a:cubicBezTo>
                  <a:cubicBezTo>
                    <a:pt x="1705" y="329"/>
                    <a:pt x="1708" y="324"/>
                    <a:pt x="1711" y="319"/>
                  </a:cubicBezTo>
                  <a:cubicBezTo>
                    <a:pt x="1713" y="315"/>
                    <a:pt x="1715" y="312"/>
                    <a:pt x="1717" y="308"/>
                  </a:cubicBezTo>
                  <a:cubicBezTo>
                    <a:pt x="1719" y="306"/>
                    <a:pt x="1720" y="304"/>
                    <a:pt x="1721" y="301"/>
                  </a:cubicBezTo>
                  <a:cubicBezTo>
                    <a:pt x="1730" y="285"/>
                    <a:pt x="1737" y="268"/>
                    <a:pt x="1742" y="252"/>
                  </a:cubicBezTo>
                  <a:cubicBezTo>
                    <a:pt x="1743" y="251"/>
                    <a:pt x="1743" y="250"/>
                    <a:pt x="1743" y="249"/>
                  </a:cubicBezTo>
                  <a:cubicBezTo>
                    <a:pt x="1744" y="247"/>
                    <a:pt x="1744" y="245"/>
                    <a:pt x="1745" y="244"/>
                  </a:cubicBezTo>
                  <a:cubicBezTo>
                    <a:pt x="1745" y="243"/>
                    <a:pt x="1746" y="242"/>
                    <a:pt x="1746" y="241"/>
                  </a:cubicBezTo>
                  <a:cubicBezTo>
                    <a:pt x="1747" y="238"/>
                    <a:pt x="1747" y="234"/>
                    <a:pt x="1748" y="231"/>
                  </a:cubicBezTo>
                  <a:cubicBezTo>
                    <a:pt x="1748" y="230"/>
                    <a:pt x="1749" y="230"/>
                    <a:pt x="1749" y="229"/>
                  </a:cubicBezTo>
                  <a:cubicBezTo>
                    <a:pt x="1751" y="216"/>
                    <a:pt x="1753" y="203"/>
                    <a:pt x="1753" y="190"/>
                  </a:cubicBezTo>
                  <a:cubicBezTo>
                    <a:pt x="1753" y="162"/>
                    <a:pt x="1746" y="135"/>
                    <a:pt x="1730" y="110"/>
                  </a:cubicBezTo>
                  <a:cubicBezTo>
                    <a:pt x="1730" y="110"/>
                    <a:pt x="1730" y="110"/>
                    <a:pt x="1729" y="109"/>
                  </a:cubicBezTo>
                  <a:cubicBezTo>
                    <a:pt x="1709" y="77"/>
                    <a:pt x="1675" y="47"/>
                    <a:pt x="1624" y="22"/>
                  </a:cubicBezTo>
                  <a:cubicBezTo>
                    <a:pt x="1622" y="21"/>
                    <a:pt x="1620" y="20"/>
                    <a:pt x="1619" y="20"/>
                  </a:cubicBezTo>
                  <a:cubicBezTo>
                    <a:pt x="1618" y="19"/>
                    <a:pt x="1618" y="19"/>
                    <a:pt x="1617" y="19"/>
                  </a:cubicBezTo>
                  <a:cubicBezTo>
                    <a:pt x="1590" y="6"/>
                    <a:pt x="1562" y="0"/>
                    <a:pt x="1536" y="0"/>
                  </a:cubicBezTo>
                  <a:moveTo>
                    <a:pt x="1329" y="124"/>
                  </a:moveTo>
                  <a:cubicBezTo>
                    <a:pt x="1325" y="127"/>
                    <a:pt x="1322" y="130"/>
                    <a:pt x="1319" y="134"/>
                  </a:cubicBezTo>
                  <a:cubicBezTo>
                    <a:pt x="1318" y="134"/>
                    <a:pt x="1318" y="135"/>
                    <a:pt x="1317" y="136"/>
                  </a:cubicBezTo>
                  <a:cubicBezTo>
                    <a:pt x="1319" y="135"/>
                    <a:pt x="1320" y="133"/>
                    <a:pt x="1322" y="132"/>
                  </a:cubicBezTo>
                  <a:cubicBezTo>
                    <a:pt x="1323" y="130"/>
                    <a:pt x="1325" y="128"/>
                    <a:pt x="1327" y="126"/>
                  </a:cubicBezTo>
                  <a:cubicBezTo>
                    <a:pt x="1327" y="125"/>
                    <a:pt x="1328" y="124"/>
                    <a:pt x="1329" y="124"/>
                  </a:cubicBezTo>
                  <a:moveTo>
                    <a:pt x="1318" y="136"/>
                  </a:moveTo>
                  <a:cubicBezTo>
                    <a:pt x="1317" y="138"/>
                    <a:pt x="1315" y="139"/>
                    <a:pt x="1313" y="141"/>
                  </a:cubicBezTo>
                  <a:cubicBezTo>
                    <a:pt x="1310" y="144"/>
                    <a:pt x="1307" y="148"/>
                    <a:pt x="1304" y="152"/>
                  </a:cubicBezTo>
                  <a:cubicBezTo>
                    <a:pt x="1305" y="151"/>
                    <a:pt x="1306" y="151"/>
                    <a:pt x="1307" y="150"/>
                  </a:cubicBezTo>
                  <a:cubicBezTo>
                    <a:pt x="1311" y="145"/>
                    <a:pt x="1314" y="141"/>
                    <a:pt x="1318" y="136"/>
                  </a:cubicBezTo>
                  <a:moveTo>
                    <a:pt x="1305" y="153"/>
                  </a:moveTo>
                  <a:cubicBezTo>
                    <a:pt x="1304" y="154"/>
                    <a:pt x="1303" y="154"/>
                    <a:pt x="1302" y="155"/>
                  </a:cubicBezTo>
                  <a:cubicBezTo>
                    <a:pt x="1298" y="160"/>
                    <a:pt x="1294" y="166"/>
                    <a:pt x="1290" y="171"/>
                  </a:cubicBezTo>
                  <a:cubicBezTo>
                    <a:pt x="1291" y="171"/>
                    <a:pt x="1292" y="171"/>
                    <a:pt x="1292" y="170"/>
                  </a:cubicBezTo>
                  <a:cubicBezTo>
                    <a:pt x="1297" y="164"/>
                    <a:pt x="1301" y="158"/>
                    <a:pt x="1305" y="153"/>
                  </a:cubicBezTo>
                  <a:moveTo>
                    <a:pt x="1291" y="172"/>
                  </a:moveTo>
                  <a:cubicBezTo>
                    <a:pt x="1290" y="173"/>
                    <a:pt x="1289" y="173"/>
                    <a:pt x="1289" y="174"/>
                  </a:cubicBezTo>
                  <a:cubicBezTo>
                    <a:pt x="1287" y="175"/>
                    <a:pt x="1286" y="177"/>
                    <a:pt x="1285" y="179"/>
                  </a:cubicBezTo>
                  <a:cubicBezTo>
                    <a:pt x="1284" y="180"/>
                    <a:pt x="1284" y="180"/>
                    <a:pt x="1284" y="180"/>
                  </a:cubicBezTo>
                  <a:cubicBezTo>
                    <a:pt x="1281" y="185"/>
                    <a:pt x="1278" y="189"/>
                    <a:pt x="1275" y="193"/>
                  </a:cubicBezTo>
                  <a:cubicBezTo>
                    <a:pt x="1275" y="193"/>
                    <a:pt x="1276" y="193"/>
                    <a:pt x="1277" y="193"/>
                  </a:cubicBezTo>
                  <a:cubicBezTo>
                    <a:pt x="1279" y="189"/>
                    <a:pt x="1282" y="185"/>
                    <a:pt x="1284" y="182"/>
                  </a:cubicBezTo>
                  <a:cubicBezTo>
                    <a:pt x="1284" y="182"/>
                    <a:pt x="1285" y="181"/>
                    <a:pt x="1285" y="181"/>
                  </a:cubicBezTo>
                  <a:cubicBezTo>
                    <a:pt x="1287" y="178"/>
                    <a:pt x="1289" y="175"/>
                    <a:pt x="1291" y="172"/>
                  </a:cubicBezTo>
                  <a:moveTo>
                    <a:pt x="1276" y="194"/>
                  </a:moveTo>
                  <a:cubicBezTo>
                    <a:pt x="1275" y="194"/>
                    <a:pt x="1274" y="195"/>
                    <a:pt x="1274" y="195"/>
                  </a:cubicBezTo>
                  <a:cubicBezTo>
                    <a:pt x="1269" y="202"/>
                    <a:pt x="1264" y="210"/>
                    <a:pt x="1259" y="218"/>
                  </a:cubicBezTo>
                  <a:cubicBezTo>
                    <a:pt x="1259" y="217"/>
                    <a:pt x="1260" y="217"/>
                    <a:pt x="1261" y="217"/>
                  </a:cubicBezTo>
                  <a:cubicBezTo>
                    <a:pt x="1265" y="209"/>
                    <a:pt x="1271" y="202"/>
                    <a:pt x="1276" y="194"/>
                  </a:cubicBezTo>
                  <a:moveTo>
                    <a:pt x="1260" y="218"/>
                  </a:moveTo>
                  <a:cubicBezTo>
                    <a:pt x="1259" y="219"/>
                    <a:pt x="1259" y="219"/>
                    <a:pt x="1258" y="219"/>
                  </a:cubicBezTo>
                  <a:cubicBezTo>
                    <a:pt x="1257" y="221"/>
                    <a:pt x="1256" y="223"/>
                    <a:pt x="1255" y="224"/>
                  </a:cubicBezTo>
                  <a:cubicBezTo>
                    <a:pt x="1252" y="229"/>
                    <a:pt x="1249" y="233"/>
                    <a:pt x="1246" y="238"/>
                  </a:cubicBezTo>
                  <a:cubicBezTo>
                    <a:pt x="1247" y="238"/>
                    <a:pt x="1247" y="238"/>
                    <a:pt x="1248" y="238"/>
                  </a:cubicBezTo>
                  <a:cubicBezTo>
                    <a:pt x="1251" y="231"/>
                    <a:pt x="1256" y="225"/>
                    <a:pt x="1260" y="218"/>
                  </a:cubicBezTo>
                  <a:moveTo>
                    <a:pt x="1247" y="239"/>
                  </a:moveTo>
                  <a:cubicBezTo>
                    <a:pt x="1246" y="239"/>
                    <a:pt x="1246" y="239"/>
                    <a:pt x="1246" y="239"/>
                  </a:cubicBezTo>
                  <a:cubicBezTo>
                    <a:pt x="1240" y="249"/>
                    <a:pt x="1234" y="258"/>
                    <a:pt x="1228" y="268"/>
                  </a:cubicBezTo>
                  <a:cubicBezTo>
                    <a:pt x="1229" y="268"/>
                    <a:pt x="1229" y="268"/>
                    <a:pt x="1230" y="268"/>
                  </a:cubicBezTo>
                  <a:cubicBezTo>
                    <a:pt x="1235" y="258"/>
                    <a:pt x="1241" y="248"/>
                    <a:pt x="1247" y="239"/>
                  </a:cubicBezTo>
                  <a:moveTo>
                    <a:pt x="1228" y="269"/>
                  </a:moveTo>
                  <a:cubicBezTo>
                    <a:pt x="1224" y="275"/>
                    <a:pt x="1221" y="281"/>
                    <a:pt x="1217" y="287"/>
                  </a:cubicBezTo>
                  <a:cubicBezTo>
                    <a:pt x="1214" y="293"/>
                    <a:pt x="1211" y="298"/>
                    <a:pt x="1208" y="304"/>
                  </a:cubicBezTo>
                  <a:cubicBezTo>
                    <a:pt x="1209" y="304"/>
                    <a:pt x="1209" y="304"/>
                    <a:pt x="1209" y="304"/>
                  </a:cubicBezTo>
                  <a:cubicBezTo>
                    <a:pt x="1216" y="292"/>
                    <a:pt x="1222" y="281"/>
                    <a:pt x="1229" y="269"/>
                  </a:cubicBezTo>
                  <a:cubicBezTo>
                    <a:pt x="1229" y="269"/>
                    <a:pt x="1228" y="269"/>
                    <a:pt x="1228" y="269"/>
                  </a:cubicBezTo>
                  <a:moveTo>
                    <a:pt x="1208" y="305"/>
                  </a:moveTo>
                  <a:cubicBezTo>
                    <a:pt x="1201" y="317"/>
                    <a:pt x="1195" y="328"/>
                    <a:pt x="1189" y="340"/>
                  </a:cubicBezTo>
                  <a:cubicBezTo>
                    <a:pt x="1189" y="340"/>
                    <a:pt x="1190" y="340"/>
                    <a:pt x="1190" y="340"/>
                  </a:cubicBezTo>
                  <a:cubicBezTo>
                    <a:pt x="1196" y="329"/>
                    <a:pt x="1202" y="317"/>
                    <a:pt x="1209" y="305"/>
                  </a:cubicBezTo>
                  <a:cubicBezTo>
                    <a:pt x="1208" y="305"/>
                    <a:pt x="1208" y="305"/>
                    <a:pt x="1208" y="305"/>
                  </a:cubicBezTo>
                  <a:moveTo>
                    <a:pt x="1188" y="341"/>
                  </a:moveTo>
                  <a:cubicBezTo>
                    <a:pt x="1184" y="349"/>
                    <a:pt x="1180" y="357"/>
                    <a:pt x="1176" y="364"/>
                  </a:cubicBezTo>
                  <a:cubicBezTo>
                    <a:pt x="1177" y="364"/>
                    <a:pt x="1177" y="364"/>
                    <a:pt x="1177" y="364"/>
                  </a:cubicBezTo>
                  <a:cubicBezTo>
                    <a:pt x="1181" y="357"/>
                    <a:pt x="1185" y="349"/>
                    <a:pt x="1189" y="341"/>
                  </a:cubicBezTo>
                  <a:cubicBezTo>
                    <a:pt x="1189" y="341"/>
                    <a:pt x="1189" y="341"/>
                    <a:pt x="1188" y="341"/>
                  </a:cubicBezTo>
                  <a:moveTo>
                    <a:pt x="1176" y="365"/>
                  </a:moveTo>
                  <a:cubicBezTo>
                    <a:pt x="1169" y="378"/>
                    <a:pt x="1163" y="391"/>
                    <a:pt x="1157" y="403"/>
                  </a:cubicBezTo>
                  <a:cubicBezTo>
                    <a:pt x="1158" y="403"/>
                    <a:pt x="1158" y="403"/>
                    <a:pt x="1158" y="403"/>
                  </a:cubicBezTo>
                  <a:cubicBezTo>
                    <a:pt x="1164" y="391"/>
                    <a:pt x="1170" y="378"/>
                    <a:pt x="1177" y="365"/>
                  </a:cubicBezTo>
                  <a:cubicBezTo>
                    <a:pt x="1177" y="365"/>
                    <a:pt x="1176" y="365"/>
                    <a:pt x="1176" y="365"/>
                  </a:cubicBezTo>
                  <a:moveTo>
                    <a:pt x="1668" y="377"/>
                  </a:moveTo>
                  <a:cubicBezTo>
                    <a:pt x="1666" y="381"/>
                    <a:pt x="1663" y="384"/>
                    <a:pt x="1660" y="387"/>
                  </a:cubicBezTo>
                  <a:cubicBezTo>
                    <a:pt x="1658" y="390"/>
                    <a:pt x="1656" y="393"/>
                    <a:pt x="1654" y="396"/>
                  </a:cubicBezTo>
                  <a:cubicBezTo>
                    <a:pt x="1659" y="390"/>
                    <a:pt x="1664" y="383"/>
                    <a:pt x="1668" y="377"/>
                  </a:cubicBezTo>
                  <a:moveTo>
                    <a:pt x="1653" y="396"/>
                  </a:moveTo>
                  <a:cubicBezTo>
                    <a:pt x="1650" y="400"/>
                    <a:pt x="1647" y="403"/>
                    <a:pt x="1643" y="407"/>
                  </a:cubicBezTo>
                  <a:cubicBezTo>
                    <a:pt x="1642" y="409"/>
                    <a:pt x="1640" y="411"/>
                    <a:pt x="1639" y="413"/>
                  </a:cubicBezTo>
                  <a:cubicBezTo>
                    <a:pt x="1641" y="411"/>
                    <a:pt x="1643" y="409"/>
                    <a:pt x="1645" y="406"/>
                  </a:cubicBezTo>
                  <a:cubicBezTo>
                    <a:pt x="1648" y="403"/>
                    <a:pt x="1650" y="400"/>
                    <a:pt x="1653" y="396"/>
                  </a:cubicBezTo>
                  <a:moveTo>
                    <a:pt x="978" y="401"/>
                  </a:moveTo>
                  <a:cubicBezTo>
                    <a:pt x="973" y="401"/>
                    <a:pt x="967" y="401"/>
                    <a:pt x="961" y="403"/>
                  </a:cubicBezTo>
                  <a:cubicBezTo>
                    <a:pt x="961" y="403"/>
                    <a:pt x="960" y="403"/>
                    <a:pt x="960" y="403"/>
                  </a:cubicBezTo>
                  <a:cubicBezTo>
                    <a:pt x="958" y="403"/>
                    <a:pt x="957" y="404"/>
                    <a:pt x="956" y="404"/>
                  </a:cubicBezTo>
                  <a:cubicBezTo>
                    <a:pt x="955" y="404"/>
                    <a:pt x="955" y="404"/>
                    <a:pt x="955" y="404"/>
                  </a:cubicBezTo>
                  <a:cubicBezTo>
                    <a:pt x="951" y="405"/>
                    <a:pt x="948" y="406"/>
                    <a:pt x="945" y="407"/>
                  </a:cubicBezTo>
                  <a:cubicBezTo>
                    <a:pt x="944" y="408"/>
                    <a:pt x="943" y="408"/>
                    <a:pt x="943" y="408"/>
                  </a:cubicBezTo>
                  <a:cubicBezTo>
                    <a:pt x="939" y="410"/>
                    <a:pt x="934" y="411"/>
                    <a:pt x="930" y="413"/>
                  </a:cubicBezTo>
                  <a:cubicBezTo>
                    <a:pt x="930" y="414"/>
                    <a:pt x="930" y="414"/>
                    <a:pt x="929" y="415"/>
                  </a:cubicBezTo>
                  <a:cubicBezTo>
                    <a:pt x="933" y="413"/>
                    <a:pt x="938" y="411"/>
                    <a:pt x="942" y="410"/>
                  </a:cubicBezTo>
                  <a:cubicBezTo>
                    <a:pt x="942" y="409"/>
                    <a:pt x="943" y="409"/>
                    <a:pt x="943" y="409"/>
                  </a:cubicBezTo>
                  <a:cubicBezTo>
                    <a:pt x="947" y="408"/>
                    <a:pt x="951" y="406"/>
                    <a:pt x="954" y="405"/>
                  </a:cubicBezTo>
                  <a:cubicBezTo>
                    <a:pt x="955" y="405"/>
                    <a:pt x="955" y="405"/>
                    <a:pt x="956" y="405"/>
                  </a:cubicBezTo>
                  <a:cubicBezTo>
                    <a:pt x="957" y="405"/>
                    <a:pt x="958" y="405"/>
                    <a:pt x="959" y="404"/>
                  </a:cubicBezTo>
                  <a:cubicBezTo>
                    <a:pt x="959" y="404"/>
                    <a:pt x="960" y="404"/>
                    <a:pt x="960" y="404"/>
                  </a:cubicBezTo>
                  <a:cubicBezTo>
                    <a:pt x="967" y="402"/>
                    <a:pt x="973" y="402"/>
                    <a:pt x="978" y="402"/>
                  </a:cubicBezTo>
                  <a:cubicBezTo>
                    <a:pt x="981" y="402"/>
                    <a:pt x="984" y="402"/>
                    <a:pt x="987" y="402"/>
                  </a:cubicBezTo>
                  <a:cubicBezTo>
                    <a:pt x="987" y="402"/>
                    <a:pt x="987" y="402"/>
                    <a:pt x="987" y="402"/>
                  </a:cubicBezTo>
                  <a:cubicBezTo>
                    <a:pt x="988" y="402"/>
                    <a:pt x="988" y="403"/>
                    <a:pt x="989" y="403"/>
                  </a:cubicBezTo>
                  <a:cubicBezTo>
                    <a:pt x="990" y="403"/>
                    <a:pt x="990" y="403"/>
                    <a:pt x="991" y="403"/>
                  </a:cubicBezTo>
                  <a:cubicBezTo>
                    <a:pt x="991" y="403"/>
                    <a:pt x="992" y="403"/>
                    <a:pt x="992" y="402"/>
                  </a:cubicBezTo>
                  <a:cubicBezTo>
                    <a:pt x="991" y="402"/>
                    <a:pt x="990" y="402"/>
                    <a:pt x="989" y="402"/>
                  </a:cubicBezTo>
                  <a:cubicBezTo>
                    <a:pt x="989" y="402"/>
                    <a:pt x="989" y="402"/>
                    <a:pt x="988" y="402"/>
                  </a:cubicBezTo>
                  <a:cubicBezTo>
                    <a:pt x="988" y="402"/>
                    <a:pt x="988" y="401"/>
                    <a:pt x="987" y="401"/>
                  </a:cubicBezTo>
                  <a:cubicBezTo>
                    <a:pt x="984" y="401"/>
                    <a:pt x="982" y="401"/>
                    <a:pt x="978" y="401"/>
                  </a:cubicBezTo>
                  <a:moveTo>
                    <a:pt x="993" y="403"/>
                  </a:moveTo>
                  <a:cubicBezTo>
                    <a:pt x="993" y="403"/>
                    <a:pt x="992" y="403"/>
                    <a:pt x="992" y="403"/>
                  </a:cubicBezTo>
                  <a:cubicBezTo>
                    <a:pt x="994" y="404"/>
                    <a:pt x="995" y="404"/>
                    <a:pt x="996" y="405"/>
                  </a:cubicBezTo>
                  <a:cubicBezTo>
                    <a:pt x="997" y="405"/>
                    <a:pt x="997" y="405"/>
                    <a:pt x="997" y="405"/>
                  </a:cubicBezTo>
                  <a:cubicBezTo>
                    <a:pt x="1000" y="407"/>
                    <a:pt x="1003" y="408"/>
                    <a:pt x="1005" y="410"/>
                  </a:cubicBezTo>
                  <a:cubicBezTo>
                    <a:pt x="1005" y="411"/>
                    <a:pt x="1005" y="411"/>
                    <a:pt x="1006" y="411"/>
                  </a:cubicBezTo>
                  <a:cubicBezTo>
                    <a:pt x="1008" y="414"/>
                    <a:pt x="1010" y="417"/>
                    <a:pt x="1012" y="421"/>
                  </a:cubicBezTo>
                  <a:cubicBezTo>
                    <a:pt x="1012" y="421"/>
                    <a:pt x="1013" y="421"/>
                    <a:pt x="1013" y="421"/>
                  </a:cubicBezTo>
                  <a:cubicBezTo>
                    <a:pt x="1011" y="417"/>
                    <a:pt x="1009" y="413"/>
                    <a:pt x="1006" y="410"/>
                  </a:cubicBezTo>
                  <a:cubicBezTo>
                    <a:pt x="1006" y="410"/>
                    <a:pt x="1006" y="410"/>
                    <a:pt x="1006" y="410"/>
                  </a:cubicBezTo>
                  <a:cubicBezTo>
                    <a:pt x="1003" y="407"/>
                    <a:pt x="1000" y="406"/>
                    <a:pt x="997" y="404"/>
                  </a:cubicBezTo>
                  <a:cubicBezTo>
                    <a:pt x="997" y="404"/>
                    <a:pt x="996" y="404"/>
                    <a:pt x="996" y="404"/>
                  </a:cubicBezTo>
                  <a:cubicBezTo>
                    <a:pt x="995" y="403"/>
                    <a:pt x="994" y="403"/>
                    <a:pt x="993" y="403"/>
                  </a:cubicBezTo>
                  <a:moveTo>
                    <a:pt x="1157" y="404"/>
                  </a:moveTo>
                  <a:cubicBezTo>
                    <a:pt x="1149" y="419"/>
                    <a:pt x="1143" y="433"/>
                    <a:pt x="1136" y="446"/>
                  </a:cubicBezTo>
                  <a:cubicBezTo>
                    <a:pt x="1137" y="446"/>
                    <a:pt x="1137" y="446"/>
                    <a:pt x="1137" y="446"/>
                  </a:cubicBezTo>
                  <a:cubicBezTo>
                    <a:pt x="1138" y="444"/>
                    <a:pt x="1140" y="441"/>
                    <a:pt x="1141" y="439"/>
                  </a:cubicBezTo>
                  <a:cubicBezTo>
                    <a:pt x="1146" y="428"/>
                    <a:pt x="1152" y="416"/>
                    <a:pt x="1158" y="404"/>
                  </a:cubicBezTo>
                  <a:cubicBezTo>
                    <a:pt x="1157" y="404"/>
                    <a:pt x="1157" y="404"/>
                    <a:pt x="1157" y="404"/>
                  </a:cubicBezTo>
                  <a:moveTo>
                    <a:pt x="1638" y="413"/>
                  </a:moveTo>
                  <a:cubicBezTo>
                    <a:pt x="1634" y="416"/>
                    <a:pt x="1631" y="420"/>
                    <a:pt x="1627" y="424"/>
                  </a:cubicBezTo>
                  <a:cubicBezTo>
                    <a:pt x="1626" y="425"/>
                    <a:pt x="1625" y="427"/>
                    <a:pt x="1624" y="429"/>
                  </a:cubicBezTo>
                  <a:cubicBezTo>
                    <a:pt x="1627" y="426"/>
                    <a:pt x="1630" y="423"/>
                    <a:pt x="1633" y="420"/>
                  </a:cubicBezTo>
                  <a:cubicBezTo>
                    <a:pt x="1634" y="418"/>
                    <a:pt x="1636" y="415"/>
                    <a:pt x="1638" y="413"/>
                  </a:cubicBezTo>
                  <a:moveTo>
                    <a:pt x="929" y="414"/>
                  </a:moveTo>
                  <a:cubicBezTo>
                    <a:pt x="925" y="416"/>
                    <a:pt x="922" y="418"/>
                    <a:pt x="918" y="420"/>
                  </a:cubicBezTo>
                  <a:cubicBezTo>
                    <a:pt x="919" y="420"/>
                    <a:pt x="919" y="420"/>
                    <a:pt x="920" y="420"/>
                  </a:cubicBezTo>
                  <a:cubicBezTo>
                    <a:pt x="923" y="418"/>
                    <a:pt x="925" y="417"/>
                    <a:pt x="928" y="416"/>
                  </a:cubicBezTo>
                  <a:cubicBezTo>
                    <a:pt x="928" y="415"/>
                    <a:pt x="929" y="415"/>
                    <a:pt x="929" y="414"/>
                  </a:cubicBezTo>
                  <a:moveTo>
                    <a:pt x="918" y="421"/>
                  </a:moveTo>
                  <a:cubicBezTo>
                    <a:pt x="918" y="421"/>
                    <a:pt x="917" y="421"/>
                    <a:pt x="916" y="421"/>
                  </a:cubicBezTo>
                  <a:cubicBezTo>
                    <a:pt x="915" y="422"/>
                    <a:pt x="915" y="422"/>
                    <a:pt x="914" y="422"/>
                  </a:cubicBezTo>
                  <a:cubicBezTo>
                    <a:pt x="914" y="423"/>
                    <a:pt x="913" y="423"/>
                    <a:pt x="913" y="423"/>
                  </a:cubicBezTo>
                  <a:cubicBezTo>
                    <a:pt x="901" y="431"/>
                    <a:pt x="889" y="440"/>
                    <a:pt x="879" y="451"/>
                  </a:cubicBezTo>
                  <a:cubicBezTo>
                    <a:pt x="879" y="451"/>
                    <a:pt x="880" y="451"/>
                    <a:pt x="880" y="451"/>
                  </a:cubicBezTo>
                  <a:cubicBezTo>
                    <a:pt x="890" y="441"/>
                    <a:pt x="901" y="432"/>
                    <a:pt x="912" y="425"/>
                  </a:cubicBezTo>
                  <a:cubicBezTo>
                    <a:pt x="913" y="424"/>
                    <a:pt x="913" y="424"/>
                    <a:pt x="914" y="424"/>
                  </a:cubicBezTo>
                  <a:cubicBezTo>
                    <a:pt x="915" y="423"/>
                    <a:pt x="917" y="422"/>
                    <a:pt x="918" y="421"/>
                  </a:cubicBezTo>
                  <a:moveTo>
                    <a:pt x="1012" y="422"/>
                  </a:moveTo>
                  <a:cubicBezTo>
                    <a:pt x="1012" y="423"/>
                    <a:pt x="1013" y="424"/>
                    <a:pt x="1013" y="425"/>
                  </a:cubicBezTo>
                  <a:cubicBezTo>
                    <a:pt x="1013" y="426"/>
                    <a:pt x="1013" y="426"/>
                    <a:pt x="1013" y="426"/>
                  </a:cubicBezTo>
                  <a:cubicBezTo>
                    <a:pt x="1013" y="427"/>
                    <a:pt x="1013" y="427"/>
                    <a:pt x="1013" y="428"/>
                  </a:cubicBezTo>
                  <a:cubicBezTo>
                    <a:pt x="1013" y="428"/>
                    <a:pt x="1013" y="428"/>
                    <a:pt x="1013" y="429"/>
                  </a:cubicBezTo>
                  <a:cubicBezTo>
                    <a:pt x="1014" y="430"/>
                    <a:pt x="1014" y="432"/>
                    <a:pt x="1014" y="434"/>
                  </a:cubicBezTo>
                  <a:cubicBezTo>
                    <a:pt x="1014" y="437"/>
                    <a:pt x="1013" y="441"/>
                    <a:pt x="1013" y="445"/>
                  </a:cubicBezTo>
                  <a:cubicBezTo>
                    <a:pt x="1013" y="445"/>
                    <a:pt x="1013" y="446"/>
                    <a:pt x="1013" y="446"/>
                  </a:cubicBezTo>
                  <a:cubicBezTo>
                    <a:pt x="1012" y="447"/>
                    <a:pt x="1012" y="448"/>
                    <a:pt x="1012" y="449"/>
                  </a:cubicBezTo>
                  <a:cubicBezTo>
                    <a:pt x="1012" y="449"/>
                    <a:pt x="1012" y="450"/>
                    <a:pt x="1012" y="450"/>
                  </a:cubicBezTo>
                  <a:cubicBezTo>
                    <a:pt x="1011" y="453"/>
                    <a:pt x="1010" y="457"/>
                    <a:pt x="1009" y="461"/>
                  </a:cubicBezTo>
                  <a:cubicBezTo>
                    <a:pt x="1008" y="461"/>
                    <a:pt x="1008" y="462"/>
                    <a:pt x="1008" y="463"/>
                  </a:cubicBezTo>
                  <a:cubicBezTo>
                    <a:pt x="1008" y="463"/>
                    <a:pt x="1009" y="463"/>
                    <a:pt x="1009" y="463"/>
                  </a:cubicBezTo>
                  <a:cubicBezTo>
                    <a:pt x="1009" y="463"/>
                    <a:pt x="1009" y="462"/>
                    <a:pt x="1010" y="461"/>
                  </a:cubicBezTo>
                  <a:cubicBezTo>
                    <a:pt x="1011" y="457"/>
                    <a:pt x="1012" y="453"/>
                    <a:pt x="1013" y="450"/>
                  </a:cubicBezTo>
                  <a:cubicBezTo>
                    <a:pt x="1013" y="449"/>
                    <a:pt x="1013" y="449"/>
                    <a:pt x="1013" y="448"/>
                  </a:cubicBezTo>
                  <a:cubicBezTo>
                    <a:pt x="1013" y="447"/>
                    <a:pt x="1014" y="446"/>
                    <a:pt x="1014" y="445"/>
                  </a:cubicBezTo>
                  <a:cubicBezTo>
                    <a:pt x="1014" y="445"/>
                    <a:pt x="1014" y="444"/>
                    <a:pt x="1014" y="444"/>
                  </a:cubicBezTo>
                  <a:cubicBezTo>
                    <a:pt x="1014" y="440"/>
                    <a:pt x="1015" y="437"/>
                    <a:pt x="1015" y="434"/>
                  </a:cubicBezTo>
                  <a:cubicBezTo>
                    <a:pt x="1015" y="432"/>
                    <a:pt x="1015" y="431"/>
                    <a:pt x="1014" y="429"/>
                  </a:cubicBezTo>
                  <a:cubicBezTo>
                    <a:pt x="1014" y="429"/>
                    <a:pt x="1014" y="428"/>
                    <a:pt x="1014" y="428"/>
                  </a:cubicBezTo>
                  <a:cubicBezTo>
                    <a:pt x="1014" y="427"/>
                    <a:pt x="1014" y="426"/>
                    <a:pt x="1014" y="426"/>
                  </a:cubicBezTo>
                  <a:cubicBezTo>
                    <a:pt x="1014" y="425"/>
                    <a:pt x="1014" y="425"/>
                    <a:pt x="1014" y="424"/>
                  </a:cubicBezTo>
                  <a:cubicBezTo>
                    <a:pt x="1014" y="424"/>
                    <a:pt x="1013" y="423"/>
                    <a:pt x="1013" y="422"/>
                  </a:cubicBezTo>
                  <a:cubicBezTo>
                    <a:pt x="1013" y="422"/>
                    <a:pt x="1012" y="422"/>
                    <a:pt x="1012" y="422"/>
                  </a:cubicBezTo>
                  <a:moveTo>
                    <a:pt x="1623" y="428"/>
                  </a:moveTo>
                  <a:cubicBezTo>
                    <a:pt x="1621" y="430"/>
                    <a:pt x="1619" y="432"/>
                    <a:pt x="1617" y="434"/>
                  </a:cubicBezTo>
                  <a:cubicBezTo>
                    <a:pt x="1615" y="436"/>
                    <a:pt x="1614" y="438"/>
                    <a:pt x="1612" y="440"/>
                  </a:cubicBezTo>
                  <a:cubicBezTo>
                    <a:pt x="1611" y="441"/>
                    <a:pt x="1610" y="443"/>
                    <a:pt x="1609" y="445"/>
                  </a:cubicBezTo>
                  <a:cubicBezTo>
                    <a:pt x="1612" y="441"/>
                    <a:pt x="1615" y="438"/>
                    <a:pt x="1618" y="435"/>
                  </a:cubicBezTo>
                  <a:cubicBezTo>
                    <a:pt x="1618" y="435"/>
                    <a:pt x="1619" y="434"/>
                    <a:pt x="1619" y="434"/>
                  </a:cubicBezTo>
                  <a:cubicBezTo>
                    <a:pt x="1621" y="432"/>
                    <a:pt x="1622" y="430"/>
                    <a:pt x="1623" y="428"/>
                  </a:cubicBezTo>
                  <a:moveTo>
                    <a:pt x="1608" y="444"/>
                  </a:moveTo>
                  <a:cubicBezTo>
                    <a:pt x="1603" y="449"/>
                    <a:pt x="1598" y="455"/>
                    <a:pt x="1593" y="460"/>
                  </a:cubicBezTo>
                  <a:cubicBezTo>
                    <a:pt x="1592" y="462"/>
                    <a:pt x="1591" y="464"/>
                    <a:pt x="1589" y="466"/>
                  </a:cubicBezTo>
                  <a:cubicBezTo>
                    <a:pt x="1594" y="461"/>
                    <a:pt x="1599" y="455"/>
                    <a:pt x="1604" y="450"/>
                  </a:cubicBezTo>
                  <a:cubicBezTo>
                    <a:pt x="1605" y="448"/>
                    <a:pt x="1607" y="446"/>
                    <a:pt x="1608" y="444"/>
                  </a:cubicBezTo>
                  <a:moveTo>
                    <a:pt x="1136" y="447"/>
                  </a:moveTo>
                  <a:cubicBezTo>
                    <a:pt x="1136" y="447"/>
                    <a:pt x="1136" y="447"/>
                    <a:pt x="1135" y="447"/>
                  </a:cubicBezTo>
                  <a:cubicBezTo>
                    <a:pt x="1134" y="449"/>
                    <a:pt x="1134" y="451"/>
                    <a:pt x="1133" y="453"/>
                  </a:cubicBezTo>
                  <a:cubicBezTo>
                    <a:pt x="1129" y="462"/>
                    <a:pt x="1125" y="470"/>
                    <a:pt x="1121" y="477"/>
                  </a:cubicBezTo>
                  <a:cubicBezTo>
                    <a:pt x="1120" y="479"/>
                    <a:pt x="1119" y="481"/>
                    <a:pt x="1118" y="483"/>
                  </a:cubicBezTo>
                  <a:cubicBezTo>
                    <a:pt x="1117" y="485"/>
                    <a:pt x="1116" y="487"/>
                    <a:pt x="1115" y="489"/>
                  </a:cubicBezTo>
                  <a:cubicBezTo>
                    <a:pt x="1113" y="493"/>
                    <a:pt x="1111" y="496"/>
                    <a:pt x="1109" y="499"/>
                  </a:cubicBezTo>
                  <a:cubicBezTo>
                    <a:pt x="1109" y="500"/>
                    <a:pt x="1110" y="500"/>
                    <a:pt x="1110" y="500"/>
                  </a:cubicBezTo>
                  <a:cubicBezTo>
                    <a:pt x="1112" y="497"/>
                    <a:pt x="1114" y="493"/>
                    <a:pt x="1116" y="490"/>
                  </a:cubicBezTo>
                  <a:cubicBezTo>
                    <a:pt x="1118" y="486"/>
                    <a:pt x="1120" y="482"/>
                    <a:pt x="1122" y="477"/>
                  </a:cubicBezTo>
                  <a:cubicBezTo>
                    <a:pt x="1123" y="474"/>
                    <a:pt x="1125" y="471"/>
                    <a:pt x="1127" y="468"/>
                  </a:cubicBezTo>
                  <a:cubicBezTo>
                    <a:pt x="1130" y="462"/>
                    <a:pt x="1133" y="455"/>
                    <a:pt x="1136" y="448"/>
                  </a:cubicBezTo>
                  <a:cubicBezTo>
                    <a:pt x="1136" y="448"/>
                    <a:pt x="1137" y="447"/>
                    <a:pt x="1137" y="447"/>
                  </a:cubicBezTo>
                  <a:cubicBezTo>
                    <a:pt x="1137" y="447"/>
                    <a:pt x="1136" y="447"/>
                    <a:pt x="1136" y="447"/>
                  </a:cubicBezTo>
                  <a:moveTo>
                    <a:pt x="878" y="452"/>
                  </a:moveTo>
                  <a:cubicBezTo>
                    <a:pt x="875" y="456"/>
                    <a:pt x="872" y="459"/>
                    <a:pt x="869" y="463"/>
                  </a:cubicBezTo>
                  <a:cubicBezTo>
                    <a:pt x="869" y="464"/>
                    <a:pt x="868" y="464"/>
                    <a:pt x="868" y="465"/>
                  </a:cubicBezTo>
                  <a:cubicBezTo>
                    <a:pt x="867" y="466"/>
                    <a:pt x="867" y="467"/>
                    <a:pt x="866" y="468"/>
                  </a:cubicBezTo>
                  <a:cubicBezTo>
                    <a:pt x="866" y="468"/>
                    <a:pt x="865" y="469"/>
                    <a:pt x="865" y="469"/>
                  </a:cubicBezTo>
                  <a:cubicBezTo>
                    <a:pt x="864" y="470"/>
                    <a:pt x="863" y="472"/>
                    <a:pt x="862" y="473"/>
                  </a:cubicBezTo>
                  <a:cubicBezTo>
                    <a:pt x="862" y="474"/>
                    <a:pt x="861" y="475"/>
                    <a:pt x="861" y="476"/>
                  </a:cubicBezTo>
                  <a:cubicBezTo>
                    <a:pt x="860" y="478"/>
                    <a:pt x="859" y="480"/>
                    <a:pt x="858" y="481"/>
                  </a:cubicBezTo>
                  <a:cubicBezTo>
                    <a:pt x="858" y="481"/>
                    <a:pt x="858" y="481"/>
                    <a:pt x="859" y="481"/>
                  </a:cubicBezTo>
                  <a:cubicBezTo>
                    <a:pt x="859" y="481"/>
                    <a:pt x="859" y="480"/>
                    <a:pt x="860" y="480"/>
                  </a:cubicBezTo>
                  <a:cubicBezTo>
                    <a:pt x="860" y="479"/>
                    <a:pt x="861" y="478"/>
                    <a:pt x="861" y="477"/>
                  </a:cubicBezTo>
                  <a:cubicBezTo>
                    <a:pt x="863" y="475"/>
                    <a:pt x="864" y="473"/>
                    <a:pt x="865" y="471"/>
                  </a:cubicBezTo>
                  <a:cubicBezTo>
                    <a:pt x="865" y="470"/>
                    <a:pt x="866" y="470"/>
                    <a:pt x="866" y="469"/>
                  </a:cubicBezTo>
                  <a:cubicBezTo>
                    <a:pt x="866" y="468"/>
                    <a:pt x="867" y="468"/>
                    <a:pt x="868" y="467"/>
                  </a:cubicBezTo>
                  <a:cubicBezTo>
                    <a:pt x="868" y="466"/>
                    <a:pt x="868" y="466"/>
                    <a:pt x="869" y="465"/>
                  </a:cubicBezTo>
                  <a:cubicBezTo>
                    <a:pt x="872" y="461"/>
                    <a:pt x="876" y="456"/>
                    <a:pt x="879" y="452"/>
                  </a:cubicBezTo>
                  <a:cubicBezTo>
                    <a:pt x="879" y="452"/>
                    <a:pt x="878" y="452"/>
                    <a:pt x="878" y="452"/>
                  </a:cubicBezTo>
                  <a:moveTo>
                    <a:pt x="1008" y="464"/>
                  </a:moveTo>
                  <a:cubicBezTo>
                    <a:pt x="1007" y="467"/>
                    <a:pt x="1006" y="470"/>
                    <a:pt x="1006" y="472"/>
                  </a:cubicBezTo>
                  <a:cubicBezTo>
                    <a:pt x="1004" y="480"/>
                    <a:pt x="1003" y="486"/>
                    <a:pt x="1003" y="493"/>
                  </a:cubicBezTo>
                  <a:cubicBezTo>
                    <a:pt x="1003" y="493"/>
                    <a:pt x="1003" y="494"/>
                    <a:pt x="1003" y="495"/>
                  </a:cubicBezTo>
                  <a:cubicBezTo>
                    <a:pt x="1003" y="496"/>
                    <a:pt x="1003" y="498"/>
                    <a:pt x="1003" y="499"/>
                  </a:cubicBezTo>
                  <a:cubicBezTo>
                    <a:pt x="1003" y="501"/>
                    <a:pt x="1003" y="503"/>
                    <a:pt x="1003" y="504"/>
                  </a:cubicBezTo>
                  <a:cubicBezTo>
                    <a:pt x="1003" y="504"/>
                    <a:pt x="1004" y="504"/>
                    <a:pt x="1004" y="504"/>
                  </a:cubicBezTo>
                  <a:cubicBezTo>
                    <a:pt x="1004" y="503"/>
                    <a:pt x="1004" y="501"/>
                    <a:pt x="1004" y="499"/>
                  </a:cubicBezTo>
                  <a:cubicBezTo>
                    <a:pt x="1004" y="497"/>
                    <a:pt x="1004" y="495"/>
                    <a:pt x="1004" y="493"/>
                  </a:cubicBezTo>
                  <a:cubicBezTo>
                    <a:pt x="1004" y="492"/>
                    <a:pt x="1004" y="491"/>
                    <a:pt x="1004" y="491"/>
                  </a:cubicBezTo>
                  <a:cubicBezTo>
                    <a:pt x="1004" y="485"/>
                    <a:pt x="1005" y="479"/>
                    <a:pt x="1007" y="472"/>
                  </a:cubicBezTo>
                  <a:cubicBezTo>
                    <a:pt x="1007" y="470"/>
                    <a:pt x="1008" y="467"/>
                    <a:pt x="1009" y="464"/>
                  </a:cubicBezTo>
                  <a:cubicBezTo>
                    <a:pt x="1008" y="464"/>
                    <a:pt x="1008" y="464"/>
                    <a:pt x="1008" y="464"/>
                  </a:cubicBezTo>
                  <a:moveTo>
                    <a:pt x="1588" y="466"/>
                  </a:moveTo>
                  <a:cubicBezTo>
                    <a:pt x="1581" y="475"/>
                    <a:pt x="1573" y="484"/>
                    <a:pt x="1566" y="493"/>
                  </a:cubicBezTo>
                  <a:cubicBezTo>
                    <a:pt x="1567" y="492"/>
                    <a:pt x="1568" y="491"/>
                    <a:pt x="1569" y="490"/>
                  </a:cubicBezTo>
                  <a:cubicBezTo>
                    <a:pt x="1573" y="484"/>
                    <a:pt x="1578" y="479"/>
                    <a:pt x="1582" y="474"/>
                  </a:cubicBezTo>
                  <a:cubicBezTo>
                    <a:pt x="1584" y="471"/>
                    <a:pt x="1586" y="468"/>
                    <a:pt x="1588" y="466"/>
                  </a:cubicBezTo>
                  <a:moveTo>
                    <a:pt x="857" y="482"/>
                  </a:moveTo>
                  <a:cubicBezTo>
                    <a:pt x="855" y="488"/>
                    <a:pt x="852" y="494"/>
                    <a:pt x="851" y="499"/>
                  </a:cubicBezTo>
                  <a:cubicBezTo>
                    <a:pt x="851" y="498"/>
                    <a:pt x="852" y="497"/>
                    <a:pt x="853" y="496"/>
                  </a:cubicBezTo>
                  <a:cubicBezTo>
                    <a:pt x="854" y="492"/>
                    <a:pt x="856" y="487"/>
                    <a:pt x="858" y="482"/>
                  </a:cubicBezTo>
                  <a:cubicBezTo>
                    <a:pt x="858" y="482"/>
                    <a:pt x="858" y="482"/>
                    <a:pt x="857" y="482"/>
                  </a:cubicBezTo>
                  <a:moveTo>
                    <a:pt x="852" y="500"/>
                  </a:moveTo>
                  <a:cubicBezTo>
                    <a:pt x="851" y="501"/>
                    <a:pt x="851" y="502"/>
                    <a:pt x="850" y="503"/>
                  </a:cubicBezTo>
                  <a:cubicBezTo>
                    <a:pt x="850" y="505"/>
                    <a:pt x="849" y="507"/>
                    <a:pt x="849" y="509"/>
                  </a:cubicBezTo>
                  <a:cubicBezTo>
                    <a:pt x="849" y="509"/>
                    <a:pt x="849" y="510"/>
                    <a:pt x="848" y="511"/>
                  </a:cubicBezTo>
                  <a:cubicBezTo>
                    <a:pt x="849" y="511"/>
                    <a:pt x="849" y="510"/>
                    <a:pt x="850" y="510"/>
                  </a:cubicBezTo>
                  <a:cubicBezTo>
                    <a:pt x="850" y="509"/>
                    <a:pt x="850" y="509"/>
                    <a:pt x="850" y="509"/>
                  </a:cubicBezTo>
                  <a:cubicBezTo>
                    <a:pt x="850" y="506"/>
                    <a:pt x="851" y="503"/>
                    <a:pt x="852" y="500"/>
                  </a:cubicBezTo>
                  <a:moveTo>
                    <a:pt x="1109" y="500"/>
                  </a:moveTo>
                  <a:cubicBezTo>
                    <a:pt x="1108" y="502"/>
                    <a:pt x="1107" y="503"/>
                    <a:pt x="1106" y="505"/>
                  </a:cubicBezTo>
                  <a:cubicBezTo>
                    <a:pt x="1105" y="506"/>
                    <a:pt x="1104" y="508"/>
                    <a:pt x="1103" y="509"/>
                  </a:cubicBezTo>
                  <a:cubicBezTo>
                    <a:pt x="1106" y="506"/>
                    <a:pt x="1108" y="504"/>
                    <a:pt x="1109" y="501"/>
                  </a:cubicBezTo>
                  <a:cubicBezTo>
                    <a:pt x="1109" y="501"/>
                    <a:pt x="1109" y="500"/>
                    <a:pt x="1109" y="500"/>
                  </a:cubicBezTo>
                  <a:moveTo>
                    <a:pt x="1557" y="505"/>
                  </a:moveTo>
                  <a:cubicBezTo>
                    <a:pt x="1556" y="505"/>
                    <a:pt x="1556" y="506"/>
                    <a:pt x="1555" y="506"/>
                  </a:cubicBezTo>
                  <a:cubicBezTo>
                    <a:pt x="1555" y="506"/>
                    <a:pt x="1555" y="506"/>
                    <a:pt x="1555" y="507"/>
                  </a:cubicBezTo>
                  <a:cubicBezTo>
                    <a:pt x="1555" y="506"/>
                    <a:pt x="1555" y="506"/>
                    <a:pt x="1555" y="506"/>
                  </a:cubicBezTo>
                  <a:cubicBezTo>
                    <a:pt x="1556" y="506"/>
                    <a:pt x="1556" y="505"/>
                    <a:pt x="1557" y="505"/>
                  </a:cubicBezTo>
                  <a:moveTo>
                    <a:pt x="1003" y="505"/>
                  </a:moveTo>
                  <a:cubicBezTo>
                    <a:pt x="1004" y="515"/>
                    <a:pt x="1006" y="523"/>
                    <a:pt x="1009" y="529"/>
                  </a:cubicBezTo>
                  <a:cubicBezTo>
                    <a:pt x="1009" y="529"/>
                    <a:pt x="1009" y="528"/>
                    <a:pt x="1010" y="528"/>
                  </a:cubicBezTo>
                  <a:cubicBezTo>
                    <a:pt x="1007" y="522"/>
                    <a:pt x="1005" y="514"/>
                    <a:pt x="1004" y="505"/>
                  </a:cubicBezTo>
                  <a:cubicBezTo>
                    <a:pt x="1004" y="505"/>
                    <a:pt x="1003" y="505"/>
                    <a:pt x="1003" y="505"/>
                  </a:cubicBezTo>
                  <a:moveTo>
                    <a:pt x="1103" y="509"/>
                  </a:moveTo>
                  <a:cubicBezTo>
                    <a:pt x="1100" y="512"/>
                    <a:pt x="1098" y="515"/>
                    <a:pt x="1095" y="518"/>
                  </a:cubicBezTo>
                  <a:cubicBezTo>
                    <a:pt x="1095" y="519"/>
                    <a:pt x="1094" y="519"/>
                    <a:pt x="1094" y="520"/>
                  </a:cubicBezTo>
                  <a:cubicBezTo>
                    <a:pt x="1096" y="518"/>
                    <a:pt x="1098" y="515"/>
                    <a:pt x="1101" y="513"/>
                  </a:cubicBezTo>
                  <a:cubicBezTo>
                    <a:pt x="1101" y="512"/>
                    <a:pt x="1101" y="511"/>
                    <a:pt x="1102" y="511"/>
                  </a:cubicBezTo>
                  <a:cubicBezTo>
                    <a:pt x="1102" y="510"/>
                    <a:pt x="1102" y="509"/>
                    <a:pt x="1103" y="509"/>
                  </a:cubicBezTo>
                  <a:moveTo>
                    <a:pt x="849" y="512"/>
                  </a:moveTo>
                  <a:cubicBezTo>
                    <a:pt x="849" y="512"/>
                    <a:pt x="849" y="512"/>
                    <a:pt x="848" y="513"/>
                  </a:cubicBezTo>
                  <a:cubicBezTo>
                    <a:pt x="849" y="513"/>
                    <a:pt x="849" y="513"/>
                    <a:pt x="849" y="513"/>
                  </a:cubicBezTo>
                  <a:cubicBezTo>
                    <a:pt x="849" y="513"/>
                    <a:pt x="849" y="512"/>
                    <a:pt x="849" y="512"/>
                  </a:cubicBezTo>
                  <a:moveTo>
                    <a:pt x="848" y="514"/>
                  </a:moveTo>
                  <a:cubicBezTo>
                    <a:pt x="848" y="515"/>
                    <a:pt x="847" y="516"/>
                    <a:pt x="847" y="517"/>
                  </a:cubicBezTo>
                  <a:cubicBezTo>
                    <a:pt x="847" y="517"/>
                    <a:pt x="847" y="518"/>
                    <a:pt x="847" y="518"/>
                  </a:cubicBezTo>
                  <a:cubicBezTo>
                    <a:pt x="846" y="519"/>
                    <a:pt x="846" y="520"/>
                    <a:pt x="846" y="521"/>
                  </a:cubicBezTo>
                  <a:cubicBezTo>
                    <a:pt x="846" y="521"/>
                    <a:pt x="846" y="521"/>
                    <a:pt x="846" y="521"/>
                  </a:cubicBezTo>
                  <a:cubicBezTo>
                    <a:pt x="846" y="522"/>
                    <a:pt x="845" y="524"/>
                    <a:pt x="845" y="525"/>
                  </a:cubicBezTo>
                  <a:cubicBezTo>
                    <a:pt x="844" y="526"/>
                    <a:pt x="844" y="526"/>
                    <a:pt x="844" y="527"/>
                  </a:cubicBezTo>
                  <a:cubicBezTo>
                    <a:pt x="845" y="526"/>
                    <a:pt x="845" y="526"/>
                    <a:pt x="846" y="525"/>
                  </a:cubicBezTo>
                  <a:cubicBezTo>
                    <a:pt x="846" y="524"/>
                    <a:pt x="846" y="523"/>
                    <a:pt x="847" y="522"/>
                  </a:cubicBezTo>
                  <a:cubicBezTo>
                    <a:pt x="847" y="522"/>
                    <a:pt x="847" y="522"/>
                    <a:pt x="847" y="521"/>
                  </a:cubicBezTo>
                  <a:cubicBezTo>
                    <a:pt x="847" y="520"/>
                    <a:pt x="848" y="519"/>
                    <a:pt x="848" y="518"/>
                  </a:cubicBezTo>
                  <a:cubicBezTo>
                    <a:pt x="848" y="518"/>
                    <a:pt x="848" y="517"/>
                    <a:pt x="848" y="517"/>
                  </a:cubicBezTo>
                  <a:cubicBezTo>
                    <a:pt x="848" y="517"/>
                    <a:pt x="848" y="516"/>
                    <a:pt x="848" y="515"/>
                  </a:cubicBezTo>
                  <a:cubicBezTo>
                    <a:pt x="849" y="515"/>
                    <a:pt x="849" y="514"/>
                    <a:pt x="849" y="514"/>
                  </a:cubicBezTo>
                  <a:cubicBezTo>
                    <a:pt x="848" y="514"/>
                    <a:pt x="848" y="514"/>
                    <a:pt x="848" y="514"/>
                  </a:cubicBezTo>
                  <a:moveTo>
                    <a:pt x="1546" y="519"/>
                  </a:moveTo>
                  <a:cubicBezTo>
                    <a:pt x="1545" y="519"/>
                    <a:pt x="1545" y="520"/>
                    <a:pt x="1545" y="520"/>
                  </a:cubicBezTo>
                  <a:cubicBezTo>
                    <a:pt x="1538" y="530"/>
                    <a:pt x="1530" y="539"/>
                    <a:pt x="1524" y="549"/>
                  </a:cubicBezTo>
                  <a:cubicBezTo>
                    <a:pt x="1520" y="554"/>
                    <a:pt x="1517" y="560"/>
                    <a:pt x="1514" y="565"/>
                  </a:cubicBezTo>
                  <a:cubicBezTo>
                    <a:pt x="1518" y="560"/>
                    <a:pt x="1521" y="555"/>
                    <a:pt x="1524" y="550"/>
                  </a:cubicBezTo>
                  <a:cubicBezTo>
                    <a:pt x="1531" y="539"/>
                    <a:pt x="1538" y="529"/>
                    <a:pt x="1546" y="519"/>
                  </a:cubicBezTo>
                  <a:moveTo>
                    <a:pt x="1093" y="520"/>
                  </a:moveTo>
                  <a:cubicBezTo>
                    <a:pt x="1090" y="523"/>
                    <a:pt x="1087" y="525"/>
                    <a:pt x="1084" y="528"/>
                  </a:cubicBezTo>
                  <a:cubicBezTo>
                    <a:pt x="1084" y="528"/>
                    <a:pt x="1084" y="529"/>
                    <a:pt x="1083" y="529"/>
                  </a:cubicBezTo>
                  <a:cubicBezTo>
                    <a:pt x="1086" y="527"/>
                    <a:pt x="1089" y="525"/>
                    <a:pt x="1092" y="522"/>
                  </a:cubicBezTo>
                  <a:cubicBezTo>
                    <a:pt x="1092" y="521"/>
                    <a:pt x="1093" y="521"/>
                    <a:pt x="1093" y="520"/>
                  </a:cubicBezTo>
                  <a:moveTo>
                    <a:pt x="845" y="527"/>
                  </a:moveTo>
                  <a:cubicBezTo>
                    <a:pt x="844" y="528"/>
                    <a:pt x="844" y="529"/>
                    <a:pt x="843" y="529"/>
                  </a:cubicBezTo>
                  <a:cubicBezTo>
                    <a:pt x="842" y="531"/>
                    <a:pt x="842" y="533"/>
                    <a:pt x="841" y="536"/>
                  </a:cubicBezTo>
                  <a:cubicBezTo>
                    <a:pt x="839" y="538"/>
                    <a:pt x="838" y="541"/>
                    <a:pt x="836" y="544"/>
                  </a:cubicBezTo>
                  <a:cubicBezTo>
                    <a:pt x="836" y="546"/>
                    <a:pt x="835" y="547"/>
                    <a:pt x="834" y="548"/>
                  </a:cubicBezTo>
                  <a:cubicBezTo>
                    <a:pt x="835" y="547"/>
                    <a:pt x="836" y="547"/>
                    <a:pt x="837" y="546"/>
                  </a:cubicBezTo>
                  <a:cubicBezTo>
                    <a:pt x="838" y="543"/>
                    <a:pt x="839" y="541"/>
                    <a:pt x="841" y="538"/>
                  </a:cubicBezTo>
                  <a:cubicBezTo>
                    <a:pt x="841" y="537"/>
                    <a:pt x="841" y="537"/>
                    <a:pt x="841" y="537"/>
                  </a:cubicBezTo>
                  <a:cubicBezTo>
                    <a:pt x="841" y="536"/>
                    <a:pt x="841" y="536"/>
                    <a:pt x="841" y="536"/>
                  </a:cubicBezTo>
                  <a:cubicBezTo>
                    <a:pt x="843" y="533"/>
                    <a:pt x="844" y="531"/>
                    <a:pt x="844" y="528"/>
                  </a:cubicBezTo>
                  <a:cubicBezTo>
                    <a:pt x="845" y="528"/>
                    <a:pt x="845" y="528"/>
                    <a:pt x="845" y="527"/>
                  </a:cubicBezTo>
                  <a:moveTo>
                    <a:pt x="1083" y="529"/>
                  </a:moveTo>
                  <a:cubicBezTo>
                    <a:pt x="1079" y="531"/>
                    <a:pt x="1076" y="534"/>
                    <a:pt x="1073" y="536"/>
                  </a:cubicBezTo>
                  <a:cubicBezTo>
                    <a:pt x="1073" y="536"/>
                    <a:pt x="1073" y="537"/>
                    <a:pt x="1072" y="537"/>
                  </a:cubicBezTo>
                  <a:cubicBezTo>
                    <a:pt x="1076" y="535"/>
                    <a:pt x="1079" y="533"/>
                    <a:pt x="1082" y="531"/>
                  </a:cubicBezTo>
                  <a:cubicBezTo>
                    <a:pt x="1082" y="530"/>
                    <a:pt x="1082" y="529"/>
                    <a:pt x="1083" y="529"/>
                  </a:cubicBezTo>
                  <a:moveTo>
                    <a:pt x="1010" y="529"/>
                  </a:moveTo>
                  <a:cubicBezTo>
                    <a:pt x="1010" y="530"/>
                    <a:pt x="1010" y="530"/>
                    <a:pt x="1010" y="530"/>
                  </a:cubicBezTo>
                  <a:cubicBezTo>
                    <a:pt x="1017" y="542"/>
                    <a:pt x="1028" y="547"/>
                    <a:pt x="1040" y="547"/>
                  </a:cubicBezTo>
                  <a:cubicBezTo>
                    <a:pt x="1042" y="547"/>
                    <a:pt x="1044" y="547"/>
                    <a:pt x="1047" y="546"/>
                  </a:cubicBezTo>
                  <a:cubicBezTo>
                    <a:pt x="1047" y="546"/>
                    <a:pt x="1047" y="546"/>
                    <a:pt x="1047" y="545"/>
                  </a:cubicBezTo>
                  <a:cubicBezTo>
                    <a:pt x="1045" y="546"/>
                    <a:pt x="1042" y="546"/>
                    <a:pt x="1040" y="546"/>
                  </a:cubicBezTo>
                  <a:cubicBezTo>
                    <a:pt x="1028" y="546"/>
                    <a:pt x="1017" y="541"/>
                    <a:pt x="1010" y="529"/>
                  </a:cubicBezTo>
                  <a:moveTo>
                    <a:pt x="1072" y="536"/>
                  </a:moveTo>
                  <a:cubicBezTo>
                    <a:pt x="1070" y="537"/>
                    <a:pt x="1068" y="539"/>
                    <a:pt x="1066" y="539"/>
                  </a:cubicBezTo>
                  <a:cubicBezTo>
                    <a:pt x="1066" y="540"/>
                    <a:pt x="1066" y="540"/>
                    <a:pt x="1066" y="540"/>
                  </a:cubicBezTo>
                  <a:cubicBezTo>
                    <a:pt x="1068" y="539"/>
                    <a:pt x="1070" y="539"/>
                    <a:pt x="1071" y="538"/>
                  </a:cubicBezTo>
                  <a:cubicBezTo>
                    <a:pt x="1071" y="537"/>
                    <a:pt x="1071" y="537"/>
                    <a:pt x="1072" y="536"/>
                  </a:cubicBezTo>
                  <a:moveTo>
                    <a:pt x="1065" y="540"/>
                  </a:moveTo>
                  <a:cubicBezTo>
                    <a:pt x="1063" y="540"/>
                    <a:pt x="1062" y="541"/>
                    <a:pt x="1061" y="542"/>
                  </a:cubicBezTo>
                  <a:cubicBezTo>
                    <a:pt x="1061" y="542"/>
                    <a:pt x="1061" y="542"/>
                    <a:pt x="1061" y="543"/>
                  </a:cubicBezTo>
                  <a:cubicBezTo>
                    <a:pt x="1062" y="542"/>
                    <a:pt x="1064" y="541"/>
                    <a:pt x="1065" y="541"/>
                  </a:cubicBezTo>
                  <a:cubicBezTo>
                    <a:pt x="1065" y="540"/>
                    <a:pt x="1065" y="540"/>
                    <a:pt x="1065" y="540"/>
                  </a:cubicBezTo>
                  <a:moveTo>
                    <a:pt x="1060" y="542"/>
                  </a:moveTo>
                  <a:cubicBezTo>
                    <a:pt x="1058" y="543"/>
                    <a:pt x="1056" y="543"/>
                    <a:pt x="1055" y="544"/>
                  </a:cubicBezTo>
                  <a:cubicBezTo>
                    <a:pt x="1054" y="544"/>
                    <a:pt x="1053" y="544"/>
                    <a:pt x="1053" y="544"/>
                  </a:cubicBezTo>
                  <a:cubicBezTo>
                    <a:pt x="1051" y="545"/>
                    <a:pt x="1050" y="545"/>
                    <a:pt x="1048" y="545"/>
                  </a:cubicBezTo>
                  <a:cubicBezTo>
                    <a:pt x="1048" y="545"/>
                    <a:pt x="1048" y="546"/>
                    <a:pt x="1048" y="546"/>
                  </a:cubicBezTo>
                  <a:cubicBezTo>
                    <a:pt x="1049" y="546"/>
                    <a:pt x="1050" y="546"/>
                    <a:pt x="1052" y="545"/>
                  </a:cubicBezTo>
                  <a:cubicBezTo>
                    <a:pt x="1052" y="545"/>
                    <a:pt x="1053" y="545"/>
                    <a:pt x="1053" y="545"/>
                  </a:cubicBezTo>
                  <a:cubicBezTo>
                    <a:pt x="1055" y="544"/>
                    <a:pt x="1057" y="544"/>
                    <a:pt x="1059" y="543"/>
                  </a:cubicBezTo>
                  <a:cubicBezTo>
                    <a:pt x="1059" y="543"/>
                    <a:pt x="1060" y="542"/>
                    <a:pt x="1060" y="542"/>
                  </a:cubicBezTo>
                  <a:moveTo>
                    <a:pt x="835" y="549"/>
                  </a:moveTo>
                  <a:cubicBezTo>
                    <a:pt x="834" y="550"/>
                    <a:pt x="834" y="550"/>
                    <a:pt x="833" y="551"/>
                  </a:cubicBezTo>
                  <a:cubicBezTo>
                    <a:pt x="833" y="551"/>
                    <a:pt x="832" y="552"/>
                    <a:pt x="832" y="552"/>
                  </a:cubicBezTo>
                  <a:cubicBezTo>
                    <a:pt x="831" y="554"/>
                    <a:pt x="830" y="556"/>
                    <a:pt x="829" y="559"/>
                  </a:cubicBezTo>
                  <a:cubicBezTo>
                    <a:pt x="829" y="559"/>
                    <a:pt x="829" y="559"/>
                    <a:pt x="829" y="559"/>
                  </a:cubicBezTo>
                  <a:cubicBezTo>
                    <a:pt x="831" y="557"/>
                    <a:pt x="832" y="554"/>
                    <a:pt x="834" y="551"/>
                  </a:cubicBezTo>
                  <a:cubicBezTo>
                    <a:pt x="834" y="550"/>
                    <a:pt x="835" y="550"/>
                    <a:pt x="835" y="549"/>
                  </a:cubicBezTo>
                  <a:moveTo>
                    <a:pt x="827" y="560"/>
                  </a:moveTo>
                  <a:cubicBezTo>
                    <a:pt x="826" y="563"/>
                    <a:pt x="824" y="565"/>
                    <a:pt x="823" y="567"/>
                  </a:cubicBezTo>
                  <a:cubicBezTo>
                    <a:pt x="822" y="568"/>
                    <a:pt x="821" y="570"/>
                    <a:pt x="821" y="572"/>
                  </a:cubicBezTo>
                  <a:cubicBezTo>
                    <a:pt x="821" y="571"/>
                    <a:pt x="821" y="571"/>
                    <a:pt x="821" y="571"/>
                  </a:cubicBezTo>
                  <a:cubicBezTo>
                    <a:pt x="823" y="568"/>
                    <a:pt x="825" y="564"/>
                    <a:pt x="827" y="560"/>
                  </a:cubicBezTo>
                  <a:moveTo>
                    <a:pt x="828" y="561"/>
                  </a:moveTo>
                  <a:cubicBezTo>
                    <a:pt x="828" y="561"/>
                    <a:pt x="828" y="561"/>
                    <a:pt x="828" y="561"/>
                  </a:cubicBezTo>
                  <a:cubicBezTo>
                    <a:pt x="828" y="561"/>
                    <a:pt x="828" y="561"/>
                    <a:pt x="828" y="561"/>
                  </a:cubicBezTo>
                  <a:close/>
                  <a:moveTo>
                    <a:pt x="1513" y="564"/>
                  </a:moveTo>
                  <a:cubicBezTo>
                    <a:pt x="1508" y="573"/>
                    <a:pt x="1502" y="582"/>
                    <a:pt x="1496" y="590"/>
                  </a:cubicBezTo>
                  <a:cubicBezTo>
                    <a:pt x="1495" y="593"/>
                    <a:pt x="1494" y="595"/>
                    <a:pt x="1493" y="597"/>
                  </a:cubicBezTo>
                  <a:cubicBezTo>
                    <a:pt x="1497" y="590"/>
                    <a:pt x="1502" y="583"/>
                    <a:pt x="1507" y="575"/>
                  </a:cubicBezTo>
                  <a:cubicBezTo>
                    <a:pt x="1509" y="571"/>
                    <a:pt x="1511" y="568"/>
                    <a:pt x="1513" y="564"/>
                  </a:cubicBezTo>
                  <a:moveTo>
                    <a:pt x="820" y="571"/>
                  </a:moveTo>
                  <a:cubicBezTo>
                    <a:pt x="820" y="571"/>
                    <a:pt x="820" y="571"/>
                    <a:pt x="820" y="571"/>
                  </a:cubicBezTo>
                  <a:cubicBezTo>
                    <a:pt x="819" y="572"/>
                    <a:pt x="819" y="572"/>
                    <a:pt x="819" y="572"/>
                  </a:cubicBezTo>
                  <a:cubicBezTo>
                    <a:pt x="818" y="574"/>
                    <a:pt x="816" y="576"/>
                    <a:pt x="815" y="578"/>
                  </a:cubicBezTo>
                  <a:cubicBezTo>
                    <a:pt x="815" y="578"/>
                    <a:pt x="815" y="578"/>
                    <a:pt x="814" y="579"/>
                  </a:cubicBezTo>
                  <a:cubicBezTo>
                    <a:pt x="815" y="578"/>
                    <a:pt x="816" y="577"/>
                    <a:pt x="817" y="576"/>
                  </a:cubicBezTo>
                  <a:cubicBezTo>
                    <a:pt x="818" y="574"/>
                    <a:pt x="819" y="573"/>
                    <a:pt x="820" y="571"/>
                  </a:cubicBezTo>
                  <a:moveTo>
                    <a:pt x="813" y="581"/>
                  </a:moveTo>
                  <a:cubicBezTo>
                    <a:pt x="812" y="581"/>
                    <a:pt x="812" y="582"/>
                    <a:pt x="811" y="582"/>
                  </a:cubicBezTo>
                  <a:cubicBezTo>
                    <a:pt x="812" y="582"/>
                    <a:pt x="812" y="581"/>
                    <a:pt x="812" y="581"/>
                  </a:cubicBezTo>
                  <a:cubicBezTo>
                    <a:pt x="812" y="581"/>
                    <a:pt x="813" y="581"/>
                    <a:pt x="813" y="581"/>
                  </a:cubicBezTo>
                  <a:moveTo>
                    <a:pt x="811" y="584"/>
                  </a:moveTo>
                  <a:cubicBezTo>
                    <a:pt x="809" y="586"/>
                    <a:pt x="808" y="588"/>
                    <a:pt x="806" y="590"/>
                  </a:cubicBezTo>
                  <a:cubicBezTo>
                    <a:pt x="806" y="590"/>
                    <a:pt x="806" y="590"/>
                    <a:pt x="806" y="590"/>
                  </a:cubicBezTo>
                  <a:cubicBezTo>
                    <a:pt x="807" y="589"/>
                    <a:pt x="809" y="587"/>
                    <a:pt x="810" y="586"/>
                  </a:cubicBezTo>
                  <a:cubicBezTo>
                    <a:pt x="810" y="585"/>
                    <a:pt x="810" y="585"/>
                    <a:pt x="811" y="585"/>
                  </a:cubicBezTo>
                  <a:cubicBezTo>
                    <a:pt x="811" y="585"/>
                    <a:pt x="811" y="585"/>
                    <a:pt x="811" y="584"/>
                  </a:cubicBezTo>
                  <a:cubicBezTo>
                    <a:pt x="811" y="584"/>
                    <a:pt x="811" y="584"/>
                    <a:pt x="811" y="584"/>
                  </a:cubicBezTo>
                  <a:moveTo>
                    <a:pt x="805" y="590"/>
                  </a:moveTo>
                  <a:cubicBezTo>
                    <a:pt x="804" y="592"/>
                    <a:pt x="802" y="594"/>
                    <a:pt x="800" y="596"/>
                  </a:cubicBezTo>
                  <a:cubicBezTo>
                    <a:pt x="800" y="596"/>
                    <a:pt x="799" y="596"/>
                    <a:pt x="799" y="597"/>
                  </a:cubicBezTo>
                  <a:cubicBezTo>
                    <a:pt x="798" y="598"/>
                    <a:pt x="797" y="599"/>
                    <a:pt x="796" y="600"/>
                  </a:cubicBezTo>
                  <a:cubicBezTo>
                    <a:pt x="797" y="599"/>
                    <a:pt x="798" y="599"/>
                    <a:pt x="799" y="598"/>
                  </a:cubicBezTo>
                  <a:cubicBezTo>
                    <a:pt x="799" y="598"/>
                    <a:pt x="799" y="598"/>
                    <a:pt x="799" y="598"/>
                  </a:cubicBezTo>
                  <a:cubicBezTo>
                    <a:pt x="799" y="598"/>
                    <a:pt x="800" y="597"/>
                    <a:pt x="800" y="597"/>
                  </a:cubicBezTo>
                  <a:cubicBezTo>
                    <a:pt x="800" y="597"/>
                    <a:pt x="800" y="597"/>
                    <a:pt x="800" y="597"/>
                  </a:cubicBezTo>
                  <a:cubicBezTo>
                    <a:pt x="802" y="594"/>
                    <a:pt x="803" y="592"/>
                    <a:pt x="805" y="590"/>
                  </a:cubicBezTo>
                  <a:cubicBezTo>
                    <a:pt x="805" y="590"/>
                    <a:pt x="805" y="590"/>
                    <a:pt x="805" y="590"/>
                  </a:cubicBezTo>
                  <a:moveTo>
                    <a:pt x="1492" y="596"/>
                  </a:moveTo>
                  <a:cubicBezTo>
                    <a:pt x="1487" y="604"/>
                    <a:pt x="1482" y="612"/>
                    <a:pt x="1477" y="620"/>
                  </a:cubicBezTo>
                  <a:cubicBezTo>
                    <a:pt x="1476" y="622"/>
                    <a:pt x="1476" y="623"/>
                    <a:pt x="1475" y="624"/>
                  </a:cubicBezTo>
                  <a:cubicBezTo>
                    <a:pt x="1480" y="617"/>
                    <a:pt x="1484" y="610"/>
                    <a:pt x="1489" y="603"/>
                  </a:cubicBezTo>
                  <a:cubicBezTo>
                    <a:pt x="1490" y="600"/>
                    <a:pt x="1491" y="598"/>
                    <a:pt x="1492" y="596"/>
                  </a:cubicBezTo>
                  <a:moveTo>
                    <a:pt x="797" y="600"/>
                  </a:moveTo>
                  <a:cubicBezTo>
                    <a:pt x="796" y="601"/>
                    <a:pt x="795" y="601"/>
                    <a:pt x="794" y="602"/>
                  </a:cubicBezTo>
                  <a:cubicBezTo>
                    <a:pt x="792" y="604"/>
                    <a:pt x="790" y="606"/>
                    <a:pt x="788" y="608"/>
                  </a:cubicBezTo>
                  <a:cubicBezTo>
                    <a:pt x="789" y="608"/>
                    <a:pt x="790" y="608"/>
                    <a:pt x="790" y="608"/>
                  </a:cubicBezTo>
                  <a:cubicBezTo>
                    <a:pt x="792" y="605"/>
                    <a:pt x="795" y="603"/>
                    <a:pt x="797" y="600"/>
                  </a:cubicBezTo>
                  <a:moveTo>
                    <a:pt x="789" y="609"/>
                  </a:moveTo>
                  <a:cubicBezTo>
                    <a:pt x="788" y="609"/>
                    <a:pt x="788" y="609"/>
                    <a:pt x="787" y="609"/>
                  </a:cubicBezTo>
                  <a:cubicBezTo>
                    <a:pt x="787" y="610"/>
                    <a:pt x="786" y="610"/>
                    <a:pt x="786" y="611"/>
                  </a:cubicBezTo>
                  <a:cubicBezTo>
                    <a:pt x="782" y="614"/>
                    <a:pt x="779" y="617"/>
                    <a:pt x="775" y="621"/>
                  </a:cubicBezTo>
                  <a:cubicBezTo>
                    <a:pt x="775" y="621"/>
                    <a:pt x="774" y="622"/>
                    <a:pt x="774" y="622"/>
                  </a:cubicBezTo>
                  <a:cubicBezTo>
                    <a:pt x="772" y="624"/>
                    <a:pt x="770" y="626"/>
                    <a:pt x="768" y="627"/>
                  </a:cubicBezTo>
                  <a:cubicBezTo>
                    <a:pt x="768" y="628"/>
                    <a:pt x="768" y="628"/>
                    <a:pt x="768" y="628"/>
                  </a:cubicBezTo>
                  <a:cubicBezTo>
                    <a:pt x="770" y="627"/>
                    <a:pt x="771" y="626"/>
                    <a:pt x="772" y="625"/>
                  </a:cubicBezTo>
                  <a:cubicBezTo>
                    <a:pt x="773" y="624"/>
                    <a:pt x="774" y="624"/>
                    <a:pt x="774" y="623"/>
                  </a:cubicBezTo>
                  <a:cubicBezTo>
                    <a:pt x="778" y="620"/>
                    <a:pt x="782" y="616"/>
                    <a:pt x="785" y="613"/>
                  </a:cubicBezTo>
                  <a:cubicBezTo>
                    <a:pt x="786" y="612"/>
                    <a:pt x="786" y="612"/>
                    <a:pt x="787" y="611"/>
                  </a:cubicBezTo>
                  <a:cubicBezTo>
                    <a:pt x="787" y="610"/>
                    <a:pt x="788" y="610"/>
                    <a:pt x="789" y="609"/>
                  </a:cubicBezTo>
                  <a:moveTo>
                    <a:pt x="1474" y="624"/>
                  </a:moveTo>
                  <a:cubicBezTo>
                    <a:pt x="1469" y="631"/>
                    <a:pt x="1465" y="639"/>
                    <a:pt x="1460" y="646"/>
                  </a:cubicBezTo>
                  <a:cubicBezTo>
                    <a:pt x="1460" y="647"/>
                    <a:pt x="1460" y="648"/>
                    <a:pt x="1459" y="649"/>
                  </a:cubicBezTo>
                  <a:cubicBezTo>
                    <a:pt x="1464" y="642"/>
                    <a:pt x="1468" y="635"/>
                    <a:pt x="1473" y="628"/>
                  </a:cubicBezTo>
                  <a:cubicBezTo>
                    <a:pt x="1473" y="627"/>
                    <a:pt x="1474" y="625"/>
                    <a:pt x="1474" y="624"/>
                  </a:cubicBezTo>
                  <a:moveTo>
                    <a:pt x="767" y="628"/>
                  </a:moveTo>
                  <a:cubicBezTo>
                    <a:pt x="767" y="628"/>
                    <a:pt x="767" y="629"/>
                    <a:pt x="766" y="629"/>
                  </a:cubicBezTo>
                  <a:cubicBezTo>
                    <a:pt x="766" y="629"/>
                    <a:pt x="766" y="629"/>
                    <a:pt x="765" y="630"/>
                  </a:cubicBezTo>
                  <a:cubicBezTo>
                    <a:pt x="764" y="631"/>
                    <a:pt x="763" y="631"/>
                    <a:pt x="762" y="632"/>
                  </a:cubicBezTo>
                  <a:cubicBezTo>
                    <a:pt x="763" y="632"/>
                    <a:pt x="763" y="632"/>
                    <a:pt x="764" y="633"/>
                  </a:cubicBezTo>
                  <a:cubicBezTo>
                    <a:pt x="764" y="632"/>
                    <a:pt x="765" y="632"/>
                    <a:pt x="765" y="631"/>
                  </a:cubicBezTo>
                  <a:cubicBezTo>
                    <a:pt x="766" y="631"/>
                    <a:pt x="766" y="631"/>
                    <a:pt x="766" y="630"/>
                  </a:cubicBezTo>
                  <a:cubicBezTo>
                    <a:pt x="767" y="630"/>
                    <a:pt x="767" y="630"/>
                    <a:pt x="767" y="629"/>
                  </a:cubicBezTo>
                  <a:cubicBezTo>
                    <a:pt x="767" y="629"/>
                    <a:pt x="767" y="628"/>
                    <a:pt x="767" y="628"/>
                  </a:cubicBezTo>
                  <a:moveTo>
                    <a:pt x="761" y="633"/>
                  </a:moveTo>
                  <a:cubicBezTo>
                    <a:pt x="759" y="635"/>
                    <a:pt x="756" y="638"/>
                    <a:pt x="753" y="640"/>
                  </a:cubicBezTo>
                  <a:cubicBezTo>
                    <a:pt x="753" y="640"/>
                    <a:pt x="753" y="640"/>
                    <a:pt x="753" y="641"/>
                  </a:cubicBezTo>
                  <a:cubicBezTo>
                    <a:pt x="750" y="643"/>
                    <a:pt x="747" y="645"/>
                    <a:pt x="744" y="648"/>
                  </a:cubicBezTo>
                  <a:cubicBezTo>
                    <a:pt x="743" y="649"/>
                    <a:pt x="743" y="649"/>
                    <a:pt x="742" y="650"/>
                  </a:cubicBezTo>
                  <a:cubicBezTo>
                    <a:pt x="742" y="650"/>
                    <a:pt x="743" y="650"/>
                    <a:pt x="743" y="649"/>
                  </a:cubicBezTo>
                  <a:cubicBezTo>
                    <a:pt x="747" y="647"/>
                    <a:pt x="750" y="644"/>
                    <a:pt x="753" y="642"/>
                  </a:cubicBezTo>
                  <a:cubicBezTo>
                    <a:pt x="753" y="641"/>
                    <a:pt x="753" y="641"/>
                    <a:pt x="754" y="641"/>
                  </a:cubicBezTo>
                  <a:cubicBezTo>
                    <a:pt x="757" y="638"/>
                    <a:pt x="760" y="636"/>
                    <a:pt x="763" y="633"/>
                  </a:cubicBezTo>
                  <a:cubicBezTo>
                    <a:pt x="762" y="633"/>
                    <a:pt x="762" y="633"/>
                    <a:pt x="761" y="633"/>
                  </a:cubicBezTo>
                  <a:moveTo>
                    <a:pt x="1458" y="649"/>
                  </a:moveTo>
                  <a:cubicBezTo>
                    <a:pt x="1454" y="656"/>
                    <a:pt x="1449" y="663"/>
                    <a:pt x="1445" y="670"/>
                  </a:cubicBezTo>
                  <a:cubicBezTo>
                    <a:pt x="1445" y="671"/>
                    <a:pt x="1445" y="672"/>
                    <a:pt x="1445" y="673"/>
                  </a:cubicBezTo>
                  <a:cubicBezTo>
                    <a:pt x="1449" y="666"/>
                    <a:pt x="1453" y="659"/>
                    <a:pt x="1458" y="652"/>
                  </a:cubicBezTo>
                  <a:cubicBezTo>
                    <a:pt x="1458" y="651"/>
                    <a:pt x="1458" y="650"/>
                    <a:pt x="1458" y="649"/>
                  </a:cubicBezTo>
                  <a:moveTo>
                    <a:pt x="741" y="650"/>
                  </a:moveTo>
                  <a:cubicBezTo>
                    <a:pt x="740" y="650"/>
                    <a:pt x="739" y="651"/>
                    <a:pt x="739" y="652"/>
                  </a:cubicBezTo>
                  <a:cubicBezTo>
                    <a:pt x="738" y="652"/>
                    <a:pt x="738" y="652"/>
                    <a:pt x="738" y="652"/>
                  </a:cubicBezTo>
                  <a:cubicBezTo>
                    <a:pt x="737" y="653"/>
                    <a:pt x="737" y="653"/>
                    <a:pt x="736" y="654"/>
                  </a:cubicBezTo>
                  <a:cubicBezTo>
                    <a:pt x="734" y="655"/>
                    <a:pt x="731" y="657"/>
                    <a:pt x="729" y="659"/>
                  </a:cubicBezTo>
                  <a:cubicBezTo>
                    <a:pt x="728" y="659"/>
                    <a:pt x="728" y="660"/>
                    <a:pt x="727" y="660"/>
                  </a:cubicBezTo>
                  <a:cubicBezTo>
                    <a:pt x="726" y="661"/>
                    <a:pt x="726" y="661"/>
                    <a:pt x="725" y="662"/>
                  </a:cubicBezTo>
                  <a:cubicBezTo>
                    <a:pt x="725" y="662"/>
                    <a:pt x="726" y="662"/>
                    <a:pt x="726" y="662"/>
                  </a:cubicBezTo>
                  <a:cubicBezTo>
                    <a:pt x="727" y="662"/>
                    <a:pt x="727" y="661"/>
                    <a:pt x="728" y="661"/>
                  </a:cubicBezTo>
                  <a:cubicBezTo>
                    <a:pt x="730" y="659"/>
                    <a:pt x="732" y="658"/>
                    <a:pt x="734" y="656"/>
                  </a:cubicBezTo>
                  <a:cubicBezTo>
                    <a:pt x="735" y="656"/>
                    <a:pt x="736" y="655"/>
                    <a:pt x="737" y="654"/>
                  </a:cubicBezTo>
                  <a:cubicBezTo>
                    <a:pt x="738" y="654"/>
                    <a:pt x="739" y="653"/>
                    <a:pt x="739" y="652"/>
                  </a:cubicBezTo>
                  <a:cubicBezTo>
                    <a:pt x="740" y="652"/>
                    <a:pt x="741" y="651"/>
                    <a:pt x="741" y="650"/>
                  </a:cubicBezTo>
                  <a:moveTo>
                    <a:pt x="724" y="663"/>
                  </a:moveTo>
                  <a:cubicBezTo>
                    <a:pt x="723" y="663"/>
                    <a:pt x="722" y="664"/>
                    <a:pt x="721" y="665"/>
                  </a:cubicBezTo>
                  <a:cubicBezTo>
                    <a:pt x="721" y="665"/>
                    <a:pt x="721" y="665"/>
                    <a:pt x="720" y="665"/>
                  </a:cubicBezTo>
                  <a:cubicBezTo>
                    <a:pt x="720" y="665"/>
                    <a:pt x="720" y="665"/>
                    <a:pt x="720" y="665"/>
                  </a:cubicBezTo>
                  <a:cubicBezTo>
                    <a:pt x="717" y="667"/>
                    <a:pt x="715" y="669"/>
                    <a:pt x="712" y="671"/>
                  </a:cubicBezTo>
                  <a:cubicBezTo>
                    <a:pt x="712" y="671"/>
                    <a:pt x="712" y="672"/>
                    <a:pt x="712" y="672"/>
                  </a:cubicBezTo>
                  <a:cubicBezTo>
                    <a:pt x="715" y="670"/>
                    <a:pt x="718" y="668"/>
                    <a:pt x="721" y="666"/>
                  </a:cubicBezTo>
                  <a:cubicBezTo>
                    <a:pt x="722" y="665"/>
                    <a:pt x="722" y="665"/>
                    <a:pt x="722" y="665"/>
                  </a:cubicBezTo>
                  <a:cubicBezTo>
                    <a:pt x="723" y="664"/>
                    <a:pt x="724" y="664"/>
                    <a:pt x="725" y="663"/>
                  </a:cubicBezTo>
                  <a:cubicBezTo>
                    <a:pt x="725" y="663"/>
                    <a:pt x="724" y="663"/>
                    <a:pt x="724" y="663"/>
                  </a:cubicBezTo>
                  <a:moveTo>
                    <a:pt x="711" y="672"/>
                  </a:moveTo>
                  <a:cubicBezTo>
                    <a:pt x="709" y="673"/>
                    <a:pt x="707" y="674"/>
                    <a:pt x="705" y="675"/>
                  </a:cubicBezTo>
                  <a:cubicBezTo>
                    <a:pt x="704" y="676"/>
                    <a:pt x="702" y="677"/>
                    <a:pt x="701" y="678"/>
                  </a:cubicBezTo>
                  <a:cubicBezTo>
                    <a:pt x="695" y="682"/>
                    <a:pt x="688" y="686"/>
                    <a:pt x="682" y="690"/>
                  </a:cubicBezTo>
                  <a:cubicBezTo>
                    <a:pt x="682" y="690"/>
                    <a:pt x="682" y="691"/>
                    <a:pt x="683" y="691"/>
                  </a:cubicBezTo>
                  <a:cubicBezTo>
                    <a:pt x="688" y="688"/>
                    <a:pt x="693" y="685"/>
                    <a:pt x="698" y="682"/>
                  </a:cubicBezTo>
                  <a:cubicBezTo>
                    <a:pt x="699" y="681"/>
                    <a:pt x="700" y="680"/>
                    <a:pt x="702" y="679"/>
                  </a:cubicBezTo>
                  <a:cubicBezTo>
                    <a:pt x="705" y="677"/>
                    <a:pt x="708" y="675"/>
                    <a:pt x="711" y="673"/>
                  </a:cubicBezTo>
                  <a:cubicBezTo>
                    <a:pt x="711" y="672"/>
                    <a:pt x="711" y="672"/>
                    <a:pt x="711" y="672"/>
                  </a:cubicBezTo>
                  <a:moveTo>
                    <a:pt x="1444" y="672"/>
                  </a:moveTo>
                  <a:cubicBezTo>
                    <a:pt x="1431" y="693"/>
                    <a:pt x="1418" y="713"/>
                    <a:pt x="1405" y="732"/>
                  </a:cubicBezTo>
                  <a:cubicBezTo>
                    <a:pt x="1405" y="733"/>
                    <a:pt x="1405" y="733"/>
                    <a:pt x="1405" y="734"/>
                  </a:cubicBezTo>
                  <a:cubicBezTo>
                    <a:pt x="1418" y="715"/>
                    <a:pt x="1431" y="695"/>
                    <a:pt x="1443" y="675"/>
                  </a:cubicBezTo>
                  <a:cubicBezTo>
                    <a:pt x="1444" y="674"/>
                    <a:pt x="1444" y="673"/>
                    <a:pt x="1444" y="672"/>
                  </a:cubicBezTo>
                  <a:moveTo>
                    <a:pt x="681" y="691"/>
                  </a:moveTo>
                  <a:cubicBezTo>
                    <a:pt x="680" y="692"/>
                    <a:pt x="678" y="692"/>
                    <a:pt x="677" y="693"/>
                  </a:cubicBezTo>
                  <a:cubicBezTo>
                    <a:pt x="676" y="693"/>
                    <a:pt x="676" y="694"/>
                    <a:pt x="676" y="694"/>
                  </a:cubicBezTo>
                  <a:cubicBezTo>
                    <a:pt x="672" y="696"/>
                    <a:pt x="669" y="698"/>
                    <a:pt x="666" y="699"/>
                  </a:cubicBezTo>
                  <a:cubicBezTo>
                    <a:pt x="666" y="700"/>
                    <a:pt x="665" y="700"/>
                    <a:pt x="665" y="700"/>
                  </a:cubicBezTo>
                  <a:cubicBezTo>
                    <a:pt x="662" y="701"/>
                    <a:pt x="660" y="703"/>
                    <a:pt x="658" y="704"/>
                  </a:cubicBezTo>
                  <a:cubicBezTo>
                    <a:pt x="658" y="704"/>
                    <a:pt x="658" y="705"/>
                    <a:pt x="658" y="705"/>
                  </a:cubicBezTo>
                  <a:cubicBezTo>
                    <a:pt x="660" y="704"/>
                    <a:pt x="662" y="703"/>
                    <a:pt x="664" y="701"/>
                  </a:cubicBezTo>
                  <a:cubicBezTo>
                    <a:pt x="665" y="701"/>
                    <a:pt x="665" y="701"/>
                    <a:pt x="665" y="701"/>
                  </a:cubicBezTo>
                  <a:cubicBezTo>
                    <a:pt x="669" y="699"/>
                    <a:pt x="673" y="697"/>
                    <a:pt x="676" y="695"/>
                  </a:cubicBezTo>
                  <a:cubicBezTo>
                    <a:pt x="677" y="694"/>
                    <a:pt x="677" y="694"/>
                    <a:pt x="677" y="694"/>
                  </a:cubicBezTo>
                  <a:cubicBezTo>
                    <a:pt x="679" y="693"/>
                    <a:pt x="680" y="692"/>
                    <a:pt x="682" y="691"/>
                  </a:cubicBezTo>
                  <a:cubicBezTo>
                    <a:pt x="682" y="691"/>
                    <a:pt x="681" y="691"/>
                    <a:pt x="681" y="691"/>
                  </a:cubicBezTo>
                  <a:moveTo>
                    <a:pt x="657" y="704"/>
                  </a:moveTo>
                  <a:cubicBezTo>
                    <a:pt x="656" y="705"/>
                    <a:pt x="655" y="705"/>
                    <a:pt x="655" y="705"/>
                  </a:cubicBezTo>
                  <a:cubicBezTo>
                    <a:pt x="652" y="707"/>
                    <a:pt x="650" y="708"/>
                    <a:pt x="647" y="709"/>
                  </a:cubicBezTo>
                  <a:cubicBezTo>
                    <a:pt x="646" y="710"/>
                    <a:pt x="645" y="711"/>
                    <a:pt x="643" y="711"/>
                  </a:cubicBezTo>
                  <a:cubicBezTo>
                    <a:pt x="642" y="713"/>
                    <a:pt x="640" y="714"/>
                    <a:pt x="639" y="715"/>
                  </a:cubicBezTo>
                  <a:cubicBezTo>
                    <a:pt x="640" y="714"/>
                    <a:pt x="640" y="714"/>
                    <a:pt x="641" y="713"/>
                  </a:cubicBezTo>
                  <a:cubicBezTo>
                    <a:pt x="643" y="712"/>
                    <a:pt x="646" y="711"/>
                    <a:pt x="648" y="710"/>
                  </a:cubicBezTo>
                  <a:cubicBezTo>
                    <a:pt x="651" y="709"/>
                    <a:pt x="654" y="707"/>
                    <a:pt x="657" y="705"/>
                  </a:cubicBezTo>
                  <a:cubicBezTo>
                    <a:pt x="657" y="705"/>
                    <a:pt x="657" y="705"/>
                    <a:pt x="657" y="704"/>
                  </a:cubicBezTo>
                  <a:moveTo>
                    <a:pt x="638" y="714"/>
                  </a:moveTo>
                  <a:cubicBezTo>
                    <a:pt x="638" y="714"/>
                    <a:pt x="638" y="714"/>
                    <a:pt x="638" y="714"/>
                  </a:cubicBezTo>
                  <a:cubicBezTo>
                    <a:pt x="636" y="715"/>
                    <a:pt x="634" y="716"/>
                    <a:pt x="632" y="717"/>
                  </a:cubicBezTo>
                  <a:cubicBezTo>
                    <a:pt x="632" y="717"/>
                    <a:pt x="633" y="717"/>
                    <a:pt x="633" y="718"/>
                  </a:cubicBezTo>
                  <a:cubicBezTo>
                    <a:pt x="633" y="717"/>
                    <a:pt x="633" y="717"/>
                    <a:pt x="634" y="717"/>
                  </a:cubicBezTo>
                  <a:cubicBezTo>
                    <a:pt x="635" y="716"/>
                    <a:pt x="637" y="715"/>
                    <a:pt x="638" y="714"/>
                  </a:cubicBezTo>
                  <a:moveTo>
                    <a:pt x="631" y="717"/>
                  </a:moveTo>
                  <a:cubicBezTo>
                    <a:pt x="631" y="717"/>
                    <a:pt x="631" y="718"/>
                    <a:pt x="630" y="718"/>
                  </a:cubicBezTo>
                  <a:cubicBezTo>
                    <a:pt x="622" y="722"/>
                    <a:pt x="613" y="726"/>
                    <a:pt x="604" y="730"/>
                  </a:cubicBezTo>
                  <a:cubicBezTo>
                    <a:pt x="604" y="730"/>
                    <a:pt x="604" y="730"/>
                    <a:pt x="604" y="730"/>
                  </a:cubicBezTo>
                  <a:cubicBezTo>
                    <a:pt x="611" y="728"/>
                    <a:pt x="618" y="725"/>
                    <a:pt x="625" y="721"/>
                  </a:cubicBezTo>
                  <a:cubicBezTo>
                    <a:pt x="627" y="721"/>
                    <a:pt x="629" y="720"/>
                    <a:pt x="631" y="719"/>
                  </a:cubicBezTo>
                  <a:cubicBezTo>
                    <a:pt x="631" y="718"/>
                    <a:pt x="632" y="718"/>
                    <a:pt x="632" y="718"/>
                  </a:cubicBezTo>
                  <a:cubicBezTo>
                    <a:pt x="632" y="718"/>
                    <a:pt x="631" y="718"/>
                    <a:pt x="631" y="717"/>
                  </a:cubicBezTo>
                  <a:moveTo>
                    <a:pt x="603" y="730"/>
                  </a:moveTo>
                  <a:cubicBezTo>
                    <a:pt x="594" y="733"/>
                    <a:pt x="586" y="737"/>
                    <a:pt x="578" y="740"/>
                  </a:cubicBezTo>
                  <a:cubicBezTo>
                    <a:pt x="578" y="740"/>
                    <a:pt x="578" y="740"/>
                    <a:pt x="579" y="740"/>
                  </a:cubicBezTo>
                  <a:cubicBezTo>
                    <a:pt x="587" y="737"/>
                    <a:pt x="595" y="734"/>
                    <a:pt x="603" y="731"/>
                  </a:cubicBezTo>
                  <a:cubicBezTo>
                    <a:pt x="603" y="731"/>
                    <a:pt x="603" y="730"/>
                    <a:pt x="603" y="730"/>
                  </a:cubicBezTo>
                  <a:moveTo>
                    <a:pt x="1404" y="733"/>
                  </a:moveTo>
                  <a:cubicBezTo>
                    <a:pt x="1391" y="754"/>
                    <a:pt x="1378" y="773"/>
                    <a:pt x="1364" y="791"/>
                  </a:cubicBezTo>
                  <a:cubicBezTo>
                    <a:pt x="1364" y="791"/>
                    <a:pt x="1364" y="792"/>
                    <a:pt x="1364" y="792"/>
                  </a:cubicBezTo>
                  <a:cubicBezTo>
                    <a:pt x="1378" y="774"/>
                    <a:pt x="1391" y="755"/>
                    <a:pt x="1404" y="735"/>
                  </a:cubicBezTo>
                  <a:cubicBezTo>
                    <a:pt x="1404" y="735"/>
                    <a:pt x="1404" y="734"/>
                    <a:pt x="1404" y="733"/>
                  </a:cubicBezTo>
                  <a:moveTo>
                    <a:pt x="576" y="740"/>
                  </a:moveTo>
                  <a:cubicBezTo>
                    <a:pt x="571" y="742"/>
                    <a:pt x="566" y="744"/>
                    <a:pt x="561" y="745"/>
                  </a:cubicBezTo>
                  <a:cubicBezTo>
                    <a:pt x="560" y="746"/>
                    <a:pt x="558" y="747"/>
                    <a:pt x="557" y="747"/>
                  </a:cubicBezTo>
                  <a:cubicBezTo>
                    <a:pt x="564" y="745"/>
                    <a:pt x="571" y="743"/>
                    <a:pt x="578" y="741"/>
                  </a:cubicBezTo>
                  <a:cubicBezTo>
                    <a:pt x="577" y="740"/>
                    <a:pt x="577" y="740"/>
                    <a:pt x="576" y="740"/>
                  </a:cubicBezTo>
                  <a:moveTo>
                    <a:pt x="557" y="746"/>
                  </a:moveTo>
                  <a:cubicBezTo>
                    <a:pt x="554" y="747"/>
                    <a:pt x="551" y="748"/>
                    <a:pt x="547" y="749"/>
                  </a:cubicBezTo>
                  <a:cubicBezTo>
                    <a:pt x="548" y="749"/>
                    <a:pt x="548" y="750"/>
                    <a:pt x="548" y="750"/>
                  </a:cubicBezTo>
                  <a:cubicBezTo>
                    <a:pt x="550" y="749"/>
                    <a:pt x="552" y="749"/>
                    <a:pt x="554" y="748"/>
                  </a:cubicBezTo>
                  <a:cubicBezTo>
                    <a:pt x="555" y="748"/>
                    <a:pt x="556" y="747"/>
                    <a:pt x="557" y="746"/>
                  </a:cubicBezTo>
                  <a:moveTo>
                    <a:pt x="546" y="749"/>
                  </a:moveTo>
                  <a:cubicBezTo>
                    <a:pt x="535" y="753"/>
                    <a:pt x="523" y="755"/>
                    <a:pt x="511" y="757"/>
                  </a:cubicBezTo>
                  <a:cubicBezTo>
                    <a:pt x="512" y="758"/>
                    <a:pt x="513" y="758"/>
                    <a:pt x="514" y="758"/>
                  </a:cubicBezTo>
                  <a:cubicBezTo>
                    <a:pt x="525" y="756"/>
                    <a:pt x="536" y="753"/>
                    <a:pt x="547" y="750"/>
                  </a:cubicBezTo>
                  <a:cubicBezTo>
                    <a:pt x="547" y="750"/>
                    <a:pt x="547" y="750"/>
                    <a:pt x="546" y="749"/>
                  </a:cubicBezTo>
                  <a:moveTo>
                    <a:pt x="509" y="758"/>
                  </a:moveTo>
                  <a:cubicBezTo>
                    <a:pt x="508" y="758"/>
                    <a:pt x="508" y="758"/>
                    <a:pt x="507" y="758"/>
                  </a:cubicBezTo>
                  <a:cubicBezTo>
                    <a:pt x="507" y="759"/>
                    <a:pt x="506" y="759"/>
                    <a:pt x="505" y="760"/>
                  </a:cubicBezTo>
                  <a:cubicBezTo>
                    <a:pt x="507" y="759"/>
                    <a:pt x="509" y="759"/>
                    <a:pt x="511" y="758"/>
                  </a:cubicBezTo>
                  <a:cubicBezTo>
                    <a:pt x="510" y="758"/>
                    <a:pt x="510" y="758"/>
                    <a:pt x="509" y="758"/>
                  </a:cubicBezTo>
                  <a:moveTo>
                    <a:pt x="505" y="759"/>
                  </a:moveTo>
                  <a:cubicBezTo>
                    <a:pt x="498" y="760"/>
                    <a:pt x="492" y="760"/>
                    <a:pt x="486" y="761"/>
                  </a:cubicBezTo>
                  <a:cubicBezTo>
                    <a:pt x="486" y="761"/>
                    <a:pt x="486" y="762"/>
                    <a:pt x="487" y="762"/>
                  </a:cubicBezTo>
                  <a:cubicBezTo>
                    <a:pt x="492" y="761"/>
                    <a:pt x="497" y="761"/>
                    <a:pt x="502" y="760"/>
                  </a:cubicBezTo>
                  <a:cubicBezTo>
                    <a:pt x="503" y="760"/>
                    <a:pt x="504" y="759"/>
                    <a:pt x="505" y="759"/>
                  </a:cubicBezTo>
                  <a:moveTo>
                    <a:pt x="485" y="761"/>
                  </a:moveTo>
                  <a:cubicBezTo>
                    <a:pt x="480" y="762"/>
                    <a:pt x="474" y="762"/>
                    <a:pt x="468" y="763"/>
                  </a:cubicBezTo>
                  <a:cubicBezTo>
                    <a:pt x="467" y="763"/>
                    <a:pt x="467" y="764"/>
                    <a:pt x="466" y="764"/>
                  </a:cubicBezTo>
                  <a:cubicBezTo>
                    <a:pt x="473" y="763"/>
                    <a:pt x="479" y="763"/>
                    <a:pt x="485" y="762"/>
                  </a:cubicBezTo>
                  <a:cubicBezTo>
                    <a:pt x="485" y="762"/>
                    <a:pt x="485" y="762"/>
                    <a:pt x="485" y="761"/>
                  </a:cubicBezTo>
                  <a:moveTo>
                    <a:pt x="465" y="763"/>
                  </a:moveTo>
                  <a:cubicBezTo>
                    <a:pt x="456" y="764"/>
                    <a:pt x="446" y="765"/>
                    <a:pt x="435" y="767"/>
                  </a:cubicBezTo>
                  <a:cubicBezTo>
                    <a:pt x="435" y="767"/>
                    <a:pt x="434" y="767"/>
                    <a:pt x="433" y="768"/>
                  </a:cubicBezTo>
                  <a:cubicBezTo>
                    <a:pt x="444" y="767"/>
                    <a:pt x="454" y="765"/>
                    <a:pt x="463" y="764"/>
                  </a:cubicBezTo>
                  <a:cubicBezTo>
                    <a:pt x="464" y="764"/>
                    <a:pt x="465" y="764"/>
                    <a:pt x="465" y="763"/>
                  </a:cubicBezTo>
                  <a:moveTo>
                    <a:pt x="433" y="767"/>
                  </a:moveTo>
                  <a:cubicBezTo>
                    <a:pt x="425" y="768"/>
                    <a:pt x="417" y="769"/>
                    <a:pt x="408" y="770"/>
                  </a:cubicBezTo>
                  <a:cubicBezTo>
                    <a:pt x="408" y="770"/>
                    <a:pt x="408" y="770"/>
                    <a:pt x="407" y="770"/>
                  </a:cubicBezTo>
                  <a:cubicBezTo>
                    <a:pt x="406" y="770"/>
                    <a:pt x="406" y="771"/>
                    <a:pt x="405" y="771"/>
                  </a:cubicBezTo>
                  <a:cubicBezTo>
                    <a:pt x="405" y="771"/>
                    <a:pt x="405" y="771"/>
                    <a:pt x="405" y="771"/>
                  </a:cubicBezTo>
                  <a:cubicBezTo>
                    <a:pt x="406" y="771"/>
                    <a:pt x="406" y="771"/>
                    <a:pt x="407" y="771"/>
                  </a:cubicBezTo>
                  <a:cubicBezTo>
                    <a:pt x="415" y="770"/>
                    <a:pt x="423" y="769"/>
                    <a:pt x="430" y="768"/>
                  </a:cubicBezTo>
                  <a:cubicBezTo>
                    <a:pt x="431" y="768"/>
                    <a:pt x="432" y="767"/>
                    <a:pt x="433" y="767"/>
                  </a:cubicBezTo>
                  <a:moveTo>
                    <a:pt x="404" y="770"/>
                  </a:moveTo>
                  <a:cubicBezTo>
                    <a:pt x="404" y="770"/>
                    <a:pt x="403" y="770"/>
                    <a:pt x="402" y="770"/>
                  </a:cubicBezTo>
                  <a:cubicBezTo>
                    <a:pt x="402" y="771"/>
                    <a:pt x="401" y="771"/>
                    <a:pt x="401" y="771"/>
                  </a:cubicBezTo>
                  <a:cubicBezTo>
                    <a:pt x="398" y="771"/>
                    <a:pt x="395" y="771"/>
                    <a:pt x="392" y="772"/>
                  </a:cubicBezTo>
                  <a:cubicBezTo>
                    <a:pt x="392" y="772"/>
                    <a:pt x="391" y="772"/>
                    <a:pt x="390" y="772"/>
                  </a:cubicBezTo>
                  <a:cubicBezTo>
                    <a:pt x="389" y="772"/>
                    <a:pt x="389" y="772"/>
                    <a:pt x="388" y="772"/>
                  </a:cubicBezTo>
                  <a:cubicBezTo>
                    <a:pt x="387" y="773"/>
                    <a:pt x="385" y="773"/>
                    <a:pt x="384" y="774"/>
                  </a:cubicBezTo>
                  <a:cubicBezTo>
                    <a:pt x="386" y="773"/>
                    <a:pt x="387" y="773"/>
                    <a:pt x="389" y="773"/>
                  </a:cubicBezTo>
                  <a:cubicBezTo>
                    <a:pt x="389" y="773"/>
                    <a:pt x="390" y="773"/>
                    <a:pt x="391" y="773"/>
                  </a:cubicBezTo>
                  <a:cubicBezTo>
                    <a:pt x="394" y="772"/>
                    <a:pt x="396" y="772"/>
                    <a:pt x="399" y="772"/>
                  </a:cubicBezTo>
                  <a:cubicBezTo>
                    <a:pt x="400" y="772"/>
                    <a:pt x="400" y="772"/>
                    <a:pt x="401" y="772"/>
                  </a:cubicBezTo>
                  <a:cubicBezTo>
                    <a:pt x="401" y="772"/>
                    <a:pt x="401" y="772"/>
                    <a:pt x="402" y="771"/>
                  </a:cubicBezTo>
                  <a:cubicBezTo>
                    <a:pt x="403" y="771"/>
                    <a:pt x="403" y="771"/>
                    <a:pt x="404" y="770"/>
                  </a:cubicBezTo>
                  <a:moveTo>
                    <a:pt x="384" y="773"/>
                  </a:moveTo>
                  <a:cubicBezTo>
                    <a:pt x="382" y="773"/>
                    <a:pt x="381" y="773"/>
                    <a:pt x="379" y="773"/>
                  </a:cubicBezTo>
                  <a:cubicBezTo>
                    <a:pt x="378" y="773"/>
                    <a:pt x="378" y="773"/>
                    <a:pt x="377" y="774"/>
                  </a:cubicBezTo>
                  <a:cubicBezTo>
                    <a:pt x="368" y="775"/>
                    <a:pt x="359" y="776"/>
                    <a:pt x="349" y="777"/>
                  </a:cubicBezTo>
                  <a:cubicBezTo>
                    <a:pt x="348" y="777"/>
                    <a:pt x="347" y="777"/>
                    <a:pt x="346" y="778"/>
                  </a:cubicBezTo>
                  <a:cubicBezTo>
                    <a:pt x="344" y="778"/>
                    <a:pt x="341" y="778"/>
                    <a:pt x="338" y="779"/>
                  </a:cubicBezTo>
                  <a:cubicBezTo>
                    <a:pt x="337" y="779"/>
                    <a:pt x="335" y="779"/>
                    <a:pt x="333" y="779"/>
                  </a:cubicBezTo>
                  <a:cubicBezTo>
                    <a:pt x="330" y="780"/>
                    <a:pt x="326" y="780"/>
                    <a:pt x="322" y="781"/>
                  </a:cubicBezTo>
                  <a:cubicBezTo>
                    <a:pt x="322" y="781"/>
                    <a:pt x="321" y="781"/>
                    <a:pt x="321" y="781"/>
                  </a:cubicBezTo>
                  <a:cubicBezTo>
                    <a:pt x="320" y="781"/>
                    <a:pt x="319" y="781"/>
                    <a:pt x="318" y="782"/>
                  </a:cubicBezTo>
                  <a:cubicBezTo>
                    <a:pt x="317" y="782"/>
                    <a:pt x="317" y="782"/>
                    <a:pt x="316" y="782"/>
                  </a:cubicBezTo>
                  <a:cubicBezTo>
                    <a:pt x="313" y="782"/>
                    <a:pt x="311" y="783"/>
                    <a:pt x="309" y="783"/>
                  </a:cubicBezTo>
                  <a:cubicBezTo>
                    <a:pt x="308" y="783"/>
                    <a:pt x="307" y="783"/>
                    <a:pt x="306" y="783"/>
                  </a:cubicBezTo>
                  <a:cubicBezTo>
                    <a:pt x="305" y="783"/>
                    <a:pt x="305" y="784"/>
                    <a:pt x="304" y="784"/>
                  </a:cubicBezTo>
                  <a:cubicBezTo>
                    <a:pt x="301" y="784"/>
                    <a:pt x="297" y="785"/>
                    <a:pt x="294" y="785"/>
                  </a:cubicBezTo>
                  <a:cubicBezTo>
                    <a:pt x="293" y="785"/>
                    <a:pt x="292" y="785"/>
                    <a:pt x="292" y="786"/>
                  </a:cubicBezTo>
                  <a:cubicBezTo>
                    <a:pt x="283" y="787"/>
                    <a:pt x="275" y="788"/>
                    <a:pt x="266" y="790"/>
                  </a:cubicBezTo>
                  <a:cubicBezTo>
                    <a:pt x="265" y="790"/>
                    <a:pt x="265" y="790"/>
                    <a:pt x="264" y="790"/>
                  </a:cubicBezTo>
                  <a:cubicBezTo>
                    <a:pt x="260" y="791"/>
                    <a:pt x="255" y="791"/>
                    <a:pt x="251" y="792"/>
                  </a:cubicBezTo>
                  <a:cubicBezTo>
                    <a:pt x="251" y="792"/>
                    <a:pt x="250" y="792"/>
                    <a:pt x="250" y="792"/>
                  </a:cubicBezTo>
                  <a:cubicBezTo>
                    <a:pt x="239" y="794"/>
                    <a:pt x="229" y="796"/>
                    <a:pt x="218" y="798"/>
                  </a:cubicBezTo>
                  <a:cubicBezTo>
                    <a:pt x="217" y="798"/>
                    <a:pt x="217" y="799"/>
                    <a:pt x="216" y="799"/>
                  </a:cubicBezTo>
                  <a:cubicBezTo>
                    <a:pt x="206" y="801"/>
                    <a:pt x="196" y="803"/>
                    <a:pt x="187" y="805"/>
                  </a:cubicBezTo>
                  <a:cubicBezTo>
                    <a:pt x="186" y="805"/>
                    <a:pt x="186" y="805"/>
                    <a:pt x="185" y="805"/>
                  </a:cubicBezTo>
                  <a:cubicBezTo>
                    <a:pt x="184" y="805"/>
                    <a:pt x="182" y="805"/>
                    <a:pt x="181" y="806"/>
                  </a:cubicBezTo>
                  <a:cubicBezTo>
                    <a:pt x="180" y="806"/>
                    <a:pt x="179" y="806"/>
                    <a:pt x="179" y="806"/>
                  </a:cubicBezTo>
                  <a:cubicBezTo>
                    <a:pt x="166" y="809"/>
                    <a:pt x="153" y="812"/>
                    <a:pt x="141" y="815"/>
                  </a:cubicBezTo>
                  <a:cubicBezTo>
                    <a:pt x="141" y="815"/>
                    <a:pt x="140" y="815"/>
                    <a:pt x="140" y="816"/>
                  </a:cubicBezTo>
                  <a:cubicBezTo>
                    <a:pt x="131" y="818"/>
                    <a:pt x="123" y="820"/>
                    <a:pt x="115" y="822"/>
                  </a:cubicBezTo>
                  <a:cubicBezTo>
                    <a:pt x="115" y="822"/>
                    <a:pt x="114" y="823"/>
                    <a:pt x="113" y="823"/>
                  </a:cubicBezTo>
                  <a:cubicBezTo>
                    <a:pt x="109" y="824"/>
                    <a:pt x="105" y="825"/>
                    <a:pt x="102" y="826"/>
                  </a:cubicBezTo>
                  <a:cubicBezTo>
                    <a:pt x="101" y="826"/>
                    <a:pt x="101" y="827"/>
                    <a:pt x="100" y="827"/>
                  </a:cubicBezTo>
                  <a:cubicBezTo>
                    <a:pt x="98" y="828"/>
                    <a:pt x="95" y="828"/>
                    <a:pt x="93" y="829"/>
                  </a:cubicBezTo>
                  <a:cubicBezTo>
                    <a:pt x="92" y="829"/>
                    <a:pt x="92" y="829"/>
                    <a:pt x="92" y="830"/>
                  </a:cubicBezTo>
                  <a:cubicBezTo>
                    <a:pt x="92" y="830"/>
                    <a:pt x="91" y="830"/>
                    <a:pt x="91" y="830"/>
                  </a:cubicBezTo>
                  <a:cubicBezTo>
                    <a:pt x="91" y="830"/>
                    <a:pt x="91" y="830"/>
                    <a:pt x="91" y="830"/>
                  </a:cubicBezTo>
                  <a:cubicBezTo>
                    <a:pt x="90" y="830"/>
                    <a:pt x="88" y="831"/>
                    <a:pt x="87" y="831"/>
                  </a:cubicBezTo>
                  <a:cubicBezTo>
                    <a:pt x="87" y="831"/>
                    <a:pt x="87" y="831"/>
                    <a:pt x="86" y="831"/>
                  </a:cubicBezTo>
                  <a:cubicBezTo>
                    <a:pt x="86" y="832"/>
                    <a:pt x="85" y="832"/>
                    <a:pt x="84" y="832"/>
                  </a:cubicBezTo>
                  <a:cubicBezTo>
                    <a:pt x="84" y="832"/>
                    <a:pt x="84" y="832"/>
                    <a:pt x="83" y="832"/>
                  </a:cubicBezTo>
                  <a:cubicBezTo>
                    <a:pt x="83" y="832"/>
                    <a:pt x="83" y="833"/>
                    <a:pt x="83" y="833"/>
                  </a:cubicBezTo>
                  <a:cubicBezTo>
                    <a:pt x="82" y="833"/>
                    <a:pt x="82" y="833"/>
                    <a:pt x="82" y="833"/>
                  </a:cubicBezTo>
                  <a:cubicBezTo>
                    <a:pt x="81" y="833"/>
                    <a:pt x="81" y="833"/>
                    <a:pt x="81" y="833"/>
                  </a:cubicBezTo>
                  <a:cubicBezTo>
                    <a:pt x="80" y="834"/>
                    <a:pt x="80" y="834"/>
                    <a:pt x="79" y="834"/>
                  </a:cubicBezTo>
                  <a:cubicBezTo>
                    <a:pt x="79" y="834"/>
                    <a:pt x="78" y="834"/>
                    <a:pt x="78" y="835"/>
                  </a:cubicBezTo>
                  <a:cubicBezTo>
                    <a:pt x="77" y="835"/>
                    <a:pt x="77" y="835"/>
                    <a:pt x="76" y="835"/>
                  </a:cubicBezTo>
                  <a:cubicBezTo>
                    <a:pt x="76" y="835"/>
                    <a:pt x="75" y="836"/>
                    <a:pt x="74" y="836"/>
                  </a:cubicBezTo>
                  <a:cubicBezTo>
                    <a:pt x="73" y="836"/>
                    <a:pt x="73" y="836"/>
                    <a:pt x="73" y="836"/>
                  </a:cubicBezTo>
                  <a:cubicBezTo>
                    <a:pt x="70" y="837"/>
                    <a:pt x="67" y="839"/>
                    <a:pt x="64" y="840"/>
                  </a:cubicBezTo>
                  <a:cubicBezTo>
                    <a:pt x="64" y="840"/>
                    <a:pt x="64" y="840"/>
                    <a:pt x="64" y="840"/>
                  </a:cubicBezTo>
                  <a:cubicBezTo>
                    <a:pt x="63" y="840"/>
                    <a:pt x="63" y="840"/>
                    <a:pt x="63" y="840"/>
                  </a:cubicBezTo>
                  <a:cubicBezTo>
                    <a:pt x="63" y="840"/>
                    <a:pt x="63" y="840"/>
                    <a:pt x="63" y="840"/>
                  </a:cubicBezTo>
                  <a:cubicBezTo>
                    <a:pt x="62" y="841"/>
                    <a:pt x="62" y="841"/>
                    <a:pt x="61" y="841"/>
                  </a:cubicBezTo>
                  <a:cubicBezTo>
                    <a:pt x="61" y="841"/>
                    <a:pt x="60" y="842"/>
                    <a:pt x="59" y="842"/>
                  </a:cubicBezTo>
                  <a:cubicBezTo>
                    <a:pt x="58" y="842"/>
                    <a:pt x="58" y="842"/>
                    <a:pt x="57" y="843"/>
                  </a:cubicBezTo>
                  <a:cubicBezTo>
                    <a:pt x="57" y="843"/>
                    <a:pt x="57" y="843"/>
                    <a:pt x="57" y="843"/>
                  </a:cubicBezTo>
                  <a:cubicBezTo>
                    <a:pt x="56" y="843"/>
                    <a:pt x="56" y="843"/>
                    <a:pt x="55" y="843"/>
                  </a:cubicBezTo>
                  <a:cubicBezTo>
                    <a:pt x="55" y="844"/>
                    <a:pt x="55" y="844"/>
                    <a:pt x="55" y="844"/>
                  </a:cubicBezTo>
                  <a:cubicBezTo>
                    <a:pt x="54" y="844"/>
                    <a:pt x="54" y="844"/>
                    <a:pt x="53" y="844"/>
                  </a:cubicBezTo>
                  <a:cubicBezTo>
                    <a:pt x="52" y="845"/>
                    <a:pt x="50" y="846"/>
                    <a:pt x="48" y="847"/>
                  </a:cubicBezTo>
                  <a:cubicBezTo>
                    <a:pt x="48" y="847"/>
                    <a:pt x="47" y="847"/>
                    <a:pt x="47" y="847"/>
                  </a:cubicBezTo>
                  <a:cubicBezTo>
                    <a:pt x="47" y="848"/>
                    <a:pt x="47" y="848"/>
                    <a:pt x="47" y="848"/>
                  </a:cubicBezTo>
                  <a:cubicBezTo>
                    <a:pt x="46" y="848"/>
                    <a:pt x="46" y="848"/>
                    <a:pt x="45" y="848"/>
                  </a:cubicBezTo>
                  <a:cubicBezTo>
                    <a:pt x="43" y="849"/>
                    <a:pt x="41" y="850"/>
                    <a:pt x="39" y="851"/>
                  </a:cubicBezTo>
                  <a:cubicBezTo>
                    <a:pt x="39" y="851"/>
                    <a:pt x="39" y="852"/>
                    <a:pt x="38" y="852"/>
                  </a:cubicBezTo>
                  <a:cubicBezTo>
                    <a:pt x="37" y="853"/>
                    <a:pt x="35" y="854"/>
                    <a:pt x="34" y="855"/>
                  </a:cubicBezTo>
                  <a:cubicBezTo>
                    <a:pt x="33" y="855"/>
                    <a:pt x="33" y="855"/>
                    <a:pt x="33" y="855"/>
                  </a:cubicBezTo>
                  <a:cubicBezTo>
                    <a:pt x="31" y="856"/>
                    <a:pt x="30" y="857"/>
                    <a:pt x="29" y="857"/>
                  </a:cubicBezTo>
                  <a:cubicBezTo>
                    <a:pt x="29" y="858"/>
                    <a:pt x="28" y="858"/>
                    <a:pt x="28" y="858"/>
                  </a:cubicBezTo>
                  <a:cubicBezTo>
                    <a:pt x="28" y="858"/>
                    <a:pt x="28" y="858"/>
                    <a:pt x="28" y="858"/>
                  </a:cubicBezTo>
                  <a:cubicBezTo>
                    <a:pt x="27" y="859"/>
                    <a:pt x="27" y="859"/>
                    <a:pt x="27" y="859"/>
                  </a:cubicBezTo>
                  <a:cubicBezTo>
                    <a:pt x="26" y="859"/>
                    <a:pt x="26" y="859"/>
                    <a:pt x="26" y="860"/>
                  </a:cubicBezTo>
                  <a:cubicBezTo>
                    <a:pt x="26" y="860"/>
                    <a:pt x="25" y="860"/>
                    <a:pt x="25" y="860"/>
                  </a:cubicBezTo>
                  <a:cubicBezTo>
                    <a:pt x="23" y="862"/>
                    <a:pt x="21" y="863"/>
                    <a:pt x="19" y="865"/>
                  </a:cubicBezTo>
                  <a:cubicBezTo>
                    <a:pt x="19" y="865"/>
                    <a:pt x="18" y="865"/>
                    <a:pt x="18" y="865"/>
                  </a:cubicBezTo>
                  <a:cubicBezTo>
                    <a:pt x="16" y="867"/>
                    <a:pt x="14" y="868"/>
                    <a:pt x="13" y="870"/>
                  </a:cubicBezTo>
                  <a:cubicBezTo>
                    <a:pt x="13" y="870"/>
                    <a:pt x="12" y="871"/>
                    <a:pt x="12" y="871"/>
                  </a:cubicBezTo>
                  <a:cubicBezTo>
                    <a:pt x="9" y="874"/>
                    <a:pt x="7" y="877"/>
                    <a:pt x="5" y="880"/>
                  </a:cubicBezTo>
                  <a:cubicBezTo>
                    <a:pt x="5" y="880"/>
                    <a:pt x="5" y="880"/>
                    <a:pt x="4" y="881"/>
                  </a:cubicBezTo>
                  <a:cubicBezTo>
                    <a:pt x="4" y="882"/>
                    <a:pt x="3" y="883"/>
                    <a:pt x="3" y="884"/>
                  </a:cubicBezTo>
                  <a:cubicBezTo>
                    <a:pt x="3" y="884"/>
                    <a:pt x="3" y="884"/>
                    <a:pt x="2" y="884"/>
                  </a:cubicBezTo>
                  <a:cubicBezTo>
                    <a:pt x="2" y="885"/>
                    <a:pt x="2" y="886"/>
                    <a:pt x="2" y="886"/>
                  </a:cubicBezTo>
                  <a:cubicBezTo>
                    <a:pt x="2" y="886"/>
                    <a:pt x="2" y="887"/>
                    <a:pt x="1" y="887"/>
                  </a:cubicBezTo>
                  <a:cubicBezTo>
                    <a:pt x="1" y="889"/>
                    <a:pt x="0" y="891"/>
                    <a:pt x="0" y="893"/>
                  </a:cubicBezTo>
                  <a:cubicBezTo>
                    <a:pt x="0" y="894"/>
                    <a:pt x="0" y="894"/>
                    <a:pt x="0" y="894"/>
                  </a:cubicBezTo>
                  <a:cubicBezTo>
                    <a:pt x="0" y="895"/>
                    <a:pt x="0" y="896"/>
                    <a:pt x="0" y="897"/>
                  </a:cubicBezTo>
                  <a:cubicBezTo>
                    <a:pt x="0" y="898"/>
                    <a:pt x="0" y="899"/>
                    <a:pt x="0" y="900"/>
                  </a:cubicBezTo>
                  <a:cubicBezTo>
                    <a:pt x="0" y="900"/>
                    <a:pt x="0" y="900"/>
                    <a:pt x="0" y="901"/>
                  </a:cubicBezTo>
                  <a:cubicBezTo>
                    <a:pt x="1" y="904"/>
                    <a:pt x="2" y="907"/>
                    <a:pt x="3" y="910"/>
                  </a:cubicBezTo>
                  <a:cubicBezTo>
                    <a:pt x="3" y="910"/>
                    <a:pt x="3" y="911"/>
                    <a:pt x="3" y="911"/>
                  </a:cubicBezTo>
                  <a:cubicBezTo>
                    <a:pt x="4" y="912"/>
                    <a:pt x="5" y="914"/>
                    <a:pt x="6" y="915"/>
                  </a:cubicBezTo>
                  <a:cubicBezTo>
                    <a:pt x="6" y="915"/>
                    <a:pt x="6" y="915"/>
                    <a:pt x="7" y="915"/>
                  </a:cubicBezTo>
                  <a:cubicBezTo>
                    <a:pt x="6" y="914"/>
                    <a:pt x="5" y="913"/>
                    <a:pt x="5" y="911"/>
                  </a:cubicBezTo>
                  <a:cubicBezTo>
                    <a:pt x="4" y="911"/>
                    <a:pt x="4" y="911"/>
                    <a:pt x="4" y="910"/>
                  </a:cubicBezTo>
                  <a:cubicBezTo>
                    <a:pt x="3" y="907"/>
                    <a:pt x="2" y="904"/>
                    <a:pt x="1" y="901"/>
                  </a:cubicBezTo>
                  <a:cubicBezTo>
                    <a:pt x="1" y="901"/>
                    <a:pt x="1" y="900"/>
                    <a:pt x="1" y="900"/>
                  </a:cubicBezTo>
                  <a:cubicBezTo>
                    <a:pt x="1" y="899"/>
                    <a:pt x="1" y="898"/>
                    <a:pt x="1" y="897"/>
                  </a:cubicBezTo>
                  <a:cubicBezTo>
                    <a:pt x="1" y="896"/>
                    <a:pt x="1" y="896"/>
                    <a:pt x="1" y="896"/>
                  </a:cubicBezTo>
                  <a:cubicBezTo>
                    <a:pt x="1" y="895"/>
                    <a:pt x="1" y="895"/>
                    <a:pt x="1" y="894"/>
                  </a:cubicBezTo>
                  <a:cubicBezTo>
                    <a:pt x="1" y="892"/>
                    <a:pt x="2" y="890"/>
                    <a:pt x="2" y="887"/>
                  </a:cubicBezTo>
                  <a:cubicBezTo>
                    <a:pt x="2" y="887"/>
                    <a:pt x="3" y="887"/>
                    <a:pt x="3" y="886"/>
                  </a:cubicBezTo>
                  <a:cubicBezTo>
                    <a:pt x="3" y="886"/>
                    <a:pt x="3" y="885"/>
                    <a:pt x="3" y="885"/>
                  </a:cubicBezTo>
                  <a:cubicBezTo>
                    <a:pt x="4" y="884"/>
                    <a:pt x="4" y="884"/>
                    <a:pt x="4" y="884"/>
                  </a:cubicBezTo>
                  <a:cubicBezTo>
                    <a:pt x="4" y="883"/>
                    <a:pt x="5" y="882"/>
                    <a:pt x="5" y="881"/>
                  </a:cubicBezTo>
                  <a:cubicBezTo>
                    <a:pt x="5" y="881"/>
                    <a:pt x="5" y="881"/>
                    <a:pt x="6" y="880"/>
                  </a:cubicBezTo>
                  <a:cubicBezTo>
                    <a:pt x="8" y="877"/>
                    <a:pt x="10" y="874"/>
                    <a:pt x="13" y="871"/>
                  </a:cubicBezTo>
                  <a:cubicBezTo>
                    <a:pt x="13" y="871"/>
                    <a:pt x="14" y="871"/>
                    <a:pt x="14" y="870"/>
                  </a:cubicBezTo>
                  <a:cubicBezTo>
                    <a:pt x="15" y="869"/>
                    <a:pt x="17" y="867"/>
                    <a:pt x="19" y="866"/>
                  </a:cubicBezTo>
                  <a:cubicBezTo>
                    <a:pt x="19" y="866"/>
                    <a:pt x="20" y="865"/>
                    <a:pt x="20" y="865"/>
                  </a:cubicBezTo>
                  <a:cubicBezTo>
                    <a:pt x="22" y="863"/>
                    <a:pt x="24" y="862"/>
                    <a:pt x="26" y="861"/>
                  </a:cubicBezTo>
                  <a:cubicBezTo>
                    <a:pt x="26" y="860"/>
                    <a:pt x="27" y="860"/>
                    <a:pt x="27" y="860"/>
                  </a:cubicBezTo>
                  <a:cubicBezTo>
                    <a:pt x="27" y="860"/>
                    <a:pt x="27" y="860"/>
                    <a:pt x="28" y="859"/>
                  </a:cubicBezTo>
                  <a:cubicBezTo>
                    <a:pt x="28" y="859"/>
                    <a:pt x="28" y="859"/>
                    <a:pt x="29" y="859"/>
                  </a:cubicBezTo>
                  <a:cubicBezTo>
                    <a:pt x="29" y="859"/>
                    <a:pt x="29" y="859"/>
                    <a:pt x="29" y="858"/>
                  </a:cubicBezTo>
                  <a:cubicBezTo>
                    <a:pt x="30" y="858"/>
                    <a:pt x="30" y="858"/>
                    <a:pt x="30" y="858"/>
                  </a:cubicBezTo>
                  <a:cubicBezTo>
                    <a:pt x="31" y="857"/>
                    <a:pt x="32" y="856"/>
                    <a:pt x="34" y="856"/>
                  </a:cubicBezTo>
                  <a:cubicBezTo>
                    <a:pt x="34" y="855"/>
                    <a:pt x="34" y="855"/>
                    <a:pt x="35" y="855"/>
                  </a:cubicBezTo>
                  <a:cubicBezTo>
                    <a:pt x="36" y="854"/>
                    <a:pt x="38" y="853"/>
                    <a:pt x="39" y="852"/>
                  </a:cubicBezTo>
                  <a:cubicBezTo>
                    <a:pt x="40" y="852"/>
                    <a:pt x="40" y="852"/>
                    <a:pt x="41" y="852"/>
                  </a:cubicBezTo>
                  <a:cubicBezTo>
                    <a:pt x="42" y="851"/>
                    <a:pt x="44" y="850"/>
                    <a:pt x="46" y="849"/>
                  </a:cubicBezTo>
                  <a:cubicBezTo>
                    <a:pt x="47" y="849"/>
                    <a:pt x="47" y="848"/>
                    <a:pt x="48" y="848"/>
                  </a:cubicBezTo>
                  <a:cubicBezTo>
                    <a:pt x="48" y="848"/>
                    <a:pt x="48" y="848"/>
                    <a:pt x="48" y="848"/>
                  </a:cubicBezTo>
                  <a:cubicBezTo>
                    <a:pt x="48" y="848"/>
                    <a:pt x="49" y="848"/>
                    <a:pt x="49" y="848"/>
                  </a:cubicBezTo>
                  <a:cubicBezTo>
                    <a:pt x="51" y="847"/>
                    <a:pt x="53" y="846"/>
                    <a:pt x="55" y="845"/>
                  </a:cubicBezTo>
                  <a:cubicBezTo>
                    <a:pt x="55" y="845"/>
                    <a:pt x="55" y="845"/>
                    <a:pt x="56" y="844"/>
                  </a:cubicBezTo>
                  <a:cubicBezTo>
                    <a:pt x="56" y="844"/>
                    <a:pt x="56" y="844"/>
                    <a:pt x="56" y="844"/>
                  </a:cubicBezTo>
                  <a:cubicBezTo>
                    <a:pt x="57" y="844"/>
                    <a:pt x="57" y="844"/>
                    <a:pt x="58" y="843"/>
                  </a:cubicBezTo>
                  <a:cubicBezTo>
                    <a:pt x="58" y="843"/>
                    <a:pt x="59" y="843"/>
                    <a:pt x="59" y="843"/>
                  </a:cubicBezTo>
                  <a:cubicBezTo>
                    <a:pt x="59" y="843"/>
                    <a:pt x="60" y="843"/>
                    <a:pt x="60" y="842"/>
                  </a:cubicBezTo>
                  <a:cubicBezTo>
                    <a:pt x="61" y="842"/>
                    <a:pt x="62" y="842"/>
                    <a:pt x="62" y="842"/>
                  </a:cubicBezTo>
                  <a:cubicBezTo>
                    <a:pt x="63" y="841"/>
                    <a:pt x="63" y="841"/>
                    <a:pt x="64" y="841"/>
                  </a:cubicBezTo>
                  <a:cubicBezTo>
                    <a:pt x="64" y="841"/>
                    <a:pt x="64" y="841"/>
                    <a:pt x="64" y="841"/>
                  </a:cubicBezTo>
                  <a:cubicBezTo>
                    <a:pt x="64" y="841"/>
                    <a:pt x="65" y="841"/>
                    <a:pt x="65" y="840"/>
                  </a:cubicBezTo>
                  <a:cubicBezTo>
                    <a:pt x="65" y="840"/>
                    <a:pt x="65" y="840"/>
                    <a:pt x="65" y="840"/>
                  </a:cubicBezTo>
                  <a:cubicBezTo>
                    <a:pt x="68" y="839"/>
                    <a:pt x="71" y="838"/>
                    <a:pt x="74" y="837"/>
                  </a:cubicBezTo>
                  <a:cubicBezTo>
                    <a:pt x="74" y="837"/>
                    <a:pt x="75" y="837"/>
                    <a:pt x="75" y="837"/>
                  </a:cubicBezTo>
                  <a:cubicBezTo>
                    <a:pt x="76" y="836"/>
                    <a:pt x="77" y="836"/>
                    <a:pt x="77" y="836"/>
                  </a:cubicBezTo>
                  <a:cubicBezTo>
                    <a:pt x="78" y="836"/>
                    <a:pt x="78" y="835"/>
                    <a:pt x="78" y="835"/>
                  </a:cubicBezTo>
                  <a:cubicBezTo>
                    <a:pt x="79" y="835"/>
                    <a:pt x="80" y="835"/>
                    <a:pt x="80" y="835"/>
                  </a:cubicBezTo>
                  <a:cubicBezTo>
                    <a:pt x="81" y="834"/>
                    <a:pt x="81" y="834"/>
                    <a:pt x="82" y="834"/>
                  </a:cubicBezTo>
                  <a:cubicBezTo>
                    <a:pt x="82" y="834"/>
                    <a:pt x="82" y="834"/>
                    <a:pt x="82" y="834"/>
                  </a:cubicBezTo>
                  <a:cubicBezTo>
                    <a:pt x="83" y="834"/>
                    <a:pt x="83" y="834"/>
                    <a:pt x="83" y="834"/>
                  </a:cubicBezTo>
                  <a:cubicBezTo>
                    <a:pt x="83" y="833"/>
                    <a:pt x="84" y="833"/>
                    <a:pt x="84" y="833"/>
                  </a:cubicBezTo>
                  <a:cubicBezTo>
                    <a:pt x="84" y="833"/>
                    <a:pt x="84" y="833"/>
                    <a:pt x="85" y="833"/>
                  </a:cubicBezTo>
                  <a:cubicBezTo>
                    <a:pt x="85" y="833"/>
                    <a:pt x="86" y="833"/>
                    <a:pt x="87" y="832"/>
                  </a:cubicBezTo>
                  <a:cubicBezTo>
                    <a:pt x="87" y="832"/>
                    <a:pt x="87" y="832"/>
                    <a:pt x="88" y="832"/>
                  </a:cubicBezTo>
                  <a:cubicBezTo>
                    <a:pt x="89" y="832"/>
                    <a:pt x="90" y="831"/>
                    <a:pt x="92" y="831"/>
                  </a:cubicBezTo>
                  <a:cubicBezTo>
                    <a:pt x="92" y="831"/>
                    <a:pt x="92" y="831"/>
                    <a:pt x="92" y="831"/>
                  </a:cubicBezTo>
                  <a:cubicBezTo>
                    <a:pt x="92" y="831"/>
                    <a:pt x="92" y="830"/>
                    <a:pt x="92" y="830"/>
                  </a:cubicBezTo>
                  <a:cubicBezTo>
                    <a:pt x="93" y="830"/>
                    <a:pt x="93" y="830"/>
                    <a:pt x="93" y="830"/>
                  </a:cubicBezTo>
                  <a:cubicBezTo>
                    <a:pt x="96" y="829"/>
                    <a:pt x="99" y="828"/>
                    <a:pt x="102" y="827"/>
                  </a:cubicBezTo>
                  <a:cubicBezTo>
                    <a:pt x="102" y="827"/>
                    <a:pt x="102" y="827"/>
                    <a:pt x="103" y="827"/>
                  </a:cubicBezTo>
                  <a:cubicBezTo>
                    <a:pt x="107" y="826"/>
                    <a:pt x="111" y="825"/>
                    <a:pt x="116" y="823"/>
                  </a:cubicBezTo>
                  <a:cubicBezTo>
                    <a:pt x="116" y="823"/>
                    <a:pt x="117" y="823"/>
                    <a:pt x="118" y="823"/>
                  </a:cubicBezTo>
                  <a:cubicBezTo>
                    <a:pt x="125" y="821"/>
                    <a:pt x="133" y="818"/>
                    <a:pt x="141" y="816"/>
                  </a:cubicBezTo>
                  <a:cubicBezTo>
                    <a:pt x="142" y="816"/>
                    <a:pt x="142" y="816"/>
                    <a:pt x="142" y="816"/>
                  </a:cubicBezTo>
                  <a:cubicBezTo>
                    <a:pt x="155" y="813"/>
                    <a:pt x="168" y="810"/>
                    <a:pt x="181" y="807"/>
                  </a:cubicBezTo>
                  <a:cubicBezTo>
                    <a:pt x="182" y="807"/>
                    <a:pt x="183" y="807"/>
                    <a:pt x="184" y="806"/>
                  </a:cubicBezTo>
                  <a:cubicBezTo>
                    <a:pt x="185" y="806"/>
                    <a:pt x="186" y="806"/>
                    <a:pt x="187" y="806"/>
                  </a:cubicBezTo>
                  <a:cubicBezTo>
                    <a:pt x="187" y="806"/>
                    <a:pt x="188" y="805"/>
                    <a:pt x="188" y="805"/>
                  </a:cubicBezTo>
                  <a:cubicBezTo>
                    <a:pt x="198" y="803"/>
                    <a:pt x="208" y="801"/>
                    <a:pt x="218" y="799"/>
                  </a:cubicBezTo>
                  <a:cubicBezTo>
                    <a:pt x="219" y="799"/>
                    <a:pt x="220" y="799"/>
                    <a:pt x="220" y="799"/>
                  </a:cubicBezTo>
                  <a:cubicBezTo>
                    <a:pt x="231" y="797"/>
                    <a:pt x="241" y="795"/>
                    <a:pt x="251" y="793"/>
                  </a:cubicBezTo>
                  <a:cubicBezTo>
                    <a:pt x="251" y="793"/>
                    <a:pt x="252" y="793"/>
                    <a:pt x="252" y="793"/>
                  </a:cubicBezTo>
                  <a:cubicBezTo>
                    <a:pt x="257" y="792"/>
                    <a:pt x="261" y="792"/>
                    <a:pt x="266" y="791"/>
                  </a:cubicBezTo>
                  <a:cubicBezTo>
                    <a:pt x="267" y="791"/>
                    <a:pt x="267" y="791"/>
                    <a:pt x="268" y="790"/>
                  </a:cubicBezTo>
                  <a:cubicBezTo>
                    <a:pt x="275" y="789"/>
                    <a:pt x="283" y="788"/>
                    <a:pt x="290" y="787"/>
                  </a:cubicBezTo>
                  <a:cubicBezTo>
                    <a:pt x="291" y="787"/>
                    <a:pt x="291" y="787"/>
                    <a:pt x="292" y="787"/>
                  </a:cubicBezTo>
                  <a:cubicBezTo>
                    <a:pt x="295" y="786"/>
                    <a:pt x="299" y="786"/>
                    <a:pt x="302" y="785"/>
                  </a:cubicBezTo>
                  <a:cubicBezTo>
                    <a:pt x="302" y="785"/>
                    <a:pt x="303" y="785"/>
                    <a:pt x="303" y="785"/>
                  </a:cubicBezTo>
                  <a:cubicBezTo>
                    <a:pt x="304" y="785"/>
                    <a:pt x="305" y="785"/>
                    <a:pt x="306" y="784"/>
                  </a:cubicBezTo>
                  <a:cubicBezTo>
                    <a:pt x="309" y="784"/>
                    <a:pt x="311" y="784"/>
                    <a:pt x="314" y="783"/>
                  </a:cubicBezTo>
                  <a:cubicBezTo>
                    <a:pt x="315" y="783"/>
                    <a:pt x="315" y="783"/>
                    <a:pt x="316" y="783"/>
                  </a:cubicBezTo>
                  <a:cubicBezTo>
                    <a:pt x="317" y="783"/>
                    <a:pt x="318" y="783"/>
                    <a:pt x="319" y="782"/>
                  </a:cubicBezTo>
                  <a:cubicBezTo>
                    <a:pt x="320" y="782"/>
                    <a:pt x="320" y="782"/>
                    <a:pt x="321" y="782"/>
                  </a:cubicBezTo>
                  <a:cubicBezTo>
                    <a:pt x="324" y="782"/>
                    <a:pt x="326" y="781"/>
                    <a:pt x="329" y="781"/>
                  </a:cubicBezTo>
                  <a:cubicBezTo>
                    <a:pt x="330" y="781"/>
                    <a:pt x="332" y="781"/>
                    <a:pt x="334" y="780"/>
                  </a:cubicBezTo>
                  <a:cubicBezTo>
                    <a:pt x="337" y="780"/>
                    <a:pt x="341" y="779"/>
                    <a:pt x="344" y="779"/>
                  </a:cubicBezTo>
                  <a:cubicBezTo>
                    <a:pt x="345" y="779"/>
                    <a:pt x="346" y="779"/>
                    <a:pt x="347" y="779"/>
                  </a:cubicBezTo>
                  <a:cubicBezTo>
                    <a:pt x="356" y="777"/>
                    <a:pt x="366" y="776"/>
                    <a:pt x="375" y="775"/>
                  </a:cubicBezTo>
                  <a:cubicBezTo>
                    <a:pt x="376" y="775"/>
                    <a:pt x="377" y="775"/>
                    <a:pt x="378" y="774"/>
                  </a:cubicBezTo>
                  <a:cubicBezTo>
                    <a:pt x="378" y="774"/>
                    <a:pt x="379" y="774"/>
                    <a:pt x="380" y="774"/>
                  </a:cubicBezTo>
                  <a:cubicBezTo>
                    <a:pt x="380" y="774"/>
                    <a:pt x="380" y="774"/>
                    <a:pt x="381" y="774"/>
                  </a:cubicBezTo>
                  <a:cubicBezTo>
                    <a:pt x="382" y="774"/>
                    <a:pt x="383" y="773"/>
                    <a:pt x="384" y="773"/>
                  </a:cubicBezTo>
                  <a:moveTo>
                    <a:pt x="1363" y="792"/>
                  </a:moveTo>
                  <a:cubicBezTo>
                    <a:pt x="1351" y="807"/>
                    <a:pt x="1339" y="822"/>
                    <a:pt x="1326" y="835"/>
                  </a:cubicBezTo>
                  <a:cubicBezTo>
                    <a:pt x="1327" y="836"/>
                    <a:pt x="1327" y="836"/>
                    <a:pt x="1327" y="836"/>
                  </a:cubicBezTo>
                  <a:cubicBezTo>
                    <a:pt x="1339" y="823"/>
                    <a:pt x="1351" y="808"/>
                    <a:pt x="1363" y="793"/>
                  </a:cubicBezTo>
                  <a:cubicBezTo>
                    <a:pt x="1363" y="793"/>
                    <a:pt x="1363" y="792"/>
                    <a:pt x="1363" y="792"/>
                  </a:cubicBezTo>
                  <a:moveTo>
                    <a:pt x="1326" y="836"/>
                  </a:moveTo>
                  <a:cubicBezTo>
                    <a:pt x="1323" y="839"/>
                    <a:pt x="1321" y="841"/>
                    <a:pt x="1318" y="844"/>
                  </a:cubicBezTo>
                  <a:cubicBezTo>
                    <a:pt x="1309" y="853"/>
                    <a:pt x="1300" y="862"/>
                    <a:pt x="1290" y="872"/>
                  </a:cubicBezTo>
                  <a:cubicBezTo>
                    <a:pt x="1290" y="872"/>
                    <a:pt x="1291" y="873"/>
                    <a:pt x="1291" y="873"/>
                  </a:cubicBezTo>
                  <a:cubicBezTo>
                    <a:pt x="1300" y="863"/>
                    <a:pt x="1310" y="853"/>
                    <a:pt x="1319" y="844"/>
                  </a:cubicBezTo>
                  <a:cubicBezTo>
                    <a:pt x="1321" y="842"/>
                    <a:pt x="1324" y="839"/>
                    <a:pt x="1326" y="837"/>
                  </a:cubicBezTo>
                  <a:cubicBezTo>
                    <a:pt x="1326" y="837"/>
                    <a:pt x="1326" y="836"/>
                    <a:pt x="1326" y="836"/>
                  </a:cubicBezTo>
                  <a:moveTo>
                    <a:pt x="1289" y="873"/>
                  </a:moveTo>
                  <a:cubicBezTo>
                    <a:pt x="1279" y="884"/>
                    <a:pt x="1268" y="895"/>
                    <a:pt x="1257" y="906"/>
                  </a:cubicBezTo>
                  <a:cubicBezTo>
                    <a:pt x="1257" y="906"/>
                    <a:pt x="1258" y="907"/>
                    <a:pt x="1258" y="907"/>
                  </a:cubicBezTo>
                  <a:cubicBezTo>
                    <a:pt x="1268" y="896"/>
                    <a:pt x="1279" y="884"/>
                    <a:pt x="1290" y="874"/>
                  </a:cubicBezTo>
                  <a:cubicBezTo>
                    <a:pt x="1290" y="873"/>
                    <a:pt x="1290" y="873"/>
                    <a:pt x="1289" y="873"/>
                  </a:cubicBezTo>
                  <a:moveTo>
                    <a:pt x="1257" y="907"/>
                  </a:moveTo>
                  <a:cubicBezTo>
                    <a:pt x="1246" y="918"/>
                    <a:pt x="1235" y="930"/>
                    <a:pt x="1225" y="942"/>
                  </a:cubicBezTo>
                  <a:cubicBezTo>
                    <a:pt x="1225" y="942"/>
                    <a:pt x="1226" y="942"/>
                    <a:pt x="1226" y="943"/>
                  </a:cubicBezTo>
                  <a:cubicBezTo>
                    <a:pt x="1236" y="931"/>
                    <a:pt x="1246" y="919"/>
                    <a:pt x="1257" y="908"/>
                  </a:cubicBezTo>
                  <a:cubicBezTo>
                    <a:pt x="1257" y="907"/>
                    <a:pt x="1257" y="907"/>
                    <a:pt x="1257" y="907"/>
                  </a:cubicBezTo>
                  <a:moveTo>
                    <a:pt x="7" y="916"/>
                  </a:moveTo>
                  <a:cubicBezTo>
                    <a:pt x="7" y="916"/>
                    <a:pt x="7" y="916"/>
                    <a:pt x="6" y="916"/>
                  </a:cubicBezTo>
                  <a:cubicBezTo>
                    <a:pt x="7" y="917"/>
                    <a:pt x="7" y="918"/>
                    <a:pt x="8" y="919"/>
                  </a:cubicBezTo>
                  <a:cubicBezTo>
                    <a:pt x="8" y="918"/>
                    <a:pt x="8" y="918"/>
                    <a:pt x="8" y="918"/>
                  </a:cubicBezTo>
                  <a:cubicBezTo>
                    <a:pt x="8" y="918"/>
                    <a:pt x="8" y="917"/>
                    <a:pt x="8" y="917"/>
                  </a:cubicBezTo>
                  <a:cubicBezTo>
                    <a:pt x="8" y="917"/>
                    <a:pt x="7" y="916"/>
                    <a:pt x="7" y="916"/>
                  </a:cubicBezTo>
                  <a:moveTo>
                    <a:pt x="9" y="918"/>
                  </a:moveTo>
                  <a:cubicBezTo>
                    <a:pt x="9" y="919"/>
                    <a:pt x="9" y="919"/>
                    <a:pt x="9" y="920"/>
                  </a:cubicBezTo>
                  <a:cubicBezTo>
                    <a:pt x="10" y="921"/>
                    <a:pt x="11" y="923"/>
                    <a:pt x="13" y="924"/>
                  </a:cubicBezTo>
                  <a:cubicBezTo>
                    <a:pt x="13" y="924"/>
                    <a:pt x="13" y="924"/>
                    <a:pt x="14" y="924"/>
                  </a:cubicBezTo>
                  <a:cubicBezTo>
                    <a:pt x="12" y="922"/>
                    <a:pt x="10" y="920"/>
                    <a:pt x="9" y="918"/>
                  </a:cubicBezTo>
                  <a:moveTo>
                    <a:pt x="14" y="925"/>
                  </a:moveTo>
                  <a:cubicBezTo>
                    <a:pt x="14" y="925"/>
                    <a:pt x="14" y="925"/>
                    <a:pt x="13" y="925"/>
                  </a:cubicBezTo>
                  <a:cubicBezTo>
                    <a:pt x="14" y="926"/>
                    <a:pt x="14" y="926"/>
                    <a:pt x="14" y="926"/>
                  </a:cubicBezTo>
                  <a:cubicBezTo>
                    <a:pt x="15" y="927"/>
                    <a:pt x="15" y="927"/>
                    <a:pt x="16" y="927"/>
                  </a:cubicBezTo>
                  <a:cubicBezTo>
                    <a:pt x="16" y="928"/>
                    <a:pt x="17" y="929"/>
                    <a:pt x="17" y="929"/>
                  </a:cubicBezTo>
                  <a:cubicBezTo>
                    <a:pt x="18" y="929"/>
                    <a:pt x="18" y="928"/>
                    <a:pt x="18" y="928"/>
                  </a:cubicBezTo>
                  <a:cubicBezTo>
                    <a:pt x="18" y="928"/>
                    <a:pt x="18" y="928"/>
                    <a:pt x="18" y="928"/>
                  </a:cubicBezTo>
                  <a:cubicBezTo>
                    <a:pt x="17" y="927"/>
                    <a:pt x="17" y="927"/>
                    <a:pt x="16" y="927"/>
                  </a:cubicBezTo>
                  <a:cubicBezTo>
                    <a:pt x="16" y="926"/>
                    <a:pt x="15" y="925"/>
                    <a:pt x="14" y="925"/>
                  </a:cubicBezTo>
                  <a:moveTo>
                    <a:pt x="18" y="929"/>
                  </a:moveTo>
                  <a:cubicBezTo>
                    <a:pt x="18" y="929"/>
                    <a:pt x="18" y="930"/>
                    <a:pt x="18" y="930"/>
                  </a:cubicBezTo>
                  <a:cubicBezTo>
                    <a:pt x="18" y="930"/>
                    <a:pt x="19" y="930"/>
                    <a:pt x="19" y="931"/>
                  </a:cubicBezTo>
                  <a:cubicBezTo>
                    <a:pt x="19" y="931"/>
                    <a:pt x="19" y="931"/>
                    <a:pt x="19" y="931"/>
                  </a:cubicBezTo>
                  <a:cubicBezTo>
                    <a:pt x="20" y="931"/>
                    <a:pt x="20" y="932"/>
                    <a:pt x="21" y="932"/>
                  </a:cubicBezTo>
                  <a:cubicBezTo>
                    <a:pt x="21" y="932"/>
                    <a:pt x="21" y="932"/>
                    <a:pt x="22" y="932"/>
                  </a:cubicBezTo>
                  <a:cubicBezTo>
                    <a:pt x="22" y="932"/>
                    <a:pt x="21" y="931"/>
                    <a:pt x="21" y="931"/>
                  </a:cubicBezTo>
                  <a:cubicBezTo>
                    <a:pt x="21" y="931"/>
                    <a:pt x="21" y="931"/>
                    <a:pt x="21" y="931"/>
                  </a:cubicBezTo>
                  <a:cubicBezTo>
                    <a:pt x="20" y="931"/>
                    <a:pt x="20" y="930"/>
                    <a:pt x="19" y="930"/>
                  </a:cubicBezTo>
                  <a:cubicBezTo>
                    <a:pt x="19" y="929"/>
                    <a:pt x="19" y="929"/>
                    <a:pt x="18" y="929"/>
                  </a:cubicBezTo>
                  <a:moveTo>
                    <a:pt x="22" y="932"/>
                  </a:moveTo>
                  <a:cubicBezTo>
                    <a:pt x="22" y="932"/>
                    <a:pt x="22" y="933"/>
                    <a:pt x="21" y="933"/>
                  </a:cubicBezTo>
                  <a:cubicBezTo>
                    <a:pt x="22" y="933"/>
                    <a:pt x="22" y="933"/>
                    <a:pt x="22" y="933"/>
                  </a:cubicBezTo>
                  <a:cubicBezTo>
                    <a:pt x="22" y="934"/>
                    <a:pt x="22" y="934"/>
                    <a:pt x="23" y="934"/>
                  </a:cubicBezTo>
                  <a:cubicBezTo>
                    <a:pt x="25" y="935"/>
                    <a:pt x="27" y="937"/>
                    <a:pt x="29" y="939"/>
                  </a:cubicBezTo>
                  <a:cubicBezTo>
                    <a:pt x="29" y="939"/>
                    <a:pt x="29" y="938"/>
                    <a:pt x="30" y="938"/>
                  </a:cubicBezTo>
                  <a:cubicBezTo>
                    <a:pt x="28" y="937"/>
                    <a:pt x="26" y="935"/>
                    <a:pt x="25" y="934"/>
                  </a:cubicBezTo>
                  <a:cubicBezTo>
                    <a:pt x="24" y="934"/>
                    <a:pt x="24" y="934"/>
                    <a:pt x="24" y="934"/>
                  </a:cubicBezTo>
                  <a:cubicBezTo>
                    <a:pt x="24" y="933"/>
                    <a:pt x="23" y="933"/>
                    <a:pt x="23" y="932"/>
                  </a:cubicBezTo>
                  <a:cubicBezTo>
                    <a:pt x="23" y="932"/>
                    <a:pt x="22" y="932"/>
                    <a:pt x="22" y="932"/>
                  </a:cubicBezTo>
                  <a:moveTo>
                    <a:pt x="30" y="939"/>
                  </a:moveTo>
                  <a:cubicBezTo>
                    <a:pt x="30" y="939"/>
                    <a:pt x="30" y="939"/>
                    <a:pt x="30" y="939"/>
                  </a:cubicBezTo>
                  <a:cubicBezTo>
                    <a:pt x="30" y="939"/>
                    <a:pt x="30" y="939"/>
                    <a:pt x="30" y="939"/>
                  </a:cubicBezTo>
                  <a:cubicBezTo>
                    <a:pt x="30" y="939"/>
                    <a:pt x="30" y="939"/>
                    <a:pt x="31" y="939"/>
                  </a:cubicBezTo>
                  <a:cubicBezTo>
                    <a:pt x="31" y="939"/>
                    <a:pt x="30" y="939"/>
                    <a:pt x="30" y="939"/>
                  </a:cubicBezTo>
                  <a:moveTo>
                    <a:pt x="32" y="940"/>
                  </a:moveTo>
                  <a:cubicBezTo>
                    <a:pt x="31" y="940"/>
                    <a:pt x="31" y="940"/>
                    <a:pt x="31" y="940"/>
                  </a:cubicBezTo>
                  <a:cubicBezTo>
                    <a:pt x="31" y="940"/>
                    <a:pt x="31" y="941"/>
                    <a:pt x="32" y="941"/>
                  </a:cubicBezTo>
                  <a:cubicBezTo>
                    <a:pt x="32" y="941"/>
                    <a:pt x="33" y="942"/>
                    <a:pt x="33" y="942"/>
                  </a:cubicBezTo>
                  <a:cubicBezTo>
                    <a:pt x="35" y="943"/>
                    <a:pt x="36" y="944"/>
                    <a:pt x="37" y="945"/>
                  </a:cubicBezTo>
                  <a:cubicBezTo>
                    <a:pt x="38" y="945"/>
                    <a:pt x="38" y="944"/>
                    <a:pt x="38" y="944"/>
                  </a:cubicBezTo>
                  <a:cubicBezTo>
                    <a:pt x="37" y="944"/>
                    <a:pt x="37" y="943"/>
                    <a:pt x="36" y="942"/>
                  </a:cubicBezTo>
                  <a:cubicBezTo>
                    <a:pt x="35" y="942"/>
                    <a:pt x="34" y="942"/>
                    <a:pt x="34" y="941"/>
                  </a:cubicBezTo>
                  <a:cubicBezTo>
                    <a:pt x="33" y="941"/>
                    <a:pt x="32" y="940"/>
                    <a:pt x="32" y="940"/>
                  </a:cubicBezTo>
                  <a:moveTo>
                    <a:pt x="1225" y="943"/>
                  </a:moveTo>
                  <a:cubicBezTo>
                    <a:pt x="1215" y="955"/>
                    <a:pt x="1205" y="967"/>
                    <a:pt x="1197" y="979"/>
                  </a:cubicBezTo>
                  <a:cubicBezTo>
                    <a:pt x="1197" y="979"/>
                    <a:pt x="1197" y="980"/>
                    <a:pt x="1197" y="980"/>
                  </a:cubicBezTo>
                  <a:cubicBezTo>
                    <a:pt x="1206" y="968"/>
                    <a:pt x="1215" y="956"/>
                    <a:pt x="1225" y="944"/>
                  </a:cubicBezTo>
                  <a:cubicBezTo>
                    <a:pt x="1225" y="943"/>
                    <a:pt x="1225" y="943"/>
                    <a:pt x="1225" y="943"/>
                  </a:cubicBezTo>
                  <a:moveTo>
                    <a:pt x="39" y="945"/>
                  </a:moveTo>
                  <a:cubicBezTo>
                    <a:pt x="39" y="945"/>
                    <a:pt x="39" y="945"/>
                    <a:pt x="38" y="945"/>
                  </a:cubicBezTo>
                  <a:cubicBezTo>
                    <a:pt x="40" y="946"/>
                    <a:pt x="41" y="947"/>
                    <a:pt x="42" y="948"/>
                  </a:cubicBezTo>
                  <a:cubicBezTo>
                    <a:pt x="43" y="948"/>
                    <a:pt x="43" y="947"/>
                    <a:pt x="43" y="947"/>
                  </a:cubicBezTo>
                  <a:cubicBezTo>
                    <a:pt x="42" y="946"/>
                    <a:pt x="41" y="946"/>
                    <a:pt x="39" y="945"/>
                  </a:cubicBezTo>
                  <a:moveTo>
                    <a:pt x="44" y="948"/>
                  </a:moveTo>
                  <a:cubicBezTo>
                    <a:pt x="44" y="948"/>
                    <a:pt x="43" y="948"/>
                    <a:pt x="43" y="948"/>
                  </a:cubicBezTo>
                  <a:cubicBezTo>
                    <a:pt x="43" y="949"/>
                    <a:pt x="44" y="949"/>
                    <a:pt x="44" y="949"/>
                  </a:cubicBezTo>
                  <a:cubicBezTo>
                    <a:pt x="44" y="949"/>
                    <a:pt x="45" y="949"/>
                    <a:pt x="45" y="949"/>
                  </a:cubicBezTo>
                  <a:cubicBezTo>
                    <a:pt x="45" y="948"/>
                    <a:pt x="44" y="948"/>
                    <a:pt x="44" y="948"/>
                  </a:cubicBezTo>
                  <a:moveTo>
                    <a:pt x="46" y="949"/>
                  </a:moveTo>
                  <a:cubicBezTo>
                    <a:pt x="46" y="949"/>
                    <a:pt x="46" y="950"/>
                    <a:pt x="45" y="950"/>
                  </a:cubicBezTo>
                  <a:cubicBezTo>
                    <a:pt x="47" y="951"/>
                    <a:pt x="49" y="952"/>
                    <a:pt x="51" y="953"/>
                  </a:cubicBezTo>
                  <a:cubicBezTo>
                    <a:pt x="52" y="953"/>
                    <a:pt x="52" y="953"/>
                    <a:pt x="53" y="953"/>
                  </a:cubicBezTo>
                  <a:cubicBezTo>
                    <a:pt x="50" y="952"/>
                    <a:pt x="48" y="950"/>
                    <a:pt x="46" y="949"/>
                  </a:cubicBezTo>
                  <a:moveTo>
                    <a:pt x="54" y="954"/>
                  </a:moveTo>
                  <a:cubicBezTo>
                    <a:pt x="53" y="954"/>
                    <a:pt x="53" y="954"/>
                    <a:pt x="53" y="954"/>
                  </a:cubicBezTo>
                  <a:cubicBezTo>
                    <a:pt x="54" y="955"/>
                    <a:pt x="55" y="956"/>
                    <a:pt x="57" y="957"/>
                  </a:cubicBezTo>
                  <a:cubicBezTo>
                    <a:pt x="57" y="956"/>
                    <a:pt x="57" y="956"/>
                    <a:pt x="58" y="956"/>
                  </a:cubicBezTo>
                  <a:cubicBezTo>
                    <a:pt x="56" y="955"/>
                    <a:pt x="55" y="954"/>
                    <a:pt x="54" y="954"/>
                  </a:cubicBezTo>
                  <a:moveTo>
                    <a:pt x="58" y="956"/>
                  </a:moveTo>
                  <a:cubicBezTo>
                    <a:pt x="58" y="956"/>
                    <a:pt x="58" y="957"/>
                    <a:pt x="58" y="957"/>
                  </a:cubicBezTo>
                  <a:cubicBezTo>
                    <a:pt x="58" y="957"/>
                    <a:pt x="58" y="957"/>
                    <a:pt x="58" y="957"/>
                  </a:cubicBezTo>
                  <a:cubicBezTo>
                    <a:pt x="58" y="957"/>
                    <a:pt x="59" y="957"/>
                    <a:pt x="59" y="957"/>
                  </a:cubicBezTo>
                  <a:cubicBezTo>
                    <a:pt x="59" y="956"/>
                    <a:pt x="59" y="956"/>
                    <a:pt x="58" y="956"/>
                  </a:cubicBezTo>
                  <a:moveTo>
                    <a:pt x="60" y="957"/>
                  </a:moveTo>
                  <a:cubicBezTo>
                    <a:pt x="60" y="957"/>
                    <a:pt x="59" y="958"/>
                    <a:pt x="59" y="958"/>
                  </a:cubicBezTo>
                  <a:cubicBezTo>
                    <a:pt x="61" y="959"/>
                    <a:pt x="63" y="960"/>
                    <a:pt x="64" y="961"/>
                  </a:cubicBezTo>
                  <a:cubicBezTo>
                    <a:pt x="65" y="960"/>
                    <a:pt x="65" y="960"/>
                    <a:pt x="65" y="960"/>
                  </a:cubicBezTo>
                  <a:cubicBezTo>
                    <a:pt x="64" y="959"/>
                    <a:pt x="62" y="958"/>
                    <a:pt x="60" y="957"/>
                  </a:cubicBezTo>
                  <a:moveTo>
                    <a:pt x="66" y="960"/>
                  </a:moveTo>
                  <a:cubicBezTo>
                    <a:pt x="66" y="961"/>
                    <a:pt x="66" y="961"/>
                    <a:pt x="65" y="961"/>
                  </a:cubicBezTo>
                  <a:cubicBezTo>
                    <a:pt x="67" y="962"/>
                    <a:pt x="69" y="963"/>
                    <a:pt x="72" y="964"/>
                  </a:cubicBezTo>
                  <a:cubicBezTo>
                    <a:pt x="72" y="964"/>
                    <a:pt x="72" y="964"/>
                    <a:pt x="72" y="964"/>
                  </a:cubicBezTo>
                  <a:cubicBezTo>
                    <a:pt x="70" y="962"/>
                    <a:pt x="68" y="961"/>
                    <a:pt x="66" y="960"/>
                  </a:cubicBezTo>
                  <a:moveTo>
                    <a:pt x="74" y="964"/>
                  </a:moveTo>
                  <a:cubicBezTo>
                    <a:pt x="74" y="964"/>
                    <a:pt x="73" y="965"/>
                    <a:pt x="73" y="965"/>
                  </a:cubicBezTo>
                  <a:cubicBezTo>
                    <a:pt x="74" y="965"/>
                    <a:pt x="75" y="966"/>
                    <a:pt x="76" y="966"/>
                  </a:cubicBezTo>
                  <a:cubicBezTo>
                    <a:pt x="76" y="967"/>
                    <a:pt x="77" y="967"/>
                    <a:pt x="78" y="968"/>
                  </a:cubicBezTo>
                  <a:cubicBezTo>
                    <a:pt x="95" y="975"/>
                    <a:pt x="114" y="983"/>
                    <a:pt x="136" y="992"/>
                  </a:cubicBezTo>
                  <a:cubicBezTo>
                    <a:pt x="137" y="992"/>
                    <a:pt x="138" y="993"/>
                    <a:pt x="140" y="993"/>
                  </a:cubicBezTo>
                  <a:cubicBezTo>
                    <a:pt x="158" y="1000"/>
                    <a:pt x="179" y="1007"/>
                    <a:pt x="202" y="1014"/>
                  </a:cubicBezTo>
                  <a:cubicBezTo>
                    <a:pt x="202" y="1014"/>
                    <a:pt x="203" y="1014"/>
                    <a:pt x="203" y="1015"/>
                  </a:cubicBezTo>
                  <a:cubicBezTo>
                    <a:pt x="203" y="1015"/>
                    <a:pt x="204" y="1015"/>
                    <a:pt x="204" y="1015"/>
                  </a:cubicBezTo>
                  <a:cubicBezTo>
                    <a:pt x="204" y="1015"/>
                    <a:pt x="205" y="1015"/>
                    <a:pt x="205" y="1015"/>
                  </a:cubicBezTo>
                  <a:cubicBezTo>
                    <a:pt x="207" y="1016"/>
                    <a:pt x="209" y="1016"/>
                    <a:pt x="211" y="1017"/>
                  </a:cubicBezTo>
                  <a:cubicBezTo>
                    <a:pt x="211" y="1017"/>
                    <a:pt x="212" y="1017"/>
                    <a:pt x="212" y="1017"/>
                  </a:cubicBezTo>
                  <a:cubicBezTo>
                    <a:pt x="221" y="1020"/>
                    <a:pt x="231" y="1023"/>
                    <a:pt x="241" y="1026"/>
                  </a:cubicBezTo>
                  <a:cubicBezTo>
                    <a:pt x="241" y="1026"/>
                    <a:pt x="241" y="1026"/>
                    <a:pt x="242" y="1026"/>
                  </a:cubicBezTo>
                  <a:cubicBezTo>
                    <a:pt x="254" y="1030"/>
                    <a:pt x="268" y="1034"/>
                    <a:pt x="282" y="1038"/>
                  </a:cubicBezTo>
                  <a:cubicBezTo>
                    <a:pt x="282" y="1038"/>
                    <a:pt x="283" y="1038"/>
                    <a:pt x="283" y="1038"/>
                  </a:cubicBezTo>
                  <a:cubicBezTo>
                    <a:pt x="294" y="1041"/>
                    <a:pt x="305" y="1044"/>
                    <a:pt x="316" y="1047"/>
                  </a:cubicBezTo>
                  <a:cubicBezTo>
                    <a:pt x="317" y="1047"/>
                    <a:pt x="317" y="1046"/>
                    <a:pt x="318" y="1046"/>
                  </a:cubicBezTo>
                  <a:cubicBezTo>
                    <a:pt x="306" y="1043"/>
                    <a:pt x="295" y="1040"/>
                    <a:pt x="284" y="1037"/>
                  </a:cubicBezTo>
                  <a:cubicBezTo>
                    <a:pt x="283" y="1037"/>
                    <a:pt x="283" y="1037"/>
                    <a:pt x="283" y="1037"/>
                  </a:cubicBezTo>
                  <a:cubicBezTo>
                    <a:pt x="269" y="1033"/>
                    <a:pt x="255" y="1029"/>
                    <a:pt x="242" y="1025"/>
                  </a:cubicBezTo>
                  <a:cubicBezTo>
                    <a:pt x="242" y="1025"/>
                    <a:pt x="242" y="1025"/>
                    <a:pt x="241" y="1025"/>
                  </a:cubicBezTo>
                  <a:cubicBezTo>
                    <a:pt x="232" y="1022"/>
                    <a:pt x="222" y="1019"/>
                    <a:pt x="213" y="1017"/>
                  </a:cubicBezTo>
                  <a:cubicBezTo>
                    <a:pt x="213" y="1016"/>
                    <a:pt x="212" y="1016"/>
                    <a:pt x="212" y="1016"/>
                  </a:cubicBezTo>
                  <a:cubicBezTo>
                    <a:pt x="210" y="1016"/>
                    <a:pt x="208" y="1015"/>
                    <a:pt x="207" y="1015"/>
                  </a:cubicBezTo>
                  <a:cubicBezTo>
                    <a:pt x="206" y="1014"/>
                    <a:pt x="206" y="1014"/>
                    <a:pt x="205" y="1014"/>
                  </a:cubicBezTo>
                  <a:cubicBezTo>
                    <a:pt x="205" y="1014"/>
                    <a:pt x="205" y="1014"/>
                    <a:pt x="204" y="1014"/>
                  </a:cubicBezTo>
                  <a:cubicBezTo>
                    <a:pt x="204" y="1014"/>
                    <a:pt x="203" y="1014"/>
                    <a:pt x="203" y="1013"/>
                  </a:cubicBezTo>
                  <a:cubicBezTo>
                    <a:pt x="181" y="1007"/>
                    <a:pt x="161" y="1000"/>
                    <a:pt x="143" y="993"/>
                  </a:cubicBezTo>
                  <a:cubicBezTo>
                    <a:pt x="142" y="993"/>
                    <a:pt x="141" y="992"/>
                    <a:pt x="140" y="992"/>
                  </a:cubicBezTo>
                  <a:cubicBezTo>
                    <a:pt x="117" y="984"/>
                    <a:pt x="98" y="976"/>
                    <a:pt x="82" y="968"/>
                  </a:cubicBezTo>
                  <a:cubicBezTo>
                    <a:pt x="81" y="967"/>
                    <a:pt x="80" y="967"/>
                    <a:pt x="79" y="967"/>
                  </a:cubicBezTo>
                  <a:cubicBezTo>
                    <a:pt x="77" y="966"/>
                    <a:pt x="75" y="965"/>
                    <a:pt x="74" y="964"/>
                  </a:cubicBezTo>
                  <a:moveTo>
                    <a:pt x="1196" y="980"/>
                  </a:moveTo>
                  <a:cubicBezTo>
                    <a:pt x="1187" y="993"/>
                    <a:pt x="1180" y="1006"/>
                    <a:pt x="1174" y="1019"/>
                  </a:cubicBezTo>
                  <a:cubicBezTo>
                    <a:pt x="1175" y="1019"/>
                    <a:pt x="1175" y="1019"/>
                    <a:pt x="1175" y="1020"/>
                  </a:cubicBezTo>
                  <a:cubicBezTo>
                    <a:pt x="1181" y="1007"/>
                    <a:pt x="1188" y="994"/>
                    <a:pt x="1197" y="981"/>
                  </a:cubicBezTo>
                  <a:cubicBezTo>
                    <a:pt x="1197" y="981"/>
                    <a:pt x="1196" y="980"/>
                    <a:pt x="1196" y="980"/>
                  </a:cubicBezTo>
                  <a:moveTo>
                    <a:pt x="1174" y="1020"/>
                  </a:moveTo>
                  <a:cubicBezTo>
                    <a:pt x="1167" y="1036"/>
                    <a:pt x="1162" y="1052"/>
                    <a:pt x="1162" y="1067"/>
                  </a:cubicBezTo>
                  <a:cubicBezTo>
                    <a:pt x="1162" y="1068"/>
                    <a:pt x="1163" y="1068"/>
                    <a:pt x="1163" y="1068"/>
                  </a:cubicBezTo>
                  <a:cubicBezTo>
                    <a:pt x="1163" y="1053"/>
                    <a:pt x="1167" y="1037"/>
                    <a:pt x="1175" y="1021"/>
                  </a:cubicBezTo>
                  <a:cubicBezTo>
                    <a:pt x="1174" y="1020"/>
                    <a:pt x="1174" y="1020"/>
                    <a:pt x="1174" y="1020"/>
                  </a:cubicBezTo>
                  <a:moveTo>
                    <a:pt x="319" y="1047"/>
                  </a:moveTo>
                  <a:cubicBezTo>
                    <a:pt x="319" y="1047"/>
                    <a:pt x="318" y="1047"/>
                    <a:pt x="318" y="1047"/>
                  </a:cubicBezTo>
                  <a:cubicBezTo>
                    <a:pt x="321" y="1048"/>
                    <a:pt x="324" y="1049"/>
                    <a:pt x="327" y="1050"/>
                  </a:cubicBezTo>
                  <a:cubicBezTo>
                    <a:pt x="329" y="1050"/>
                    <a:pt x="332" y="1051"/>
                    <a:pt x="334" y="1051"/>
                  </a:cubicBezTo>
                  <a:cubicBezTo>
                    <a:pt x="335" y="1052"/>
                    <a:pt x="335" y="1052"/>
                    <a:pt x="335" y="1052"/>
                  </a:cubicBezTo>
                  <a:cubicBezTo>
                    <a:pt x="337" y="1052"/>
                    <a:pt x="339" y="1053"/>
                    <a:pt x="341" y="1053"/>
                  </a:cubicBezTo>
                  <a:cubicBezTo>
                    <a:pt x="341" y="1053"/>
                    <a:pt x="342" y="1053"/>
                    <a:pt x="343" y="1052"/>
                  </a:cubicBezTo>
                  <a:cubicBezTo>
                    <a:pt x="340" y="1052"/>
                    <a:pt x="338" y="1051"/>
                    <a:pt x="336" y="1051"/>
                  </a:cubicBezTo>
                  <a:cubicBezTo>
                    <a:pt x="335" y="1051"/>
                    <a:pt x="335" y="1051"/>
                    <a:pt x="335" y="1051"/>
                  </a:cubicBezTo>
                  <a:cubicBezTo>
                    <a:pt x="332" y="1050"/>
                    <a:pt x="329" y="1049"/>
                    <a:pt x="327" y="1049"/>
                  </a:cubicBezTo>
                  <a:cubicBezTo>
                    <a:pt x="324" y="1048"/>
                    <a:pt x="322" y="1047"/>
                    <a:pt x="319" y="1047"/>
                  </a:cubicBezTo>
                  <a:moveTo>
                    <a:pt x="345" y="1053"/>
                  </a:moveTo>
                  <a:cubicBezTo>
                    <a:pt x="344" y="1053"/>
                    <a:pt x="343" y="1053"/>
                    <a:pt x="343" y="1053"/>
                  </a:cubicBezTo>
                  <a:cubicBezTo>
                    <a:pt x="351" y="1055"/>
                    <a:pt x="358" y="1056"/>
                    <a:pt x="366" y="1058"/>
                  </a:cubicBezTo>
                  <a:cubicBezTo>
                    <a:pt x="367" y="1057"/>
                    <a:pt x="368" y="1057"/>
                    <a:pt x="368" y="1057"/>
                  </a:cubicBezTo>
                  <a:cubicBezTo>
                    <a:pt x="360" y="1056"/>
                    <a:pt x="353" y="1054"/>
                    <a:pt x="345" y="1053"/>
                  </a:cubicBezTo>
                  <a:moveTo>
                    <a:pt x="371" y="1057"/>
                  </a:moveTo>
                  <a:cubicBezTo>
                    <a:pt x="370" y="1058"/>
                    <a:pt x="369" y="1058"/>
                    <a:pt x="368" y="1058"/>
                  </a:cubicBezTo>
                  <a:cubicBezTo>
                    <a:pt x="378" y="1059"/>
                    <a:pt x="387" y="1061"/>
                    <a:pt x="397" y="1062"/>
                  </a:cubicBezTo>
                  <a:cubicBezTo>
                    <a:pt x="397" y="1061"/>
                    <a:pt x="398" y="1061"/>
                    <a:pt x="399" y="1061"/>
                  </a:cubicBezTo>
                  <a:cubicBezTo>
                    <a:pt x="390" y="1060"/>
                    <a:pt x="380" y="1059"/>
                    <a:pt x="371" y="1057"/>
                  </a:cubicBezTo>
                  <a:moveTo>
                    <a:pt x="402" y="1061"/>
                  </a:moveTo>
                  <a:cubicBezTo>
                    <a:pt x="401" y="1061"/>
                    <a:pt x="400" y="1062"/>
                    <a:pt x="399" y="1062"/>
                  </a:cubicBezTo>
                  <a:cubicBezTo>
                    <a:pt x="401" y="1062"/>
                    <a:pt x="403" y="1062"/>
                    <a:pt x="404" y="1062"/>
                  </a:cubicBezTo>
                  <a:cubicBezTo>
                    <a:pt x="405" y="1062"/>
                    <a:pt x="406" y="1062"/>
                    <a:pt x="407" y="1062"/>
                  </a:cubicBezTo>
                  <a:cubicBezTo>
                    <a:pt x="413" y="1063"/>
                    <a:pt x="420" y="1063"/>
                    <a:pt x="426" y="1064"/>
                  </a:cubicBezTo>
                  <a:cubicBezTo>
                    <a:pt x="427" y="1063"/>
                    <a:pt x="428" y="1063"/>
                    <a:pt x="429" y="1063"/>
                  </a:cubicBezTo>
                  <a:cubicBezTo>
                    <a:pt x="422" y="1063"/>
                    <a:pt x="416" y="1062"/>
                    <a:pt x="409" y="1062"/>
                  </a:cubicBezTo>
                  <a:cubicBezTo>
                    <a:pt x="408" y="1062"/>
                    <a:pt x="407" y="1061"/>
                    <a:pt x="407" y="1061"/>
                  </a:cubicBezTo>
                  <a:cubicBezTo>
                    <a:pt x="405" y="1061"/>
                    <a:pt x="403" y="1061"/>
                    <a:pt x="402" y="1061"/>
                  </a:cubicBezTo>
                  <a:moveTo>
                    <a:pt x="602" y="1061"/>
                  </a:moveTo>
                  <a:cubicBezTo>
                    <a:pt x="598" y="1061"/>
                    <a:pt x="593" y="1061"/>
                    <a:pt x="589" y="1061"/>
                  </a:cubicBezTo>
                  <a:cubicBezTo>
                    <a:pt x="588" y="1062"/>
                    <a:pt x="586" y="1062"/>
                    <a:pt x="585" y="1063"/>
                  </a:cubicBezTo>
                  <a:cubicBezTo>
                    <a:pt x="591" y="1062"/>
                    <a:pt x="596" y="1062"/>
                    <a:pt x="602" y="1062"/>
                  </a:cubicBezTo>
                  <a:cubicBezTo>
                    <a:pt x="603" y="1062"/>
                    <a:pt x="604" y="1062"/>
                    <a:pt x="605" y="1062"/>
                  </a:cubicBezTo>
                  <a:cubicBezTo>
                    <a:pt x="610" y="1062"/>
                    <a:pt x="615" y="1062"/>
                    <a:pt x="620" y="1062"/>
                  </a:cubicBezTo>
                  <a:cubicBezTo>
                    <a:pt x="620" y="1062"/>
                    <a:pt x="620" y="1062"/>
                    <a:pt x="620" y="1062"/>
                  </a:cubicBezTo>
                  <a:cubicBezTo>
                    <a:pt x="616" y="1061"/>
                    <a:pt x="612" y="1061"/>
                    <a:pt x="608" y="1061"/>
                  </a:cubicBezTo>
                  <a:cubicBezTo>
                    <a:pt x="606" y="1061"/>
                    <a:pt x="604" y="1061"/>
                    <a:pt x="602" y="1061"/>
                  </a:cubicBezTo>
                  <a:moveTo>
                    <a:pt x="585" y="1061"/>
                  </a:moveTo>
                  <a:cubicBezTo>
                    <a:pt x="573" y="1062"/>
                    <a:pt x="562" y="1062"/>
                    <a:pt x="550" y="1062"/>
                  </a:cubicBezTo>
                  <a:cubicBezTo>
                    <a:pt x="548" y="1063"/>
                    <a:pt x="547" y="1063"/>
                    <a:pt x="546" y="1063"/>
                  </a:cubicBezTo>
                  <a:cubicBezTo>
                    <a:pt x="547" y="1063"/>
                    <a:pt x="548" y="1063"/>
                    <a:pt x="549" y="1063"/>
                  </a:cubicBezTo>
                  <a:cubicBezTo>
                    <a:pt x="549" y="1063"/>
                    <a:pt x="550" y="1063"/>
                    <a:pt x="550" y="1063"/>
                  </a:cubicBezTo>
                  <a:cubicBezTo>
                    <a:pt x="561" y="1063"/>
                    <a:pt x="571" y="1063"/>
                    <a:pt x="581" y="1063"/>
                  </a:cubicBezTo>
                  <a:cubicBezTo>
                    <a:pt x="582" y="1062"/>
                    <a:pt x="583" y="1062"/>
                    <a:pt x="585" y="1061"/>
                  </a:cubicBezTo>
                  <a:moveTo>
                    <a:pt x="638" y="1062"/>
                  </a:moveTo>
                  <a:cubicBezTo>
                    <a:pt x="637" y="1063"/>
                    <a:pt x="636" y="1063"/>
                    <a:pt x="635" y="1063"/>
                  </a:cubicBezTo>
                  <a:cubicBezTo>
                    <a:pt x="635" y="1063"/>
                    <a:pt x="635" y="1063"/>
                    <a:pt x="635" y="1063"/>
                  </a:cubicBezTo>
                  <a:cubicBezTo>
                    <a:pt x="636" y="1063"/>
                    <a:pt x="637" y="1063"/>
                    <a:pt x="638" y="1062"/>
                  </a:cubicBezTo>
                  <a:moveTo>
                    <a:pt x="545" y="1062"/>
                  </a:moveTo>
                  <a:cubicBezTo>
                    <a:pt x="537" y="1063"/>
                    <a:pt x="528" y="1063"/>
                    <a:pt x="520" y="1063"/>
                  </a:cubicBezTo>
                  <a:cubicBezTo>
                    <a:pt x="519" y="1063"/>
                    <a:pt x="518" y="1063"/>
                    <a:pt x="517" y="1063"/>
                  </a:cubicBezTo>
                  <a:cubicBezTo>
                    <a:pt x="514" y="1063"/>
                    <a:pt x="512" y="1063"/>
                    <a:pt x="510" y="1063"/>
                  </a:cubicBezTo>
                  <a:cubicBezTo>
                    <a:pt x="508" y="1064"/>
                    <a:pt x="507" y="1064"/>
                    <a:pt x="506" y="1064"/>
                  </a:cubicBezTo>
                  <a:cubicBezTo>
                    <a:pt x="509" y="1064"/>
                    <a:pt x="511" y="1064"/>
                    <a:pt x="514" y="1064"/>
                  </a:cubicBezTo>
                  <a:cubicBezTo>
                    <a:pt x="515" y="1064"/>
                    <a:pt x="516" y="1064"/>
                    <a:pt x="517" y="1064"/>
                  </a:cubicBezTo>
                  <a:cubicBezTo>
                    <a:pt x="525" y="1064"/>
                    <a:pt x="533" y="1064"/>
                    <a:pt x="541" y="1064"/>
                  </a:cubicBezTo>
                  <a:cubicBezTo>
                    <a:pt x="543" y="1063"/>
                    <a:pt x="544" y="1063"/>
                    <a:pt x="545" y="1062"/>
                  </a:cubicBezTo>
                  <a:moveTo>
                    <a:pt x="643" y="1063"/>
                  </a:moveTo>
                  <a:cubicBezTo>
                    <a:pt x="641" y="1063"/>
                    <a:pt x="640" y="1063"/>
                    <a:pt x="639" y="1063"/>
                  </a:cubicBezTo>
                  <a:cubicBezTo>
                    <a:pt x="639" y="1063"/>
                    <a:pt x="640" y="1063"/>
                    <a:pt x="641" y="1063"/>
                  </a:cubicBezTo>
                  <a:cubicBezTo>
                    <a:pt x="642" y="1064"/>
                    <a:pt x="644" y="1064"/>
                    <a:pt x="645" y="1064"/>
                  </a:cubicBezTo>
                  <a:cubicBezTo>
                    <a:pt x="646" y="1064"/>
                    <a:pt x="648" y="1064"/>
                    <a:pt x="649" y="1064"/>
                  </a:cubicBezTo>
                  <a:cubicBezTo>
                    <a:pt x="652" y="1064"/>
                    <a:pt x="656" y="1065"/>
                    <a:pt x="659" y="1065"/>
                  </a:cubicBezTo>
                  <a:cubicBezTo>
                    <a:pt x="660" y="1065"/>
                    <a:pt x="662" y="1065"/>
                    <a:pt x="663" y="1066"/>
                  </a:cubicBezTo>
                  <a:cubicBezTo>
                    <a:pt x="677" y="1067"/>
                    <a:pt x="689" y="1070"/>
                    <a:pt x="700" y="1073"/>
                  </a:cubicBezTo>
                  <a:cubicBezTo>
                    <a:pt x="700" y="1073"/>
                    <a:pt x="700" y="1073"/>
                    <a:pt x="700" y="1072"/>
                  </a:cubicBezTo>
                  <a:cubicBezTo>
                    <a:pt x="688" y="1068"/>
                    <a:pt x="674" y="1066"/>
                    <a:pt x="659" y="1064"/>
                  </a:cubicBezTo>
                  <a:cubicBezTo>
                    <a:pt x="658" y="1064"/>
                    <a:pt x="657" y="1064"/>
                    <a:pt x="655" y="1064"/>
                  </a:cubicBezTo>
                  <a:cubicBezTo>
                    <a:pt x="652" y="1063"/>
                    <a:pt x="649" y="1063"/>
                    <a:pt x="645" y="1063"/>
                  </a:cubicBezTo>
                  <a:cubicBezTo>
                    <a:pt x="644" y="1063"/>
                    <a:pt x="643" y="1063"/>
                    <a:pt x="643" y="1063"/>
                  </a:cubicBezTo>
                  <a:moveTo>
                    <a:pt x="432" y="1063"/>
                  </a:moveTo>
                  <a:cubicBezTo>
                    <a:pt x="431" y="1063"/>
                    <a:pt x="430" y="1064"/>
                    <a:pt x="429" y="1064"/>
                  </a:cubicBezTo>
                  <a:cubicBezTo>
                    <a:pt x="436" y="1064"/>
                    <a:pt x="443" y="1064"/>
                    <a:pt x="450" y="1065"/>
                  </a:cubicBezTo>
                  <a:cubicBezTo>
                    <a:pt x="451" y="1065"/>
                    <a:pt x="452" y="1065"/>
                    <a:pt x="452" y="1065"/>
                  </a:cubicBezTo>
                  <a:cubicBezTo>
                    <a:pt x="454" y="1065"/>
                    <a:pt x="456" y="1065"/>
                    <a:pt x="457" y="1065"/>
                  </a:cubicBezTo>
                  <a:cubicBezTo>
                    <a:pt x="458" y="1064"/>
                    <a:pt x="459" y="1064"/>
                    <a:pt x="460" y="1064"/>
                  </a:cubicBezTo>
                  <a:cubicBezTo>
                    <a:pt x="458" y="1064"/>
                    <a:pt x="456" y="1064"/>
                    <a:pt x="455" y="1064"/>
                  </a:cubicBezTo>
                  <a:cubicBezTo>
                    <a:pt x="454" y="1064"/>
                    <a:pt x="453" y="1064"/>
                    <a:pt x="452" y="1064"/>
                  </a:cubicBezTo>
                  <a:cubicBezTo>
                    <a:pt x="445" y="1063"/>
                    <a:pt x="439" y="1063"/>
                    <a:pt x="432" y="1063"/>
                  </a:cubicBezTo>
                  <a:moveTo>
                    <a:pt x="506" y="1063"/>
                  </a:moveTo>
                  <a:cubicBezTo>
                    <a:pt x="501" y="1064"/>
                    <a:pt x="496" y="1064"/>
                    <a:pt x="491" y="1064"/>
                  </a:cubicBezTo>
                  <a:cubicBezTo>
                    <a:pt x="490" y="1064"/>
                    <a:pt x="490" y="1064"/>
                    <a:pt x="489" y="1064"/>
                  </a:cubicBezTo>
                  <a:cubicBezTo>
                    <a:pt x="484" y="1064"/>
                    <a:pt x="479" y="1064"/>
                    <a:pt x="474" y="1064"/>
                  </a:cubicBezTo>
                  <a:cubicBezTo>
                    <a:pt x="470" y="1064"/>
                    <a:pt x="467" y="1064"/>
                    <a:pt x="464" y="1064"/>
                  </a:cubicBezTo>
                  <a:cubicBezTo>
                    <a:pt x="463" y="1064"/>
                    <a:pt x="462" y="1064"/>
                    <a:pt x="461" y="1065"/>
                  </a:cubicBezTo>
                  <a:cubicBezTo>
                    <a:pt x="465" y="1065"/>
                    <a:pt x="469" y="1065"/>
                    <a:pt x="474" y="1065"/>
                  </a:cubicBezTo>
                  <a:cubicBezTo>
                    <a:pt x="479" y="1065"/>
                    <a:pt x="485" y="1065"/>
                    <a:pt x="490" y="1065"/>
                  </a:cubicBezTo>
                  <a:cubicBezTo>
                    <a:pt x="491" y="1065"/>
                    <a:pt x="491" y="1065"/>
                    <a:pt x="492" y="1065"/>
                  </a:cubicBezTo>
                  <a:cubicBezTo>
                    <a:pt x="495" y="1065"/>
                    <a:pt x="498" y="1065"/>
                    <a:pt x="502" y="1065"/>
                  </a:cubicBezTo>
                  <a:cubicBezTo>
                    <a:pt x="503" y="1064"/>
                    <a:pt x="504" y="1064"/>
                    <a:pt x="506" y="1063"/>
                  </a:cubicBezTo>
                  <a:moveTo>
                    <a:pt x="1162" y="1069"/>
                  </a:moveTo>
                  <a:cubicBezTo>
                    <a:pt x="1162" y="1069"/>
                    <a:pt x="1162" y="1070"/>
                    <a:pt x="1162" y="1071"/>
                  </a:cubicBezTo>
                  <a:cubicBezTo>
                    <a:pt x="1162" y="1088"/>
                    <a:pt x="1167" y="1105"/>
                    <a:pt x="1178" y="1121"/>
                  </a:cubicBezTo>
                  <a:cubicBezTo>
                    <a:pt x="1190" y="1138"/>
                    <a:pt x="1199" y="1153"/>
                    <a:pt x="1207" y="1167"/>
                  </a:cubicBezTo>
                  <a:cubicBezTo>
                    <a:pt x="1208" y="1168"/>
                    <a:pt x="1209" y="1168"/>
                    <a:pt x="1210" y="1169"/>
                  </a:cubicBezTo>
                  <a:cubicBezTo>
                    <a:pt x="1202" y="1155"/>
                    <a:pt x="1191" y="1138"/>
                    <a:pt x="1179" y="1120"/>
                  </a:cubicBezTo>
                  <a:cubicBezTo>
                    <a:pt x="1168" y="1105"/>
                    <a:pt x="1163" y="1088"/>
                    <a:pt x="1163" y="1071"/>
                  </a:cubicBezTo>
                  <a:cubicBezTo>
                    <a:pt x="1163" y="1070"/>
                    <a:pt x="1163" y="1070"/>
                    <a:pt x="1163" y="1070"/>
                  </a:cubicBezTo>
                  <a:cubicBezTo>
                    <a:pt x="1163" y="1069"/>
                    <a:pt x="1162" y="1069"/>
                    <a:pt x="1162" y="1069"/>
                  </a:cubicBezTo>
                  <a:moveTo>
                    <a:pt x="701" y="1073"/>
                  </a:moveTo>
                  <a:cubicBezTo>
                    <a:pt x="701" y="1073"/>
                    <a:pt x="701" y="1073"/>
                    <a:pt x="701" y="1074"/>
                  </a:cubicBezTo>
                  <a:cubicBezTo>
                    <a:pt x="708" y="1076"/>
                    <a:pt x="714" y="1078"/>
                    <a:pt x="719" y="1081"/>
                  </a:cubicBezTo>
                  <a:cubicBezTo>
                    <a:pt x="719" y="1081"/>
                    <a:pt x="719" y="1080"/>
                    <a:pt x="719" y="1080"/>
                  </a:cubicBezTo>
                  <a:cubicBezTo>
                    <a:pt x="713" y="1077"/>
                    <a:pt x="707" y="1075"/>
                    <a:pt x="701" y="1073"/>
                  </a:cubicBezTo>
                  <a:moveTo>
                    <a:pt x="720" y="1080"/>
                  </a:moveTo>
                  <a:cubicBezTo>
                    <a:pt x="720" y="1081"/>
                    <a:pt x="720" y="1081"/>
                    <a:pt x="720" y="1082"/>
                  </a:cubicBezTo>
                  <a:cubicBezTo>
                    <a:pt x="723" y="1083"/>
                    <a:pt x="725" y="1084"/>
                    <a:pt x="727" y="1086"/>
                  </a:cubicBezTo>
                  <a:cubicBezTo>
                    <a:pt x="728" y="1086"/>
                    <a:pt x="729" y="1087"/>
                    <a:pt x="729" y="1087"/>
                  </a:cubicBezTo>
                  <a:cubicBezTo>
                    <a:pt x="733" y="1090"/>
                    <a:pt x="736" y="1092"/>
                    <a:pt x="740" y="1095"/>
                  </a:cubicBezTo>
                  <a:cubicBezTo>
                    <a:pt x="739" y="1095"/>
                    <a:pt x="739" y="1094"/>
                    <a:pt x="739" y="1094"/>
                  </a:cubicBezTo>
                  <a:cubicBezTo>
                    <a:pt x="737" y="1092"/>
                    <a:pt x="735" y="1090"/>
                    <a:pt x="732" y="1088"/>
                  </a:cubicBezTo>
                  <a:cubicBezTo>
                    <a:pt x="731" y="1087"/>
                    <a:pt x="731" y="1087"/>
                    <a:pt x="730" y="1086"/>
                  </a:cubicBezTo>
                  <a:cubicBezTo>
                    <a:pt x="727" y="1084"/>
                    <a:pt x="723" y="1082"/>
                    <a:pt x="720" y="1080"/>
                  </a:cubicBezTo>
                  <a:moveTo>
                    <a:pt x="740" y="1095"/>
                  </a:moveTo>
                  <a:cubicBezTo>
                    <a:pt x="741" y="1095"/>
                    <a:pt x="741" y="1096"/>
                    <a:pt x="741" y="1096"/>
                  </a:cubicBezTo>
                  <a:cubicBezTo>
                    <a:pt x="742" y="1098"/>
                    <a:pt x="744" y="1099"/>
                    <a:pt x="745" y="1101"/>
                  </a:cubicBezTo>
                  <a:cubicBezTo>
                    <a:pt x="746" y="1101"/>
                    <a:pt x="746" y="1102"/>
                    <a:pt x="746" y="1102"/>
                  </a:cubicBezTo>
                  <a:cubicBezTo>
                    <a:pt x="748" y="1104"/>
                    <a:pt x="750" y="1106"/>
                    <a:pt x="751" y="1108"/>
                  </a:cubicBezTo>
                  <a:cubicBezTo>
                    <a:pt x="752" y="1109"/>
                    <a:pt x="752" y="1110"/>
                    <a:pt x="752" y="1110"/>
                  </a:cubicBezTo>
                  <a:cubicBezTo>
                    <a:pt x="752" y="1110"/>
                    <a:pt x="752" y="1110"/>
                    <a:pt x="752" y="1111"/>
                  </a:cubicBezTo>
                  <a:cubicBezTo>
                    <a:pt x="755" y="1112"/>
                    <a:pt x="758" y="1113"/>
                    <a:pt x="761" y="1115"/>
                  </a:cubicBezTo>
                  <a:cubicBezTo>
                    <a:pt x="761" y="1114"/>
                    <a:pt x="761" y="1114"/>
                    <a:pt x="761" y="1114"/>
                  </a:cubicBezTo>
                  <a:cubicBezTo>
                    <a:pt x="759" y="1112"/>
                    <a:pt x="756" y="1111"/>
                    <a:pt x="753" y="1110"/>
                  </a:cubicBezTo>
                  <a:cubicBezTo>
                    <a:pt x="753" y="1110"/>
                    <a:pt x="753" y="1109"/>
                    <a:pt x="753" y="1109"/>
                  </a:cubicBezTo>
                  <a:cubicBezTo>
                    <a:pt x="751" y="1107"/>
                    <a:pt x="750" y="1105"/>
                    <a:pt x="748" y="1103"/>
                  </a:cubicBezTo>
                  <a:cubicBezTo>
                    <a:pt x="748" y="1103"/>
                    <a:pt x="747" y="1102"/>
                    <a:pt x="747" y="1102"/>
                  </a:cubicBezTo>
                  <a:cubicBezTo>
                    <a:pt x="745" y="1099"/>
                    <a:pt x="743" y="1097"/>
                    <a:pt x="740" y="1095"/>
                  </a:cubicBezTo>
                  <a:moveTo>
                    <a:pt x="762" y="1114"/>
                  </a:moveTo>
                  <a:cubicBezTo>
                    <a:pt x="762" y="1115"/>
                    <a:pt x="762" y="1115"/>
                    <a:pt x="763" y="1115"/>
                  </a:cubicBezTo>
                  <a:cubicBezTo>
                    <a:pt x="770" y="1119"/>
                    <a:pt x="777" y="1122"/>
                    <a:pt x="784" y="1126"/>
                  </a:cubicBezTo>
                  <a:cubicBezTo>
                    <a:pt x="784" y="1125"/>
                    <a:pt x="784" y="1125"/>
                    <a:pt x="784" y="1125"/>
                  </a:cubicBezTo>
                  <a:cubicBezTo>
                    <a:pt x="783" y="1124"/>
                    <a:pt x="783" y="1124"/>
                    <a:pt x="783" y="1124"/>
                  </a:cubicBezTo>
                  <a:cubicBezTo>
                    <a:pt x="776" y="1121"/>
                    <a:pt x="769" y="1118"/>
                    <a:pt x="762" y="1114"/>
                  </a:cubicBezTo>
                  <a:moveTo>
                    <a:pt x="785" y="1125"/>
                  </a:moveTo>
                  <a:cubicBezTo>
                    <a:pt x="785" y="1126"/>
                    <a:pt x="785" y="1126"/>
                    <a:pt x="785" y="1126"/>
                  </a:cubicBezTo>
                  <a:cubicBezTo>
                    <a:pt x="792" y="1129"/>
                    <a:pt x="797" y="1132"/>
                    <a:pt x="803" y="1135"/>
                  </a:cubicBezTo>
                  <a:cubicBezTo>
                    <a:pt x="805" y="1136"/>
                    <a:pt x="808" y="1137"/>
                    <a:pt x="810" y="1138"/>
                  </a:cubicBezTo>
                  <a:cubicBezTo>
                    <a:pt x="809" y="1138"/>
                    <a:pt x="809" y="1137"/>
                    <a:pt x="809" y="1137"/>
                  </a:cubicBezTo>
                  <a:cubicBezTo>
                    <a:pt x="801" y="1133"/>
                    <a:pt x="793" y="1129"/>
                    <a:pt x="785" y="1125"/>
                  </a:cubicBezTo>
                  <a:moveTo>
                    <a:pt x="810" y="1137"/>
                  </a:moveTo>
                  <a:cubicBezTo>
                    <a:pt x="811" y="1138"/>
                    <a:pt x="811" y="1138"/>
                    <a:pt x="811" y="1139"/>
                  </a:cubicBezTo>
                  <a:cubicBezTo>
                    <a:pt x="811" y="1139"/>
                    <a:pt x="812" y="1139"/>
                    <a:pt x="813" y="1139"/>
                  </a:cubicBezTo>
                  <a:cubicBezTo>
                    <a:pt x="820" y="1143"/>
                    <a:pt x="826" y="1146"/>
                    <a:pt x="833" y="1149"/>
                  </a:cubicBezTo>
                  <a:cubicBezTo>
                    <a:pt x="838" y="1151"/>
                    <a:pt x="843" y="1154"/>
                    <a:pt x="847" y="1156"/>
                  </a:cubicBezTo>
                  <a:cubicBezTo>
                    <a:pt x="847" y="1155"/>
                    <a:pt x="847" y="1155"/>
                    <a:pt x="846" y="1154"/>
                  </a:cubicBezTo>
                  <a:cubicBezTo>
                    <a:pt x="838" y="1150"/>
                    <a:pt x="830" y="1147"/>
                    <a:pt x="822" y="1143"/>
                  </a:cubicBezTo>
                  <a:cubicBezTo>
                    <a:pt x="819" y="1141"/>
                    <a:pt x="816" y="1140"/>
                    <a:pt x="813" y="1138"/>
                  </a:cubicBezTo>
                  <a:cubicBezTo>
                    <a:pt x="812" y="1138"/>
                    <a:pt x="811" y="1138"/>
                    <a:pt x="810" y="1137"/>
                  </a:cubicBezTo>
                  <a:moveTo>
                    <a:pt x="848" y="1155"/>
                  </a:moveTo>
                  <a:cubicBezTo>
                    <a:pt x="848" y="1155"/>
                    <a:pt x="849" y="1156"/>
                    <a:pt x="849" y="1157"/>
                  </a:cubicBezTo>
                  <a:cubicBezTo>
                    <a:pt x="850" y="1157"/>
                    <a:pt x="850" y="1157"/>
                    <a:pt x="850" y="1157"/>
                  </a:cubicBezTo>
                  <a:cubicBezTo>
                    <a:pt x="862" y="1163"/>
                    <a:pt x="874" y="1168"/>
                    <a:pt x="885" y="1173"/>
                  </a:cubicBezTo>
                  <a:cubicBezTo>
                    <a:pt x="885" y="1173"/>
                    <a:pt x="884" y="1172"/>
                    <a:pt x="884" y="1171"/>
                  </a:cubicBezTo>
                  <a:cubicBezTo>
                    <a:pt x="878" y="1169"/>
                    <a:pt x="873" y="1167"/>
                    <a:pt x="868" y="1164"/>
                  </a:cubicBezTo>
                  <a:cubicBezTo>
                    <a:pt x="862" y="1162"/>
                    <a:pt x="857" y="1159"/>
                    <a:pt x="851" y="1156"/>
                  </a:cubicBezTo>
                  <a:cubicBezTo>
                    <a:pt x="850" y="1156"/>
                    <a:pt x="849" y="1155"/>
                    <a:pt x="848" y="1155"/>
                  </a:cubicBezTo>
                  <a:moveTo>
                    <a:pt x="1209" y="1170"/>
                  </a:moveTo>
                  <a:cubicBezTo>
                    <a:pt x="1227" y="1201"/>
                    <a:pt x="1236" y="1225"/>
                    <a:pt x="1236" y="1242"/>
                  </a:cubicBezTo>
                  <a:cubicBezTo>
                    <a:pt x="1236" y="1265"/>
                    <a:pt x="1220" y="1276"/>
                    <a:pt x="1191" y="1276"/>
                  </a:cubicBezTo>
                  <a:cubicBezTo>
                    <a:pt x="1190" y="1276"/>
                    <a:pt x="1190" y="1276"/>
                    <a:pt x="1190" y="1276"/>
                  </a:cubicBezTo>
                  <a:cubicBezTo>
                    <a:pt x="1153" y="1276"/>
                    <a:pt x="1093" y="1258"/>
                    <a:pt x="1014" y="1227"/>
                  </a:cubicBezTo>
                  <a:cubicBezTo>
                    <a:pt x="1015" y="1228"/>
                    <a:pt x="1016" y="1229"/>
                    <a:pt x="1017" y="1229"/>
                  </a:cubicBezTo>
                  <a:cubicBezTo>
                    <a:pt x="1094" y="1260"/>
                    <a:pt x="1153" y="1277"/>
                    <a:pt x="1191" y="1277"/>
                  </a:cubicBezTo>
                  <a:cubicBezTo>
                    <a:pt x="1220" y="1277"/>
                    <a:pt x="1237" y="1266"/>
                    <a:pt x="1237" y="1242"/>
                  </a:cubicBezTo>
                  <a:cubicBezTo>
                    <a:pt x="1237" y="1225"/>
                    <a:pt x="1229" y="1202"/>
                    <a:pt x="1212" y="1172"/>
                  </a:cubicBezTo>
                  <a:cubicBezTo>
                    <a:pt x="1211" y="1171"/>
                    <a:pt x="1210" y="1171"/>
                    <a:pt x="1209" y="1170"/>
                  </a:cubicBezTo>
                  <a:moveTo>
                    <a:pt x="886" y="1172"/>
                  </a:moveTo>
                  <a:cubicBezTo>
                    <a:pt x="886" y="1173"/>
                    <a:pt x="887" y="1174"/>
                    <a:pt x="887" y="1174"/>
                  </a:cubicBezTo>
                  <a:cubicBezTo>
                    <a:pt x="895" y="1178"/>
                    <a:pt x="903" y="1181"/>
                    <a:pt x="911" y="1185"/>
                  </a:cubicBezTo>
                  <a:cubicBezTo>
                    <a:pt x="906" y="1182"/>
                    <a:pt x="900" y="1179"/>
                    <a:pt x="895" y="1177"/>
                  </a:cubicBezTo>
                  <a:cubicBezTo>
                    <a:pt x="892" y="1175"/>
                    <a:pt x="889" y="1174"/>
                    <a:pt x="886" y="1172"/>
                  </a:cubicBezTo>
                  <a:moveTo>
                    <a:pt x="912" y="1184"/>
                  </a:moveTo>
                  <a:cubicBezTo>
                    <a:pt x="917" y="1187"/>
                    <a:pt x="922" y="1189"/>
                    <a:pt x="928" y="1192"/>
                  </a:cubicBezTo>
                  <a:cubicBezTo>
                    <a:pt x="928" y="1193"/>
                    <a:pt x="929" y="1193"/>
                    <a:pt x="930" y="1193"/>
                  </a:cubicBezTo>
                  <a:cubicBezTo>
                    <a:pt x="929" y="1193"/>
                    <a:pt x="929" y="1192"/>
                    <a:pt x="928" y="1191"/>
                  </a:cubicBezTo>
                  <a:cubicBezTo>
                    <a:pt x="928" y="1191"/>
                    <a:pt x="928" y="1191"/>
                    <a:pt x="927" y="1191"/>
                  </a:cubicBezTo>
                  <a:cubicBezTo>
                    <a:pt x="922" y="1189"/>
                    <a:pt x="917" y="1186"/>
                    <a:pt x="912" y="1184"/>
                  </a:cubicBezTo>
                  <a:moveTo>
                    <a:pt x="931" y="1193"/>
                  </a:moveTo>
                  <a:cubicBezTo>
                    <a:pt x="931" y="1193"/>
                    <a:pt x="932" y="1194"/>
                    <a:pt x="932" y="1194"/>
                  </a:cubicBezTo>
                  <a:cubicBezTo>
                    <a:pt x="933" y="1195"/>
                    <a:pt x="934" y="1195"/>
                    <a:pt x="935" y="1196"/>
                  </a:cubicBezTo>
                  <a:cubicBezTo>
                    <a:pt x="934" y="1195"/>
                    <a:pt x="932" y="1194"/>
                    <a:pt x="931" y="1193"/>
                  </a:cubicBezTo>
                  <a:moveTo>
                    <a:pt x="936" y="1195"/>
                  </a:moveTo>
                  <a:cubicBezTo>
                    <a:pt x="938" y="1196"/>
                    <a:pt x="941" y="1198"/>
                    <a:pt x="944" y="1199"/>
                  </a:cubicBezTo>
                  <a:cubicBezTo>
                    <a:pt x="948" y="1201"/>
                    <a:pt x="953" y="1203"/>
                    <a:pt x="957" y="1205"/>
                  </a:cubicBezTo>
                  <a:cubicBezTo>
                    <a:pt x="955" y="1204"/>
                    <a:pt x="954" y="1203"/>
                    <a:pt x="952" y="1202"/>
                  </a:cubicBezTo>
                  <a:cubicBezTo>
                    <a:pt x="947" y="1199"/>
                    <a:pt x="941" y="1197"/>
                    <a:pt x="936" y="1195"/>
                  </a:cubicBezTo>
                  <a:moveTo>
                    <a:pt x="957" y="1204"/>
                  </a:moveTo>
                  <a:cubicBezTo>
                    <a:pt x="959" y="1205"/>
                    <a:pt x="961" y="1206"/>
                    <a:pt x="963" y="1207"/>
                  </a:cubicBezTo>
                  <a:cubicBezTo>
                    <a:pt x="968" y="1209"/>
                    <a:pt x="972" y="1211"/>
                    <a:pt x="977" y="1213"/>
                  </a:cubicBezTo>
                  <a:cubicBezTo>
                    <a:pt x="976" y="1213"/>
                    <a:pt x="975" y="1212"/>
                    <a:pt x="973" y="1211"/>
                  </a:cubicBezTo>
                  <a:cubicBezTo>
                    <a:pt x="968" y="1209"/>
                    <a:pt x="963" y="1206"/>
                    <a:pt x="957" y="1204"/>
                  </a:cubicBezTo>
                  <a:moveTo>
                    <a:pt x="977" y="1212"/>
                  </a:moveTo>
                  <a:cubicBezTo>
                    <a:pt x="979" y="1213"/>
                    <a:pt x="980" y="1214"/>
                    <a:pt x="981" y="1215"/>
                  </a:cubicBezTo>
                  <a:cubicBezTo>
                    <a:pt x="981" y="1215"/>
                    <a:pt x="981" y="1215"/>
                    <a:pt x="981" y="1215"/>
                  </a:cubicBezTo>
                  <a:cubicBezTo>
                    <a:pt x="981" y="1215"/>
                    <a:pt x="980" y="1214"/>
                    <a:pt x="979" y="1213"/>
                  </a:cubicBezTo>
                  <a:cubicBezTo>
                    <a:pt x="979" y="1213"/>
                    <a:pt x="978" y="1213"/>
                    <a:pt x="977" y="1212"/>
                  </a:cubicBezTo>
                  <a:moveTo>
                    <a:pt x="982" y="1214"/>
                  </a:moveTo>
                  <a:cubicBezTo>
                    <a:pt x="983" y="1215"/>
                    <a:pt x="983" y="1216"/>
                    <a:pt x="984" y="1216"/>
                  </a:cubicBezTo>
                  <a:cubicBezTo>
                    <a:pt x="988" y="1218"/>
                    <a:pt x="992" y="1220"/>
                    <a:pt x="996" y="1221"/>
                  </a:cubicBezTo>
                  <a:cubicBezTo>
                    <a:pt x="995" y="1220"/>
                    <a:pt x="994" y="1220"/>
                    <a:pt x="993" y="1219"/>
                  </a:cubicBezTo>
                  <a:cubicBezTo>
                    <a:pt x="989" y="1217"/>
                    <a:pt x="985" y="1216"/>
                    <a:pt x="982" y="1214"/>
                  </a:cubicBezTo>
                  <a:moveTo>
                    <a:pt x="996" y="1220"/>
                  </a:moveTo>
                  <a:cubicBezTo>
                    <a:pt x="997" y="1221"/>
                    <a:pt x="998" y="1222"/>
                    <a:pt x="999" y="1223"/>
                  </a:cubicBezTo>
                  <a:cubicBezTo>
                    <a:pt x="1004" y="1224"/>
                    <a:pt x="1009" y="1226"/>
                    <a:pt x="1014" y="1228"/>
                  </a:cubicBezTo>
                  <a:cubicBezTo>
                    <a:pt x="1013" y="1228"/>
                    <a:pt x="1012" y="1227"/>
                    <a:pt x="1011" y="1226"/>
                  </a:cubicBezTo>
                  <a:cubicBezTo>
                    <a:pt x="1006" y="1224"/>
                    <a:pt x="1001" y="1222"/>
                    <a:pt x="996" y="1220"/>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60" name="Freeform 89"/>
            <p:cNvSpPr>
              <a:spLocks noEditPoints="1"/>
            </p:cNvSpPr>
            <p:nvPr userDrawn="1"/>
          </p:nvSpPr>
          <p:spPr bwMode="auto">
            <a:xfrm>
              <a:off x="2013" y="3415"/>
              <a:ext cx="3494" cy="2599"/>
            </a:xfrm>
            <a:custGeom>
              <a:avLst/>
              <a:gdLst>
                <a:gd name="T0" fmla="*/ 2147483646 w 1724"/>
                <a:gd name="T1" fmla="*/ 2147483646 h 1282"/>
                <a:gd name="T2" fmla="*/ 2147483646 w 1724"/>
                <a:gd name="T3" fmla="*/ 2147483646 h 1282"/>
                <a:gd name="T4" fmla="*/ 2147483646 w 1724"/>
                <a:gd name="T5" fmla="*/ 2147483646 h 1282"/>
                <a:gd name="T6" fmla="*/ 2147483646 w 1724"/>
                <a:gd name="T7" fmla="*/ 2147483646 h 1282"/>
                <a:gd name="T8" fmla="*/ 2147483646 w 1724"/>
                <a:gd name="T9" fmla="*/ 2147483646 h 1282"/>
                <a:gd name="T10" fmla="*/ 2147483646 w 1724"/>
                <a:gd name="T11" fmla="*/ 2147483646 h 1282"/>
                <a:gd name="T12" fmla="*/ 2147483646 w 1724"/>
                <a:gd name="T13" fmla="*/ 2147483646 h 1282"/>
                <a:gd name="T14" fmla="*/ 2147483646 w 1724"/>
                <a:gd name="T15" fmla="*/ 2147483646 h 1282"/>
                <a:gd name="T16" fmla="*/ 2147483646 w 1724"/>
                <a:gd name="T17" fmla="*/ 2147483646 h 1282"/>
                <a:gd name="T18" fmla="*/ 2147483646 w 1724"/>
                <a:gd name="T19" fmla="*/ 2147483646 h 1282"/>
                <a:gd name="T20" fmla="*/ 2147483646 w 1724"/>
                <a:gd name="T21" fmla="*/ 2147483646 h 1282"/>
                <a:gd name="T22" fmla="*/ 2147483646 w 1724"/>
                <a:gd name="T23" fmla="*/ 2147483646 h 1282"/>
                <a:gd name="T24" fmla="*/ 2147483646 w 1724"/>
                <a:gd name="T25" fmla="*/ 2147483646 h 1282"/>
                <a:gd name="T26" fmla="*/ 2147483646 w 1724"/>
                <a:gd name="T27" fmla="*/ 2147483646 h 1282"/>
                <a:gd name="T28" fmla="*/ 2147483646 w 1724"/>
                <a:gd name="T29" fmla="*/ 2147483646 h 1282"/>
                <a:gd name="T30" fmla="*/ 2147483646 w 1724"/>
                <a:gd name="T31" fmla="*/ 2147483646 h 1282"/>
                <a:gd name="T32" fmla="*/ 2147483646 w 1724"/>
                <a:gd name="T33" fmla="*/ 2147483646 h 1282"/>
                <a:gd name="T34" fmla="*/ 2147483646 w 1724"/>
                <a:gd name="T35" fmla="*/ 2147483646 h 1282"/>
                <a:gd name="T36" fmla="*/ 2147483646 w 1724"/>
                <a:gd name="T37" fmla="*/ 2147483646 h 1282"/>
                <a:gd name="T38" fmla="*/ 2147483646 w 1724"/>
                <a:gd name="T39" fmla="*/ 2147483646 h 1282"/>
                <a:gd name="T40" fmla="*/ 2147483646 w 1724"/>
                <a:gd name="T41" fmla="*/ 2147483646 h 1282"/>
                <a:gd name="T42" fmla="*/ 2147483646 w 1724"/>
                <a:gd name="T43" fmla="*/ 2147483646 h 1282"/>
                <a:gd name="T44" fmla="*/ 2147483646 w 1724"/>
                <a:gd name="T45" fmla="*/ 2147483646 h 1282"/>
                <a:gd name="T46" fmla="*/ 2147483646 w 1724"/>
                <a:gd name="T47" fmla="*/ 2147483646 h 1282"/>
                <a:gd name="T48" fmla="*/ 2147483646 w 1724"/>
                <a:gd name="T49" fmla="*/ 2147483646 h 1282"/>
                <a:gd name="T50" fmla="*/ 2147483646 w 1724"/>
                <a:gd name="T51" fmla="*/ 2147483646 h 1282"/>
                <a:gd name="T52" fmla="*/ 2147483646 w 1724"/>
                <a:gd name="T53" fmla="*/ 2147483646 h 1282"/>
                <a:gd name="T54" fmla="*/ 2147483646 w 1724"/>
                <a:gd name="T55" fmla="*/ 2147483646 h 1282"/>
                <a:gd name="T56" fmla="*/ 2147483646 w 1724"/>
                <a:gd name="T57" fmla="*/ 2147483646 h 1282"/>
                <a:gd name="T58" fmla="*/ 2147483646 w 1724"/>
                <a:gd name="T59" fmla="*/ 2147483646 h 1282"/>
                <a:gd name="T60" fmla="*/ 2147483646 w 1724"/>
                <a:gd name="T61" fmla="*/ 2147483646 h 1282"/>
                <a:gd name="T62" fmla="*/ 2147483646 w 1724"/>
                <a:gd name="T63" fmla="*/ 2147483646 h 1282"/>
                <a:gd name="T64" fmla="*/ 2147483646 w 1724"/>
                <a:gd name="T65" fmla="*/ 2147483646 h 1282"/>
                <a:gd name="T66" fmla="*/ 2147483646 w 1724"/>
                <a:gd name="T67" fmla="*/ 2147483646 h 1282"/>
                <a:gd name="T68" fmla="*/ 2147483646 w 1724"/>
                <a:gd name="T69" fmla="*/ 2147483646 h 1282"/>
                <a:gd name="T70" fmla="*/ 2147483646 w 1724"/>
                <a:gd name="T71" fmla="*/ 2147483646 h 1282"/>
                <a:gd name="T72" fmla="*/ 2147483646 w 1724"/>
                <a:gd name="T73" fmla="*/ 2147483646 h 1282"/>
                <a:gd name="T74" fmla="*/ 2147483646 w 1724"/>
                <a:gd name="T75" fmla="*/ 2147483646 h 1282"/>
                <a:gd name="T76" fmla="*/ 2147483646 w 1724"/>
                <a:gd name="T77" fmla="*/ 2147483646 h 1282"/>
                <a:gd name="T78" fmla="*/ 2147483646 w 1724"/>
                <a:gd name="T79" fmla="*/ 2147483646 h 1282"/>
                <a:gd name="T80" fmla="*/ 2147483646 w 1724"/>
                <a:gd name="T81" fmla="*/ 2147483646 h 1282"/>
                <a:gd name="T82" fmla="*/ 2147483646 w 1724"/>
                <a:gd name="T83" fmla="*/ 2147483646 h 1282"/>
                <a:gd name="T84" fmla="*/ 2147483646 w 1724"/>
                <a:gd name="T85" fmla="*/ 2147483646 h 1282"/>
                <a:gd name="T86" fmla="*/ 2147483646 w 1724"/>
                <a:gd name="T87" fmla="*/ 2147483646 h 1282"/>
                <a:gd name="T88" fmla="*/ 2147483646 w 1724"/>
                <a:gd name="T89" fmla="*/ 2147483646 h 1282"/>
                <a:gd name="T90" fmla="*/ 2147483646 w 1724"/>
                <a:gd name="T91" fmla="*/ 2147483646 h 1282"/>
                <a:gd name="T92" fmla="*/ 2147483646 w 1724"/>
                <a:gd name="T93" fmla="*/ 2147483646 h 1282"/>
                <a:gd name="T94" fmla="*/ 2147483646 w 1724"/>
                <a:gd name="T95" fmla="*/ 2147483646 h 1282"/>
                <a:gd name="T96" fmla="*/ 2147483646 w 1724"/>
                <a:gd name="T97" fmla="*/ 2147483646 h 1282"/>
                <a:gd name="T98" fmla="*/ 2147483646 w 1724"/>
                <a:gd name="T99" fmla="*/ 2147483646 h 1282"/>
                <a:gd name="T100" fmla="*/ 2147483646 w 1724"/>
                <a:gd name="T101" fmla="*/ 2147483646 h 1282"/>
                <a:gd name="T102" fmla="*/ 2147483646 w 1724"/>
                <a:gd name="T103" fmla="*/ 2147483646 h 1282"/>
                <a:gd name="T104" fmla="*/ 2147483646 w 1724"/>
                <a:gd name="T105" fmla="*/ 2147483646 h 1282"/>
                <a:gd name="T106" fmla="*/ 2147483646 w 1724"/>
                <a:gd name="T107" fmla="*/ 2147483646 h 1282"/>
                <a:gd name="T108" fmla="*/ 2147483646 w 1724"/>
                <a:gd name="T109" fmla="*/ 2147483646 h 1282"/>
                <a:gd name="T110" fmla="*/ 2147483646 w 1724"/>
                <a:gd name="T111" fmla="*/ 2147483646 h 1282"/>
                <a:gd name="T112" fmla="*/ 2147483646 w 1724"/>
                <a:gd name="T113" fmla="*/ 2147483646 h 1282"/>
                <a:gd name="T114" fmla="*/ 2147483646 w 1724"/>
                <a:gd name="T115" fmla="*/ 2147483646 h 1282"/>
                <a:gd name="T116" fmla="*/ 2147483646 w 1724"/>
                <a:gd name="T117" fmla="*/ 2147483646 h 1282"/>
                <a:gd name="T118" fmla="*/ 2147483646 w 1724"/>
                <a:gd name="T119" fmla="*/ 2147483646 h 1282"/>
                <a:gd name="T120" fmla="*/ 2147483646 w 1724"/>
                <a:gd name="T121" fmla="*/ 2147483646 h 128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24" h="1282">
                  <a:moveTo>
                    <a:pt x="1495" y="0"/>
                  </a:moveTo>
                  <a:cubicBezTo>
                    <a:pt x="1491" y="0"/>
                    <a:pt x="1487" y="0"/>
                    <a:pt x="1482" y="0"/>
                  </a:cubicBezTo>
                  <a:cubicBezTo>
                    <a:pt x="1482" y="0"/>
                    <a:pt x="1481" y="0"/>
                    <a:pt x="1481" y="0"/>
                  </a:cubicBezTo>
                  <a:cubicBezTo>
                    <a:pt x="1440" y="3"/>
                    <a:pt x="1402" y="20"/>
                    <a:pt x="1367" y="46"/>
                  </a:cubicBezTo>
                  <a:cubicBezTo>
                    <a:pt x="1366" y="46"/>
                    <a:pt x="1366" y="46"/>
                    <a:pt x="1366" y="46"/>
                  </a:cubicBezTo>
                  <a:cubicBezTo>
                    <a:pt x="1354" y="55"/>
                    <a:pt x="1342" y="65"/>
                    <a:pt x="1330" y="76"/>
                  </a:cubicBezTo>
                  <a:cubicBezTo>
                    <a:pt x="1330" y="77"/>
                    <a:pt x="1329" y="77"/>
                    <a:pt x="1329" y="77"/>
                  </a:cubicBezTo>
                  <a:cubicBezTo>
                    <a:pt x="1326" y="80"/>
                    <a:pt x="1323" y="83"/>
                    <a:pt x="1320" y="86"/>
                  </a:cubicBezTo>
                  <a:cubicBezTo>
                    <a:pt x="1313" y="93"/>
                    <a:pt x="1307" y="100"/>
                    <a:pt x="1300" y="107"/>
                  </a:cubicBezTo>
                  <a:cubicBezTo>
                    <a:pt x="1303" y="105"/>
                    <a:pt x="1305" y="102"/>
                    <a:pt x="1308" y="100"/>
                  </a:cubicBezTo>
                  <a:cubicBezTo>
                    <a:pt x="1309" y="99"/>
                    <a:pt x="1310" y="98"/>
                    <a:pt x="1311" y="97"/>
                  </a:cubicBezTo>
                  <a:cubicBezTo>
                    <a:pt x="1314" y="93"/>
                    <a:pt x="1317" y="90"/>
                    <a:pt x="1321" y="87"/>
                  </a:cubicBezTo>
                  <a:cubicBezTo>
                    <a:pt x="1322" y="85"/>
                    <a:pt x="1324" y="83"/>
                    <a:pt x="1326" y="82"/>
                  </a:cubicBezTo>
                  <a:cubicBezTo>
                    <a:pt x="1339" y="69"/>
                    <a:pt x="1352" y="57"/>
                    <a:pt x="1366" y="47"/>
                  </a:cubicBezTo>
                  <a:cubicBezTo>
                    <a:pt x="1367" y="47"/>
                    <a:pt x="1367" y="47"/>
                    <a:pt x="1367" y="46"/>
                  </a:cubicBezTo>
                  <a:cubicBezTo>
                    <a:pt x="1402" y="21"/>
                    <a:pt x="1441" y="4"/>
                    <a:pt x="1482" y="1"/>
                  </a:cubicBezTo>
                  <a:cubicBezTo>
                    <a:pt x="1482" y="1"/>
                    <a:pt x="1482" y="1"/>
                    <a:pt x="1483" y="1"/>
                  </a:cubicBezTo>
                  <a:cubicBezTo>
                    <a:pt x="1487" y="1"/>
                    <a:pt x="1491" y="1"/>
                    <a:pt x="1495" y="1"/>
                  </a:cubicBezTo>
                  <a:cubicBezTo>
                    <a:pt x="1522" y="1"/>
                    <a:pt x="1550" y="6"/>
                    <a:pt x="1579" y="19"/>
                  </a:cubicBezTo>
                  <a:cubicBezTo>
                    <a:pt x="1594" y="26"/>
                    <a:pt x="1607" y="32"/>
                    <a:pt x="1619" y="39"/>
                  </a:cubicBezTo>
                  <a:cubicBezTo>
                    <a:pt x="1619" y="39"/>
                    <a:pt x="1620" y="39"/>
                    <a:pt x="1620" y="40"/>
                  </a:cubicBezTo>
                  <a:cubicBezTo>
                    <a:pt x="1661" y="63"/>
                    <a:pt x="1689" y="89"/>
                    <a:pt x="1705" y="118"/>
                  </a:cubicBezTo>
                  <a:cubicBezTo>
                    <a:pt x="1705" y="118"/>
                    <a:pt x="1705" y="119"/>
                    <a:pt x="1705" y="119"/>
                  </a:cubicBezTo>
                  <a:cubicBezTo>
                    <a:pt x="1717" y="140"/>
                    <a:pt x="1723" y="163"/>
                    <a:pt x="1723" y="187"/>
                  </a:cubicBezTo>
                  <a:cubicBezTo>
                    <a:pt x="1723" y="197"/>
                    <a:pt x="1722" y="208"/>
                    <a:pt x="1720" y="218"/>
                  </a:cubicBezTo>
                  <a:cubicBezTo>
                    <a:pt x="1720" y="219"/>
                    <a:pt x="1719" y="220"/>
                    <a:pt x="1719" y="220"/>
                  </a:cubicBezTo>
                  <a:cubicBezTo>
                    <a:pt x="1719" y="224"/>
                    <a:pt x="1718" y="228"/>
                    <a:pt x="1717" y="231"/>
                  </a:cubicBezTo>
                  <a:cubicBezTo>
                    <a:pt x="1717" y="232"/>
                    <a:pt x="1716" y="233"/>
                    <a:pt x="1716" y="234"/>
                  </a:cubicBezTo>
                  <a:cubicBezTo>
                    <a:pt x="1715" y="236"/>
                    <a:pt x="1715" y="239"/>
                    <a:pt x="1714" y="242"/>
                  </a:cubicBezTo>
                  <a:cubicBezTo>
                    <a:pt x="1713" y="243"/>
                    <a:pt x="1713" y="244"/>
                    <a:pt x="1713" y="245"/>
                  </a:cubicBezTo>
                  <a:cubicBezTo>
                    <a:pt x="1707" y="261"/>
                    <a:pt x="1700" y="277"/>
                    <a:pt x="1691" y="294"/>
                  </a:cubicBezTo>
                  <a:cubicBezTo>
                    <a:pt x="1690" y="295"/>
                    <a:pt x="1689" y="297"/>
                    <a:pt x="1688" y="299"/>
                  </a:cubicBezTo>
                  <a:cubicBezTo>
                    <a:pt x="1684" y="305"/>
                    <a:pt x="1680" y="312"/>
                    <a:pt x="1676" y="318"/>
                  </a:cubicBezTo>
                  <a:cubicBezTo>
                    <a:pt x="1674" y="321"/>
                    <a:pt x="1672" y="324"/>
                    <a:pt x="1670" y="327"/>
                  </a:cubicBezTo>
                  <a:cubicBezTo>
                    <a:pt x="1667" y="332"/>
                    <a:pt x="1664" y="336"/>
                    <a:pt x="1660" y="340"/>
                  </a:cubicBezTo>
                  <a:cubicBezTo>
                    <a:pt x="1656" y="346"/>
                    <a:pt x="1651" y="353"/>
                    <a:pt x="1646" y="359"/>
                  </a:cubicBezTo>
                  <a:cubicBezTo>
                    <a:pt x="1642" y="365"/>
                    <a:pt x="1637" y="371"/>
                    <a:pt x="1632" y="377"/>
                  </a:cubicBezTo>
                  <a:cubicBezTo>
                    <a:pt x="1642" y="365"/>
                    <a:pt x="1652" y="353"/>
                    <a:pt x="1661" y="341"/>
                  </a:cubicBezTo>
                  <a:cubicBezTo>
                    <a:pt x="1665" y="335"/>
                    <a:pt x="1670" y="329"/>
                    <a:pt x="1673" y="324"/>
                  </a:cubicBezTo>
                  <a:cubicBezTo>
                    <a:pt x="1675" y="322"/>
                    <a:pt x="1676" y="320"/>
                    <a:pt x="1677" y="319"/>
                  </a:cubicBezTo>
                  <a:cubicBezTo>
                    <a:pt x="1679" y="316"/>
                    <a:pt x="1680" y="313"/>
                    <a:pt x="1682" y="310"/>
                  </a:cubicBezTo>
                  <a:cubicBezTo>
                    <a:pt x="1685" y="305"/>
                    <a:pt x="1689" y="300"/>
                    <a:pt x="1692" y="294"/>
                  </a:cubicBezTo>
                  <a:cubicBezTo>
                    <a:pt x="1693" y="293"/>
                    <a:pt x="1694" y="291"/>
                    <a:pt x="1694" y="289"/>
                  </a:cubicBezTo>
                  <a:cubicBezTo>
                    <a:pt x="1703" y="273"/>
                    <a:pt x="1710" y="258"/>
                    <a:pt x="1715" y="242"/>
                  </a:cubicBezTo>
                  <a:cubicBezTo>
                    <a:pt x="1715" y="241"/>
                    <a:pt x="1715" y="241"/>
                    <a:pt x="1715" y="240"/>
                  </a:cubicBezTo>
                  <a:cubicBezTo>
                    <a:pt x="1716" y="237"/>
                    <a:pt x="1717" y="234"/>
                    <a:pt x="1718" y="232"/>
                  </a:cubicBezTo>
                  <a:cubicBezTo>
                    <a:pt x="1718" y="231"/>
                    <a:pt x="1718" y="230"/>
                    <a:pt x="1718" y="229"/>
                  </a:cubicBezTo>
                  <a:cubicBezTo>
                    <a:pt x="1719" y="226"/>
                    <a:pt x="1720" y="222"/>
                    <a:pt x="1721" y="219"/>
                  </a:cubicBezTo>
                  <a:cubicBezTo>
                    <a:pt x="1721" y="218"/>
                    <a:pt x="1721" y="217"/>
                    <a:pt x="1721" y="217"/>
                  </a:cubicBezTo>
                  <a:cubicBezTo>
                    <a:pt x="1723" y="207"/>
                    <a:pt x="1724" y="197"/>
                    <a:pt x="1724" y="187"/>
                  </a:cubicBezTo>
                  <a:cubicBezTo>
                    <a:pt x="1724" y="163"/>
                    <a:pt x="1718" y="140"/>
                    <a:pt x="1706" y="118"/>
                  </a:cubicBezTo>
                  <a:cubicBezTo>
                    <a:pt x="1706" y="117"/>
                    <a:pt x="1705" y="117"/>
                    <a:pt x="1705" y="117"/>
                  </a:cubicBezTo>
                  <a:cubicBezTo>
                    <a:pt x="1689" y="88"/>
                    <a:pt x="1661" y="62"/>
                    <a:pt x="1620" y="38"/>
                  </a:cubicBezTo>
                  <a:cubicBezTo>
                    <a:pt x="1620" y="38"/>
                    <a:pt x="1619" y="38"/>
                    <a:pt x="1619" y="38"/>
                  </a:cubicBezTo>
                  <a:cubicBezTo>
                    <a:pt x="1607" y="31"/>
                    <a:pt x="1594" y="25"/>
                    <a:pt x="1580" y="18"/>
                  </a:cubicBezTo>
                  <a:cubicBezTo>
                    <a:pt x="1550" y="6"/>
                    <a:pt x="1522" y="0"/>
                    <a:pt x="1495" y="0"/>
                  </a:cubicBezTo>
                  <a:moveTo>
                    <a:pt x="1301" y="108"/>
                  </a:moveTo>
                  <a:cubicBezTo>
                    <a:pt x="1298" y="110"/>
                    <a:pt x="1296" y="113"/>
                    <a:pt x="1293" y="115"/>
                  </a:cubicBezTo>
                  <a:cubicBezTo>
                    <a:pt x="1292" y="117"/>
                    <a:pt x="1290" y="119"/>
                    <a:pt x="1288" y="121"/>
                  </a:cubicBezTo>
                  <a:cubicBezTo>
                    <a:pt x="1288" y="121"/>
                    <a:pt x="1288" y="122"/>
                    <a:pt x="1288" y="122"/>
                  </a:cubicBezTo>
                  <a:cubicBezTo>
                    <a:pt x="1288" y="122"/>
                    <a:pt x="1287" y="122"/>
                    <a:pt x="1287" y="122"/>
                  </a:cubicBezTo>
                  <a:cubicBezTo>
                    <a:pt x="1289" y="121"/>
                    <a:pt x="1290" y="120"/>
                    <a:pt x="1291" y="119"/>
                  </a:cubicBezTo>
                  <a:cubicBezTo>
                    <a:pt x="1294" y="115"/>
                    <a:pt x="1298" y="111"/>
                    <a:pt x="1301" y="108"/>
                  </a:cubicBezTo>
                  <a:moveTo>
                    <a:pt x="1288" y="123"/>
                  </a:moveTo>
                  <a:cubicBezTo>
                    <a:pt x="1287" y="124"/>
                    <a:pt x="1286" y="125"/>
                    <a:pt x="1284" y="126"/>
                  </a:cubicBezTo>
                  <a:cubicBezTo>
                    <a:pt x="1283" y="127"/>
                    <a:pt x="1283" y="128"/>
                    <a:pt x="1282" y="129"/>
                  </a:cubicBezTo>
                  <a:cubicBezTo>
                    <a:pt x="1280" y="131"/>
                    <a:pt x="1279" y="133"/>
                    <a:pt x="1278" y="134"/>
                  </a:cubicBezTo>
                  <a:cubicBezTo>
                    <a:pt x="1276" y="136"/>
                    <a:pt x="1275" y="138"/>
                    <a:pt x="1273" y="140"/>
                  </a:cubicBezTo>
                  <a:cubicBezTo>
                    <a:pt x="1274" y="140"/>
                    <a:pt x="1275" y="139"/>
                    <a:pt x="1276" y="139"/>
                  </a:cubicBezTo>
                  <a:cubicBezTo>
                    <a:pt x="1276" y="138"/>
                    <a:pt x="1276" y="138"/>
                    <a:pt x="1276" y="138"/>
                  </a:cubicBezTo>
                  <a:cubicBezTo>
                    <a:pt x="1276" y="138"/>
                    <a:pt x="1276" y="138"/>
                    <a:pt x="1276" y="138"/>
                  </a:cubicBezTo>
                  <a:cubicBezTo>
                    <a:pt x="1278" y="135"/>
                    <a:pt x="1280" y="133"/>
                    <a:pt x="1283" y="130"/>
                  </a:cubicBezTo>
                  <a:cubicBezTo>
                    <a:pt x="1283" y="129"/>
                    <a:pt x="1283" y="129"/>
                    <a:pt x="1283" y="129"/>
                  </a:cubicBezTo>
                  <a:cubicBezTo>
                    <a:pt x="1285" y="127"/>
                    <a:pt x="1287" y="125"/>
                    <a:pt x="1288" y="123"/>
                  </a:cubicBezTo>
                  <a:moveTo>
                    <a:pt x="1274" y="141"/>
                  </a:moveTo>
                  <a:cubicBezTo>
                    <a:pt x="1273" y="142"/>
                    <a:pt x="1272" y="142"/>
                    <a:pt x="1271" y="143"/>
                  </a:cubicBezTo>
                  <a:cubicBezTo>
                    <a:pt x="1271" y="143"/>
                    <a:pt x="1270" y="144"/>
                    <a:pt x="1270" y="145"/>
                  </a:cubicBezTo>
                  <a:cubicBezTo>
                    <a:pt x="1266" y="150"/>
                    <a:pt x="1262" y="155"/>
                    <a:pt x="1258" y="161"/>
                  </a:cubicBezTo>
                  <a:cubicBezTo>
                    <a:pt x="1258" y="161"/>
                    <a:pt x="1259" y="160"/>
                    <a:pt x="1260" y="160"/>
                  </a:cubicBezTo>
                  <a:cubicBezTo>
                    <a:pt x="1260" y="159"/>
                    <a:pt x="1260" y="159"/>
                    <a:pt x="1261" y="159"/>
                  </a:cubicBezTo>
                  <a:cubicBezTo>
                    <a:pt x="1264" y="154"/>
                    <a:pt x="1267" y="150"/>
                    <a:pt x="1271" y="145"/>
                  </a:cubicBezTo>
                  <a:cubicBezTo>
                    <a:pt x="1272" y="144"/>
                    <a:pt x="1273" y="142"/>
                    <a:pt x="1274" y="141"/>
                  </a:cubicBezTo>
                  <a:moveTo>
                    <a:pt x="1259" y="162"/>
                  </a:moveTo>
                  <a:cubicBezTo>
                    <a:pt x="1258" y="162"/>
                    <a:pt x="1257" y="162"/>
                    <a:pt x="1256" y="163"/>
                  </a:cubicBezTo>
                  <a:cubicBezTo>
                    <a:pt x="1252" y="170"/>
                    <a:pt x="1247" y="177"/>
                    <a:pt x="1242" y="184"/>
                  </a:cubicBezTo>
                  <a:cubicBezTo>
                    <a:pt x="1243" y="184"/>
                    <a:pt x="1243" y="184"/>
                    <a:pt x="1244" y="183"/>
                  </a:cubicBezTo>
                  <a:cubicBezTo>
                    <a:pt x="1249" y="176"/>
                    <a:pt x="1253" y="169"/>
                    <a:pt x="1259" y="162"/>
                  </a:cubicBezTo>
                  <a:moveTo>
                    <a:pt x="1243" y="185"/>
                  </a:moveTo>
                  <a:cubicBezTo>
                    <a:pt x="1242" y="185"/>
                    <a:pt x="1242" y="185"/>
                    <a:pt x="1241" y="186"/>
                  </a:cubicBezTo>
                  <a:cubicBezTo>
                    <a:pt x="1237" y="191"/>
                    <a:pt x="1234" y="197"/>
                    <a:pt x="1230" y="202"/>
                  </a:cubicBezTo>
                  <a:cubicBezTo>
                    <a:pt x="1231" y="202"/>
                    <a:pt x="1231" y="202"/>
                    <a:pt x="1232" y="202"/>
                  </a:cubicBezTo>
                  <a:cubicBezTo>
                    <a:pt x="1235" y="196"/>
                    <a:pt x="1239" y="190"/>
                    <a:pt x="1243" y="185"/>
                  </a:cubicBezTo>
                  <a:moveTo>
                    <a:pt x="1231" y="203"/>
                  </a:moveTo>
                  <a:cubicBezTo>
                    <a:pt x="1231" y="203"/>
                    <a:pt x="1230" y="203"/>
                    <a:pt x="1230" y="203"/>
                  </a:cubicBezTo>
                  <a:cubicBezTo>
                    <a:pt x="1224" y="212"/>
                    <a:pt x="1218" y="221"/>
                    <a:pt x="1213" y="231"/>
                  </a:cubicBezTo>
                  <a:cubicBezTo>
                    <a:pt x="1213" y="231"/>
                    <a:pt x="1214" y="231"/>
                    <a:pt x="1214" y="231"/>
                  </a:cubicBezTo>
                  <a:cubicBezTo>
                    <a:pt x="1220" y="221"/>
                    <a:pt x="1225" y="212"/>
                    <a:pt x="1231" y="203"/>
                  </a:cubicBezTo>
                  <a:moveTo>
                    <a:pt x="1212" y="231"/>
                  </a:moveTo>
                  <a:cubicBezTo>
                    <a:pt x="1207" y="241"/>
                    <a:pt x="1201" y="251"/>
                    <a:pt x="1195" y="262"/>
                  </a:cubicBezTo>
                  <a:cubicBezTo>
                    <a:pt x="1195" y="263"/>
                    <a:pt x="1194" y="264"/>
                    <a:pt x="1193" y="266"/>
                  </a:cubicBezTo>
                  <a:cubicBezTo>
                    <a:pt x="1193" y="266"/>
                    <a:pt x="1194" y="266"/>
                    <a:pt x="1194" y="266"/>
                  </a:cubicBezTo>
                  <a:cubicBezTo>
                    <a:pt x="1195" y="265"/>
                    <a:pt x="1196" y="263"/>
                    <a:pt x="1196" y="262"/>
                  </a:cubicBezTo>
                  <a:cubicBezTo>
                    <a:pt x="1199" y="257"/>
                    <a:pt x="1202" y="251"/>
                    <a:pt x="1205" y="246"/>
                  </a:cubicBezTo>
                  <a:cubicBezTo>
                    <a:pt x="1208" y="241"/>
                    <a:pt x="1211" y="236"/>
                    <a:pt x="1214" y="232"/>
                  </a:cubicBezTo>
                  <a:cubicBezTo>
                    <a:pt x="1213" y="232"/>
                    <a:pt x="1213" y="232"/>
                    <a:pt x="1212" y="231"/>
                  </a:cubicBezTo>
                  <a:moveTo>
                    <a:pt x="1193" y="267"/>
                  </a:moveTo>
                  <a:cubicBezTo>
                    <a:pt x="1191" y="269"/>
                    <a:pt x="1190" y="272"/>
                    <a:pt x="1189" y="274"/>
                  </a:cubicBezTo>
                  <a:cubicBezTo>
                    <a:pt x="1184" y="283"/>
                    <a:pt x="1179" y="293"/>
                    <a:pt x="1174" y="302"/>
                  </a:cubicBezTo>
                  <a:cubicBezTo>
                    <a:pt x="1174" y="302"/>
                    <a:pt x="1175" y="302"/>
                    <a:pt x="1175" y="302"/>
                  </a:cubicBezTo>
                  <a:cubicBezTo>
                    <a:pt x="1181" y="291"/>
                    <a:pt x="1187" y="279"/>
                    <a:pt x="1194" y="267"/>
                  </a:cubicBezTo>
                  <a:cubicBezTo>
                    <a:pt x="1193" y="267"/>
                    <a:pt x="1193" y="267"/>
                    <a:pt x="1193" y="267"/>
                  </a:cubicBezTo>
                  <a:moveTo>
                    <a:pt x="1173" y="303"/>
                  </a:moveTo>
                  <a:cubicBezTo>
                    <a:pt x="1171" y="307"/>
                    <a:pt x="1169" y="311"/>
                    <a:pt x="1167" y="316"/>
                  </a:cubicBezTo>
                  <a:cubicBezTo>
                    <a:pt x="1166" y="319"/>
                    <a:pt x="1164" y="322"/>
                    <a:pt x="1163" y="325"/>
                  </a:cubicBezTo>
                  <a:cubicBezTo>
                    <a:pt x="1162" y="325"/>
                    <a:pt x="1162" y="326"/>
                    <a:pt x="1162" y="326"/>
                  </a:cubicBezTo>
                  <a:cubicBezTo>
                    <a:pt x="1162" y="327"/>
                    <a:pt x="1162" y="327"/>
                    <a:pt x="1163" y="327"/>
                  </a:cubicBezTo>
                  <a:cubicBezTo>
                    <a:pt x="1165" y="323"/>
                    <a:pt x="1166" y="320"/>
                    <a:pt x="1168" y="316"/>
                  </a:cubicBezTo>
                  <a:cubicBezTo>
                    <a:pt x="1170" y="313"/>
                    <a:pt x="1171" y="309"/>
                    <a:pt x="1173" y="306"/>
                  </a:cubicBezTo>
                  <a:cubicBezTo>
                    <a:pt x="1174" y="305"/>
                    <a:pt x="1174" y="304"/>
                    <a:pt x="1175" y="303"/>
                  </a:cubicBezTo>
                  <a:cubicBezTo>
                    <a:pt x="1174" y="303"/>
                    <a:pt x="1174" y="303"/>
                    <a:pt x="1173" y="303"/>
                  </a:cubicBezTo>
                  <a:moveTo>
                    <a:pt x="1161" y="327"/>
                  </a:moveTo>
                  <a:cubicBezTo>
                    <a:pt x="1158" y="335"/>
                    <a:pt x="1154" y="342"/>
                    <a:pt x="1150" y="350"/>
                  </a:cubicBezTo>
                  <a:cubicBezTo>
                    <a:pt x="1149" y="353"/>
                    <a:pt x="1148" y="356"/>
                    <a:pt x="1146" y="359"/>
                  </a:cubicBezTo>
                  <a:cubicBezTo>
                    <a:pt x="1145" y="361"/>
                    <a:pt x="1144" y="363"/>
                    <a:pt x="1144" y="364"/>
                  </a:cubicBezTo>
                  <a:cubicBezTo>
                    <a:pt x="1144" y="365"/>
                    <a:pt x="1144" y="365"/>
                    <a:pt x="1144" y="365"/>
                  </a:cubicBezTo>
                  <a:cubicBezTo>
                    <a:pt x="1147" y="360"/>
                    <a:pt x="1149" y="355"/>
                    <a:pt x="1151" y="350"/>
                  </a:cubicBezTo>
                  <a:cubicBezTo>
                    <a:pt x="1153" y="347"/>
                    <a:pt x="1155" y="343"/>
                    <a:pt x="1156" y="340"/>
                  </a:cubicBezTo>
                  <a:cubicBezTo>
                    <a:pt x="1158" y="336"/>
                    <a:pt x="1160" y="332"/>
                    <a:pt x="1162" y="327"/>
                  </a:cubicBezTo>
                  <a:cubicBezTo>
                    <a:pt x="1162" y="327"/>
                    <a:pt x="1162" y="327"/>
                    <a:pt x="1161" y="327"/>
                  </a:cubicBezTo>
                  <a:moveTo>
                    <a:pt x="1143" y="365"/>
                  </a:moveTo>
                  <a:cubicBezTo>
                    <a:pt x="1136" y="380"/>
                    <a:pt x="1130" y="394"/>
                    <a:pt x="1124" y="407"/>
                  </a:cubicBezTo>
                  <a:cubicBezTo>
                    <a:pt x="1124" y="407"/>
                    <a:pt x="1125" y="407"/>
                    <a:pt x="1125" y="407"/>
                  </a:cubicBezTo>
                  <a:cubicBezTo>
                    <a:pt x="1131" y="394"/>
                    <a:pt x="1137" y="380"/>
                    <a:pt x="1144" y="366"/>
                  </a:cubicBezTo>
                  <a:cubicBezTo>
                    <a:pt x="1144" y="365"/>
                    <a:pt x="1143" y="365"/>
                    <a:pt x="1143" y="365"/>
                  </a:cubicBezTo>
                  <a:moveTo>
                    <a:pt x="1631" y="377"/>
                  </a:moveTo>
                  <a:cubicBezTo>
                    <a:pt x="1629" y="379"/>
                    <a:pt x="1628" y="381"/>
                    <a:pt x="1626" y="383"/>
                  </a:cubicBezTo>
                  <a:cubicBezTo>
                    <a:pt x="1625" y="384"/>
                    <a:pt x="1624" y="386"/>
                    <a:pt x="1622" y="387"/>
                  </a:cubicBezTo>
                  <a:cubicBezTo>
                    <a:pt x="1625" y="384"/>
                    <a:pt x="1628" y="381"/>
                    <a:pt x="1631" y="377"/>
                  </a:cubicBezTo>
                  <a:moveTo>
                    <a:pt x="958" y="392"/>
                  </a:moveTo>
                  <a:cubicBezTo>
                    <a:pt x="954" y="392"/>
                    <a:pt x="951" y="392"/>
                    <a:pt x="947" y="392"/>
                  </a:cubicBezTo>
                  <a:cubicBezTo>
                    <a:pt x="947" y="392"/>
                    <a:pt x="947" y="392"/>
                    <a:pt x="946" y="392"/>
                  </a:cubicBezTo>
                  <a:cubicBezTo>
                    <a:pt x="940" y="393"/>
                    <a:pt x="934" y="395"/>
                    <a:pt x="928" y="397"/>
                  </a:cubicBezTo>
                  <a:cubicBezTo>
                    <a:pt x="928" y="397"/>
                    <a:pt x="927" y="397"/>
                    <a:pt x="927" y="397"/>
                  </a:cubicBezTo>
                  <a:cubicBezTo>
                    <a:pt x="921" y="399"/>
                    <a:pt x="915" y="402"/>
                    <a:pt x="909" y="404"/>
                  </a:cubicBezTo>
                  <a:cubicBezTo>
                    <a:pt x="909" y="405"/>
                    <a:pt x="909" y="405"/>
                    <a:pt x="909" y="406"/>
                  </a:cubicBezTo>
                  <a:cubicBezTo>
                    <a:pt x="914" y="403"/>
                    <a:pt x="920" y="401"/>
                    <a:pt x="925" y="399"/>
                  </a:cubicBezTo>
                  <a:cubicBezTo>
                    <a:pt x="926" y="399"/>
                    <a:pt x="927" y="398"/>
                    <a:pt x="927" y="398"/>
                  </a:cubicBezTo>
                  <a:cubicBezTo>
                    <a:pt x="934" y="396"/>
                    <a:pt x="940" y="394"/>
                    <a:pt x="946" y="393"/>
                  </a:cubicBezTo>
                  <a:cubicBezTo>
                    <a:pt x="947" y="393"/>
                    <a:pt x="947" y="393"/>
                    <a:pt x="947" y="393"/>
                  </a:cubicBezTo>
                  <a:cubicBezTo>
                    <a:pt x="951" y="393"/>
                    <a:pt x="954" y="393"/>
                    <a:pt x="957" y="392"/>
                  </a:cubicBezTo>
                  <a:cubicBezTo>
                    <a:pt x="957" y="392"/>
                    <a:pt x="958" y="392"/>
                    <a:pt x="958" y="392"/>
                  </a:cubicBezTo>
                  <a:cubicBezTo>
                    <a:pt x="958" y="392"/>
                    <a:pt x="958" y="392"/>
                    <a:pt x="959" y="392"/>
                  </a:cubicBezTo>
                  <a:cubicBezTo>
                    <a:pt x="961" y="393"/>
                    <a:pt x="964" y="393"/>
                    <a:pt x="967" y="393"/>
                  </a:cubicBezTo>
                  <a:cubicBezTo>
                    <a:pt x="967" y="393"/>
                    <a:pt x="967" y="393"/>
                    <a:pt x="968" y="393"/>
                  </a:cubicBezTo>
                  <a:cubicBezTo>
                    <a:pt x="969" y="394"/>
                    <a:pt x="970" y="394"/>
                    <a:pt x="971" y="394"/>
                  </a:cubicBezTo>
                  <a:cubicBezTo>
                    <a:pt x="971" y="394"/>
                    <a:pt x="971" y="393"/>
                    <a:pt x="971" y="393"/>
                  </a:cubicBezTo>
                  <a:cubicBezTo>
                    <a:pt x="970" y="393"/>
                    <a:pt x="969" y="393"/>
                    <a:pt x="968" y="392"/>
                  </a:cubicBezTo>
                  <a:cubicBezTo>
                    <a:pt x="968" y="392"/>
                    <a:pt x="968" y="392"/>
                    <a:pt x="967" y="392"/>
                  </a:cubicBezTo>
                  <a:cubicBezTo>
                    <a:pt x="965" y="392"/>
                    <a:pt x="962" y="392"/>
                    <a:pt x="959" y="392"/>
                  </a:cubicBezTo>
                  <a:cubicBezTo>
                    <a:pt x="959" y="392"/>
                    <a:pt x="958" y="392"/>
                    <a:pt x="958" y="392"/>
                  </a:cubicBezTo>
                  <a:cubicBezTo>
                    <a:pt x="958" y="392"/>
                    <a:pt x="958" y="392"/>
                    <a:pt x="958" y="392"/>
                  </a:cubicBezTo>
                  <a:moveTo>
                    <a:pt x="1617" y="392"/>
                  </a:moveTo>
                  <a:cubicBezTo>
                    <a:pt x="1615" y="395"/>
                    <a:pt x="1612" y="398"/>
                    <a:pt x="1610" y="400"/>
                  </a:cubicBezTo>
                  <a:cubicBezTo>
                    <a:pt x="1608" y="403"/>
                    <a:pt x="1606" y="405"/>
                    <a:pt x="1605" y="407"/>
                  </a:cubicBezTo>
                  <a:cubicBezTo>
                    <a:pt x="1606" y="406"/>
                    <a:pt x="1607" y="405"/>
                    <a:pt x="1608" y="404"/>
                  </a:cubicBezTo>
                  <a:cubicBezTo>
                    <a:pt x="1611" y="400"/>
                    <a:pt x="1614" y="396"/>
                    <a:pt x="1617" y="392"/>
                  </a:cubicBezTo>
                  <a:moveTo>
                    <a:pt x="972" y="393"/>
                  </a:moveTo>
                  <a:cubicBezTo>
                    <a:pt x="972" y="394"/>
                    <a:pt x="972" y="394"/>
                    <a:pt x="972" y="394"/>
                  </a:cubicBezTo>
                  <a:cubicBezTo>
                    <a:pt x="974" y="395"/>
                    <a:pt x="976" y="396"/>
                    <a:pt x="977" y="396"/>
                  </a:cubicBezTo>
                  <a:cubicBezTo>
                    <a:pt x="978" y="396"/>
                    <a:pt x="978" y="397"/>
                    <a:pt x="978" y="397"/>
                  </a:cubicBezTo>
                  <a:cubicBezTo>
                    <a:pt x="982" y="399"/>
                    <a:pt x="986" y="402"/>
                    <a:pt x="989" y="406"/>
                  </a:cubicBezTo>
                  <a:cubicBezTo>
                    <a:pt x="989" y="406"/>
                    <a:pt x="989" y="406"/>
                    <a:pt x="989" y="407"/>
                  </a:cubicBezTo>
                  <a:cubicBezTo>
                    <a:pt x="991" y="409"/>
                    <a:pt x="992" y="412"/>
                    <a:pt x="992" y="415"/>
                  </a:cubicBezTo>
                  <a:cubicBezTo>
                    <a:pt x="992" y="415"/>
                    <a:pt x="993" y="416"/>
                    <a:pt x="993" y="416"/>
                  </a:cubicBezTo>
                  <a:cubicBezTo>
                    <a:pt x="993" y="416"/>
                    <a:pt x="993" y="417"/>
                    <a:pt x="993" y="417"/>
                  </a:cubicBezTo>
                  <a:cubicBezTo>
                    <a:pt x="993" y="417"/>
                    <a:pt x="993" y="418"/>
                    <a:pt x="993" y="418"/>
                  </a:cubicBezTo>
                  <a:cubicBezTo>
                    <a:pt x="993" y="420"/>
                    <a:pt x="994" y="423"/>
                    <a:pt x="994" y="425"/>
                  </a:cubicBezTo>
                  <a:cubicBezTo>
                    <a:pt x="994" y="425"/>
                    <a:pt x="994" y="425"/>
                    <a:pt x="995" y="425"/>
                  </a:cubicBezTo>
                  <a:cubicBezTo>
                    <a:pt x="995" y="422"/>
                    <a:pt x="994" y="420"/>
                    <a:pt x="994" y="418"/>
                  </a:cubicBezTo>
                  <a:cubicBezTo>
                    <a:pt x="994" y="417"/>
                    <a:pt x="994" y="417"/>
                    <a:pt x="994" y="417"/>
                  </a:cubicBezTo>
                  <a:cubicBezTo>
                    <a:pt x="994" y="416"/>
                    <a:pt x="994" y="416"/>
                    <a:pt x="994" y="416"/>
                  </a:cubicBezTo>
                  <a:cubicBezTo>
                    <a:pt x="994" y="415"/>
                    <a:pt x="993" y="415"/>
                    <a:pt x="993" y="415"/>
                  </a:cubicBezTo>
                  <a:cubicBezTo>
                    <a:pt x="993" y="412"/>
                    <a:pt x="991" y="409"/>
                    <a:pt x="990" y="406"/>
                  </a:cubicBezTo>
                  <a:cubicBezTo>
                    <a:pt x="990" y="406"/>
                    <a:pt x="989" y="405"/>
                    <a:pt x="989" y="405"/>
                  </a:cubicBezTo>
                  <a:cubicBezTo>
                    <a:pt x="987" y="401"/>
                    <a:pt x="983" y="398"/>
                    <a:pt x="979" y="396"/>
                  </a:cubicBezTo>
                  <a:cubicBezTo>
                    <a:pt x="979" y="396"/>
                    <a:pt x="978" y="396"/>
                    <a:pt x="978" y="396"/>
                  </a:cubicBezTo>
                  <a:cubicBezTo>
                    <a:pt x="976" y="395"/>
                    <a:pt x="974" y="394"/>
                    <a:pt x="972" y="393"/>
                  </a:cubicBezTo>
                  <a:moveTo>
                    <a:pt x="908" y="405"/>
                  </a:moveTo>
                  <a:cubicBezTo>
                    <a:pt x="907" y="405"/>
                    <a:pt x="907" y="406"/>
                    <a:pt x="906" y="406"/>
                  </a:cubicBezTo>
                  <a:cubicBezTo>
                    <a:pt x="905" y="407"/>
                    <a:pt x="904" y="407"/>
                    <a:pt x="903" y="408"/>
                  </a:cubicBezTo>
                  <a:cubicBezTo>
                    <a:pt x="903" y="408"/>
                    <a:pt x="902" y="408"/>
                    <a:pt x="902" y="408"/>
                  </a:cubicBezTo>
                  <a:cubicBezTo>
                    <a:pt x="898" y="410"/>
                    <a:pt x="894" y="412"/>
                    <a:pt x="891" y="415"/>
                  </a:cubicBezTo>
                  <a:cubicBezTo>
                    <a:pt x="891" y="415"/>
                    <a:pt x="892" y="415"/>
                    <a:pt x="892" y="415"/>
                  </a:cubicBezTo>
                  <a:cubicBezTo>
                    <a:pt x="896" y="413"/>
                    <a:pt x="899" y="411"/>
                    <a:pt x="902" y="409"/>
                  </a:cubicBezTo>
                  <a:cubicBezTo>
                    <a:pt x="902" y="409"/>
                    <a:pt x="903" y="409"/>
                    <a:pt x="903" y="409"/>
                  </a:cubicBezTo>
                  <a:cubicBezTo>
                    <a:pt x="903" y="408"/>
                    <a:pt x="904" y="408"/>
                    <a:pt x="904" y="408"/>
                  </a:cubicBezTo>
                  <a:cubicBezTo>
                    <a:pt x="905" y="408"/>
                    <a:pt x="906" y="407"/>
                    <a:pt x="907" y="407"/>
                  </a:cubicBezTo>
                  <a:cubicBezTo>
                    <a:pt x="907" y="407"/>
                    <a:pt x="907" y="407"/>
                    <a:pt x="907" y="406"/>
                  </a:cubicBezTo>
                  <a:cubicBezTo>
                    <a:pt x="908" y="406"/>
                    <a:pt x="908" y="406"/>
                    <a:pt x="908" y="405"/>
                  </a:cubicBezTo>
                  <a:moveTo>
                    <a:pt x="1604" y="407"/>
                  </a:moveTo>
                  <a:cubicBezTo>
                    <a:pt x="1601" y="410"/>
                    <a:pt x="1598" y="412"/>
                    <a:pt x="1595" y="415"/>
                  </a:cubicBezTo>
                  <a:cubicBezTo>
                    <a:pt x="1594" y="417"/>
                    <a:pt x="1593" y="419"/>
                    <a:pt x="1591" y="421"/>
                  </a:cubicBezTo>
                  <a:cubicBezTo>
                    <a:pt x="1594" y="419"/>
                    <a:pt x="1596" y="416"/>
                    <a:pt x="1598" y="414"/>
                  </a:cubicBezTo>
                  <a:cubicBezTo>
                    <a:pt x="1600" y="412"/>
                    <a:pt x="1602" y="409"/>
                    <a:pt x="1604" y="407"/>
                  </a:cubicBezTo>
                  <a:moveTo>
                    <a:pt x="1124" y="408"/>
                  </a:moveTo>
                  <a:cubicBezTo>
                    <a:pt x="1121" y="414"/>
                    <a:pt x="1118" y="420"/>
                    <a:pt x="1115" y="426"/>
                  </a:cubicBezTo>
                  <a:cubicBezTo>
                    <a:pt x="1115" y="427"/>
                    <a:pt x="1114" y="428"/>
                    <a:pt x="1114" y="429"/>
                  </a:cubicBezTo>
                  <a:cubicBezTo>
                    <a:pt x="1110" y="437"/>
                    <a:pt x="1107" y="445"/>
                    <a:pt x="1103" y="452"/>
                  </a:cubicBezTo>
                  <a:cubicBezTo>
                    <a:pt x="1103" y="453"/>
                    <a:pt x="1103" y="454"/>
                    <a:pt x="1102" y="455"/>
                  </a:cubicBezTo>
                  <a:cubicBezTo>
                    <a:pt x="1101" y="457"/>
                    <a:pt x="1100" y="459"/>
                    <a:pt x="1099" y="461"/>
                  </a:cubicBezTo>
                  <a:cubicBezTo>
                    <a:pt x="1100" y="461"/>
                    <a:pt x="1100" y="462"/>
                    <a:pt x="1100" y="462"/>
                  </a:cubicBezTo>
                  <a:cubicBezTo>
                    <a:pt x="1102" y="459"/>
                    <a:pt x="1103" y="456"/>
                    <a:pt x="1104" y="453"/>
                  </a:cubicBezTo>
                  <a:cubicBezTo>
                    <a:pt x="1105" y="452"/>
                    <a:pt x="1105" y="451"/>
                    <a:pt x="1106" y="450"/>
                  </a:cubicBezTo>
                  <a:cubicBezTo>
                    <a:pt x="1109" y="442"/>
                    <a:pt x="1112" y="435"/>
                    <a:pt x="1116" y="427"/>
                  </a:cubicBezTo>
                  <a:cubicBezTo>
                    <a:pt x="1116" y="426"/>
                    <a:pt x="1117" y="425"/>
                    <a:pt x="1117" y="424"/>
                  </a:cubicBezTo>
                  <a:cubicBezTo>
                    <a:pt x="1120" y="419"/>
                    <a:pt x="1122" y="414"/>
                    <a:pt x="1124" y="408"/>
                  </a:cubicBezTo>
                  <a:cubicBezTo>
                    <a:pt x="1124" y="408"/>
                    <a:pt x="1124" y="408"/>
                    <a:pt x="1124" y="408"/>
                  </a:cubicBezTo>
                  <a:moveTo>
                    <a:pt x="889" y="416"/>
                  </a:moveTo>
                  <a:cubicBezTo>
                    <a:pt x="878" y="423"/>
                    <a:pt x="868" y="431"/>
                    <a:pt x="859" y="441"/>
                  </a:cubicBezTo>
                  <a:cubicBezTo>
                    <a:pt x="859" y="441"/>
                    <a:pt x="859" y="442"/>
                    <a:pt x="858" y="442"/>
                  </a:cubicBezTo>
                  <a:cubicBezTo>
                    <a:pt x="858" y="442"/>
                    <a:pt x="858" y="442"/>
                    <a:pt x="858" y="443"/>
                  </a:cubicBezTo>
                  <a:cubicBezTo>
                    <a:pt x="857" y="443"/>
                    <a:pt x="857" y="444"/>
                    <a:pt x="856" y="444"/>
                  </a:cubicBezTo>
                  <a:cubicBezTo>
                    <a:pt x="856" y="445"/>
                    <a:pt x="856" y="445"/>
                    <a:pt x="856" y="445"/>
                  </a:cubicBezTo>
                  <a:cubicBezTo>
                    <a:pt x="856" y="445"/>
                    <a:pt x="857" y="445"/>
                    <a:pt x="857" y="445"/>
                  </a:cubicBezTo>
                  <a:cubicBezTo>
                    <a:pt x="858" y="444"/>
                    <a:pt x="858" y="444"/>
                    <a:pt x="859" y="443"/>
                  </a:cubicBezTo>
                  <a:cubicBezTo>
                    <a:pt x="859" y="443"/>
                    <a:pt x="859" y="442"/>
                    <a:pt x="860" y="442"/>
                  </a:cubicBezTo>
                  <a:cubicBezTo>
                    <a:pt x="869" y="432"/>
                    <a:pt x="880" y="423"/>
                    <a:pt x="891" y="416"/>
                  </a:cubicBezTo>
                  <a:cubicBezTo>
                    <a:pt x="890" y="416"/>
                    <a:pt x="890" y="416"/>
                    <a:pt x="889" y="416"/>
                  </a:cubicBezTo>
                  <a:moveTo>
                    <a:pt x="1591" y="420"/>
                  </a:moveTo>
                  <a:cubicBezTo>
                    <a:pt x="1590" y="420"/>
                    <a:pt x="1590" y="420"/>
                    <a:pt x="1590" y="420"/>
                  </a:cubicBezTo>
                  <a:cubicBezTo>
                    <a:pt x="1587" y="424"/>
                    <a:pt x="1583" y="427"/>
                    <a:pt x="1580" y="431"/>
                  </a:cubicBezTo>
                  <a:cubicBezTo>
                    <a:pt x="1578" y="433"/>
                    <a:pt x="1577" y="435"/>
                    <a:pt x="1575" y="437"/>
                  </a:cubicBezTo>
                  <a:cubicBezTo>
                    <a:pt x="1579" y="434"/>
                    <a:pt x="1582" y="430"/>
                    <a:pt x="1586" y="426"/>
                  </a:cubicBezTo>
                  <a:cubicBezTo>
                    <a:pt x="1587" y="424"/>
                    <a:pt x="1589" y="422"/>
                    <a:pt x="1591" y="420"/>
                  </a:cubicBezTo>
                  <a:moveTo>
                    <a:pt x="994" y="426"/>
                  </a:moveTo>
                  <a:cubicBezTo>
                    <a:pt x="994" y="432"/>
                    <a:pt x="992" y="440"/>
                    <a:pt x="990" y="448"/>
                  </a:cubicBezTo>
                  <a:cubicBezTo>
                    <a:pt x="989" y="452"/>
                    <a:pt x="988" y="456"/>
                    <a:pt x="987" y="459"/>
                  </a:cubicBezTo>
                  <a:cubicBezTo>
                    <a:pt x="987" y="461"/>
                    <a:pt x="987" y="463"/>
                    <a:pt x="987" y="465"/>
                  </a:cubicBezTo>
                  <a:cubicBezTo>
                    <a:pt x="987" y="465"/>
                    <a:pt x="987" y="465"/>
                    <a:pt x="988" y="465"/>
                  </a:cubicBezTo>
                  <a:cubicBezTo>
                    <a:pt x="988" y="463"/>
                    <a:pt x="988" y="461"/>
                    <a:pt x="988" y="459"/>
                  </a:cubicBezTo>
                  <a:cubicBezTo>
                    <a:pt x="989" y="456"/>
                    <a:pt x="990" y="452"/>
                    <a:pt x="991" y="448"/>
                  </a:cubicBezTo>
                  <a:cubicBezTo>
                    <a:pt x="993" y="440"/>
                    <a:pt x="994" y="433"/>
                    <a:pt x="995" y="426"/>
                  </a:cubicBezTo>
                  <a:cubicBezTo>
                    <a:pt x="994" y="426"/>
                    <a:pt x="994" y="426"/>
                    <a:pt x="994" y="426"/>
                  </a:cubicBezTo>
                  <a:moveTo>
                    <a:pt x="1574" y="437"/>
                  </a:moveTo>
                  <a:cubicBezTo>
                    <a:pt x="1570" y="442"/>
                    <a:pt x="1565" y="447"/>
                    <a:pt x="1561" y="453"/>
                  </a:cubicBezTo>
                  <a:cubicBezTo>
                    <a:pt x="1563" y="450"/>
                    <a:pt x="1566" y="447"/>
                    <a:pt x="1569" y="444"/>
                  </a:cubicBezTo>
                  <a:cubicBezTo>
                    <a:pt x="1571" y="442"/>
                    <a:pt x="1573" y="439"/>
                    <a:pt x="1574" y="437"/>
                  </a:cubicBezTo>
                  <a:moveTo>
                    <a:pt x="855" y="446"/>
                  </a:moveTo>
                  <a:cubicBezTo>
                    <a:pt x="854" y="447"/>
                    <a:pt x="853" y="448"/>
                    <a:pt x="852" y="450"/>
                  </a:cubicBezTo>
                  <a:cubicBezTo>
                    <a:pt x="851" y="450"/>
                    <a:pt x="851" y="451"/>
                    <a:pt x="850" y="451"/>
                  </a:cubicBezTo>
                  <a:cubicBezTo>
                    <a:pt x="848" y="454"/>
                    <a:pt x="847" y="457"/>
                    <a:pt x="845" y="459"/>
                  </a:cubicBezTo>
                  <a:cubicBezTo>
                    <a:pt x="844" y="460"/>
                    <a:pt x="843" y="461"/>
                    <a:pt x="843" y="462"/>
                  </a:cubicBezTo>
                  <a:cubicBezTo>
                    <a:pt x="840" y="467"/>
                    <a:pt x="838" y="471"/>
                    <a:pt x="836" y="476"/>
                  </a:cubicBezTo>
                  <a:cubicBezTo>
                    <a:pt x="836" y="476"/>
                    <a:pt x="837" y="476"/>
                    <a:pt x="837" y="476"/>
                  </a:cubicBezTo>
                  <a:cubicBezTo>
                    <a:pt x="839" y="472"/>
                    <a:pt x="840" y="469"/>
                    <a:pt x="842" y="466"/>
                  </a:cubicBezTo>
                  <a:cubicBezTo>
                    <a:pt x="843" y="465"/>
                    <a:pt x="843" y="464"/>
                    <a:pt x="844" y="463"/>
                  </a:cubicBezTo>
                  <a:cubicBezTo>
                    <a:pt x="846" y="460"/>
                    <a:pt x="848" y="456"/>
                    <a:pt x="850" y="453"/>
                  </a:cubicBezTo>
                  <a:cubicBezTo>
                    <a:pt x="851" y="453"/>
                    <a:pt x="851" y="452"/>
                    <a:pt x="851" y="452"/>
                  </a:cubicBezTo>
                  <a:cubicBezTo>
                    <a:pt x="853" y="450"/>
                    <a:pt x="854" y="448"/>
                    <a:pt x="855" y="447"/>
                  </a:cubicBezTo>
                  <a:cubicBezTo>
                    <a:pt x="856" y="446"/>
                    <a:pt x="856" y="446"/>
                    <a:pt x="856" y="446"/>
                  </a:cubicBezTo>
                  <a:cubicBezTo>
                    <a:pt x="856" y="446"/>
                    <a:pt x="855" y="446"/>
                    <a:pt x="855" y="446"/>
                  </a:cubicBezTo>
                  <a:moveTo>
                    <a:pt x="1561" y="454"/>
                  </a:moveTo>
                  <a:cubicBezTo>
                    <a:pt x="1560" y="455"/>
                    <a:pt x="1558" y="456"/>
                    <a:pt x="1557" y="458"/>
                  </a:cubicBezTo>
                  <a:cubicBezTo>
                    <a:pt x="1558" y="457"/>
                    <a:pt x="1559" y="456"/>
                    <a:pt x="1559" y="456"/>
                  </a:cubicBezTo>
                  <a:cubicBezTo>
                    <a:pt x="1560" y="455"/>
                    <a:pt x="1561" y="454"/>
                    <a:pt x="1561" y="454"/>
                  </a:cubicBezTo>
                  <a:moveTo>
                    <a:pt x="1099" y="462"/>
                  </a:moveTo>
                  <a:cubicBezTo>
                    <a:pt x="1098" y="465"/>
                    <a:pt x="1096" y="469"/>
                    <a:pt x="1095" y="472"/>
                  </a:cubicBezTo>
                  <a:cubicBezTo>
                    <a:pt x="1094" y="472"/>
                    <a:pt x="1094" y="473"/>
                    <a:pt x="1094" y="474"/>
                  </a:cubicBezTo>
                  <a:cubicBezTo>
                    <a:pt x="1093" y="474"/>
                    <a:pt x="1093" y="475"/>
                    <a:pt x="1093" y="476"/>
                  </a:cubicBezTo>
                  <a:cubicBezTo>
                    <a:pt x="1089" y="483"/>
                    <a:pt x="1085" y="489"/>
                    <a:pt x="1081" y="494"/>
                  </a:cubicBezTo>
                  <a:cubicBezTo>
                    <a:pt x="1080" y="496"/>
                    <a:pt x="1080" y="497"/>
                    <a:pt x="1079" y="498"/>
                  </a:cubicBezTo>
                  <a:cubicBezTo>
                    <a:pt x="1085" y="491"/>
                    <a:pt x="1090" y="483"/>
                    <a:pt x="1095" y="474"/>
                  </a:cubicBezTo>
                  <a:cubicBezTo>
                    <a:pt x="1095" y="473"/>
                    <a:pt x="1095" y="473"/>
                    <a:pt x="1095" y="472"/>
                  </a:cubicBezTo>
                  <a:cubicBezTo>
                    <a:pt x="1096" y="471"/>
                    <a:pt x="1097" y="469"/>
                    <a:pt x="1098" y="468"/>
                  </a:cubicBezTo>
                  <a:cubicBezTo>
                    <a:pt x="1098" y="466"/>
                    <a:pt x="1099" y="464"/>
                    <a:pt x="1100" y="463"/>
                  </a:cubicBezTo>
                  <a:cubicBezTo>
                    <a:pt x="1100" y="462"/>
                    <a:pt x="1099" y="462"/>
                    <a:pt x="1099" y="462"/>
                  </a:cubicBezTo>
                  <a:moveTo>
                    <a:pt x="1554" y="462"/>
                  </a:moveTo>
                  <a:cubicBezTo>
                    <a:pt x="1553" y="463"/>
                    <a:pt x="1553" y="464"/>
                    <a:pt x="1552" y="464"/>
                  </a:cubicBezTo>
                  <a:cubicBezTo>
                    <a:pt x="1551" y="465"/>
                    <a:pt x="1550" y="466"/>
                    <a:pt x="1549" y="467"/>
                  </a:cubicBezTo>
                  <a:cubicBezTo>
                    <a:pt x="1549" y="467"/>
                    <a:pt x="1549" y="467"/>
                    <a:pt x="1549" y="468"/>
                  </a:cubicBezTo>
                  <a:cubicBezTo>
                    <a:pt x="1548" y="468"/>
                    <a:pt x="1548" y="469"/>
                    <a:pt x="1547" y="469"/>
                  </a:cubicBezTo>
                  <a:cubicBezTo>
                    <a:pt x="1549" y="467"/>
                    <a:pt x="1551" y="465"/>
                    <a:pt x="1553" y="464"/>
                  </a:cubicBezTo>
                  <a:cubicBezTo>
                    <a:pt x="1553" y="463"/>
                    <a:pt x="1554" y="463"/>
                    <a:pt x="1554" y="462"/>
                  </a:cubicBezTo>
                  <a:moveTo>
                    <a:pt x="987" y="466"/>
                  </a:moveTo>
                  <a:cubicBezTo>
                    <a:pt x="986" y="467"/>
                    <a:pt x="986" y="469"/>
                    <a:pt x="986" y="471"/>
                  </a:cubicBezTo>
                  <a:cubicBezTo>
                    <a:pt x="986" y="472"/>
                    <a:pt x="986" y="472"/>
                    <a:pt x="986" y="473"/>
                  </a:cubicBezTo>
                  <a:cubicBezTo>
                    <a:pt x="986" y="475"/>
                    <a:pt x="986" y="477"/>
                    <a:pt x="986" y="480"/>
                  </a:cubicBezTo>
                  <a:cubicBezTo>
                    <a:pt x="986" y="496"/>
                    <a:pt x="990" y="509"/>
                    <a:pt x="996" y="517"/>
                  </a:cubicBezTo>
                  <a:cubicBezTo>
                    <a:pt x="996" y="517"/>
                    <a:pt x="996" y="516"/>
                    <a:pt x="996" y="516"/>
                  </a:cubicBezTo>
                  <a:cubicBezTo>
                    <a:pt x="990" y="508"/>
                    <a:pt x="987" y="496"/>
                    <a:pt x="987" y="480"/>
                  </a:cubicBezTo>
                  <a:cubicBezTo>
                    <a:pt x="987" y="477"/>
                    <a:pt x="987" y="474"/>
                    <a:pt x="987" y="471"/>
                  </a:cubicBezTo>
                  <a:cubicBezTo>
                    <a:pt x="987" y="470"/>
                    <a:pt x="987" y="470"/>
                    <a:pt x="987" y="469"/>
                  </a:cubicBezTo>
                  <a:cubicBezTo>
                    <a:pt x="987" y="468"/>
                    <a:pt x="987" y="467"/>
                    <a:pt x="988" y="466"/>
                  </a:cubicBezTo>
                  <a:cubicBezTo>
                    <a:pt x="987" y="466"/>
                    <a:pt x="987" y="466"/>
                    <a:pt x="987" y="466"/>
                  </a:cubicBezTo>
                  <a:moveTo>
                    <a:pt x="1544" y="476"/>
                  </a:moveTo>
                  <a:cubicBezTo>
                    <a:pt x="1542" y="478"/>
                    <a:pt x="1540" y="480"/>
                    <a:pt x="1538" y="482"/>
                  </a:cubicBezTo>
                  <a:cubicBezTo>
                    <a:pt x="1530" y="492"/>
                    <a:pt x="1523" y="502"/>
                    <a:pt x="1516" y="513"/>
                  </a:cubicBezTo>
                  <a:cubicBezTo>
                    <a:pt x="1509" y="525"/>
                    <a:pt x="1502" y="537"/>
                    <a:pt x="1495" y="549"/>
                  </a:cubicBezTo>
                  <a:cubicBezTo>
                    <a:pt x="1491" y="555"/>
                    <a:pt x="1488" y="561"/>
                    <a:pt x="1485" y="567"/>
                  </a:cubicBezTo>
                  <a:cubicBezTo>
                    <a:pt x="1503" y="536"/>
                    <a:pt x="1522" y="505"/>
                    <a:pt x="1544" y="476"/>
                  </a:cubicBezTo>
                  <a:moveTo>
                    <a:pt x="836" y="476"/>
                  </a:moveTo>
                  <a:cubicBezTo>
                    <a:pt x="835" y="479"/>
                    <a:pt x="834" y="481"/>
                    <a:pt x="833" y="483"/>
                  </a:cubicBezTo>
                  <a:cubicBezTo>
                    <a:pt x="833" y="483"/>
                    <a:pt x="833" y="484"/>
                    <a:pt x="833" y="484"/>
                  </a:cubicBezTo>
                  <a:cubicBezTo>
                    <a:pt x="833" y="484"/>
                    <a:pt x="833" y="485"/>
                    <a:pt x="833" y="485"/>
                  </a:cubicBezTo>
                  <a:cubicBezTo>
                    <a:pt x="833" y="484"/>
                    <a:pt x="834" y="483"/>
                    <a:pt x="835" y="482"/>
                  </a:cubicBezTo>
                  <a:cubicBezTo>
                    <a:pt x="835" y="480"/>
                    <a:pt x="836" y="478"/>
                    <a:pt x="837" y="477"/>
                  </a:cubicBezTo>
                  <a:cubicBezTo>
                    <a:pt x="836" y="476"/>
                    <a:pt x="836" y="476"/>
                    <a:pt x="836" y="476"/>
                  </a:cubicBezTo>
                  <a:moveTo>
                    <a:pt x="833" y="485"/>
                  </a:moveTo>
                  <a:cubicBezTo>
                    <a:pt x="833" y="486"/>
                    <a:pt x="832" y="487"/>
                    <a:pt x="832" y="488"/>
                  </a:cubicBezTo>
                  <a:cubicBezTo>
                    <a:pt x="831" y="490"/>
                    <a:pt x="831" y="492"/>
                    <a:pt x="830" y="493"/>
                  </a:cubicBezTo>
                  <a:cubicBezTo>
                    <a:pt x="830" y="494"/>
                    <a:pt x="830" y="496"/>
                    <a:pt x="829" y="497"/>
                  </a:cubicBezTo>
                  <a:cubicBezTo>
                    <a:pt x="830" y="496"/>
                    <a:pt x="830" y="496"/>
                    <a:pt x="831" y="495"/>
                  </a:cubicBezTo>
                  <a:cubicBezTo>
                    <a:pt x="831" y="495"/>
                    <a:pt x="831" y="495"/>
                    <a:pt x="831" y="495"/>
                  </a:cubicBezTo>
                  <a:cubicBezTo>
                    <a:pt x="831" y="494"/>
                    <a:pt x="831" y="494"/>
                    <a:pt x="831" y="493"/>
                  </a:cubicBezTo>
                  <a:cubicBezTo>
                    <a:pt x="832" y="491"/>
                    <a:pt x="832" y="489"/>
                    <a:pt x="833" y="487"/>
                  </a:cubicBezTo>
                  <a:cubicBezTo>
                    <a:pt x="833" y="486"/>
                    <a:pt x="833" y="486"/>
                    <a:pt x="833" y="485"/>
                  </a:cubicBezTo>
                  <a:moveTo>
                    <a:pt x="830" y="497"/>
                  </a:moveTo>
                  <a:cubicBezTo>
                    <a:pt x="830" y="498"/>
                    <a:pt x="829" y="499"/>
                    <a:pt x="829" y="499"/>
                  </a:cubicBezTo>
                  <a:cubicBezTo>
                    <a:pt x="829" y="499"/>
                    <a:pt x="829" y="500"/>
                    <a:pt x="829" y="500"/>
                  </a:cubicBezTo>
                  <a:cubicBezTo>
                    <a:pt x="829" y="500"/>
                    <a:pt x="828" y="501"/>
                    <a:pt x="828" y="501"/>
                  </a:cubicBezTo>
                  <a:cubicBezTo>
                    <a:pt x="828" y="502"/>
                    <a:pt x="828" y="502"/>
                    <a:pt x="828" y="502"/>
                  </a:cubicBezTo>
                  <a:cubicBezTo>
                    <a:pt x="827" y="505"/>
                    <a:pt x="826" y="508"/>
                    <a:pt x="825" y="511"/>
                  </a:cubicBezTo>
                  <a:cubicBezTo>
                    <a:pt x="824" y="512"/>
                    <a:pt x="824" y="513"/>
                    <a:pt x="824" y="514"/>
                  </a:cubicBezTo>
                  <a:cubicBezTo>
                    <a:pt x="824" y="513"/>
                    <a:pt x="825" y="512"/>
                    <a:pt x="826" y="512"/>
                  </a:cubicBezTo>
                  <a:cubicBezTo>
                    <a:pt x="826" y="512"/>
                    <a:pt x="826" y="512"/>
                    <a:pt x="826" y="512"/>
                  </a:cubicBezTo>
                  <a:cubicBezTo>
                    <a:pt x="826" y="510"/>
                    <a:pt x="827" y="509"/>
                    <a:pt x="827" y="507"/>
                  </a:cubicBezTo>
                  <a:cubicBezTo>
                    <a:pt x="828" y="505"/>
                    <a:pt x="829" y="504"/>
                    <a:pt x="829" y="502"/>
                  </a:cubicBezTo>
                  <a:cubicBezTo>
                    <a:pt x="829" y="502"/>
                    <a:pt x="829" y="501"/>
                    <a:pt x="829" y="501"/>
                  </a:cubicBezTo>
                  <a:cubicBezTo>
                    <a:pt x="830" y="500"/>
                    <a:pt x="830" y="499"/>
                    <a:pt x="830" y="498"/>
                  </a:cubicBezTo>
                  <a:cubicBezTo>
                    <a:pt x="830" y="498"/>
                    <a:pt x="830" y="497"/>
                    <a:pt x="830" y="497"/>
                  </a:cubicBezTo>
                  <a:moveTo>
                    <a:pt x="1078" y="498"/>
                  </a:moveTo>
                  <a:cubicBezTo>
                    <a:pt x="1076" y="501"/>
                    <a:pt x="1073" y="504"/>
                    <a:pt x="1070" y="507"/>
                  </a:cubicBezTo>
                  <a:cubicBezTo>
                    <a:pt x="1070" y="507"/>
                    <a:pt x="1070" y="508"/>
                    <a:pt x="1069" y="509"/>
                  </a:cubicBezTo>
                  <a:cubicBezTo>
                    <a:pt x="1072" y="507"/>
                    <a:pt x="1074" y="504"/>
                    <a:pt x="1077" y="502"/>
                  </a:cubicBezTo>
                  <a:cubicBezTo>
                    <a:pt x="1077" y="500"/>
                    <a:pt x="1078" y="499"/>
                    <a:pt x="1078" y="498"/>
                  </a:cubicBezTo>
                  <a:moveTo>
                    <a:pt x="1068" y="508"/>
                  </a:moveTo>
                  <a:cubicBezTo>
                    <a:pt x="1067" y="509"/>
                    <a:pt x="1066" y="510"/>
                    <a:pt x="1065" y="511"/>
                  </a:cubicBezTo>
                  <a:cubicBezTo>
                    <a:pt x="1065" y="511"/>
                    <a:pt x="1066" y="512"/>
                    <a:pt x="1066" y="512"/>
                  </a:cubicBezTo>
                  <a:cubicBezTo>
                    <a:pt x="1066" y="511"/>
                    <a:pt x="1067" y="511"/>
                    <a:pt x="1068" y="510"/>
                  </a:cubicBezTo>
                  <a:cubicBezTo>
                    <a:pt x="1068" y="510"/>
                    <a:pt x="1068" y="509"/>
                    <a:pt x="1068" y="508"/>
                  </a:cubicBezTo>
                  <a:moveTo>
                    <a:pt x="1064" y="512"/>
                  </a:moveTo>
                  <a:cubicBezTo>
                    <a:pt x="1063" y="513"/>
                    <a:pt x="1061" y="515"/>
                    <a:pt x="1059" y="516"/>
                  </a:cubicBezTo>
                  <a:cubicBezTo>
                    <a:pt x="1059" y="516"/>
                    <a:pt x="1059" y="517"/>
                    <a:pt x="1059" y="517"/>
                  </a:cubicBezTo>
                  <a:cubicBezTo>
                    <a:pt x="1061" y="516"/>
                    <a:pt x="1063" y="514"/>
                    <a:pt x="1065" y="513"/>
                  </a:cubicBezTo>
                  <a:cubicBezTo>
                    <a:pt x="1065" y="512"/>
                    <a:pt x="1065" y="512"/>
                    <a:pt x="1064" y="512"/>
                  </a:cubicBezTo>
                  <a:moveTo>
                    <a:pt x="825" y="514"/>
                  </a:moveTo>
                  <a:cubicBezTo>
                    <a:pt x="824" y="515"/>
                    <a:pt x="823" y="516"/>
                    <a:pt x="823" y="516"/>
                  </a:cubicBezTo>
                  <a:cubicBezTo>
                    <a:pt x="822" y="517"/>
                    <a:pt x="822" y="518"/>
                    <a:pt x="822" y="518"/>
                  </a:cubicBezTo>
                  <a:cubicBezTo>
                    <a:pt x="822" y="519"/>
                    <a:pt x="821" y="519"/>
                    <a:pt x="821" y="519"/>
                  </a:cubicBezTo>
                  <a:cubicBezTo>
                    <a:pt x="821" y="520"/>
                    <a:pt x="821" y="521"/>
                    <a:pt x="821" y="522"/>
                  </a:cubicBezTo>
                  <a:cubicBezTo>
                    <a:pt x="822" y="519"/>
                    <a:pt x="823" y="517"/>
                    <a:pt x="824" y="515"/>
                  </a:cubicBezTo>
                  <a:cubicBezTo>
                    <a:pt x="824" y="515"/>
                    <a:pt x="824" y="515"/>
                    <a:pt x="825" y="514"/>
                  </a:cubicBezTo>
                  <a:moveTo>
                    <a:pt x="1058" y="517"/>
                  </a:moveTo>
                  <a:cubicBezTo>
                    <a:pt x="1055" y="519"/>
                    <a:pt x="1051" y="521"/>
                    <a:pt x="1048" y="523"/>
                  </a:cubicBezTo>
                  <a:cubicBezTo>
                    <a:pt x="1048" y="523"/>
                    <a:pt x="1048" y="523"/>
                    <a:pt x="1047" y="524"/>
                  </a:cubicBezTo>
                  <a:cubicBezTo>
                    <a:pt x="1051" y="522"/>
                    <a:pt x="1054" y="520"/>
                    <a:pt x="1057" y="518"/>
                  </a:cubicBezTo>
                  <a:cubicBezTo>
                    <a:pt x="1058" y="518"/>
                    <a:pt x="1058" y="517"/>
                    <a:pt x="1058" y="517"/>
                  </a:cubicBezTo>
                  <a:moveTo>
                    <a:pt x="997" y="517"/>
                  </a:moveTo>
                  <a:cubicBezTo>
                    <a:pt x="997" y="517"/>
                    <a:pt x="997" y="518"/>
                    <a:pt x="997" y="518"/>
                  </a:cubicBezTo>
                  <a:cubicBezTo>
                    <a:pt x="1004" y="526"/>
                    <a:pt x="1013" y="530"/>
                    <a:pt x="1024" y="530"/>
                  </a:cubicBezTo>
                  <a:cubicBezTo>
                    <a:pt x="1024" y="530"/>
                    <a:pt x="1024" y="530"/>
                    <a:pt x="1024" y="530"/>
                  </a:cubicBezTo>
                  <a:cubicBezTo>
                    <a:pt x="1024" y="530"/>
                    <a:pt x="1025" y="530"/>
                    <a:pt x="1025" y="530"/>
                  </a:cubicBezTo>
                  <a:cubicBezTo>
                    <a:pt x="1028" y="530"/>
                    <a:pt x="1031" y="529"/>
                    <a:pt x="1034" y="529"/>
                  </a:cubicBezTo>
                  <a:cubicBezTo>
                    <a:pt x="1034" y="528"/>
                    <a:pt x="1034" y="528"/>
                    <a:pt x="1034" y="527"/>
                  </a:cubicBezTo>
                  <a:cubicBezTo>
                    <a:pt x="1032" y="528"/>
                    <a:pt x="1029" y="528"/>
                    <a:pt x="1026" y="529"/>
                  </a:cubicBezTo>
                  <a:cubicBezTo>
                    <a:pt x="1026" y="529"/>
                    <a:pt x="1025" y="529"/>
                    <a:pt x="1025" y="529"/>
                  </a:cubicBezTo>
                  <a:cubicBezTo>
                    <a:pt x="1024" y="529"/>
                    <a:pt x="1024" y="529"/>
                    <a:pt x="1024" y="529"/>
                  </a:cubicBezTo>
                  <a:cubicBezTo>
                    <a:pt x="1013" y="529"/>
                    <a:pt x="1004" y="525"/>
                    <a:pt x="997" y="517"/>
                  </a:cubicBezTo>
                  <a:moveTo>
                    <a:pt x="820" y="521"/>
                  </a:moveTo>
                  <a:cubicBezTo>
                    <a:pt x="820" y="522"/>
                    <a:pt x="819" y="523"/>
                    <a:pt x="819" y="523"/>
                  </a:cubicBezTo>
                  <a:cubicBezTo>
                    <a:pt x="817" y="527"/>
                    <a:pt x="815" y="531"/>
                    <a:pt x="813" y="534"/>
                  </a:cubicBezTo>
                  <a:cubicBezTo>
                    <a:pt x="813" y="534"/>
                    <a:pt x="813" y="535"/>
                    <a:pt x="812" y="535"/>
                  </a:cubicBezTo>
                  <a:cubicBezTo>
                    <a:pt x="812" y="536"/>
                    <a:pt x="812" y="536"/>
                    <a:pt x="812" y="537"/>
                  </a:cubicBezTo>
                  <a:cubicBezTo>
                    <a:pt x="812" y="536"/>
                    <a:pt x="813" y="535"/>
                    <a:pt x="814" y="535"/>
                  </a:cubicBezTo>
                  <a:cubicBezTo>
                    <a:pt x="816" y="531"/>
                    <a:pt x="818" y="528"/>
                    <a:pt x="820" y="524"/>
                  </a:cubicBezTo>
                  <a:cubicBezTo>
                    <a:pt x="820" y="524"/>
                    <a:pt x="820" y="524"/>
                    <a:pt x="820" y="524"/>
                  </a:cubicBezTo>
                  <a:cubicBezTo>
                    <a:pt x="820" y="523"/>
                    <a:pt x="820" y="522"/>
                    <a:pt x="820" y="521"/>
                  </a:cubicBezTo>
                  <a:moveTo>
                    <a:pt x="1047" y="523"/>
                  </a:moveTo>
                  <a:cubicBezTo>
                    <a:pt x="1043" y="525"/>
                    <a:pt x="1039" y="526"/>
                    <a:pt x="1035" y="527"/>
                  </a:cubicBezTo>
                  <a:cubicBezTo>
                    <a:pt x="1035" y="528"/>
                    <a:pt x="1035" y="528"/>
                    <a:pt x="1035" y="528"/>
                  </a:cubicBezTo>
                  <a:cubicBezTo>
                    <a:pt x="1039" y="527"/>
                    <a:pt x="1043" y="526"/>
                    <a:pt x="1046" y="524"/>
                  </a:cubicBezTo>
                  <a:cubicBezTo>
                    <a:pt x="1046" y="524"/>
                    <a:pt x="1047" y="524"/>
                    <a:pt x="1047" y="523"/>
                  </a:cubicBezTo>
                  <a:moveTo>
                    <a:pt x="812" y="538"/>
                  </a:moveTo>
                  <a:cubicBezTo>
                    <a:pt x="811" y="538"/>
                    <a:pt x="811" y="539"/>
                    <a:pt x="810" y="539"/>
                  </a:cubicBezTo>
                  <a:cubicBezTo>
                    <a:pt x="809" y="541"/>
                    <a:pt x="808" y="543"/>
                    <a:pt x="807" y="545"/>
                  </a:cubicBezTo>
                  <a:cubicBezTo>
                    <a:pt x="809" y="542"/>
                    <a:pt x="810" y="540"/>
                    <a:pt x="812" y="538"/>
                  </a:cubicBezTo>
                  <a:moveTo>
                    <a:pt x="806" y="544"/>
                  </a:moveTo>
                  <a:cubicBezTo>
                    <a:pt x="805" y="546"/>
                    <a:pt x="805" y="547"/>
                    <a:pt x="804" y="548"/>
                  </a:cubicBezTo>
                  <a:cubicBezTo>
                    <a:pt x="803" y="549"/>
                    <a:pt x="803" y="550"/>
                    <a:pt x="802" y="551"/>
                  </a:cubicBezTo>
                  <a:cubicBezTo>
                    <a:pt x="804" y="549"/>
                    <a:pt x="805" y="547"/>
                    <a:pt x="806" y="544"/>
                  </a:cubicBezTo>
                  <a:moveTo>
                    <a:pt x="800" y="553"/>
                  </a:moveTo>
                  <a:cubicBezTo>
                    <a:pt x="799" y="555"/>
                    <a:pt x="797" y="556"/>
                    <a:pt x="796" y="558"/>
                  </a:cubicBezTo>
                  <a:cubicBezTo>
                    <a:pt x="796" y="558"/>
                    <a:pt x="796" y="559"/>
                    <a:pt x="796" y="559"/>
                  </a:cubicBezTo>
                  <a:cubicBezTo>
                    <a:pt x="796" y="559"/>
                    <a:pt x="797" y="558"/>
                    <a:pt x="797" y="558"/>
                  </a:cubicBezTo>
                  <a:cubicBezTo>
                    <a:pt x="798" y="557"/>
                    <a:pt x="799" y="555"/>
                    <a:pt x="800" y="553"/>
                  </a:cubicBezTo>
                  <a:moveTo>
                    <a:pt x="796" y="560"/>
                  </a:moveTo>
                  <a:cubicBezTo>
                    <a:pt x="795" y="560"/>
                    <a:pt x="795" y="560"/>
                    <a:pt x="795" y="560"/>
                  </a:cubicBezTo>
                  <a:cubicBezTo>
                    <a:pt x="795" y="561"/>
                    <a:pt x="795" y="561"/>
                    <a:pt x="794" y="561"/>
                  </a:cubicBezTo>
                  <a:cubicBezTo>
                    <a:pt x="795" y="561"/>
                    <a:pt x="795" y="560"/>
                    <a:pt x="796" y="560"/>
                  </a:cubicBezTo>
                  <a:moveTo>
                    <a:pt x="794" y="561"/>
                  </a:moveTo>
                  <a:cubicBezTo>
                    <a:pt x="794" y="561"/>
                    <a:pt x="794" y="561"/>
                    <a:pt x="794" y="561"/>
                  </a:cubicBezTo>
                  <a:cubicBezTo>
                    <a:pt x="793" y="562"/>
                    <a:pt x="792" y="562"/>
                    <a:pt x="792" y="563"/>
                  </a:cubicBezTo>
                  <a:cubicBezTo>
                    <a:pt x="791" y="564"/>
                    <a:pt x="791" y="564"/>
                    <a:pt x="791" y="565"/>
                  </a:cubicBezTo>
                  <a:cubicBezTo>
                    <a:pt x="791" y="565"/>
                    <a:pt x="790" y="565"/>
                    <a:pt x="790" y="565"/>
                  </a:cubicBezTo>
                  <a:cubicBezTo>
                    <a:pt x="790" y="566"/>
                    <a:pt x="789" y="567"/>
                    <a:pt x="788" y="569"/>
                  </a:cubicBezTo>
                  <a:cubicBezTo>
                    <a:pt x="789" y="568"/>
                    <a:pt x="790" y="567"/>
                    <a:pt x="790" y="566"/>
                  </a:cubicBezTo>
                  <a:cubicBezTo>
                    <a:pt x="791" y="566"/>
                    <a:pt x="791" y="565"/>
                    <a:pt x="792" y="565"/>
                  </a:cubicBezTo>
                  <a:cubicBezTo>
                    <a:pt x="792" y="565"/>
                    <a:pt x="792" y="565"/>
                    <a:pt x="792" y="565"/>
                  </a:cubicBezTo>
                  <a:cubicBezTo>
                    <a:pt x="792" y="564"/>
                    <a:pt x="793" y="562"/>
                    <a:pt x="794" y="561"/>
                  </a:cubicBezTo>
                  <a:moveTo>
                    <a:pt x="1485" y="567"/>
                  </a:moveTo>
                  <a:cubicBezTo>
                    <a:pt x="1481" y="574"/>
                    <a:pt x="1477" y="581"/>
                    <a:pt x="1473" y="588"/>
                  </a:cubicBezTo>
                  <a:cubicBezTo>
                    <a:pt x="1472" y="591"/>
                    <a:pt x="1471" y="593"/>
                    <a:pt x="1470" y="596"/>
                  </a:cubicBezTo>
                  <a:cubicBezTo>
                    <a:pt x="1473" y="591"/>
                    <a:pt x="1475" y="586"/>
                    <a:pt x="1478" y="582"/>
                  </a:cubicBezTo>
                  <a:cubicBezTo>
                    <a:pt x="1480" y="577"/>
                    <a:pt x="1482" y="572"/>
                    <a:pt x="1485" y="567"/>
                  </a:cubicBezTo>
                  <a:moveTo>
                    <a:pt x="788" y="568"/>
                  </a:moveTo>
                  <a:cubicBezTo>
                    <a:pt x="787" y="569"/>
                    <a:pt x="786" y="569"/>
                    <a:pt x="786" y="570"/>
                  </a:cubicBezTo>
                  <a:cubicBezTo>
                    <a:pt x="786" y="570"/>
                    <a:pt x="786" y="570"/>
                    <a:pt x="787" y="570"/>
                  </a:cubicBezTo>
                  <a:cubicBezTo>
                    <a:pt x="787" y="569"/>
                    <a:pt x="787" y="569"/>
                    <a:pt x="788" y="568"/>
                  </a:cubicBezTo>
                  <a:moveTo>
                    <a:pt x="786" y="571"/>
                  </a:moveTo>
                  <a:cubicBezTo>
                    <a:pt x="786" y="571"/>
                    <a:pt x="785" y="571"/>
                    <a:pt x="785" y="571"/>
                  </a:cubicBezTo>
                  <a:cubicBezTo>
                    <a:pt x="782" y="575"/>
                    <a:pt x="779" y="578"/>
                    <a:pt x="775" y="581"/>
                  </a:cubicBezTo>
                  <a:cubicBezTo>
                    <a:pt x="774" y="582"/>
                    <a:pt x="773" y="584"/>
                    <a:pt x="772" y="585"/>
                  </a:cubicBezTo>
                  <a:cubicBezTo>
                    <a:pt x="768" y="588"/>
                    <a:pt x="764" y="592"/>
                    <a:pt x="761" y="596"/>
                  </a:cubicBezTo>
                  <a:cubicBezTo>
                    <a:pt x="761" y="596"/>
                    <a:pt x="761" y="596"/>
                    <a:pt x="761" y="597"/>
                  </a:cubicBezTo>
                  <a:cubicBezTo>
                    <a:pt x="761" y="597"/>
                    <a:pt x="761" y="597"/>
                    <a:pt x="761" y="597"/>
                  </a:cubicBezTo>
                  <a:cubicBezTo>
                    <a:pt x="765" y="593"/>
                    <a:pt x="769" y="589"/>
                    <a:pt x="773" y="586"/>
                  </a:cubicBezTo>
                  <a:cubicBezTo>
                    <a:pt x="777" y="581"/>
                    <a:pt x="782" y="576"/>
                    <a:pt x="786" y="571"/>
                  </a:cubicBezTo>
                  <a:cubicBezTo>
                    <a:pt x="786" y="571"/>
                    <a:pt x="786" y="571"/>
                    <a:pt x="786" y="571"/>
                  </a:cubicBezTo>
                  <a:cubicBezTo>
                    <a:pt x="786" y="571"/>
                    <a:pt x="786" y="571"/>
                    <a:pt x="786" y="571"/>
                  </a:cubicBezTo>
                  <a:moveTo>
                    <a:pt x="1469" y="595"/>
                  </a:moveTo>
                  <a:cubicBezTo>
                    <a:pt x="1466" y="603"/>
                    <a:pt x="1462" y="610"/>
                    <a:pt x="1458" y="617"/>
                  </a:cubicBezTo>
                  <a:cubicBezTo>
                    <a:pt x="1458" y="619"/>
                    <a:pt x="1457" y="620"/>
                    <a:pt x="1457" y="622"/>
                  </a:cubicBezTo>
                  <a:cubicBezTo>
                    <a:pt x="1460" y="615"/>
                    <a:pt x="1464" y="609"/>
                    <a:pt x="1467" y="602"/>
                  </a:cubicBezTo>
                  <a:cubicBezTo>
                    <a:pt x="1468" y="600"/>
                    <a:pt x="1468" y="598"/>
                    <a:pt x="1469" y="595"/>
                  </a:cubicBezTo>
                  <a:moveTo>
                    <a:pt x="759" y="597"/>
                  </a:moveTo>
                  <a:cubicBezTo>
                    <a:pt x="758" y="598"/>
                    <a:pt x="757" y="599"/>
                    <a:pt x="756" y="600"/>
                  </a:cubicBezTo>
                  <a:cubicBezTo>
                    <a:pt x="754" y="601"/>
                    <a:pt x="752" y="603"/>
                    <a:pt x="751" y="605"/>
                  </a:cubicBezTo>
                  <a:cubicBezTo>
                    <a:pt x="749" y="606"/>
                    <a:pt x="746" y="608"/>
                    <a:pt x="744" y="610"/>
                  </a:cubicBezTo>
                  <a:cubicBezTo>
                    <a:pt x="740" y="613"/>
                    <a:pt x="737" y="616"/>
                    <a:pt x="733" y="619"/>
                  </a:cubicBezTo>
                  <a:cubicBezTo>
                    <a:pt x="730" y="621"/>
                    <a:pt x="728" y="623"/>
                    <a:pt x="725" y="625"/>
                  </a:cubicBezTo>
                  <a:cubicBezTo>
                    <a:pt x="725" y="626"/>
                    <a:pt x="724" y="626"/>
                    <a:pt x="724" y="626"/>
                  </a:cubicBezTo>
                  <a:cubicBezTo>
                    <a:pt x="723" y="627"/>
                    <a:pt x="723" y="627"/>
                    <a:pt x="722" y="628"/>
                  </a:cubicBezTo>
                  <a:cubicBezTo>
                    <a:pt x="723" y="628"/>
                    <a:pt x="723" y="628"/>
                    <a:pt x="723" y="628"/>
                  </a:cubicBezTo>
                  <a:cubicBezTo>
                    <a:pt x="726" y="626"/>
                    <a:pt x="729" y="624"/>
                    <a:pt x="732" y="621"/>
                  </a:cubicBezTo>
                  <a:cubicBezTo>
                    <a:pt x="732" y="621"/>
                    <a:pt x="733" y="621"/>
                    <a:pt x="733" y="621"/>
                  </a:cubicBezTo>
                  <a:cubicBezTo>
                    <a:pt x="733" y="620"/>
                    <a:pt x="733" y="620"/>
                    <a:pt x="734" y="620"/>
                  </a:cubicBezTo>
                  <a:cubicBezTo>
                    <a:pt x="736" y="618"/>
                    <a:pt x="738" y="616"/>
                    <a:pt x="740" y="615"/>
                  </a:cubicBezTo>
                  <a:cubicBezTo>
                    <a:pt x="742" y="613"/>
                    <a:pt x="744" y="612"/>
                    <a:pt x="746" y="610"/>
                  </a:cubicBezTo>
                  <a:cubicBezTo>
                    <a:pt x="746" y="610"/>
                    <a:pt x="746" y="609"/>
                    <a:pt x="747" y="609"/>
                  </a:cubicBezTo>
                  <a:cubicBezTo>
                    <a:pt x="750" y="606"/>
                    <a:pt x="753" y="604"/>
                    <a:pt x="757" y="601"/>
                  </a:cubicBezTo>
                  <a:cubicBezTo>
                    <a:pt x="757" y="601"/>
                    <a:pt x="757" y="601"/>
                    <a:pt x="757" y="601"/>
                  </a:cubicBezTo>
                  <a:cubicBezTo>
                    <a:pt x="758" y="600"/>
                    <a:pt x="759" y="599"/>
                    <a:pt x="760" y="598"/>
                  </a:cubicBezTo>
                  <a:cubicBezTo>
                    <a:pt x="760" y="598"/>
                    <a:pt x="760" y="598"/>
                    <a:pt x="760" y="597"/>
                  </a:cubicBezTo>
                  <a:cubicBezTo>
                    <a:pt x="759" y="597"/>
                    <a:pt x="759" y="597"/>
                    <a:pt x="759" y="597"/>
                  </a:cubicBezTo>
                  <a:moveTo>
                    <a:pt x="1456" y="622"/>
                  </a:moveTo>
                  <a:cubicBezTo>
                    <a:pt x="1453" y="629"/>
                    <a:pt x="1449" y="636"/>
                    <a:pt x="1446" y="643"/>
                  </a:cubicBezTo>
                  <a:cubicBezTo>
                    <a:pt x="1446" y="644"/>
                    <a:pt x="1445" y="645"/>
                    <a:pt x="1445" y="646"/>
                  </a:cubicBezTo>
                  <a:cubicBezTo>
                    <a:pt x="1449" y="640"/>
                    <a:pt x="1452" y="633"/>
                    <a:pt x="1455" y="626"/>
                  </a:cubicBezTo>
                  <a:cubicBezTo>
                    <a:pt x="1455" y="625"/>
                    <a:pt x="1456" y="623"/>
                    <a:pt x="1456" y="622"/>
                  </a:cubicBezTo>
                  <a:moveTo>
                    <a:pt x="722" y="629"/>
                  </a:moveTo>
                  <a:cubicBezTo>
                    <a:pt x="721" y="629"/>
                    <a:pt x="721" y="630"/>
                    <a:pt x="720" y="630"/>
                  </a:cubicBezTo>
                  <a:cubicBezTo>
                    <a:pt x="721" y="630"/>
                    <a:pt x="721" y="630"/>
                    <a:pt x="721" y="630"/>
                  </a:cubicBezTo>
                  <a:cubicBezTo>
                    <a:pt x="721" y="629"/>
                    <a:pt x="722" y="629"/>
                    <a:pt x="722" y="629"/>
                  </a:cubicBezTo>
                  <a:cubicBezTo>
                    <a:pt x="722" y="629"/>
                    <a:pt x="722" y="629"/>
                    <a:pt x="722" y="629"/>
                  </a:cubicBezTo>
                  <a:moveTo>
                    <a:pt x="720" y="629"/>
                  </a:moveTo>
                  <a:cubicBezTo>
                    <a:pt x="719" y="630"/>
                    <a:pt x="719" y="630"/>
                    <a:pt x="719" y="630"/>
                  </a:cubicBezTo>
                  <a:cubicBezTo>
                    <a:pt x="714" y="633"/>
                    <a:pt x="710" y="637"/>
                    <a:pt x="705" y="640"/>
                  </a:cubicBezTo>
                  <a:cubicBezTo>
                    <a:pt x="705" y="640"/>
                    <a:pt x="705" y="641"/>
                    <a:pt x="705" y="641"/>
                  </a:cubicBezTo>
                  <a:cubicBezTo>
                    <a:pt x="709" y="638"/>
                    <a:pt x="713" y="636"/>
                    <a:pt x="716" y="633"/>
                  </a:cubicBezTo>
                  <a:cubicBezTo>
                    <a:pt x="717" y="632"/>
                    <a:pt x="719" y="631"/>
                    <a:pt x="720" y="629"/>
                  </a:cubicBezTo>
                  <a:moveTo>
                    <a:pt x="704" y="640"/>
                  </a:moveTo>
                  <a:cubicBezTo>
                    <a:pt x="696" y="646"/>
                    <a:pt x="688" y="652"/>
                    <a:pt x="679" y="657"/>
                  </a:cubicBezTo>
                  <a:cubicBezTo>
                    <a:pt x="679" y="657"/>
                    <a:pt x="679" y="657"/>
                    <a:pt x="679" y="657"/>
                  </a:cubicBezTo>
                  <a:cubicBezTo>
                    <a:pt x="679" y="658"/>
                    <a:pt x="679" y="658"/>
                    <a:pt x="680" y="658"/>
                  </a:cubicBezTo>
                  <a:cubicBezTo>
                    <a:pt x="688" y="653"/>
                    <a:pt x="696" y="647"/>
                    <a:pt x="705" y="642"/>
                  </a:cubicBezTo>
                  <a:cubicBezTo>
                    <a:pt x="705" y="641"/>
                    <a:pt x="704" y="641"/>
                    <a:pt x="704" y="640"/>
                  </a:cubicBezTo>
                  <a:moveTo>
                    <a:pt x="1444" y="646"/>
                  </a:moveTo>
                  <a:cubicBezTo>
                    <a:pt x="1441" y="653"/>
                    <a:pt x="1438" y="660"/>
                    <a:pt x="1434" y="667"/>
                  </a:cubicBezTo>
                  <a:cubicBezTo>
                    <a:pt x="1434" y="668"/>
                    <a:pt x="1434" y="669"/>
                    <a:pt x="1434" y="670"/>
                  </a:cubicBezTo>
                  <a:cubicBezTo>
                    <a:pt x="1437" y="663"/>
                    <a:pt x="1441" y="656"/>
                    <a:pt x="1444" y="649"/>
                  </a:cubicBezTo>
                  <a:cubicBezTo>
                    <a:pt x="1444" y="648"/>
                    <a:pt x="1444" y="647"/>
                    <a:pt x="1444" y="646"/>
                  </a:cubicBezTo>
                  <a:moveTo>
                    <a:pt x="678" y="658"/>
                  </a:moveTo>
                  <a:cubicBezTo>
                    <a:pt x="677" y="658"/>
                    <a:pt x="677" y="659"/>
                    <a:pt x="676" y="659"/>
                  </a:cubicBezTo>
                  <a:cubicBezTo>
                    <a:pt x="675" y="660"/>
                    <a:pt x="674" y="660"/>
                    <a:pt x="673" y="661"/>
                  </a:cubicBezTo>
                  <a:cubicBezTo>
                    <a:pt x="673" y="661"/>
                    <a:pt x="672" y="661"/>
                    <a:pt x="672" y="662"/>
                  </a:cubicBezTo>
                  <a:cubicBezTo>
                    <a:pt x="669" y="663"/>
                    <a:pt x="666" y="665"/>
                    <a:pt x="663" y="667"/>
                  </a:cubicBezTo>
                  <a:cubicBezTo>
                    <a:pt x="661" y="668"/>
                    <a:pt x="658" y="670"/>
                    <a:pt x="656" y="671"/>
                  </a:cubicBezTo>
                  <a:cubicBezTo>
                    <a:pt x="655" y="671"/>
                    <a:pt x="655" y="671"/>
                    <a:pt x="655" y="672"/>
                  </a:cubicBezTo>
                  <a:cubicBezTo>
                    <a:pt x="654" y="672"/>
                    <a:pt x="653" y="673"/>
                    <a:pt x="652" y="673"/>
                  </a:cubicBezTo>
                  <a:cubicBezTo>
                    <a:pt x="652" y="674"/>
                    <a:pt x="652" y="674"/>
                    <a:pt x="652" y="674"/>
                  </a:cubicBezTo>
                  <a:cubicBezTo>
                    <a:pt x="653" y="674"/>
                    <a:pt x="654" y="673"/>
                    <a:pt x="655" y="673"/>
                  </a:cubicBezTo>
                  <a:cubicBezTo>
                    <a:pt x="655" y="673"/>
                    <a:pt x="655" y="672"/>
                    <a:pt x="656" y="672"/>
                  </a:cubicBezTo>
                  <a:cubicBezTo>
                    <a:pt x="661" y="669"/>
                    <a:pt x="667" y="666"/>
                    <a:pt x="673" y="662"/>
                  </a:cubicBezTo>
                  <a:cubicBezTo>
                    <a:pt x="673" y="662"/>
                    <a:pt x="673" y="662"/>
                    <a:pt x="674" y="662"/>
                  </a:cubicBezTo>
                  <a:cubicBezTo>
                    <a:pt x="674" y="662"/>
                    <a:pt x="674" y="661"/>
                    <a:pt x="674" y="661"/>
                  </a:cubicBezTo>
                  <a:cubicBezTo>
                    <a:pt x="675" y="661"/>
                    <a:pt x="676" y="660"/>
                    <a:pt x="677" y="660"/>
                  </a:cubicBezTo>
                  <a:cubicBezTo>
                    <a:pt x="678" y="659"/>
                    <a:pt x="678" y="659"/>
                    <a:pt x="679" y="659"/>
                  </a:cubicBezTo>
                  <a:cubicBezTo>
                    <a:pt x="678" y="658"/>
                    <a:pt x="678" y="658"/>
                    <a:pt x="678" y="658"/>
                  </a:cubicBezTo>
                  <a:moveTo>
                    <a:pt x="1433" y="669"/>
                  </a:moveTo>
                  <a:cubicBezTo>
                    <a:pt x="1423" y="691"/>
                    <a:pt x="1413" y="713"/>
                    <a:pt x="1403" y="733"/>
                  </a:cubicBezTo>
                  <a:cubicBezTo>
                    <a:pt x="1403" y="734"/>
                    <a:pt x="1403" y="734"/>
                    <a:pt x="1403" y="735"/>
                  </a:cubicBezTo>
                  <a:cubicBezTo>
                    <a:pt x="1413" y="715"/>
                    <a:pt x="1423" y="693"/>
                    <a:pt x="1433" y="672"/>
                  </a:cubicBezTo>
                  <a:cubicBezTo>
                    <a:pt x="1433" y="671"/>
                    <a:pt x="1433" y="670"/>
                    <a:pt x="1433" y="669"/>
                  </a:cubicBezTo>
                  <a:moveTo>
                    <a:pt x="651" y="674"/>
                  </a:moveTo>
                  <a:cubicBezTo>
                    <a:pt x="644" y="678"/>
                    <a:pt x="637" y="681"/>
                    <a:pt x="630" y="685"/>
                  </a:cubicBezTo>
                  <a:cubicBezTo>
                    <a:pt x="630" y="685"/>
                    <a:pt x="630" y="685"/>
                    <a:pt x="631" y="686"/>
                  </a:cubicBezTo>
                  <a:cubicBezTo>
                    <a:pt x="637" y="683"/>
                    <a:pt x="643" y="679"/>
                    <a:pt x="649" y="676"/>
                  </a:cubicBezTo>
                  <a:cubicBezTo>
                    <a:pt x="650" y="676"/>
                    <a:pt x="650" y="675"/>
                    <a:pt x="651" y="675"/>
                  </a:cubicBezTo>
                  <a:cubicBezTo>
                    <a:pt x="651" y="674"/>
                    <a:pt x="651" y="674"/>
                    <a:pt x="651" y="674"/>
                  </a:cubicBezTo>
                  <a:moveTo>
                    <a:pt x="629" y="685"/>
                  </a:moveTo>
                  <a:cubicBezTo>
                    <a:pt x="623" y="688"/>
                    <a:pt x="617" y="691"/>
                    <a:pt x="611" y="694"/>
                  </a:cubicBezTo>
                  <a:cubicBezTo>
                    <a:pt x="610" y="694"/>
                    <a:pt x="609" y="695"/>
                    <a:pt x="607" y="696"/>
                  </a:cubicBezTo>
                  <a:cubicBezTo>
                    <a:pt x="605" y="697"/>
                    <a:pt x="602" y="698"/>
                    <a:pt x="600" y="699"/>
                  </a:cubicBezTo>
                  <a:cubicBezTo>
                    <a:pt x="599" y="699"/>
                    <a:pt x="599" y="700"/>
                    <a:pt x="599" y="700"/>
                  </a:cubicBezTo>
                  <a:cubicBezTo>
                    <a:pt x="599" y="700"/>
                    <a:pt x="599" y="700"/>
                    <a:pt x="599" y="701"/>
                  </a:cubicBezTo>
                  <a:cubicBezTo>
                    <a:pt x="601" y="700"/>
                    <a:pt x="603" y="699"/>
                    <a:pt x="604" y="698"/>
                  </a:cubicBezTo>
                  <a:cubicBezTo>
                    <a:pt x="606" y="698"/>
                    <a:pt x="607" y="697"/>
                    <a:pt x="608" y="696"/>
                  </a:cubicBezTo>
                  <a:cubicBezTo>
                    <a:pt x="615" y="693"/>
                    <a:pt x="623" y="690"/>
                    <a:pt x="630" y="686"/>
                  </a:cubicBezTo>
                  <a:cubicBezTo>
                    <a:pt x="629" y="686"/>
                    <a:pt x="629" y="686"/>
                    <a:pt x="629" y="685"/>
                  </a:cubicBezTo>
                  <a:moveTo>
                    <a:pt x="598" y="700"/>
                  </a:moveTo>
                  <a:cubicBezTo>
                    <a:pt x="597" y="701"/>
                    <a:pt x="596" y="702"/>
                    <a:pt x="595" y="702"/>
                  </a:cubicBezTo>
                  <a:cubicBezTo>
                    <a:pt x="596" y="702"/>
                    <a:pt x="597" y="701"/>
                    <a:pt x="598" y="701"/>
                  </a:cubicBezTo>
                  <a:cubicBezTo>
                    <a:pt x="598" y="701"/>
                    <a:pt x="598" y="701"/>
                    <a:pt x="598" y="700"/>
                  </a:cubicBezTo>
                  <a:moveTo>
                    <a:pt x="594" y="702"/>
                  </a:moveTo>
                  <a:cubicBezTo>
                    <a:pt x="594" y="702"/>
                    <a:pt x="594" y="702"/>
                    <a:pt x="594" y="702"/>
                  </a:cubicBezTo>
                  <a:cubicBezTo>
                    <a:pt x="592" y="702"/>
                    <a:pt x="591" y="703"/>
                    <a:pt x="590" y="703"/>
                  </a:cubicBezTo>
                  <a:cubicBezTo>
                    <a:pt x="586" y="705"/>
                    <a:pt x="582" y="707"/>
                    <a:pt x="578" y="708"/>
                  </a:cubicBezTo>
                  <a:cubicBezTo>
                    <a:pt x="578" y="708"/>
                    <a:pt x="579" y="709"/>
                    <a:pt x="579" y="709"/>
                  </a:cubicBezTo>
                  <a:cubicBezTo>
                    <a:pt x="581" y="708"/>
                    <a:pt x="584" y="707"/>
                    <a:pt x="586" y="706"/>
                  </a:cubicBezTo>
                  <a:cubicBezTo>
                    <a:pt x="587" y="706"/>
                    <a:pt x="588" y="705"/>
                    <a:pt x="589" y="705"/>
                  </a:cubicBezTo>
                  <a:cubicBezTo>
                    <a:pt x="590" y="704"/>
                    <a:pt x="592" y="703"/>
                    <a:pt x="594" y="702"/>
                  </a:cubicBezTo>
                  <a:moveTo>
                    <a:pt x="577" y="709"/>
                  </a:moveTo>
                  <a:cubicBezTo>
                    <a:pt x="566" y="713"/>
                    <a:pt x="555" y="717"/>
                    <a:pt x="544" y="720"/>
                  </a:cubicBezTo>
                  <a:cubicBezTo>
                    <a:pt x="544" y="720"/>
                    <a:pt x="544" y="721"/>
                    <a:pt x="544" y="721"/>
                  </a:cubicBezTo>
                  <a:cubicBezTo>
                    <a:pt x="555" y="718"/>
                    <a:pt x="567" y="714"/>
                    <a:pt x="578" y="709"/>
                  </a:cubicBezTo>
                  <a:cubicBezTo>
                    <a:pt x="578" y="709"/>
                    <a:pt x="577" y="709"/>
                    <a:pt x="577" y="709"/>
                  </a:cubicBezTo>
                  <a:moveTo>
                    <a:pt x="543" y="720"/>
                  </a:moveTo>
                  <a:cubicBezTo>
                    <a:pt x="536" y="723"/>
                    <a:pt x="529" y="725"/>
                    <a:pt x="522" y="726"/>
                  </a:cubicBezTo>
                  <a:cubicBezTo>
                    <a:pt x="521" y="727"/>
                    <a:pt x="521" y="727"/>
                    <a:pt x="521" y="727"/>
                  </a:cubicBezTo>
                  <a:cubicBezTo>
                    <a:pt x="522" y="727"/>
                    <a:pt x="522" y="727"/>
                    <a:pt x="522" y="727"/>
                  </a:cubicBezTo>
                  <a:cubicBezTo>
                    <a:pt x="529" y="725"/>
                    <a:pt x="536" y="723"/>
                    <a:pt x="543" y="721"/>
                  </a:cubicBezTo>
                  <a:cubicBezTo>
                    <a:pt x="543" y="721"/>
                    <a:pt x="543" y="721"/>
                    <a:pt x="543" y="720"/>
                  </a:cubicBezTo>
                  <a:moveTo>
                    <a:pt x="520" y="727"/>
                  </a:moveTo>
                  <a:cubicBezTo>
                    <a:pt x="520" y="728"/>
                    <a:pt x="519" y="728"/>
                    <a:pt x="518" y="728"/>
                  </a:cubicBezTo>
                  <a:cubicBezTo>
                    <a:pt x="519" y="728"/>
                    <a:pt x="520" y="728"/>
                    <a:pt x="521" y="728"/>
                  </a:cubicBezTo>
                  <a:cubicBezTo>
                    <a:pt x="521" y="728"/>
                    <a:pt x="520" y="727"/>
                    <a:pt x="520" y="727"/>
                  </a:cubicBezTo>
                  <a:moveTo>
                    <a:pt x="518" y="727"/>
                  </a:moveTo>
                  <a:cubicBezTo>
                    <a:pt x="507" y="730"/>
                    <a:pt x="496" y="732"/>
                    <a:pt x="485" y="734"/>
                  </a:cubicBezTo>
                  <a:cubicBezTo>
                    <a:pt x="485" y="734"/>
                    <a:pt x="485" y="735"/>
                    <a:pt x="485" y="735"/>
                  </a:cubicBezTo>
                  <a:cubicBezTo>
                    <a:pt x="495" y="734"/>
                    <a:pt x="505" y="732"/>
                    <a:pt x="515" y="729"/>
                  </a:cubicBezTo>
                  <a:cubicBezTo>
                    <a:pt x="516" y="729"/>
                    <a:pt x="517" y="728"/>
                    <a:pt x="518" y="727"/>
                  </a:cubicBezTo>
                  <a:moveTo>
                    <a:pt x="484" y="734"/>
                  </a:moveTo>
                  <a:cubicBezTo>
                    <a:pt x="481" y="735"/>
                    <a:pt x="478" y="735"/>
                    <a:pt x="475" y="736"/>
                  </a:cubicBezTo>
                  <a:cubicBezTo>
                    <a:pt x="474" y="736"/>
                    <a:pt x="474" y="736"/>
                    <a:pt x="473" y="736"/>
                  </a:cubicBezTo>
                  <a:cubicBezTo>
                    <a:pt x="473" y="736"/>
                    <a:pt x="472" y="737"/>
                    <a:pt x="471" y="737"/>
                  </a:cubicBezTo>
                  <a:cubicBezTo>
                    <a:pt x="472" y="737"/>
                    <a:pt x="473" y="737"/>
                    <a:pt x="475" y="737"/>
                  </a:cubicBezTo>
                  <a:cubicBezTo>
                    <a:pt x="478" y="736"/>
                    <a:pt x="481" y="736"/>
                    <a:pt x="484" y="735"/>
                  </a:cubicBezTo>
                  <a:cubicBezTo>
                    <a:pt x="484" y="735"/>
                    <a:pt x="484" y="735"/>
                    <a:pt x="484" y="734"/>
                  </a:cubicBezTo>
                  <a:moveTo>
                    <a:pt x="1402" y="735"/>
                  </a:moveTo>
                  <a:cubicBezTo>
                    <a:pt x="1391" y="756"/>
                    <a:pt x="1381" y="777"/>
                    <a:pt x="1369" y="796"/>
                  </a:cubicBezTo>
                  <a:cubicBezTo>
                    <a:pt x="1369" y="797"/>
                    <a:pt x="1370" y="797"/>
                    <a:pt x="1370" y="797"/>
                  </a:cubicBezTo>
                  <a:cubicBezTo>
                    <a:pt x="1381" y="778"/>
                    <a:pt x="1392" y="758"/>
                    <a:pt x="1402" y="736"/>
                  </a:cubicBezTo>
                  <a:cubicBezTo>
                    <a:pt x="1402" y="736"/>
                    <a:pt x="1402" y="735"/>
                    <a:pt x="1402" y="735"/>
                  </a:cubicBezTo>
                  <a:moveTo>
                    <a:pt x="471" y="736"/>
                  </a:moveTo>
                  <a:cubicBezTo>
                    <a:pt x="459" y="738"/>
                    <a:pt x="446" y="739"/>
                    <a:pt x="432" y="741"/>
                  </a:cubicBezTo>
                  <a:cubicBezTo>
                    <a:pt x="431" y="741"/>
                    <a:pt x="431" y="742"/>
                    <a:pt x="430" y="742"/>
                  </a:cubicBezTo>
                  <a:cubicBezTo>
                    <a:pt x="430" y="742"/>
                    <a:pt x="430" y="742"/>
                    <a:pt x="431" y="742"/>
                  </a:cubicBezTo>
                  <a:cubicBezTo>
                    <a:pt x="444" y="740"/>
                    <a:pt x="457" y="739"/>
                    <a:pt x="468" y="737"/>
                  </a:cubicBezTo>
                  <a:cubicBezTo>
                    <a:pt x="469" y="737"/>
                    <a:pt x="470" y="737"/>
                    <a:pt x="471" y="736"/>
                  </a:cubicBezTo>
                  <a:moveTo>
                    <a:pt x="429" y="742"/>
                  </a:moveTo>
                  <a:cubicBezTo>
                    <a:pt x="428" y="742"/>
                    <a:pt x="427" y="742"/>
                    <a:pt x="426" y="742"/>
                  </a:cubicBezTo>
                  <a:cubicBezTo>
                    <a:pt x="427" y="742"/>
                    <a:pt x="427" y="742"/>
                    <a:pt x="428" y="742"/>
                  </a:cubicBezTo>
                  <a:cubicBezTo>
                    <a:pt x="428" y="742"/>
                    <a:pt x="429" y="742"/>
                    <a:pt x="429" y="742"/>
                  </a:cubicBezTo>
                  <a:moveTo>
                    <a:pt x="420" y="743"/>
                  </a:moveTo>
                  <a:cubicBezTo>
                    <a:pt x="412" y="744"/>
                    <a:pt x="404" y="745"/>
                    <a:pt x="395" y="746"/>
                  </a:cubicBezTo>
                  <a:cubicBezTo>
                    <a:pt x="394" y="747"/>
                    <a:pt x="393" y="747"/>
                    <a:pt x="393" y="748"/>
                  </a:cubicBezTo>
                  <a:cubicBezTo>
                    <a:pt x="404" y="746"/>
                    <a:pt x="415" y="744"/>
                    <a:pt x="425" y="743"/>
                  </a:cubicBezTo>
                  <a:cubicBezTo>
                    <a:pt x="424" y="743"/>
                    <a:pt x="422" y="743"/>
                    <a:pt x="420" y="743"/>
                  </a:cubicBezTo>
                  <a:moveTo>
                    <a:pt x="392" y="747"/>
                  </a:moveTo>
                  <a:cubicBezTo>
                    <a:pt x="388" y="747"/>
                    <a:pt x="384" y="748"/>
                    <a:pt x="380" y="749"/>
                  </a:cubicBezTo>
                  <a:cubicBezTo>
                    <a:pt x="379" y="749"/>
                    <a:pt x="378" y="749"/>
                    <a:pt x="377" y="749"/>
                  </a:cubicBezTo>
                  <a:cubicBezTo>
                    <a:pt x="375" y="749"/>
                    <a:pt x="373" y="749"/>
                    <a:pt x="371" y="750"/>
                  </a:cubicBezTo>
                  <a:cubicBezTo>
                    <a:pt x="371" y="750"/>
                    <a:pt x="370" y="750"/>
                    <a:pt x="369" y="750"/>
                  </a:cubicBezTo>
                  <a:cubicBezTo>
                    <a:pt x="366" y="751"/>
                    <a:pt x="363" y="751"/>
                    <a:pt x="360" y="752"/>
                  </a:cubicBezTo>
                  <a:cubicBezTo>
                    <a:pt x="359" y="752"/>
                    <a:pt x="358" y="752"/>
                    <a:pt x="357" y="753"/>
                  </a:cubicBezTo>
                  <a:cubicBezTo>
                    <a:pt x="360" y="752"/>
                    <a:pt x="363" y="752"/>
                    <a:pt x="366" y="751"/>
                  </a:cubicBezTo>
                  <a:cubicBezTo>
                    <a:pt x="367" y="751"/>
                    <a:pt x="368" y="751"/>
                    <a:pt x="369" y="751"/>
                  </a:cubicBezTo>
                  <a:cubicBezTo>
                    <a:pt x="371" y="751"/>
                    <a:pt x="373" y="750"/>
                    <a:pt x="375" y="750"/>
                  </a:cubicBezTo>
                  <a:cubicBezTo>
                    <a:pt x="376" y="750"/>
                    <a:pt x="377" y="750"/>
                    <a:pt x="378" y="750"/>
                  </a:cubicBezTo>
                  <a:cubicBezTo>
                    <a:pt x="382" y="749"/>
                    <a:pt x="386" y="749"/>
                    <a:pt x="389" y="748"/>
                  </a:cubicBezTo>
                  <a:cubicBezTo>
                    <a:pt x="390" y="748"/>
                    <a:pt x="391" y="747"/>
                    <a:pt x="392" y="747"/>
                  </a:cubicBezTo>
                  <a:moveTo>
                    <a:pt x="357" y="752"/>
                  </a:moveTo>
                  <a:cubicBezTo>
                    <a:pt x="356" y="752"/>
                    <a:pt x="355" y="752"/>
                    <a:pt x="354" y="752"/>
                  </a:cubicBezTo>
                  <a:cubicBezTo>
                    <a:pt x="353" y="753"/>
                    <a:pt x="352" y="753"/>
                    <a:pt x="351" y="753"/>
                  </a:cubicBezTo>
                  <a:cubicBezTo>
                    <a:pt x="347" y="754"/>
                    <a:pt x="342" y="754"/>
                    <a:pt x="338" y="755"/>
                  </a:cubicBezTo>
                  <a:cubicBezTo>
                    <a:pt x="337" y="755"/>
                    <a:pt x="336" y="755"/>
                    <a:pt x="334" y="756"/>
                  </a:cubicBezTo>
                  <a:cubicBezTo>
                    <a:pt x="331" y="756"/>
                    <a:pt x="328" y="757"/>
                    <a:pt x="325" y="757"/>
                  </a:cubicBezTo>
                  <a:cubicBezTo>
                    <a:pt x="324" y="758"/>
                    <a:pt x="322" y="758"/>
                    <a:pt x="321" y="759"/>
                  </a:cubicBezTo>
                  <a:cubicBezTo>
                    <a:pt x="324" y="758"/>
                    <a:pt x="327" y="758"/>
                    <a:pt x="330" y="757"/>
                  </a:cubicBezTo>
                  <a:cubicBezTo>
                    <a:pt x="332" y="757"/>
                    <a:pt x="333" y="757"/>
                    <a:pt x="335" y="757"/>
                  </a:cubicBezTo>
                  <a:cubicBezTo>
                    <a:pt x="339" y="756"/>
                    <a:pt x="343" y="755"/>
                    <a:pt x="348" y="754"/>
                  </a:cubicBezTo>
                  <a:cubicBezTo>
                    <a:pt x="349" y="754"/>
                    <a:pt x="350" y="754"/>
                    <a:pt x="351" y="754"/>
                  </a:cubicBezTo>
                  <a:cubicBezTo>
                    <a:pt x="352" y="754"/>
                    <a:pt x="353" y="754"/>
                    <a:pt x="354" y="754"/>
                  </a:cubicBezTo>
                  <a:cubicBezTo>
                    <a:pt x="355" y="753"/>
                    <a:pt x="356" y="753"/>
                    <a:pt x="357" y="752"/>
                  </a:cubicBezTo>
                  <a:moveTo>
                    <a:pt x="320" y="758"/>
                  </a:moveTo>
                  <a:cubicBezTo>
                    <a:pt x="319" y="758"/>
                    <a:pt x="317" y="758"/>
                    <a:pt x="316" y="759"/>
                  </a:cubicBezTo>
                  <a:cubicBezTo>
                    <a:pt x="313" y="759"/>
                    <a:pt x="311" y="760"/>
                    <a:pt x="308" y="761"/>
                  </a:cubicBezTo>
                  <a:cubicBezTo>
                    <a:pt x="311" y="760"/>
                    <a:pt x="314" y="760"/>
                    <a:pt x="316" y="760"/>
                  </a:cubicBezTo>
                  <a:cubicBezTo>
                    <a:pt x="318" y="759"/>
                    <a:pt x="319" y="758"/>
                    <a:pt x="320" y="758"/>
                  </a:cubicBezTo>
                  <a:moveTo>
                    <a:pt x="308" y="760"/>
                  </a:moveTo>
                  <a:cubicBezTo>
                    <a:pt x="303" y="761"/>
                    <a:pt x="299" y="762"/>
                    <a:pt x="294" y="763"/>
                  </a:cubicBezTo>
                  <a:cubicBezTo>
                    <a:pt x="293" y="763"/>
                    <a:pt x="292" y="763"/>
                    <a:pt x="291" y="763"/>
                  </a:cubicBezTo>
                  <a:cubicBezTo>
                    <a:pt x="290" y="763"/>
                    <a:pt x="289" y="763"/>
                    <a:pt x="288" y="764"/>
                  </a:cubicBezTo>
                  <a:cubicBezTo>
                    <a:pt x="287" y="764"/>
                    <a:pt x="287" y="764"/>
                    <a:pt x="286" y="764"/>
                  </a:cubicBezTo>
                  <a:cubicBezTo>
                    <a:pt x="286" y="764"/>
                    <a:pt x="285" y="764"/>
                    <a:pt x="284" y="764"/>
                  </a:cubicBezTo>
                  <a:cubicBezTo>
                    <a:pt x="282" y="765"/>
                    <a:pt x="281" y="765"/>
                    <a:pt x="279" y="765"/>
                  </a:cubicBezTo>
                  <a:cubicBezTo>
                    <a:pt x="278" y="765"/>
                    <a:pt x="278" y="765"/>
                    <a:pt x="277" y="766"/>
                  </a:cubicBezTo>
                  <a:cubicBezTo>
                    <a:pt x="275" y="766"/>
                    <a:pt x="273" y="766"/>
                    <a:pt x="271" y="767"/>
                  </a:cubicBezTo>
                  <a:cubicBezTo>
                    <a:pt x="271" y="767"/>
                    <a:pt x="270" y="767"/>
                    <a:pt x="270" y="767"/>
                  </a:cubicBezTo>
                  <a:cubicBezTo>
                    <a:pt x="269" y="767"/>
                    <a:pt x="269" y="767"/>
                    <a:pt x="269" y="767"/>
                  </a:cubicBezTo>
                  <a:cubicBezTo>
                    <a:pt x="268" y="767"/>
                    <a:pt x="267" y="767"/>
                    <a:pt x="267" y="767"/>
                  </a:cubicBezTo>
                  <a:cubicBezTo>
                    <a:pt x="265" y="768"/>
                    <a:pt x="264" y="768"/>
                    <a:pt x="262" y="768"/>
                  </a:cubicBezTo>
                  <a:cubicBezTo>
                    <a:pt x="262" y="768"/>
                    <a:pt x="261" y="769"/>
                    <a:pt x="261" y="769"/>
                  </a:cubicBezTo>
                  <a:cubicBezTo>
                    <a:pt x="261" y="769"/>
                    <a:pt x="260" y="769"/>
                    <a:pt x="260" y="769"/>
                  </a:cubicBezTo>
                  <a:cubicBezTo>
                    <a:pt x="260" y="769"/>
                    <a:pt x="259" y="769"/>
                    <a:pt x="259" y="769"/>
                  </a:cubicBezTo>
                  <a:cubicBezTo>
                    <a:pt x="256" y="770"/>
                    <a:pt x="253" y="770"/>
                    <a:pt x="250" y="771"/>
                  </a:cubicBezTo>
                  <a:cubicBezTo>
                    <a:pt x="250" y="771"/>
                    <a:pt x="249" y="771"/>
                    <a:pt x="248" y="771"/>
                  </a:cubicBezTo>
                  <a:cubicBezTo>
                    <a:pt x="239" y="773"/>
                    <a:pt x="231" y="775"/>
                    <a:pt x="223" y="776"/>
                  </a:cubicBezTo>
                  <a:cubicBezTo>
                    <a:pt x="222" y="776"/>
                    <a:pt x="221" y="777"/>
                    <a:pt x="220" y="777"/>
                  </a:cubicBezTo>
                  <a:cubicBezTo>
                    <a:pt x="213" y="778"/>
                    <a:pt x="207" y="780"/>
                    <a:pt x="201" y="781"/>
                  </a:cubicBezTo>
                  <a:cubicBezTo>
                    <a:pt x="200" y="781"/>
                    <a:pt x="200" y="781"/>
                    <a:pt x="199" y="781"/>
                  </a:cubicBezTo>
                  <a:cubicBezTo>
                    <a:pt x="196" y="782"/>
                    <a:pt x="193" y="783"/>
                    <a:pt x="190" y="784"/>
                  </a:cubicBezTo>
                  <a:cubicBezTo>
                    <a:pt x="186" y="785"/>
                    <a:pt x="182" y="785"/>
                    <a:pt x="179" y="786"/>
                  </a:cubicBezTo>
                  <a:cubicBezTo>
                    <a:pt x="171" y="788"/>
                    <a:pt x="163" y="790"/>
                    <a:pt x="156" y="792"/>
                  </a:cubicBezTo>
                  <a:cubicBezTo>
                    <a:pt x="156" y="792"/>
                    <a:pt x="155" y="792"/>
                    <a:pt x="155" y="792"/>
                  </a:cubicBezTo>
                  <a:cubicBezTo>
                    <a:pt x="154" y="793"/>
                    <a:pt x="153" y="793"/>
                    <a:pt x="152" y="793"/>
                  </a:cubicBezTo>
                  <a:cubicBezTo>
                    <a:pt x="151" y="793"/>
                    <a:pt x="150" y="794"/>
                    <a:pt x="149" y="794"/>
                  </a:cubicBezTo>
                  <a:cubicBezTo>
                    <a:pt x="138" y="797"/>
                    <a:pt x="127" y="800"/>
                    <a:pt x="117" y="803"/>
                  </a:cubicBezTo>
                  <a:cubicBezTo>
                    <a:pt x="116" y="803"/>
                    <a:pt x="116" y="804"/>
                    <a:pt x="116" y="804"/>
                  </a:cubicBezTo>
                  <a:cubicBezTo>
                    <a:pt x="110" y="805"/>
                    <a:pt x="106" y="807"/>
                    <a:pt x="101" y="809"/>
                  </a:cubicBezTo>
                  <a:cubicBezTo>
                    <a:pt x="100" y="809"/>
                    <a:pt x="100" y="809"/>
                    <a:pt x="100" y="809"/>
                  </a:cubicBezTo>
                  <a:cubicBezTo>
                    <a:pt x="99" y="809"/>
                    <a:pt x="99" y="809"/>
                    <a:pt x="99" y="809"/>
                  </a:cubicBezTo>
                  <a:cubicBezTo>
                    <a:pt x="99" y="809"/>
                    <a:pt x="98" y="809"/>
                    <a:pt x="98" y="809"/>
                  </a:cubicBezTo>
                  <a:cubicBezTo>
                    <a:pt x="98" y="810"/>
                    <a:pt x="97" y="810"/>
                    <a:pt x="97" y="810"/>
                  </a:cubicBezTo>
                  <a:cubicBezTo>
                    <a:pt x="97" y="810"/>
                    <a:pt x="97" y="810"/>
                    <a:pt x="96" y="810"/>
                  </a:cubicBezTo>
                  <a:cubicBezTo>
                    <a:pt x="96" y="810"/>
                    <a:pt x="96" y="810"/>
                    <a:pt x="95" y="810"/>
                  </a:cubicBezTo>
                  <a:cubicBezTo>
                    <a:pt x="94" y="811"/>
                    <a:pt x="92" y="812"/>
                    <a:pt x="91" y="812"/>
                  </a:cubicBezTo>
                  <a:cubicBezTo>
                    <a:pt x="90" y="812"/>
                    <a:pt x="90" y="812"/>
                    <a:pt x="89" y="813"/>
                  </a:cubicBezTo>
                  <a:cubicBezTo>
                    <a:pt x="89" y="813"/>
                    <a:pt x="88" y="813"/>
                    <a:pt x="87" y="813"/>
                  </a:cubicBezTo>
                  <a:cubicBezTo>
                    <a:pt x="86" y="814"/>
                    <a:pt x="86" y="814"/>
                    <a:pt x="85" y="814"/>
                  </a:cubicBezTo>
                  <a:cubicBezTo>
                    <a:pt x="85" y="814"/>
                    <a:pt x="85" y="814"/>
                    <a:pt x="85" y="814"/>
                  </a:cubicBezTo>
                  <a:cubicBezTo>
                    <a:pt x="85" y="814"/>
                    <a:pt x="84" y="814"/>
                    <a:pt x="84" y="815"/>
                  </a:cubicBezTo>
                  <a:cubicBezTo>
                    <a:pt x="83" y="815"/>
                    <a:pt x="83" y="815"/>
                    <a:pt x="83" y="815"/>
                  </a:cubicBezTo>
                  <a:cubicBezTo>
                    <a:pt x="82" y="815"/>
                    <a:pt x="81" y="816"/>
                    <a:pt x="81" y="816"/>
                  </a:cubicBezTo>
                  <a:cubicBezTo>
                    <a:pt x="80" y="816"/>
                    <a:pt x="80" y="816"/>
                    <a:pt x="79" y="816"/>
                  </a:cubicBezTo>
                  <a:cubicBezTo>
                    <a:pt x="79" y="816"/>
                    <a:pt x="79" y="816"/>
                    <a:pt x="79" y="817"/>
                  </a:cubicBezTo>
                  <a:cubicBezTo>
                    <a:pt x="78" y="817"/>
                    <a:pt x="77" y="817"/>
                    <a:pt x="75" y="818"/>
                  </a:cubicBezTo>
                  <a:cubicBezTo>
                    <a:pt x="75" y="818"/>
                    <a:pt x="75" y="818"/>
                    <a:pt x="74" y="818"/>
                  </a:cubicBezTo>
                  <a:cubicBezTo>
                    <a:pt x="74" y="818"/>
                    <a:pt x="74" y="819"/>
                    <a:pt x="73" y="819"/>
                  </a:cubicBezTo>
                  <a:cubicBezTo>
                    <a:pt x="73" y="819"/>
                    <a:pt x="72" y="819"/>
                    <a:pt x="72" y="819"/>
                  </a:cubicBezTo>
                  <a:cubicBezTo>
                    <a:pt x="72" y="819"/>
                    <a:pt x="72" y="819"/>
                    <a:pt x="72" y="819"/>
                  </a:cubicBezTo>
                  <a:cubicBezTo>
                    <a:pt x="71" y="819"/>
                    <a:pt x="71" y="820"/>
                    <a:pt x="71" y="820"/>
                  </a:cubicBezTo>
                  <a:cubicBezTo>
                    <a:pt x="70" y="820"/>
                    <a:pt x="70" y="820"/>
                    <a:pt x="70" y="820"/>
                  </a:cubicBezTo>
                  <a:cubicBezTo>
                    <a:pt x="69" y="820"/>
                    <a:pt x="69" y="820"/>
                    <a:pt x="69" y="821"/>
                  </a:cubicBezTo>
                  <a:cubicBezTo>
                    <a:pt x="67" y="821"/>
                    <a:pt x="66" y="822"/>
                    <a:pt x="64" y="823"/>
                  </a:cubicBezTo>
                  <a:cubicBezTo>
                    <a:pt x="64" y="823"/>
                    <a:pt x="64" y="823"/>
                    <a:pt x="63" y="823"/>
                  </a:cubicBezTo>
                  <a:cubicBezTo>
                    <a:pt x="63" y="823"/>
                    <a:pt x="62" y="823"/>
                    <a:pt x="62" y="823"/>
                  </a:cubicBezTo>
                  <a:cubicBezTo>
                    <a:pt x="61" y="824"/>
                    <a:pt x="59" y="825"/>
                    <a:pt x="58" y="826"/>
                  </a:cubicBezTo>
                  <a:cubicBezTo>
                    <a:pt x="57" y="826"/>
                    <a:pt x="57" y="826"/>
                    <a:pt x="56" y="826"/>
                  </a:cubicBezTo>
                  <a:cubicBezTo>
                    <a:pt x="55" y="827"/>
                    <a:pt x="54" y="827"/>
                    <a:pt x="52" y="828"/>
                  </a:cubicBezTo>
                  <a:cubicBezTo>
                    <a:pt x="52" y="828"/>
                    <a:pt x="52" y="828"/>
                    <a:pt x="51" y="829"/>
                  </a:cubicBezTo>
                  <a:cubicBezTo>
                    <a:pt x="51" y="829"/>
                    <a:pt x="50" y="829"/>
                    <a:pt x="49" y="830"/>
                  </a:cubicBezTo>
                  <a:cubicBezTo>
                    <a:pt x="49" y="830"/>
                    <a:pt x="48" y="830"/>
                    <a:pt x="48" y="830"/>
                  </a:cubicBezTo>
                  <a:cubicBezTo>
                    <a:pt x="48" y="830"/>
                    <a:pt x="48" y="830"/>
                    <a:pt x="48" y="830"/>
                  </a:cubicBezTo>
                  <a:cubicBezTo>
                    <a:pt x="47" y="831"/>
                    <a:pt x="47" y="831"/>
                    <a:pt x="46" y="831"/>
                  </a:cubicBezTo>
                  <a:cubicBezTo>
                    <a:pt x="44" y="832"/>
                    <a:pt x="43" y="833"/>
                    <a:pt x="41" y="834"/>
                  </a:cubicBezTo>
                  <a:cubicBezTo>
                    <a:pt x="40" y="834"/>
                    <a:pt x="40" y="835"/>
                    <a:pt x="40" y="835"/>
                  </a:cubicBezTo>
                  <a:cubicBezTo>
                    <a:pt x="39" y="835"/>
                    <a:pt x="39" y="835"/>
                    <a:pt x="39" y="835"/>
                  </a:cubicBezTo>
                  <a:cubicBezTo>
                    <a:pt x="39" y="835"/>
                    <a:pt x="38" y="835"/>
                    <a:pt x="38" y="836"/>
                  </a:cubicBezTo>
                  <a:cubicBezTo>
                    <a:pt x="36" y="837"/>
                    <a:pt x="34" y="838"/>
                    <a:pt x="32" y="839"/>
                  </a:cubicBezTo>
                  <a:cubicBezTo>
                    <a:pt x="32" y="839"/>
                    <a:pt x="32" y="839"/>
                    <a:pt x="31" y="840"/>
                  </a:cubicBezTo>
                  <a:cubicBezTo>
                    <a:pt x="26" y="843"/>
                    <a:pt x="21" y="847"/>
                    <a:pt x="17" y="851"/>
                  </a:cubicBezTo>
                  <a:cubicBezTo>
                    <a:pt x="16" y="851"/>
                    <a:pt x="16" y="851"/>
                    <a:pt x="16" y="852"/>
                  </a:cubicBezTo>
                  <a:cubicBezTo>
                    <a:pt x="15" y="852"/>
                    <a:pt x="14" y="853"/>
                    <a:pt x="13" y="854"/>
                  </a:cubicBezTo>
                  <a:cubicBezTo>
                    <a:pt x="13" y="854"/>
                    <a:pt x="13" y="855"/>
                    <a:pt x="12" y="855"/>
                  </a:cubicBezTo>
                  <a:cubicBezTo>
                    <a:pt x="12" y="855"/>
                    <a:pt x="12" y="855"/>
                    <a:pt x="12" y="855"/>
                  </a:cubicBezTo>
                  <a:cubicBezTo>
                    <a:pt x="12" y="855"/>
                    <a:pt x="12" y="856"/>
                    <a:pt x="11" y="856"/>
                  </a:cubicBezTo>
                  <a:cubicBezTo>
                    <a:pt x="9" y="859"/>
                    <a:pt x="7" y="861"/>
                    <a:pt x="5" y="864"/>
                  </a:cubicBezTo>
                  <a:cubicBezTo>
                    <a:pt x="5" y="864"/>
                    <a:pt x="5" y="865"/>
                    <a:pt x="4" y="865"/>
                  </a:cubicBezTo>
                  <a:cubicBezTo>
                    <a:pt x="4" y="866"/>
                    <a:pt x="4" y="866"/>
                    <a:pt x="4" y="866"/>
                  </a:cubicBezTo>
                  <a:cubicBezTo>
                    <a:pt x="4" y="867"/>
                    <a:pt x="3" y="868"/>
                    <a:pt x="3" y="868"/>
                  </a:cubicBezTo>
                  <a:cubicBezTo>
                    <a:pt x="3" y="869"/>
                    <a:pt x="3" y="869"/>
                    <a:pt x="2" y="869"/>
                  </a:cubicBezTo>
                  <a:cubicBezTo>
                    <a:pt x="2" y="870"/>
                    <a:pt x="2" y="871"/>
                    <a:pt x="1" y="872"/>
                  </a:cubicBezTo>
                  <a:cubicBezTo>
                    <a:pt x="1" y="873"/>
                    <a:pt x="1" y="874"/>
                    <a:pt x="1" y="874"/>
                  </a:cubicBezTo>
                  <a:cubicBezTo>
                    <a:pt x="1" y="875"/>
                    <a:pt x="1" y="875"/>
                    <a:pt x="1" y="875"/>
                  </a:cubicBezTo>
                  <a:cubicBezTo>
                    <a:pt x="0" y="876"/>
                    <a:pt x="0" y="876"/>
                    <a:pt x="0" y="877"/>
                  </a:cubicBezTo>
                  <a:cubicBezTo>
                    <a:pt x="1" y="877"/>
                    <a:pt x="1" y="877"/>
                    <a:pt x="1" y="876"/>
                  </a:cubicBezTo>
                  <a:cubicBezTo>
                    <a:pt x="1" y="876"/>
                    <a:pt x="1" y="876"/>
                    <a:pt x="2" y="876"/>
                  </a:cubicBezTo>
                  <a:cubicBezTo>
                    <a:pt x="2" y="875"/>
                    <a:pt x="2" y="875"/>
                    <a:pt x="2" y="875"/>
                  </a:cubicBezTo>
                  <a:cubicBezTo>
                    <a:pt x="2" y="874"/>
                    <a:pt x="2" y="874"/>
                    <a:pt x="2" y="874"/>
                  </a:cubicBezTo>
                  <a:cubicBezTo>
                    <a:pt x="2" y="873"/>
                    <a:pt x="2" y="873"/>
                    <a:pt x="2" y="872"/>
                  </a:cubicBezTo>
                  <a:cubicBezTo>
                    <a:pt x="3" y="871"/>
                    <a:pt x="3" y="871"/>
                    <a:pt x="3" y="870"/>
                  </a:cubicBezTo>
                  <a:cubicBezTo>
                    <a:pt x="3" y="870"/>
                    <a:pt x="3" y="869"/>
                    <a:pt x="4" y="869"/>
                  </a:cubicBezTo>
                  <a:cubicBezTo>
                    <a:pt x="4" y="868"/>
                    <a:pt x="4" y="867"/>
                    <a:pt x="5" y="866"/>
                  </a:cubicBezTo>
                  <a:cubicBezTo>
                    <a:pt x="5" y="866"/>
                    <a:pt x="5" y="866"/>
                    <a:pt x="5" y="865"/>
                  </a:cubicBezTo>
                  <a:cubicBezTo>
                    <a:pt x="6" y="865"/>
                    <a:pt x="6" y="865"/>
                    <a:pt x="6" y="865"/>
                  </a:cubicBezTo>
                  <a:cubicBezTo>
                    <a:pt x="6" y="864"/>
                    <a:pt x="7" y="862"/>
                    <a:pt x="8" y="861"/>
                  </a:cubicBezTo>
                  <a:cubicBezTo>
                    <a:pt x="9" y="860"/>
                    <a:pt x="11" y="858"/>
                    <a:pt x="12" y="856"/>
                  </a:cubicBezTo>
                  <a:cubicBezTo>
                    <a:pt x="12" y="856"/>
                    <a:pt x="13" y="856"/>
                    <a:pt x="13" y="856"/>
                  </a:cubicBezTo>
                  <a:cubicBezTo>
                    <a:pt x="13" y="855"/>
                    <a:pt x="13" y="855"/>
                    <a:pt x="13" y="855"/>
                  </a:cubicBezTo>
                  <a:cubicBezTo>
                    <a:pt x="14" y="855"/>
                    <a:pt x="14" y="855"/>
                    <a:pt x="14" y="854"/>
                  </a:cubicBezTo>
                  <a:cubicBezTo>
                    <a:pt x="15" y="853"/>
                    <a:pt x="16" y="853"/>
                    <a:pt x="17" y="852"/>
                  </a:cubicBezTo>
                  <a:cubicBezTo>
                    <a:pt x="17" y="851"/>
                    <a:pt x="17" y="851"/>
                    <a:pt x="18" y="851"/>
                  </a:cubicBezTo>
                  <a:cubicBezTo>
                    <a:pt x="22" y="847"/>
                    <a:pt x="27" y="844"/>
                    <a:pt x="33" y="840"/>
                  </a:cubicBezTo>
                  <a:cubicBezTo>
                    <a:pt x="33" y="840"/>
                    <a:pt x="33" y="839"/>
                    <a:pt x="34" y="839"/>
                  </a:cubicBezTo>
                  <a:cubicBezTo>
                    <a:pt x="36" y="838"/>
                    <a:pt x="37" y="837"/>
                    <a:pt x="39" y="836"/>
                  </a:cubicBezTo>
                  <a:cubicBezTo>
                    <a:pt x="40" y="836"/>
                    <a:pt x="40" y="836"/>
                    <a:pt x="40" y="835"/>
                  </a:cubicBezTo>
                  <a:cubicBezTo>
                    <a:pt x="41" y="835"/>
                    <a:pt x="41" y="835"/>
                    <a:pt x="41" y="835"/>
                  </a:cubicBezTo>
                  <a:cubicBezTo>
                    <a:pt x="41" y="835"/>
                    <a:pt x="41" y="835"/>
                    <a:pt x="42" y="835"/>
                  </a:cubicBezTo>
                  <a:cubicBezTo>
                    <a:pt x="44" y="834"/>
                    <a:pt x="46" y="832"/>
                    <a:pt x="48" y="831"/>
                  </a:cubicBezTo>
                  <a:cubicBezTo>
                    <a:pt x="48" y="831"/>
                    <a:pt x="49" y="831"/>
                    <a:pt x="49" y="831"/>
                  </a:cubicBezTo>
                  <a:cubicBezTo>
                    <a:pt x="49" y="831"/>
                    <a:pt x="49" y="831"/>
                    <a:pt x="49" y="831"/>
                  </a:cubicBezTo>
                  <a:cubicBezTo>
                    <a:pt x="50" y="830"/>
                    <a:pt x="50" y="830"/>
                    <a:pt x="50" y="830"/>
                  </a:cubicBezTo>
                  <a:cubicBezTo>
                    <a:pt x="51" y="830"/>
                    <a:pt x="52" y="829"/>
                    <a:pt x="53" y="829"/>
                  </a:cubicBezTo>
                  <a:cubicBezTo>
                    <a:pt x="53" y="829"/>
                    <a:pt x="53" y="829"/>
                    <a:pt x="54" y="828"/>
                  </a:cubicBezTo>
                  <a:cubicBezTo>
                    <a:pt x="55" y="828"/>
                    <a:pt x="56" y="827"/>
                    <a:pt x="58" y="827"/>
                  </a:cubicBezTo>
                  <a:cubicBezTo>
                    <a:pt x="58" y="826"/>
                    <a:pt x="58" y="826"/>
                    <a:pt x="59" y="826"/>
                  </a:cubicBezTo>
                  <a:cubicBezTo>
                    <a:pt x="60" y="825"/>
                    <a:pt x="62" y="825"/>
                    <a:pt x="63" y="824"/>
                  </a:cubicBezTo>
                  <a:cubicBezTo>
                    <a:pt x="64" y="824"/>
                    <a:pt x="64" y="824"/>
                    <a:pt x="64" y="824"/>
                  </a:cubicBezTo>
                  <a:cubicBezTo>
                    <a:pt x="65" y="823"/>
                    <a:pt x="65" y="823"/>
                    <a:pt x="65" y="823"/>
                  </a:cubicBezTo>
                  <a:cubicBezTo>
                    <a:pt x="67" y="823"/>
                    <a:pt x="68" y="822"/>
                    <a:pt x="70" y="821"/>
                  </a:cubicBezTo>
                  <a:cubicBezTo>
                    <a:pt x="70" y="821"/>
                    <a:pt x="70" y="821"/>
                    <a:pt x="71" y="821"/>
                  </a:cubicBezTo>
                  <a:cubicBezTo>
                    <a:pt x="71" y="821"/>
                    <a:pt x="72" y="821"/>
                    <a:pt x="72" y="820"/>
                  </a:cubicBezTo>
                  <a:cubicBezTo>
                    <a:pt x="72" y="820"/>
                    <a:pt x="73" y="820"/>
                    <a:pt x="73" y="820"/>
                  </a:cubicBezTo>
                  <a:cubicBezTo>
                    <a:pt x="74" y="820"/>
                    <a:pt x="74" y="820"/>
                    <a:pt x="74" y="819"/>
                  </a:cubicBezTo>
                  <a:cubicBezTo>
                    <a:pt x="75" y="819"/>
                    <a:pt x="75" y="819"/>
                    <a:pt x="75" y="819"/>
                  </a:cubicBezTo>
                  <a:cubicBezTo>
                    <a:pt x="76" y="819"/>
                    <a:pt x="76" y="819"/>
                    <a:pt x="76" y="819"/>
                  </a:cubicBezTo>
                  <a:cubicBezTo>
                    <a:pt x="78" y="818"/>
                    <a:pt x="79" y="818"/>
                    <a:pt x="80" y="817"/>
                  </a:cubicBezTo>
                  <a:cubicBezTo>
                    <a:pt x="80" y="817"/>
                    <a:pt x="80" y="817"/>
                    <a:pt x="81" y="817"/>
                  </a:cubicBezTo>
                  <a:cubicBezTo>
                    <a:pt x="81" y="817"/>
                    <a:pt x="82" y="817"/>
                    <a:pt x="82" y="816"/>
                  </a:cubicBezTo>
                  <a:cubicBezTo>
                    <a:pt x="82" y="816"/>
                    <a:pt x="83" y="816"/>
                    <a:pt x="83" y="816"/>
                  </a:cubicBezTo>
                  <a:cubicBezTo>
                    <a:pt x="83" y="816"/>
                    <a:pt x="84" y="816"/>
                    <a:pt x="84" y="816"/>
                  </a:cubicBezTo>
                  <a:cubicBezTo>
                    <a:pt x="85" y="815"/>
                    <a:pt x="85" y="815"/>
                    <a:pt x="86" y="815"/>
                  </a:cubicBezTo>
                  <a:cubicBezTo>
                    <a:pt x="86" y="815"/>
                    <a:pt x="86" y="815"/>
                    <a:pt x="87" y="815"/>
                  </a:cubicBezTo>
                  <a:cubicBezTo>
                    <a:pt x="87" y="815"/>
                    <a:pt x="87" y="815"/>
                    <a:pt x="87" y="815"/>
                  </a:cubicBezTo>
                  <a:cubicBezTo>
                    <a:pt x="87" y="815"/>
                    <a:pt x="87" y="814"/>
                    <a:pt x="87" y="814"/>
                  </a:cubicBezTo>
                  <a:cubicBezTo>
                    <a:pt x="88" y="814"/>
                    <a:pt x="88" y="814"/>
                    <a:pt x="89" y="814"/>
                  </a:cubicBezTo>
                  <a:cubicBezTo>
                    <a:pt x="89" y="814"/>
                    <a:pt x="90" y="814"/>
                    <a:pt x="90" y="813"/>
                  </a:cubicBezTo>
                  <a:cubicBezTo>
                    <a:pt x="90" y="813"/>
                    <a:pt x="90" y="813"/>
                    <a:pt x="90" y="813"/>
                  </a:cubicBezTo>
                  <a:cubicBezTo>
                    <a:pt x="91" y="813"/>
                    <a:pt x="91" y="813"/>
                    <a:pt x="92" y="813"/>
                  </a:cubicBezTo>
                  <a:cubicBezTo>
                    <a:pt x="93" y="812"/>
                    <a:pt x="95" y="812"/>
                    <a:pt x="96" y="811"/>
                  </a:cubicBezTo>
                  <a:cubicBezTo>
                    <a:pt x="97" y="811"/>
                    <a:pt x="97" y="811"/>
                    <a:pt x="98" y="811"/>
                  </a:cubicBezTo>
                  <a:cubicBezTo>
                    <a:pt x="98" y="811"/>
                    <a:pt x="98" y="811"/>
                    <a:pt x="98" y="811"/>
                  </a:cubicBezTo>
                  <a:cubicBezTo>
                    <a:pt x="98" y="811"/>
                    <a:pt x="98" y="810"/>
                    <a:pt x="99" y="810"/>
                  </a:cubicBezTo>
                  <a:cubicBezTo>
                    <a:pt x="99" y="810"/>
                    <a:pt x="99" y="810"/>
                    <a:pt x="100" y="810"/>
                  </a:cubicBezTo>
                  <a:cubicBezTo>
                    <a:pt x="100" y="810"/>
                    <a:pt x="100" y="810"/>
                    <a:pt x="100" y="810"/>
                  </a:cubicBezTo>
                  <a:cubicBezTo>
                    <a:pt x="100" y="810"/>
                    <a:pt x="100" y="810"/>
                    <a:pt x="101" y="810"/>
                  </a:cubicBezTo>
                  <a:cubicBezTo>
                    <a:pt x="101" y="810"/>
                    <a:pt x="101" y="809"/>
                    <a:pt x="102" y="809"/>
                  </a:cubicBezTo>
                  <a:cubicBezTo>
                    <a:pt x="106" y="808"/>
                    <a:pt x="112" y="806"/>
                    <a:pt x="117" y="804"/>
                  </a:cubicBezTo>
                  <a:cubicBezTo>
                    <a:pt x="117" y="804"/>
                    <a:pt x="118" y="804"/>
                    <a:pt x="118" y="804"/>
                  </a:cubicBezTo>
                  <a:cubicBezTo>
                    <a:pt x="129" y="801"/>
                    <a:pt x="140" y="797"/>
                    <a:pt x="152" y="794"/>
                  </a:cubicBezTo>
                  <a:cubicBezTo>
                    <a:pt x="153" y="794"/>
                    <a:pt x="153" y="794"/>
                    <a:pt x="154" y="794"/>
                  </a:cubicBezTo>
                  <a:cubicBezTo>
                    <a:pt x="155" y="793"/>
                    <a:pt x="155" y="793"/>
                    <a:pt x="156" y="793"/>
                  </a:cubicBezTo>
                  <a:cubicBezTo>
                    <a:pt x="156" y="793"/>
                    <a:pt x="157" y="793"/>
                    <a:pt x="157" y="793"/>
                  </a:cubicBezTo>
                  <a:cubicBezTo>
                    <a:pt x="160" y="792"/>
                    <a:pt x="164" y="791"/>
                    <a:pt x="167" y="790"/>
                  </a:cubicBezTo>
                  <a:cubicBezTo>
                    <a:pt x="171" y="789"/>
                    <a:pt x="175" y="788"/>
                    <a:pt x="178" y="787"/>
                  </a:cubicBezTo>
                  <a:cubicBezTo>
                    <a:pt x="186" y="786"/>
                    <a:pt x="193" y="784"/>
                    <a:pt x="200" y="782"/>
                  </a:cubicBezTo>
                  <a:cubicBezTo>
                    <a:pt x="201" y="782"/>
                    <a:pt x="201" y="782"/>
                    <a:pt x="202" y="782"/>
                  </a:cubicBezTo>
                  <a:cubicBezTo>
                    <a:pt x="209" y="780"/>
                    <a:pt x="216" y="779"/>
                    <a:pt x="223" y="777"/>
                  </a:cubicBezTo>
                  <a:cubicBezTo>
                    <a:pt x="224" y="777"/>
                    <a:pt x="225" y="777"/>
                    <a:pt x="226" y="777"/>
                  </a:cubicBezTo>
                  <a:cubicBezTo>
                    <a:pt x="234" y="775"/>
                    <a:pt x="242" y="773"/>
                    <a:pt x="251" y="772"/>
                  </a:cubicBezTo>
                  <a:cubicBezTo>
                    <a:pt x="251" y="771"/>
                    <a:pt x="252" y="771"/>
                    <a:pt x="253" y="771"/>
                  </a:cubicBezTo>
                  <a:cubicBezTo>
                    <a:pt x="255" y="771"/>
                    <a:pt x="257" y="770"/>
                    <a:pt x="260" y="770"/>
                  </a:cubicBezTo>
                  <a:cubicBezTo>
                    <a:pt x="260" y="770"/>
                    <a:pt x="260" y="770"/>
                    <a:pt x="260" y="770"/>
                  </a:cubicBezTo>
                  <a:cubicBezTo>
                    <a:pt x="260" y="770"/>
                    <a:pt x="261" y="770"/>
                    <a:pt x="261" y="770"/>
                  </a:cubicBezTo>
                  <a:cubicBezTo>
                    <a:pt x="263" y="769"/>
                    <a:pt x="264" y="769"/>
                    <a:pt x="265" y="769"/>
                  </a:cubicBezTo>
                  <a:cubicBezTo>
                    <a:pt x="266" y="769"/>
                    <a:pt x="266" y="769"/>
                    <a:pt x="267" y="768"/>
                  </a:cubicBezTo>
                  <a:cubicBezTo>
                    <a:pt x="267" y="768"/>
                    <a:pt x="268" y="768"/>
                    <a:pt x="268" y="768"/>
                  </a:cubicBezTo>
                  <a:cubicBezTo>
                    <a:pt x="269" y="768"/>
                    <a:pt x="269" y="768"/>
                    <a:pt x="270" y="768"/>
                  </a:cubicBezTo>
                  <a:cubicBezTo>
                    <a:pt x="272" y="768"/>
                    <a:pt x="274" y="767"/>
                    <a:pt x="275" y="767"/>
                  </a:cubicBezTo>
                  <a:cubicBezTo>
                    <a:pt x="276" y="767"/>
                    <a:pt x="277" y="767"/>
                    <a:pt x="277" y="766"/>
                  </a:cubicBezTo>
                  <a:cubicBezTo>
                    <a:pt x="279" y="766"/>
                    <a:pt x="281" y="766"/>
                    <a:pt x="283" y="765"/>
                  </a:cubicBezTo>
                  <a:cubicBezTo>
                    <a:pt x="284" y="765"/>
                    <a:pt x="285" y="765"/>
                    <a:pt x="286" y="765"/>
                  </a:cubicBezTo>
                  <a:cubicBezTo>
                    <a:pt x="286" y="765"/>
                    <a:pt x="286" y="765"/>
                    <a:pt x="286" y="765"/>
                  </a:cubicBezTo>
                  <a:cubicBezTo>
                    <a:pt x="287" y="765"/>
                    <a:pt x="287" y="765"/>
                    <a:pt x="288" y="765"/>
                  </a:cubicBezTo>
                  <a:cubicBezTo>
                    <a:pt x="289" y="764"/>
                    <a:pt x="290" y="764"/>
                    <a:pt x="291" y="764"/>
                  </a:cubicBezTo>
                  <a:cubicBezTo>
                    <a:pt x="294" y="763"/>
                    <a:pt x="297" y="763"/>
                    <a:pt x="301" y="762"/>
                  </a:cubicBezTo>
                  <a:cubicBezTo>
                    <a:pt x="303" y="762"/>
                    <a:pt x="306" y="761"/>
                    <a:pt x="308" y="760"/>
                  </a:cubicBezTo>
                  <a:moveTo>
                    <a:pt x="1369" y="797"/>
                  </a:moveTo>
                  <a:cubicBezTo>
                    <a:pt x="1360" y="813"/>
                    <a:pt x="1350" y="827"/>
                    <a:pt x="1341" y="840"/>
                  </a:cubicBezTo>
                  <a:cubicBezTo>
                    <a:pt x="1340" y="841"/>
                    <a:pt x="1339" y="842"/>
                    <a:pt x="1338" y="843"/>
                  </a:cubicBezTo>
                  <a:cubicBezTo>
                    <a:pt x="1339" y="843"/>
                    <a:pt x="1339" y="844"/>
                    <a:pt x="1339" y="844"/>
                  </a:cubicBezTo>
                  <a:cubicBezTo>
                    <a:pt x="1340" y="843"/>
                    <a:pt x="1341" y="842"/>
                    <a:pt x="1341" y="841"/>
                  </a:cubicBezTo>
                  <a:cubicBezTo>
                    <a:pt x="1351" y="828"/>
                    <a:pt x="1360" y="814"/>
                    <a:pt x="1369" y="799"/>
                  </a:cubicBezTo>
                  <a:cubicBezTo>
                    <a:pt x="1369" y="798"/>
                    <a:pt x="1369" y="798"/>
                    <a:pt x="1369" y="797"/>
                  </a:cubicBezTo>
                  <a:moveTo>
                    <a:pt x="1338" y="844"/>
                  </a:moveTo>
                  <a:cubicBezTo>
                    <a:pt x="1329" y="856"/>
                    <a:pt x="1319" y="869"/>
                    <a:pt x="1309" y="882"/>
                  </a:cubicBezTo>
                  <a:cubicBezTo>
                    <a:pt x="1309" y="883"/>
                    <a:pt x="1309" y="883"/>
                    <a:pt x="1309" y="883"/>
                  </a:cubicBezTo>
                  <a:cubicBezTo>
                    <a:pt x="1319" y="870"/>
                    <a:pt x="1329" y="857"/>
                    <a:pt x="1338" y="845"/>
                  </a:cubicBezTo>
                  <a:cubicBezTo>
                    <a:pt x="1338" y="845"/>
                    <a:pt x="1338" y="844"/>
                    <a:pt x="1338" y="844"/>
                  </a:cubicBezTo>
                  <a:moveTo>
                    <a:pt x="1" y="878"/>
                  </a:moveTo>
                  <a:cubicBezTo>
                    <a:pt x="1" y="878"/>
                    <a:pt x="1" y="878"/>
                    <a:pt x="0" y="878"/>
                  </a:cubicBezTo>
                  <a:cubicBezTo>
                    <a:pt x="0" y="879"/>
                    <a:pt x="0" y="879"/>
                    <a:pt x="0" y="880"/>
                  </a:cubicBezTo>
                  <a:cubicBezTo>
                    <a:pt x="0" y="880"/>
                    <a:pt x="0" y="881"/>
                    <a:pt x="0" y="881"/>
                  </a:cubicBezTo>
                  <a:cubicBezTo>
                    <a:pt x="0" y="881"/>
                    <a:pt x="0" y="881"/>
                    <a:pt x="0" y="882"/>
                  </a:cubicBezTo>
                  <a:cubicBezTo>
                    <a:pt x="0" y="884"/>
                    <a:pt x="0" y="886"/>
                    <a:pt x="1" y="888"/>
                  </a:cubicBezTo>
                  <a:cubicBezTo>
                    <a:pt x="1" y="888"/>
                    <a:pt x="1" y="889"/>
                    <a:pt x="1" y="889"/>
                  </a:cubicBezTo>
                  <a:cubicBezTo>
                    <a:pt x="1" y="889"/>
                    <a:pt x="1" y="889"/>
                    <a:pt x="1" y="889"/>
                  </a:cubicBezTo>
                  <a:cubicBezTo>
                    <a:pt x="2" y="889"/>
                    <a:pt x="2" y="889"/>
                    <a:pt x="2" y="889"/>
                  </a:cubicBezTo>
                  <a:cubicBezTo>
                    <a:pt x="2" y="889"/>
                    <a:pt x="2" y="888"/>
                    <a:pt x="2" y="888"/>
                  </a:cubicBezTo>
                  <a:cubicBezTo>
                    <a:pt x="1" y="886"/>
                    <a:pt x="1" y="885"/>
                    <a:pt x="1" y="883"/>
                  </a:cubicBezTo>
                  <a:cubicBezTo>
                    <a:pt x="1" y="882"/>
                    <a:pt x="1" y="882"/>
                    <a:pt x="1" y="881"/>
                  </a:cubicBezTo>
                  <a:cubicBezTo>
                    <a:pt x="1" y="881"/>
                    <a:pt x="1" y="881"/>
                    <a:pt x="1" y="881"/>
                  </a:cubicBezTo>
                  <a:cubicBezTo>
                    <a:pt x="1" y="880"/>
                    <a:pt x="1" y="879"/>
                    <a:pt x="1" y="878"/>
                  </a:cubicBezTo>
                  <a:moveTo>
                    <a:pt x="1308" y="883"/>
                  </a:moveTo>
                  <a:cubicBezTo>
                    <a:pt x="1299" y="895"/>
                    <a:pt x="1290" y="907"/>
                    <a:pt x="1282" y="918"/>
                  </a:cubicBezTo>
                  <a:cubicBezTo>
                    <a:pt x="1282" y="919"/>
                    <a:pt x="1282" y="919"/>
                    <a:pt x="1282" y="919"/>
                  </a:cubicBezTo>
                  <a:cubicBezTo>
                    <a:pt x="1291" y="907"/>
                    <a:pt x="1300" y="896"/>
                    <a:pt x="1308" y="884"/>
                  </a:cubicBezTo>
                  <a:cubicBezTo>
                    <a:pt x="1308" y="884"/>
                    <a:pt x="1308" y="884"/>
                    <a:pt x="1308" y="883"/>
                  </a:cubicBezTo>
                  <a:moveTo>
                    <a:pt x="2" y="890"/>
                  </a:moveTo>
                  <a:cubicBezTo>
                    <a:pt x="2" y="890"/>
                    <a:pt x="2" y="890"/>
                    <a:pt x="2" y="890"/>
                  </a:cubicBezTo>
                  <a:cubicBezTo>
                    <a:pt x="2" y="890"/>
                    <a:pt x="2" y="890"/>
                    <a:pt x="2" y="891"/>
                  </a:cubicBezTo>
                  <a:cubicBezTo>
                    <a:pt x="2" y="891"/>
                    <a:pt x="2" y="891"/>
                    <a:pt x="2" y="892"/>
                  </a:cubicBezTo>
                  <a:cubicBezTo>
                    <a:pt x="2" y="892"/>
                    <a:pt x="2" y="892"/>
                    <a:pt x="2" y="892"/>
                  </a:cubicBezTo>
                  <a:cubicBezTo>
                    <a:pt x="2" y="893"/>
                    <a:pt x="3" y="893"/>
                    <a:pt x="3" y="893"/>
                  </a:cubicBezTo>
                  <a:cubicBezTo>
                    <a:pt x="3" y="894"/>
                    <a:pt x="3" y="894"/>
                    <a:pt x="3" y="895"/>
                  </a:cubicBezTo>
                  <a:cubicBezTo>
                    <a:pt x="3" y="895"/>
                    <a:pt x="3" y="895"/>
                    <a:pt x="3" y="895"/>
                  </a:cubicBezTo>
                  <a:cubicBezTo>
                    <a:pt x="4" y="896"/>
                    <a:pt x="5" y="898"/>
                    <a:pt x="6" y="899"/>
                  </a:cubicBezTo>
                  <a:cubicBezTo>
                    <a:pt x="6" y="899"/>
                    <a:pt x="6" y="899"/>
                    <a:pt x="6" y="899"/>
                  </a:cubicBezTo>
                  <a:cubicBezTo>
                    <a:pt x="6" y="897"/>
                    <a:pt x="5" y="896"/>
                    <a:pt x="5" y="895"/>
                  </a:cubicBezTo>
                  <a:cubicBezTo>
                    <a:pt x="4" y="895"/>
                    <a:pt x="4" y="895"/>
                    <a:pt x="4" y="895"/>
                  </a:cubicBezTo>
                  <a:cubicBezTo>
                    <a:pt x="4" y="894"/>
                    <a:pt x="4" y="894"/>
                    <a:pt x="4" y="894"/>
                  </a:cubicBezTo>
                  <a:cubicBezTo>
                    <a:pt x="4" y="893"/>
                    <a:pt x="3" y="893"/>
                    <a:pt x="3" y="892"/>
                  </a:cubicBezTo>
                  <a:cubicBezTo>
                    <a:pt x="3" y="892"/>
                    <a:pt x="3" y="892"/>
                    <a:pt x="3" y="892"/>
                  </a:cubicBezTo>
                  <a:cubicBezTo>
                    <a:pt x="3" y="892"/>
                    <a:pt x="3" y="891"/>
                    <a:pt x="3" y="891"/>
                  </a:cubicBezTo>
                  <a:cubicBezTo>
                    <a:pt x="3" y="890"/>
                    <a:pt x="2" y="890"/>
                    <a:pt x="2" y="890"/>
                  </a:cubicBezTo>
                  <a:moveTo>
                    <a:pt x="7" y="899"/>
                  </a:moveTo>
                  <a:cubicBezTo>
                    <a:pt x="7" y="900"/>
                    <a:pt x="6" y="900"/>
                    <a:pt x="6" y="900"/>
                  </a:cubicBezTo>
                  <a:cubicBezTo>
                    <a:pt x="6" y="900"/>
                    <a:pt x="7" y="901"/>
                    <a:pt x="7" y="901"/>
                  </a:cubicBezTo>
                  <a:cubicBezTo>
                    <a:pt x="7" y="902"/>
                    <a:pt x="8" y="902"/>
                    <a:pt x="8" y="902"/>
                  </a:cubicBezTo>
                  <a:cubicBezTo>
                    <a:pt x="8" y="903"/>
                    <a:pt x="8" y="903"/>
                    <a:pt x="8" y="903"/>
                  </a:cubicBezTo>
                  <a:cubicBezTo>
                    <a:pt x="8" y="902"/>
                    <a:pt x="8" y="902"/>
                    <a:pt x="8" y="901"/>
                  </a:cubicBezTo>
                  <a:cubicBezTo>
                    <a:pt x="8" y="901"/>
                    <a:pt x="7" y="900"/>
                    <a:pt x="7" y="899"/>
                  </a:cubicBezTo>
                  <a:moveTo>
                    <a:pt x="9" y="903"/>
                  </a:moveTo>
                  <a:cubicBezTo>
                    <a:pt x="9" y="903"/>
                    <a:pt x="9" y="904"/>
                    <a:pt x="9" y="905"/>
                  </a:cubicBezTo>
                  <a:cubicBezTo>
                    <a:pt x="10" y="906"/>
                    <a:pt x="11" y="907"/>
                    <a:pt x="12" y="908"/>
                  </a:cubicBezTo>
                  <a:cubicBezTo>
                    <a:pt x="12" y="908"/>
                    <a:pt x="13" y="907"/>
                    <a:pt x="13" y="907"/>
                  </a:cubicBezTo>
                  <a:cubicBezTo>
                    <a:pt x="12" y="906"/>
                    <a:pt x="10" y="904"/>
                    <a:pt x="9" y="903"/>
                  </a:cubicBezTo>
                  <a:moveTo>
                    <a:pt x="14" y="908"/>
                  </a:moveTo>
                  <a:cubicBezTo>
                    <a:pt x="13" y="908"/>
                    <a:pt x="13" y="908"/>
                    <a:pt x="13" y="908"/>
                  </a:cubicBezTo>
                  <a:cubicBezTo>
                    <a:pt x="14" y="910"/>
                    <a:pt x="15" y="911"/>
                    <a:pt x="17" y="913"/>
                  </a:cubicBezTo>
                  <a:cubicBezTo>
                    <a:pt x="17" y="912"/>
                    <a:pt x="17" y="912"/>
                    <a:pt x="17" y="912"/>
                  </a:cubicBezTo>
                  <a:cubicBezTo>
                    <a:pt x="16" y="910"/>
                    <a:pt x="15" y="909"/>
                    <a:pt x="14" y="908"/>
                  </a:cubicBezTo>
                  <a:moveTo>
                    <a:pt x="18" y="912"/>
                  </a:moveTo>
                  <a:cubicBezTo>
                    <a:pt x="18" y="913"/>
                    <a:pt x="18" y="913"/>
                    <a:pt x="18" y="913"/>
                  </a:cubicBezTo>
                  <a:cubicBezTo>
                    <a:pt x="18" y="914"/>
                    <a:pt x="18" y="914"/>
                    <a:pt x="18" y="914"/>
                  </a:cubicBezTo>
                  <a:cubicBezTo>
                    <a:pt x="18" y="914"/>
                    <a:pt x="19" y="913"/>
                    <a:pt x="19" y="913"/>
                  </a:cubicBezTo>
                  <a:cubicBezTo>
                    <a:pt x="19" y="913"/>
                    <a:pt x="18" y="913"/>
                    <a:pt x="18" y="912"/>
                  </a:cubicBezTo>
                  <a:moveTo>
                    <a:pt x="20" y="914"/>
                  </a:moveTo>
                  <a:cubicBezTo>
                    <a:pt x="20" y="914"/>
                    <a:pt x="19" y="914"/>
                    <a:pt x="19" y="915"/>
                  </a:cubicBezTo>
                  <a:cubicBezTo>
                    <a:pt x="21" y="916"/>
                    <a:pt x="22" y="917"/>
                    <a:pt x="24" y="919"/>
                  </a:cubicBezTo>
                  <a:cubicBezTo>
                    <a:pt x="24" y="919"/>
                    <a:pt x="25" y="918"/>
                    <a:pt x="25" y="918"/>
                  </a:cubicBezTo>
                  <a:cubicBezTo>
                    <a:pt x="23" y="917"/>
                    <a:pt x="21" y="915"/>
                    <a:pt x="20" y="914"/>
                  </a:cubicBezTo>
                  <a:moveTo>
                    <a:pt x="26" y="919"/>
                  </a:moveTo>
                  <a:cubicBezTo>
                    <a:pt x="25" y="919"/>
                    <a:pt x="25" y="919"/>
                    <a:pt x="25" y="919"/>
                  </a:cubicBezTo>
                  <a:cubicBezTo>
                    <a:pt x="26" y="920"/>
                    <a:pt x="27" y="921"/>
                    <a:pt x="28" y="922"/>
                  </a:cubicBezTo>
                  <a:cubicBezTo>
                    <a:pt x="28" y="921"/>
                    <a:pt x="28" y="921"/>
                    <a:pt x="28" y="921"/>
                  </a:cubicBezTo>
                  <a:cubicBezTo>
                    <a:pt x="27" y="920"/>
                    <a:pt x="27" y="920"/>
                    <a:pt x="26" y="919"/>
                  </a:cubicBezTo>
                  <a:moveTo>
                    <a:pt x="1281" y="919"/>
                  </a:moveTo>
                  <a:cubicBezTo>
                    <a:pt x="1272" y="931"/>
                    <a:pt x="1263" y="944"/>
                    <a:pt x="1256" y="956"/>
                  </a:cubicBezTo>
                  <a:cubicBezTo>
                    <a:pt x="1256" y="956"/>
                    <a:pt x="1256" y="957"/>
                    <a:pt x="1256" y="957"/>
                  </a:cubicBezTo>
                  <a:cubicBezTo>
                    <a:pt x="1264" y="945"/>
                    <a:pt x="1273" y="932"/>
                    <a:pt x="1282" y="920"/>
                  </a:cubicBezTo>
                  <a:cubicBezTo>
                    <a:pt x="1281" y="920"/>
                    <a:pt x="1281" y="920"/>
                    <a:pt x="1281" y="919"/>
                  </a:cubicBezTo>
                  <a:moveTo>
                    <a:pt x="29" y="921"/>
                  </a:moveTo>
                  <a:cubicBezTo>
                    <a:pt x="29" y="922"/>
                    <a:pt x="29" y="922"/>
                    <a:pt x="28" y="922"/>
                  </a:cubicBezTo>
                  <a:cubicBezTo>
                    <a:pt x="29" y="923"/>
                    <a:pt x="30" y="923"/>
                    <a:pt x="30" y="924"/>
                  </a:cubicBezTo>
                  <a:cubicBezTo>
                    <a:pt x="31" y="923"/>
                    <a:pt x="31" y="923"/>
                    <a:pt x="31" y="923"/>
                  </a:cubicBezTo>
                  <a:cubicBezTo>
                    <a:pt x="31" y="922"/>
                    <a:pt x="30" y="922"/>
                    <a:pt x="29" y="921"/>
                  </a:cubicBezTo>
                  <a:moveTo>
                    <a:pt x="32" y="924"/>
                  </a:moveTo>
                  <a:cubicBezTo>
                    <a:pt x="32" y="924"/>
                    <a:pt x="32" y="924"/>
                    <a:pt x="31" y="924"/>
                  </a:cubicBezTo>
                  <a:cubicBezTo>
                    <a:pt x="32" y="924"/>
                    <a:pt x="32" y="925"/>
                    <a:pt x="32" y="925"/>
                  </a:cubicBezTo>
                  <a:cubicBezTo>
                    <a:pt x="33" y="925"/>
                    <a:pt x="33" y="926"/>
                    <a:pt x="34" y="926"/>
                  </a:cubicBezTo>
                  <a:cubicBezTo>
                    <a:pt x="35" y="927"/>
                    <a:pt x="36" y="927"/>
                    <a:pt x="37" y="928"/>
                  </a:cubicBezTo>
                  <a:cubicBezTo>
                    <a:pt x="37" y="928"/>
                    <a:pt x="37" y="927"/>
                    <a:pt x="38" y="927"/>
                  </a:cubicBezTo>
                  <a:cubicBezTo>
                    <a:pt x="37" y="927"/>
                    <a:pt x="37" y="927"/>
                    <a:pt x="36" y="926"/>
                  </a:cubicBezTo>
                  <a:cubicBezTo>
                    <a:pt x="35" y="926"/>
                    <a:pt x="35" y="925"/>
                    <a:pt x="34" y="925"/>
                  </a:cubicBezTo>
                  <a:cubicBezTo>
                    <a:pt x="34" y="925"/>
                    <a:pt x="33" y="924"/>
                    <a:pt x="32" y="924"/>
                  </a:cubicBezTo>
                  <a:moveTo>
                    <a:pt x="38" y="928"/>
                  </a:moveTo>
                  <a:cubicBezTo>
                    <a:pt x="38" y="928"/>
                    <a:pt x="38" y="928"/>
                    <a:pt x="38" y="928"/>
                  </a:cubicBezTo>
                  <a:cubicBezTo>
                    <a:pt x="38" y="929"/>
                    <a:pt x="39" y="930"/>
                    <a:pt x="40" y="930"/>
                  </a:cubicBezTo>
                  <a:cubicBezTo>
                    <a:pt x="40" y="930"/>
                    <a:pt x="40" y="930"/>
                    <a:pt x="41" y="929"/>
                  </a:cubicBezTo>
                  <a:cubicBezTo>
                    <a:pt x="40" y="929"/>
                    <a:pt x="39" y="928"/>
                    <a:pt x="38" y="928"/>
                  </a:cubicBezTo>
                  <a:moveTo>
                    <a:pt x="41" y="930"/>
                  </a:moveTo>
                  <a:cubicBezTo>
                    <a:pt x="41" y="930"/>
                    <a:pt x="41" y="930"/>
                    <a:pt x="41" y="931"/>
                  </a:cubicBezTo>
                  <a:cubicBezTo>
                    <a:pt x="42" y="931"/>
                    <a:pt x="42" y="931"/>
                    <a:pt x="43" y="932"/>
                  </a:cubicBezTo>
                  <a:cubicBezTo>
                    <a:pt x="43" y="932"/>
                    <a:pt x="44" y="932"/>
                    <a:pt x="44" y="931"/>
                  </a:cubicBezTo>
                  <a:cubicBezTo>
                    <a:pt x="43" y="931"/>
                    <a:pt x="42" y="930"/>
                    <a:pt x="41" y="930"/>
                  </a:cubicBezTo>
                  <a:moveTo>
                    <a:pt x="45" y="932"/>
                  </a:moveTo>
                  <a:cubicBezTo>
                    <a:pt x="45" y="932"/>
                    <a:pt x="44" y="932"/>
                    <a:pt x="44" y="933"/>
                  </a:cubicBezTo>
                  <a:cubicBezTo>
                    <a:pt x="46" y="934"/>
                    <a:pt x="49" y="935"/>
                    <a:pt x="51" y="937"/>
                  </a:cubicBezTo>
                  <a:cubicBezTo>
                    <a:pt x="51" y="936"/>
                    <a:pt x="52" y="936"/>
                    <a:pt x="52" y="936"/>
                  </a:cubicBezTo>
                  <a:cubicBezTo>
                    <a:pt x="50" y="935"/>
                    <a:pt x="47" y="933"/>
                    <a:pt x="45" y="932"/>
                  </a:cubicBezTo>
                  <a:moveTo>
                    <a:pt x="53" y="936"/>
                  </a:moveTo>
                  <a:cubicBezTo>
                    <a:pt x="53" y="937"/>
                    <a:pt x="52" y="937"/>
                    <a:pt x="52" y="937"/>
                  </a:cubicBezTo>
                  <a:cubicBezTo>
                    <a:pt x="53" y="937"/>
                    <a:pt x="53" y="938"/>
                    <a:pt x="54" y="938"/>
                  </a:cubicBezTo>
                  <a:cubicBezTo>
                    <a:pt x="54" y="938"/>
                    <a:pt x="54" y="937"/>
                    <a:pt x="54" y="937"/>
                  </a:cubicBezTo>
                  <a:cubicBezTo>
                    <a:pt x="54" y="937"/>
                    <a:pt x="53" y="937"/>
                    <a:pt x="53" y="936"/>
                  </a:cubicBezTo>
                  <a:moveTo>
                    <a:pt x="55" y="938"/>
                  </a:moveTo>
                  <a:cubicBezTo>
                    <a:pt x="55" y="938"/>
                    <a:pt x="55" y="938"/>
                    <a:pt x="55" y="938"/>
                  </a:cubicBezTo>
                  <a:cubicBezTo>
                    <a:pt x="61" y="942"/>
                    <a:pt x="69" y="946"/>
                    <a:pt x="77" y="950"/>
                  </a:cubicBezTo>
                  <a:cubicBezTo>
                    <a:pt x="78" y="950"/>
                    <a:pt x="79" y="951"/>
                    <a:pt x="80" y="951"/>
                  </a:cubicBezTo>
                  <a:cubicBezTo>
                    <a:pt x="99" y="959"/>
                    <a:pt x="121" y="968"/>
                    <a:pt x="147" y="977"/>
                  </a:cubicBezTo>
                  <a:cubicBezTo>
                    <a:pt x="149" y="977"/>
                    <a:pt x="150" y="978"/>
                    <a:pt x="152" y="978"/>
                  </a:cubicBezTo>
                  <a:cubicBezTo>
                    <a:pt x="159" y="981"/>
                    <a:pt x="167" y="983"/>
                    <a:pt x="175" y="986"/>
                  </a:cubicBezTo>
                  <a:cubicBezTo>
                    <a:pt x="175" y="986"/>
                    <a:pt x="175" y="986"/>
                    <a:pt x="175" y="986"/>
                  </a:cubicBezTo>
                  <a:cubicBezTo>
                    <a:pt x="176" y="986"/>
                    <a:pt x="176" y="986"/>
                    <a:pt x="176" y="986"/>
                  </a:cubicBezTo>
                  <a:cubicBezTo>
                    <a:pt x="176" y="986"/>
                    <a:pt x="177" y="986"/>
                    <a:pt x="177" y="987"/>
                  </a:cubicBezTo>
                  <a:cubicBezTo>
                    <a:pt x="177" y="987"/>
                    <a:pt x="177" y="987"/>
                    <a:pt x="177" y="987"/>
                  </a:cubicBezTo>
                  <a:cubicBezTo>
                    <a:pt x="178" y="987"/>
                    <a:pt x="178" y="987"/>
                    <a:pt x="179" y="987"/>
                  </a:cubicBezTo>
                  <a:cubicBezTo>
                    <a:pt x="182" y="988"/>
                    <a:pt x="186" y="989"/>
                    <a:pt x="190" y="990"/>
                  </a:cubicBezTo>
                  <a:cubicBezTo>
                    <a:pt x="190" y="990"/>
                    <a:pt x="190" y="991"/>
                    <a:pt x="191" y="991"/>
                  </a:cubicBezTo>
                  <a:cubicBezTo>
                    <a:pt x="201" y="994"/>
                    <a:pt x="211" y="997"/>
                    <a:pt x="221" y="1000"/>
                  </a:cubicBezTo>
                  <a:cubicBezTo>
                    <a:pt x="222" y="1000"/>
                    <a:pt x="222" y="1000"/>
                    <a:pt x="222" y="1000"/>
                  </a:cubicBezTo>
                  <a:cubicBezTo>
                    <a:pt x="236" y="1004"/>
                    <a:pt x="250" y="1007"/>
                    <a:pt x="265" y="1011"/>
                  </a:cubicBezTo>
                  <a:cubicBezTo>
                    <a:pt x="265" y="1011"/>
                    <a:pt x="266" y="1011"/>
                    <a:pt x="266" y="1012"/>
                  </a:cubicBezTo>
                  <a:cubicBezTo>
                    <a:pt x="273" y="1013"/>
                    <a:pt x="280" y="1015"/>
                    <a:pt x="287" y="1017"/>
                  </a:cubicBezTo>
                  <a:cubicBezTo>
                    <a:pt x="288" y="1017"/>
                    <a:pt x="288" y="1016"/>
                    <a:pt x="289" y="1016"/>
                  </a:cubicBezTo>
                  <a:cubicBezTo>
                    <a:pt x="281" y="1014"/>
                    <a:pt x="274" y="1013"/>
                    <a:pt x="267" y="1011"/>
                  </a:cubicBezTo>
                  <a:cubicBezTo>
                    <a:pt x="267" y="1011"/>
                    <a:pt x="266" y="1011"/>
                    <a:pt x="266" y="1010"/>
                  </a:cubicBezTo>
                  <a:cubicBezTo>
                    <a:pt x="251" y="1007"/>
                    <a:pt x="237" y="1003"/>
                    <a:pt x="223" y="999"/>
                  </a:cubicBezTo>
                  <a:cubicBezTo>
                    <a:pt x="223" y="999"/>
                    <a:pt x="222" y="999"/>
                    <a:pt x="222" y="999"/>
                  </a:cubicBezTo>
                  <a:cubicBezTo>
                    <a:pt x="212" y="996"/>
                    <a:pt x="201" y="993"/>
                    <a:pt x="192" y="990"/>
                  </a:cubicBezTo>
                  <a:cubicBezTo>
                    <a:pt x="191" y="990"/>
                    <a:pt x="191" y="990"/>
                    <a:pt x="191" y="990"/>
                  </a:cubicBezTo>
                  <a:cubicBezTo>
                    <a:pt x="187" y="988"/>
                    <a:pt x="183" y="987"/>
                    <a:pt x="180" y="986"/>
                  </a:cubicBezTo>
                  <a:cubicBezTo>
                    <a:pt x="179" y="986"/>
                    <a:pt x="179" y="986"/>
                    <a:pt x="179" y="986"/>
                  </a:cubicBezTo>
                  <a:cubicBezTo>
                    <a:pt x="178" y="986"/>
                    <a:pt x="178" y="986"/>
                    <a:pt x="177" y="985"/>
                  </a:cubicBezTo>
                  <a:cubicBezTo>
                    <a:pt x="177" y="985"/>
                    <a:pt x="176" y="985"/>
                    <a:pt x="175" y="985"/>
                  </a:cubicBezTo>
                  <a:cubicBezTo>
                    <a:pt x="175" y="985"/>
                    <a:pt x="175" y="985"/>
                    <a:pt x="174" y="985"/>
                  </a:cubicBezTo>
                  <a:cubicBezTo>
                    <a:pt x="169" y="983"/>
                    <a:pt x="163" y="981"/>
                    <a:pt x="157" y="979"/>
                  </a:cubicBezTo>
                  <a:cubicBezTo>
                    <a:pt x="156" y="979"/>
                    <a:pt x="154" y="978"/>
                    <a:pt x="152" y="977"/>
                  </a:cubicBezTo>
                  <a:cubicBezTo>
                    <a:pt x="125" y="969"/>
                    <a:pt x="103" y="960"/>
                    <a:pt x="83" y="951"/>
                  </a:cubicBezTo>
                  <a:cubicBezTo>
                    <a:pt x="82" y="951"/>
                    <a:pt x="82" y="951"/>
                    <a:pt x="81" y="950"/>
                  </a:cubicBezTo>
                  <a:cubicBezTo>
                    <a:pt x="71" y="946"/>
                    <a:pt x="63" y="942"/>
                    <a:pt x="55" y="938"/>
                  </a:cubicBezTo>
                  <a:moveTo>
                    <a:pt x="1255" y="957"/>
                  </a:moveTo>
                  <a:cubicBezTo>
                    <a:pt x="1247" y="970"/>
                    <a:pt x="1239" y="983"/>
                    <a:pt x="1233" y="995"/>
                  </a:cubicBezTo>
                  <a:cubicBezTo>
                    <a:pt x="1233" y="996"/>
                    <a:pt x="1234" y="996"/>
                    <a:pt x="1234" y="996"/>
                  </a:cubicBezTo>
                  <a:cubicBezTo>
                    <a:pt x="1240" y="983"/>
                    <a:pt x="1247" y="971"/>
                    <a:pt x="1256" y="958"/>
                  </a:cubicBezTo>
                  <a:cubicBezTo>
                    <a:pt x="1255" y="958"/>
                    <a:pt x="1255" y="957"/>
                    <a:pt x="1255" y="957"/>
                  </a:cubicBezTo>
                  <a:moveTo>
                    <a:pt x="1233" y="996"/>
                  </a:moveTo>
                  <a:cubicBezTo>
                    <a:pt x="1226" y="1010"/>
                    <a:pt x="1221" y="1024"/>
                    <a:pt x="1217" y="1038"/>
                  </a:cubicBezTo>
                  <a:cubicBezTo>
                    <a:pt x="1218" y="1038"/>
                    <a:pt x="1218" y="1038"/>
                    <a:pt x="1218" y="1038"/>
                  </a:cubicBezTo>
                  <a:cubicBezTo>
                    <a:pt x="1222" y="1025"/>
                    <a:pt x="1227" y="1011"/>
                    <a:pt x="1233" y="997"/>
                  </a:cubicBezTo>
                  <a:cubicBezTo>
                    <a:pt x="1233" y="997"/>
                    <a:pt x="1233" y="997"/>
                    <a:pt x="1233" y="996"/>
                  </a:cubicBezTo>
                  <a:moveTo>
                    <a:pt x="291" y="1017"/>
                  </a:moveTo>
                  <a:cubicBezTo>
                    <a:pt x="290" y="1017"/>
                    <a:pt x="290" y="1017"/>
                    <a:pt x="289" y="1017"/>
                  </a:cubicBezTo>
                  <a:cubicBezTo>
                    <a:pt x="296" y="1019"/>
                    <a:pt x="304" y="1021"/>
                    <a:pt x="312" y="1023"/>
                  </a:cubicBezTo>
                  <a:cubicBezTo>
                    <a:pt x="313" y="1023"/>
                    <a:pt x="313" y="1023"/>
                    <a:pt x="314" y="1022"/>
                  </a:cubicBezTo>
                  <a:cubicBezTo>
                    <a:pt x="314" y="1022"/>
                    <a:pt x="314" y="1022"/>
                    <a:pt x="314" y="1022"/>
                  </a:cubicBezTo>
                  <a:cubicBezTo>
                    <a:pt x="306" y="1020"/>
                    <a:pt x="298" y="1019"/>
                    <a:pt x="291" y="1017"/>
                  </a:cubicBezTo>
                  <a:moveTo>
                    <a:pt x="316" y="1023"/>
                  </a:moveTo>
                  <a:cubicBezTo>
                    <a:pt x="315" y="1023"/>
                    <a:pt x="314" y="1023"/>
                    <a:pt x="314" y="1023"/>
                  </a:cubicBezTo>
                  <a:cubicBezTo>
                    <a:pt x="317" y="1024"/>
                    <a:pt x="321" y="1025"/>
                    <a:pt x="325" y="1026"/>
                  </a:cubicBezTo>
                  <a:cubicBezTo>
                    <a:pt x="325" y="1026"/>
                    <a:pt x="325" y="1026"/>
                    <a:pt x="326" y="1026"/>
                  </a:cubicBezTo>
                  <a:cubicBezTo>
                    <a:pt x="329" y="1027"/>
                    <a:pt x="333" y="1027"/>
                    <a:pt x="336" y="1028"/>
                  </a:cubicBezTo>
                  <a:cubicBezTo>
                    <a:pt x="337" y="1028"/>
                    <a:pt x="338" y="1028"/>
                    <a:pt x="338" y="1027"/>
                  </a:cubicBezTo>
                  <a:cubicBezTo>
                    <a:pt x="334" y="1027"/>
                    <a:pt x="330" y="1026"/>
                    <a:pt x="326" y="1025"/>
                  </a:cubicBezTo>
                  <a:cubicBezTo>
                    <a:pt x="325" y="1025"/>
                    <a:pt x="325" y="1025"/>
                    <a:pt x="325" y="1025"/>
                  </a:cubicBezTo>
                  <a:cubicBezTo>
                    <a:pt x="322" y="1024"/>
                    <a:pt x="319" y="1023"/>
                    <a:pt x="316" y="1023"/>
                  </a:cubicBezTo>
                  <a:moveTo>
                    <a:pt x="641" y="1024"/>
                  </a:moveTo>
                  <a:cubicBezTo>
                    <a:pt x="639" y="1025"/>
                    <a:pt x="638" y="1025"/>
                    <a:pt x="636" y="1025"/>
                  </a:cubicBezTo>
                  <a:cubicBezTo>
                    <a:pt x="637" y="1025"/>
                    <a:pt x="637" y="1025"/>
                    <a:pt x="637" y="1025"/>
                  </a:cubicBezTo>
                  <a:cubicBezTo>
                    <a:pt x="639" y="1025"/>
                    <a:pt x="641" y="1025"/>
                    <a:pt x="643" y="1025"/>
                  </a:cubicBezTo>
                  <a:cubicBezTo>
                    <a:pt x="644" y="1025"/>
                    <a:pt x="646" y="1025"/>
                    <a:pt x="647" y="1025"/>
                  </a:cubicBezTo>
                  <a:cubicBezTo>
                    <a:pt x="652" y="1025"/>
                    <a:pt x="657" y="1026"/>
                    <a:pt x="662" y="1026"/>
                  </a:cubicBezTo>
                  <a:cubicBezTo>
                    <a:pt x="664" y="1026"/>
                    <a:pt x="667" y="1026"/>
                    <a:pt x="669" y="1026"/>
                  </a:cubicBezTo>
                  <a:cubicBezTo>
                    <a:pt x="677" y="1027"/>
                    <a:pt x="684" y="1028"/>
                    <a:pt x="691" y="1029"/>
                  </a:cubicBezTo>
                  <a:cubicBezTo>
                    <a:pt x="691" y="1029"/>
                    <a:pt x="691" y="1028"/>
                    <a:pt x="691" y="1028"/>
                  </a:cubicBezTo>
                  <a:cubicBezTo>
                    <a:pt x="681" y="1026"/>
                    <a:pt x="672" y="1025"/>
                    <a:pt x="662" y="1025"/>
                  </a:cubicBezTo>
                  <a:cubicBezTo>
                    <a:pt x="660" y="1025"/>
                    <a:pt x="658" y="1025"/>
                    <a:pt x="656" y="1025"/>
                  </a:cubicBezTo>
                  <a:cubicBezTo>
                    <a:pt x="652" y="1024"/>
                    <a:pt x="648" y="1024"/>
                    <a:pt x="644" y="1024"/>
                  </a:cubicBezTo>
                  <a:cubicBezTo>
                    <a:pt x="643" y="1024"/>
                    <a:pt x="642" y="1024"/>
                    <a:pt x="641" y="1024"/>
                  </a:cubicBezTo>
                  <a:moveTo>
                    <a:pt x="618" y="1024"/>
                  </a:moveTo>
                  <a:cubicBezTo>
                    <a:pt x="618" y="1025"/>
                    <a:pt x="617" y="1025"/>
                    <a:pt x="617" y="1025"/>
                  </a:cubicBezTo>
                  <a:cubicBezTo>
                    <a:pt x="617" y="1025"/>
                    <a:pt x="617" y="1025"/>
                    <a:pt x="616" y="1025"/>
                  </a:cubicBezTo>
                  <a:cubicBezTo>
                    <a:pt x="617" y="1025"/>
                    <a:pt x="618" y="1025"/>
                    <a:pt x="618" y="1024"/>
                  </a:cubicBezTo>
                  <a:moveTo>
                    <a:pt x="612" y="1025"/>
                  </a:moveTo>
                  <a:cubicBezTo>
                    <a:pt x="607" y="1025"/>
                    <a:pt x="602" y="1025"/>
                    <a:pt x="597" y="1025"/>
                  </a:cubicBezTo>
                  <a:cubicBezTo>
                    <a:pt x="589" y="1026"/>
                    <a:pt x="580" y="1026"/>
                    <a:pt x="571" y="1027"/>
                  </a:cubicBezTo>
                  <a:cubicBezTo>
                    <a:pt x="569" y="1027"/>
                    <a:pt x="568" y="1028"/>
                    <a:pt x="566" y="1028"/>
                  </a:cubicBezTo>
                  <a:cubicBezTo>
                    <a:pt x="577" y="1028"/>
                    <a:pt x="587" y="1027"/>
                    <a:pt x="598" y="1026"/>
                  </a:cubicBezTo>
                  <a:cubicBezTo>
                    <a:pt x="602" y="1026"/>
                    <a:pt x="605" y="1026"/>
                    <a:pt x="609" y="1025"/>
                  </a:cubicBezTo>
                  <a:cubicBezTo>
                    <a:pt x="610" y="1025"/>
                    <a:pt x="611" y="1025"/>
                    <a:pt x="612" y="1025"/>
                  </a:cubicBezTo>
                  <a:moveTo>
                    <a:pt x="566" y="1027"/>
                  </a:moveTo>
                  <a:cubicBezTo>
                    <a:pt x="559" y="1028"/>
                    <a:pt x="552" y="1028"/>
                    <a:pt x="545" y="1029"/>
                  </a:cubicBezTo>
                  <a:cubicBezTo>
                    <a:pt x="544" y="1029"/>
                    <a:pt x="544" y="1029"/>
                    <a:pt x="543" y="1029"/>
                  </a:cubicBezTo>
                  <a:cubicBezTo>
                    <a:pt x="537" y="1029"/>
                    <a:pt x="530" y="1030"/>
                    <a:pt x="523" y="1030"/>
                  </a:cubicBezTo>
                  <a:cubicBezTo>
                    <a:pt x="521" y="1031"/>
                    <a:pt x="520" y="1031"/>
                    <a:pt x="518" y="1032"/>
                  </a:cubicBezTo>
                  <a:cubicBezTo>
                    <a:pt x="527" y="1031"/>
                    <a:pt x="536" y="1030"/>
                    <a:pt x="544" y="1030"/>
                  </a:cubicBezTo>
                  <a:cubicBezTo>
                    <a:pt x="545" y="1030"/>
                    <a:pt x="545" y="1030"/>
                    <a:pt x="545" y="1030"/>
                  </a:cubicBezTo>
                  <a:cubicBezTo>
                    <a:pt x="550" y="1029"/>
                    <a:pt x="555" y="1029"/>
                    <a:pt x="560" y="1029"/>
                  </a:cubicBezTo>
                  <a:cubicBezTo>
                    <a:pt x="562" y="1028"/>
                    <a:pt x="564" y="1028"/>
                    <a:pt x="566" y="1027"/>
                  </a:cubicBezTo>
                  <a:moveTo>
                    <a:pt x="341" y="1028"/>
                  </a:moveTo>
                  <a:cubicBezTo>
                    <a:pt x="340" y="1028"/>
                    <a:pt x="339" y="1028"/>
                    <a:pt x="338" y="1028"/>
                  </a:cubicBezTo>
                  <a:cubicBezTo>
                    <a:pt x="347" y="1030"/>
                    <a:pt x="356" y="1031"/>
                    <a:pt x="366" y="1032"/>
                  </a:cubicBezTo>
                  <a:cubicBezTo>
                    <a:pt x="366" y="1032"/>
                    <a:pt x="367" y="1032"/>
                    <a:pt x="368" y="1031"/>
                  </a:cubicBezTo>
                  <a:cubicBezTo>
                    <a:pt x="359" y="1030"/>
                    <a:pt x="350" y="1029"/>
                    <a:pt x="341" y="1028"/>
                  </a:cubicBezTo>
                  <a:moveTo>
                    <a:pt x="692" y="1028"/>
                  </a:moveTo>
                  <a:cubicBezTo>
                    <a:pt x="692" y="1028"/>
                    <a:pt x="692" y="1029"/>
                    <a:pt x="692" y="1029"/>
                  </a:cubicBezTo>
                  <a:cubicBezTo>
                    <a:pt x="698" y="1030"/>
                    <a:pt x="703" y="1031"/>
                    <a:pt x="709" y="1033"/>
                  </a:cubicBezTo>
                  <a:cubicBezTo>
                    <a:pt x="708" y="1033"/>
                    <a:pt x="708" y="1032"/>
                    <a:pt x="708" y="1032"/>
                  </a:cubicBezTo>
                  <a:cubicBezTo>
                    <a:pt x="703" y="1030"/>
                    <a:pt x="697" y="1029"/>
                    <a:pt x="692" y="1028"/>
                  </a:cubicBezTo>
                  <a:moveTo>
                    <a:pt x="518" y="1031"/>
                  </a:moveTo>
                  <a:cubicBezTo>
                    <a:pt x="511" y="1031"/>
                    <a:pt x="504" y="1032"/>
                    <a:pt x="497" y="1032"/>
                  </a:cubicBezTo>
                  <a:cubicBezTo>
                    <a:pt x="496" y="1032"/>
                    <a:pt x="495" y="1032"/>
                    <a:pt x="493" y="1032"/>
                  </a:cubicBezTo>
                  <a:cubicBezTo>
                    <a:pt x="491" y="1032"/>
                    <a:pt x="489" y="1033"/>
                    <a:pt x="487" y="1033"/>
                  </a:cubicBezTo>
                  <a:cubicBezTo>
                    <a:pt x="487" y="1033"/>
                    <a:pt x="487" y="1033"/>
                    <a:pt x="486" y="1033"/>
                  </a:cubicBezTo>
                  <a:cubicBezTo>
                    <a:pt x="484" y="1033"/>
                    <a:pt x="481" y="1033"/>
                    <a:pt x="478" y="1033"/>
                  </a:cubicBezTo>
                  <a:cubicBezTo>
                    <a:pt x="477" y="1033"/>
                    <a:pt x="476" y="1034"/>
                    <a:pt x="474" y="1034"/>
                  </a:cubicBezTo>
                  <a:cubicBezTo>
                    <a:pt x="479" y="1034"/>
                    <a:pt x="483" y="1034"/>
                    <a:pt x="487" y="1034"/>
                  </a:cubicBezTo>
                  <a:cubicBezTo>
                    <a:pt x="487" y="1034"/>
                    <a:pt x="488" y="1034"/>
                    <a:pt x="488" y="1034"/>
                  </a:cubicBezTo>
                  <a:cubicBezTo>
                    <a:pt x="489" y="1034"/>
                    <a:pt x="490" y="1033"/>
                    <a:pt x="491" y="1033"/>
                  </a:cubicBezTo>
                  <a:cubicBezTo>
                    <a:pt x="492" y="1033"/>
                    <a:pt x="493" y="1033"/>
                    <a:pt x="494" y="1033"/>
                  </a:cubicBezTo>
                  <a:cubicBezTo>
                    <a:pt x="500" y="1033"/>
                    <a:pt x="507" y="1032"/>
                    <a:pt x="513" y="1032"/>
                  </a:cubicBezTo>
                  <a:cubicBezTo>
                    <a:pt x="515" y="1032"/>
                    <a:pt x="516" y="1031"/>
                    <a:pt x="518" y="1031"/>
                  </a:cubicBezTo>
                  <a:moveTo>
                    <a:pt x="370" y="1032"/>
                  </a:moveTo>
                  <a:cubicBezTo>
                    <a:pt x="370" y="1032"/>
                    <a:pt x="369" y="1032"/>
                    <a:pt x="368" y="1032"/>
                  </a:cubicBezTo>
                  <a:cubicBezTo>
                    <a:pt x="370" y="1033"/>
                    <a:pt x="371" y="1033"/>
                    <a:pt x="373" y="1033"/>
                  </a:cubicBezTo>
                  <a:cubicBezTo>
                    <a:pt x="374" y="1033"/>
                    <a:pt x="375" y="1033"/>
                    <a:pt x="376" y="1033"/>
                  </a:cubicBezTo>
                  <a:cubicBezTo>
                    <a:pt x="382" y="1034"/>
                    <a:pt x="388" y="1034"/>
                    <a:pt x="394" y="1034"/>
                  </a:cubicBezTo>
                  <a:cubicBezTo>
                    <a:pt x="395" y="1034"/>
                    <a:pt x="396" y="1034"/>
                    <a:pt x="397" y="1033"/>
                  </a:cubicBezTo>
                  <a:cubicBezTo>
                    <a:pt x="390" y="1033"/>
                    <a:pt x="384" y="1033"/>
                    <a:pt x="378" y="1032"/>
                  </a:cubicBezTo>
                  <a:cubicBezTo>
                    <a:pt x="377" y="1032"/>
                    <a:pt x="376" y="1032"/>
                    <a:pt x="375" y="1032"/>
                  </a:cubicBezTo>
                  <a:cubicBezTo>
                    <a:pt x="374" y="1032"/>
                    <a:pt x="372" y="1032"/>
                    <a:pt x="370" y="1032"/>
                  </a:cubicBezTo>
                  <a:moveTo>
                    <a:pt x="709" y="1032"/>
                  </a:moveTo>
                  <a:cubicBezTo>
                    <a:pt x="710" y="1032"/>
                    <a:pt x="710" y="1033"/>
                    <a:pt x="710" y="1033"/>
                  </a:cubicBezTo>
                  <a:cubicBezTo>
                    <a:pt x="712" y="1034"/>
                    <a:pt x="713" y="1034"/>
                    <a:pt x="715" y="1035"/>
                  </a:cubicBezTo>
                  <a:cubicBezTo>
                    <a:pt x="720" y="1036"/>
                    <a:pt x="724" y="1038"/>
                    <a:pt x="728" y="1040"/>
                  </a:cubicBezTo>
                  <a:cubicBezTo>
                    <a:pt x="728" y="1039"/>
                    <a:pt x="727" y="1039"/>
                    <a:pt x="727" y="1039"/>
                  </a:cubicBezTo>
                  <a:cubicBezTo>
                    <a:pt x="725" y="1038"/>
                    <a:pt x="722" y="1036"/>
                    <a:pt x="720" y="1036"/>
                  </a:cubicBezTo>
                  <a:cubicBezTo>
                    <a:pt x="718" y="1035"/>
                    <a:pt x="717" y="1034"/>
                    <a:pt x="716" y="1034"/>
                  </a:cubicBezTo>
                  <a:cubicBezTo>
                    <a:pt x="714" y="1033"/>
                    <a:pt x="711" y="1033"/>
                    <a:pt x="709" y="1032"/>
                  </a:cubicBezTo>
                  <a:moveTo>
                    <a:pt x="474" y="1033"/>
                  </a:moveTo>
                  <a:cubicBezTo>
                    <a:pt x="460" y="1034"/>
                    <a:pt x="445" y="1034"/>
                    <a:pt x="431" y="1034"/>
                  </a:cubicBezTo>
                  <a:cubicBezTo>
                    <a:pt x="430" y="1035"/>
                    <a:pt x="429" y="1035"/>
                    <a:pt x="428" y="1035"/>
                  </a:cubicBezTo>
                  <a:cubicBezTo>
                    <a:pt x="429" y="1035"/>
                    <a:pt x="430" y="1035"/>
                    <a:pt x="431" y="1035"/>
                  </a:cubicBezTo>
                  <a:cubicBezTo>
                    <a:pt x="444" y="1035"/>
                    <a:pt x="457" y="1035"/>
                    <a:pt x="470" y="1034"/>
                  </a:cubicBezTo>
                  <a:cubicBezTo>
                    <a:pt x="471" y="1034"/>
                    <a:pt x="473" y="1034"/>
                    <a:pt x="474" y="1033"/>
                  </a:cubicBezTo>
                  <a:moveTo>
                    <a:pt x="400" y="1034"/>
                  </a:moveTo>
                  <a:cubicBezTo>
                    <a:pt x="399" y="1034"/>
                    <a:pt x="398" y="1034"/>
                    <a:pt x="397" y="1034"/>
                  </a:cubicBezTo>
                  <a:cubicBezTo>
                    <a:pt x="406" y="1035"/>
                    <a:pt x="415" y="1035"/>
                    <a:pt x="425" y="1035"/>
                  </a:cubicBezTo>
                  <a:cubicBezTo>
                    <a:pt x="426" y="1035"/>
                    <a:pt x="427" y="1035"/>
                    <a:pt x="428" y="1034"/>
                  </a:cubicBezTo>
                  <a:cubicBezTo>
                    <a:pt x="428" y="1034"/>
                    <a:pt x="428" y="1034"/>
                    <a:pt x="427" y="1034"/>
                  </a:cubicBezTo>
                  <a:cubicBezTo>
                    <a:pt x="418" y="1034"/>
                    <a:pt x="409" y="1034"/>
                    <a:pt x="400" y="1034"/>
                  </a:cubicBezTo>
                  <a:moveTo>
                    <a:pt x="1217" y="1039"/>
                  </a:moveTo>
                  <a:cubicBezTo>
                    <a:pt x="1215" y="1049"/>
                    <a:pt x="1213" y="1059"/>
                    <a:pt x="1213" y="1069"/>
                  </a:cubicBezTo>
                  <a:cubicBezTo>
                    <a:pt x="1213" y="1077"/>
                    <a:pt x="1214" y="1085"/>
                    <a:pt x="1216" y="1093"/>
                  </a:cubicBezTo>
                  <a:cubicBezTo>
                    <a:pt x="1217" y="1093"/>
                    <a:pt x="1217" y="1094"/>
                    <a:pt x="1218" y="1094"/>
                  </a:cubicBezTo>
                  <a:cubicBezTo>
                    <a:pt x="1215" y="1086"/>
                    <a:pt x="1214" y="1077"/>
                    <a:pt x="1214" y="1069"/>
                  </a:cubicBezTo>
                  <a:cubicBezTo>
                    <a:pt x="1214" y="1059"/>
                    <a:pt x="1216" y="1049"/>
                    <a:pt x="1218" y="1040"/>
                  </a:cubicBezTo>
                  <a:cubicBezTo>
                    <a:pt x="1218" y="1039"/>
                    <a:pt x="1217" y="1039"/>
                    <a:pt x="1217" y="1039"/>
                  </a:cubicBezTo>
                  <a:moveTo>
                    <a:pt x="728" y="1039"/>
                  </a:moveTo>
                  <a:cubicBezTo>
                    <a:pt x="729" y="1040"/>
                    <a:pt x="729" y="1040"/>
                    <a:pt x="729" y="1040"/>
                  </a:cubicBezTo>
                  <a:cubicBezTo>
                    <a:pt x="736" y="1044"/>
                    <a:pt x="743" y="1048"/>
                    <a:pt x="749" y="1053"/>
                  </a:cubicBezTo>
                  <a:cubicBezTo>
                    <a:pt x="749" y="1053"/>
                    <a:pt x="748" y="1052"/>
                    <a:pt x="748" y="1052"/>
                  </a:cubicBezTo>
                  <a:cubicBezTo>
                    <a:pt x="742" y="1047"/>
                    <a:pt x="736" y="1043"/>
                    <a:pt x="728" y="1039"/>
                  </a:cubicBezTo>
                  <a:moveTo>
                    <a:pt x="750" y="1053"/>
                  </a:moveTo>
                  <a:cubicBezTo>
                    <a:pt x="750" y="1053"/>
                    <a:pt x="750" y="1054"/>
                    <a:pt x="750" y="1055"/>
                  </a:cubicBezTo>
                  <a:cubicBezTo>
                    <a:pt x="751" y="1055"/>
                    <a:pt x="751" y="1056"/>
                    <a:pt x="752" y="1056"/>
                  </a:cubicBezTo>
                  <a:cubicBezTo>
                    <a:pt x="752" y="1056"/>
                    <a:pt x="752" y="1057"/>
                    <a:pt x="753" y="1057"/>
                  </a:cubicBezTo>
                  <a:cubicBezTo>
                    <a:pt x="758" y="1062"/>
                    <a:pt x="762" y="1067"/>
                    <a:pt x="765" y="1073"/>
                  </a:cubicBezTo>
                  <a:cubicBezTo>
                    <a:pt x="765" y="1074"/>
                    <a:pt x="766" y="1074"/>
                    <a:pt x="766" y="1075"/>
                  </a:cubicBezTo>
                  <a:cubicBezTo>
                    <a:pt x="766" y="1075"/>
                    <a:pt x="766" y="1076"/>
                    <a:pt x="767" y="1076"/>
                  </a:cubicBezTo>
                  <a:cubicBezTo>
                    <a:pt x="769" y="1077"/>
                    <a:pt x="771" y="1078"/>
                    <a:pt x="774" y="1080"/>
                  </a:cubicBezTo>
                  <a:cubicBezTo>
                    <a:pt x="774" y="1079"/>
                    <a:pt x="773" y="1079"/>
                    <a:pt x="773" y="1078"/>
                  </a:cubicBezTo>
                  <a:cubicBezTo>
                    <a:pt x="771" y="1077"/>
                    <a:pt x="769" y="1076"/>
                    <a:pt x="767" y="1075"/>
                  </a:cubicBezTo>
                  <a:cubicBezTo>
                    <a:pt x="767" y="1075"/>
                    <a:pt x="767" y="1075"/>
                    <a:pt x="767" y="1075"/>
                  </a:cubicBezTo>
                  <a:cubicBezTo>
                    <a:pt x="767" y="1075"/>
                    <a:pt x="767" y="1074"/>
                    <a:pt x="767" y="1074"/>
                  </a:cubicBezTo>
                  <a:cubicBezTo>
                    <a:pt x="763" y="1068"/>
                    <a:pt x="759" y="1062"/>
                    <a:pt x="755" y="1058"/>
                  </a:cubicBezTo>
                  <a:cubicBezTo>
                    <a:pt x="754" y="1057"/>
                    <a:pt x="754" y="1057"/>
                    <a:pt x="753" y="1056"/>
                  </a:cubicBezTo>
                  <a:cubicBezTo>
                    <a:pt x="752" y="1055"/>
                    <a:pt x="751" y="1054"/>
                    <a:pt x="750" y="1053"/>
                  </a:cubicBezTo>
                  <a:moveTo>
                    <a:pt x="774" y="1079"/>
                  </a:moveTo>
                  <a:cubicBezTo>
                    <a:pt x="775" y="1080"/>
                    <a:pt x="775" y="1080"/>
                    <a:pt x="775" y="1080"/>
                  </a:cubicBezTo>
                  <a:cubicBezTo>
                    <a:pt x="783" y="1085"/>
                    <a:pt x="791" y="1089"/>
                    <a:pt x="798" y="1093"/>
                  </a:cubicBezTo>
                  <a:cubicBezTo>
                    <a:pt x="798" y="1092"/>
                    <a:pt x="798" y="1092"/>
                    <a:pt x="798" y="1092"/>
                  </a:cubicBezTo>
                  <a:cubicBezTo>
                    <a:pt x="790" y="1087"/>
                    <a:pt x="782" y="1083"/>
                    <a:pt x="774" y="1079"/>
                  </a:cubicBezTo>
                  <a:moveTo>
                    <a:pt x="799" y="1092"/>
                  </a:moveTo>
                  <a:cubicBezTo>
                    <a:pt x="799" y="1093"/>
                    <a:pt x="799" y="1093"/>
                    <a:pt x="800" y="1094"/>
                  </a:cubicBezTo>
                  <a:cubicBezTo>
                    <a:pt x="807" y="1098"/>
                    <a:pt x="815" y="1102"/>
                    <a:pt x="823" y="1106"/>
                  </a:cubicBezTo>
                  <a:cubicBezTo>
                    <a:pt x="825" y="1107"/>
                    <a:pt x="828" y="1108"/>
                    <a:pt x="830" y="1110"/>
                  </a:cubicBezTo>
                  <a:cubicBezTo>
                    <a:pt x="831" y="1110"/>
                    <a:pt x="832" y="1111"/>
                    <a:pt x="833" y="1111"/>
                  </a:cubicBezTo>
                  <a:cubicBezTo>
                    <a:pt x="833" y="1112"/>
                    <a:pt x="834" y="1112"/>
                    <a:pt x="834" y="1112"/>
                  </a:cubicBezTo>
                  <a:cubicBezTo>
                    <a:pt x="834" y="1112"/>
                    <a:pt x="834" y="1111"/>
                    <a:pt x="833" y="1110"/>
                  </a:cubicBezTo>
                  <a:cubicBezTo>
                    <a:pt x="832" y="1110"/>
                    <a:pt x="831" y="1109"/>
                    <a:pt x="830" y="1109"/>
                  </a:cubicBezTo>
                  <a:cubicBezTo>
                    <a:pt x="820" y="1103"/>
                    <a:pt x="809" y="1098"/>
                    <a:pt x="799" y="1092"/>
                  </a:cubicBezTo>
                  <a:moveTo>
                    <a:pt x="1217" y="1095"/>
                  </a:moveTo>
                  <a:cubicBezTo>
                    <a:pt x="1220" y="1105"/>
                    <a:pt x="1224" y="1115"/>
                    <a:pt x="1230" y="1124"/>
                  </a:cubicBezTo>
                  <a:cubicBezTo>
                    <a:pt x="1250" y="1153"/>
                    <a:pt x="1264" y="1178"/>
                    <a:pt x="1274" y="1198"/>
                  </a:cubicBezTo>
                  <a:cubicBezTo>
                    <a:pt x="1274" y="1199"/>
                    <a:pt x="1275" y="1200"/>
                    <a:pt x="1275" y="1200"/>
                  </a:cubicBezTo>
                  <a:cubicBezTo>
                    <a:pt x="1266" y="1179"/>
                    <a:pt x="1251" y="1154"/>
                    <a:pt x="1231" y="1124"/>
                  </a:cubicBezTo>
                  <a:cubicBezTo>
                    <a:pt x="1225" y="1115"/>
                    <a:pt x="1221" y="1106"/>
                    <a:pt x="1218" y="1096"/>
                  </a:cubicBezTo>
                  <a:cubicBezTo>
                    <a:pt x="1218" y="1096"/>
                    <a:pt x="1217" y="1095"/>
                    <a:pt x="1217" y="1095"/>
                  </a:cubicBezTo>
                  <a:moveTo>
                    <a:pt x="835" y="1111"/>
                  </a:moveTo>
                  <a:cubicBezTo>
                    <a:pt x="835" y="1112"/>
                    <a:pt x="836" y="1113"/>
                    <a:pt x="836" y="1113"/>
                  </a:cubicBezTo>
                  <a:cubicBezTo>
                    <a:pt x="837" y="1113"/>
                    <a:pt x="838" y="1114"/>
                    <a:pt x="839" y="1114"/>
                  </a:cubicBezTo>
                  <a:cubicBezTo>
                    <a:pt x="847" y="1119"/>
                    <a:pt x="856" y="1124"/>
                    <a:pt x="865" y="1128"/>
                  </a:cubicBezTo>
                  <a:cubicBezTo>
                    <a:pt x="868" y="1130"/>
                    <a:pt x="870" y="1131"/>
                    <a:pt x="873" y="1132"/>
                  </a:cubicBezTo>
                  <a:cubicBezTo>
                    <a:pt x="874" y="1133"/>
                    <a:pt x="874" y="1133"/>
                    <a:pt x="875" y="1133"/>
                  </a:cubicBezTo>
                  <a:cubicBezTo>
                    <a:pt x="874" y="1133"/>
                    <a:pt x="874" y="1132"/>
                    <a:pt x="873" y="1131"/>
                  </a:cubicBezTo>
                  <a:cubicBezTo>
                    <a:pt x="864" y="1126"/>
                    <a:pt x="854" y="1121"/>
                    <a:pt x="844" y="1116"/>
                  </a:cubicBezTo>
                  <a:cubicBezTo>
                    <a:pt x="842" y="1115"/>
                    <a:pt x="841" y="1114"/>
                    <a:pt x="839" y="1113"/>
                  </a:cubicBezTo>
                  <a:cubicBezTo>
                    <a:pt x="838" y="1113"/>
                    <a:pt x="837" y="1113"/>
                    <a:pt x="837" y="1112"/>
                  </a:cubicBezTo>
                  <a:cubicBezTo>
                    <a:pt x="836" y="1112"/>
                    <a:pt x="836" y="1112"/>
                    <a:pt x="835" y="1111"/>
                  </a:cubicBezTo>
                  <a:moveTo>
                    <a:pt x="875" y="1132"/>
                  </a:moveTo>
                  <a:cubicBezTo>
                    <a:pt x="876" y="1133"/>
                    <a:pt x="876" y="1134"/>
                    <a:pt x="877" y="1134"/>
                  </a:cubicBezTo>
                  <a:cubicBezTo>
                    <a:pt x="880" y="1136"/>
                    <a:pt x="884" y="1138"/>
                    <a:pt x="887" y="1140"/>
                  </a:cubicBezTo>
                  <a:cubicBezTo>
                    <a:pt x="892" y="1142"/>
                    <a:pt x="898" y="1145"/>
                    <a:pt x="903" y="1148"/>
                  </a:cubicBezTo>
                  <a:cubicBezTo>
                    <a:pt x="910" y="1152"/>
                    <a:pt x="917" y="1155"/>
                    <a:pt x="924" y="1159"/>
                  </a:cubicBezTo>
                  <a:cubicBezTo>
                    <a:pt x="924" y="1158"/>
                    <a:pt x="923" y="1157"/>
                    <a:pt x="922" y="1156"/>
                  </a:cubicBezTo>
                  <a:cubicBezTo>
                    <a:pt x="921" y="1156"/>
                    <a:pt x="920" y="1156"/>
                    <a:pt x="920" y="1155"/>
                  </a:cubicBezTo>
                  <a:cubicBezTo>
                    <a:pt x="914" y="1152"/>
                    <a:pt x="909" y="1150"/>
                    <a:pt x="904" y="1147"/>
                  </a:cubicBezTo>
                  <a:cubicBezTo>
                    <a:pt x="896" y="1143"/>
                    <a:pt x="889" y="1139"/>
                    <a:pt x="882" y="1136"/>
                  </a:cubicBezTo>
                  <a:cubicBezTo>
                    <a:pt x="879" y="1135"/>
                    <a:pt x="877" y="1133"/>
                    <a:pt x="875" y="1132"/>
                  </a:cubicBezTo>
                  <a:moveTo>
                    <a:pt x="925" y="1158"/>
                  </a:moveTo>
                  <a:cubicBezTo>
                    <a:pt x="925" y="1158"/>
                    <a:pt x="926" y="1159"/>
                    <a:pt x="927" y="1160"/>
                  </a:cubicBezTo>
                  <a:cubicBezTo>
                    <a:pt x="935" y="1164"/>
                    <a:pt x="944" y="1168"/>
                    <a:pt x="952" y="1172"/>
                  </a:cubicBezTo>
                  <a:cubicBezTo>
                    <a:pt x="946" y="1169"/>
                    <a:pt x="941" y="1166"/>
                    <a:pt x="935" y="1163"/>
                  </a:cubicBezTo>
                  <a:cubicBezTo>
                    <a:pt x="932" y="1161"/>
                    <a:pt x="928" y="1160"/>
                    <a:pt x="925" y="1158"/>
                  </a:cubicBezTo>
                  <a:moveTo>
                    <a:pt x="952" y="1171"/>
                  </a:moveTo>
                  <a:cubicBezTo>
                    <a:pt x="957" y="1175"/>
                    <a:pt x="963" y="1178"/>
                    <a:pt x="968" y="1181"/>
                  </a:cubicBezTo>
                  <a:cubicBezTo>
                    <a:pt x="970" y="1181"/>
                    <a:pt x="971" y="1182"/>
                    <a:pt x="973" y="1183"/>
                  </a:cubicBezTo>
                  <a:cubicBezTo>
                    <a:pt x="970" y="1181"/>
                    <a:pt x="967" y="1179"/>
                    <a:pt x="965" y="1178"/>
                  </a:cubicBezTo>
                  <a:cubicBezTo>
                    <a:pt x="960" y="1176"/>
                    <a:pt x="956" y="1174"/>
                    <a:pt x="952" y="1171"/>
                  </a:cubicBezTo>
                  <a:moveTo>
                    <a:pt x="973" y="1182"/>
                  </a:moveTo>
                  <a:cubicBezTo>
                    <a:pt x="976" y="1183"/>
                    <a:pt x="978" y="1185"/>
                    <a:pt x="981" y="1187"/>
                  </a:cubicBezTo>
                  <a:cubicBezTo>
                    <a:pt x="983" y="1188"/>
                    <a:pt x="984" y="1188"/>
                    <a:pt x="986" y="1189"/>
                  </a:cubicBezTo>
                  <a:cubicBezTo>
                    <a:pt x="985" y="1188"/>
                    <a:pt x="984" y="1187"/>
                    <a:pt x="983" y="1187"/>
                  </a:cubicBezTo>
                  <a:cubicBezTo>
                    <a:pt x="980" y="1185"/>
                    <a:pt x="976" y="1183"/>
                    <a:pt x="973" y="1182"/>
                  </a:cubicBezTo>
                  <a:moveTo>
                    <a:pt x="986" y="1188"/>
                  </a:moveTo>
                  <a:cubicBezTo>
                    <a:pt x="987" y="1189"/>
                    <a:pt x="988" y="1190"/>
                    <a:pt x="989" y="1191"/>
                  </a:cubicBezTo>
                  <a:cubicBezTo>
                    <a:pt x="990" y="1191"/>
                    <a:pt x="991" y="1192"/>
                    <a:pt x="992" y="1192"/>
                  </a:cubicBezTo>
                  <a:cubicBezTo>
                    <a:pt x="990" y="1191"/>
                    <a:pt x="989" y="1190"/>
                    <a:pt x="987" y="1188"/>
                  </a:cubicBezTo>
                  <a:cubicBezTo>
                    <a:pt x="987" y="1188"/>
                    <a:pt x="986" y="1188"/>
                    <a:pt x="986" y="1188"/>
                  </a:cubicBezTo>
                  <a:moveTo>
                    <a:pt x="992" y="1191"/>
                  </a:moveTo>
                  <a:cubicBezTo>
                    <a:pt x="994" y="1193"/>
                    <a:pt x="996" y="1194"/>
                    <a:pt x="998" y="1195"/>
                  </a:cubicBezTo>
                  <a:cubicBezTo>
                    <a:pt x="1002" y="1197"/>
                    <a:pt x="1006" y="1199"/>
                    <a:pt x="1010" y="1201"/>
                  </a:cubicBezTo>
                  <a:cubicBezTo>
                    <a:pt x="1009" y="1200"/>
                    <a:pt x="1008" y="1199"/>
                    <a:pt x="1006" y="1198"/>
                  </a:cubicBezTo>
                  <a:cubicBezTo>
                    <a:pt x="1002" y="1196"/>
                    <a:pt x="997" y="1193"/>
                    <a:pt x="992" y="1191"/>
                  </a:cubicBezTo>
                  <a:moveTo>
                    <a:pt x="1011" y="1200"/>
                  </a:moveTo>
                  <a:cubicBezTo>
                    <a:pt x="1012" y="1201"/>
                    <a:pt x="1014" y="1202"/>
                    <a:pt x="1015" y="1203"/>
                  </a:cubicBezTo>
                  <a:cubicBezTo>
                    <a:pt x="1019" y="1205"/>
                    <a:pt x="1024" y="1207"/>
                    <a:pt x="1028" y="1209"/>
                  </a:cubicBezTo>
                  <a:cubicBezTo>
                    <a:pt x="1027" y="1208"/>
                    <a:pt x="1026" y="1207"/>
                    <a:pt x="1025" y="1206"/>
                  </a:cubicBezTo>
                  <a:cubicBezTo>
                    <a:pt x="1020" y="1204"/>
                    <a:pt x="1016" y="1202"/>
                    <a:pt x="1011" y="1200"/>
                  </a:cubicBezTo>
                  <a:moveTo>
                    <a:pt x="1275" y="1201"/>
                  </a:moveTo>
                  <a:cubicBezTo>
                    <a:pt x="1284" y="1220"/>
                    <a:pt x="1288" y="1236"/>
                    <a:pt x="1288" y="1248"/>
                  </a:cubicBezTo>
                  <a:cubicBezTo>
                    <a:pt x="1288" y="1271"/>
                    <a:pt x="1273" y="1281"/>
                    <a:pt x="1246" y="1281"/>
                  </a:cubicBezTo>
                  <a:cubicBezTo>
                    <a:pt x="1246" y="1281"/>
                    <a:pt x="1246" y="1281"/>
                    <a:pt x="1246" y="1281"/>
                  </a:cubicBezTo>
                  <a:cubicBezTo>
                    <a:pt x="1202" y="1281"/>
                    <a:pt x="1125" y="1253"/>
                    <a:pt x="1028" y="1208"/>
                  </a:cubicBezTo>
                  <a:cubicBezTo>
                    <a:pt x="1030" y="1209"/>
                    <a:pt x="1031" y="1210"/>
                    <a:pt x="1032" y="1211"/>
                  </a:cubicBezTo>
                  <a:cubicBezTo>
                    <a:pt x="1127" y="1255"/>
                    <a:pt x="1202" y="1282"/>
                    <a:pt x="1246" y="1282"/>
                  </a:cubicBezTo>
                  <a:cubicBezTo>
                    <a:pt x="1273" y="1282"/>
                    <a:pt x="1289" y="1272"/>
                    <a:pt x="1289" y="1248"/>
                  </a:cubicBezTo>
                  <a:cubicBezTo>
                    <a:pt x="1289" y="1236"/>
                    <a:pt x="1285" y="1221"/>
                    <a:pt x="1277" y="1202"/>
                  </a:cubicBezTo>
                  <a:cubicBezTo>
                    <a:pt x="1276" y="1202"/>
                    <a:pt x="1275" y="1201"/>
                    <a:pt x="1275" y="1201"/>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61" name="Freeform 90"/>
            <p:cNvSpPr>
              <a:spLocks noEditPoints="1"/>
            </p:cNvSpPr>
            <p:nvPr userDrawn="1"/>
          </p:nvSpPr>
          <p:spPr bwMode="auto">
            <a:xfrm>
              <a:off x="2029" y="3486"/>
              <a:ext cx="3435" cy="2618"/>
            </a:xfrm>
            <a:custGeom>
              <a:avLst/>
              <a:gdLst>
                <a:gd name="T0" fmla="*/ 2147483646 w 1695"/>
                <a:gd name="T1" fmla="*/ 2147483646 h 1291"/>
                <a:gd name="T2" fmla="*/ 2147483646 w 1695"/>
                <a:gd name="T3" fmla="*/ 2147483646 h 1291"/>
                <a:gd name="T4" fmla="*/ 2147483646 w 1695"/>
                <a:gd name="T5" fmla="*/ 2147483646 h 1291"/>
                <a:gd name="T6" fmla="*/ 2147483646 w 1695"/>
                <a:gd name="T7" fmla="*/ 2147483646 h 1291"/>
                <a:gd name="T8" fmla="*/ 2147483646 w 1695"/>
                <a:gd name="T9" fmla="*/ 2147483646 h 1291"/>
                <a:gd name="T10" fmla="*/ 2147483646 w 1695"/>
                <a:gd name="T11" fmla="*/ 2147483646 h 1291"/>
                <a:gd name="T12" fmla="*/ 2147483646 w 1695"/>
                <a:gd name="T13" fmla="*/ 2147483646 h 1291"/>
                <a:gd name="T14" fmla="*/ 2147483646 w 1695"/>
                <a:gd name="T15" fmla="*/ 2147483646 h 1291"/>
                <a:gd name="T16" fmla="*/ 2147483646 w 1695"/>
                <a:gd name="T17" fmla="*/ 2147483646 h 1291"/>
                <a:gd name="T18" fmla="*/ 2147483646 w 1695"/>
                <a:gd name="T19" fmla="*/ 2147483646 h 1291"/>
                <a:gd name="T20" fmla="*/ 2147483646 w 1695"/>
                <a:gd name="T21" fmla="*/ 2147483646 h 1291"/>
                <a:gd name="T22" fmla="*/ 2147483646 w 1695"/>
                <a:gd name="T23" fmla="*/ 2147483646 h 1291"/>
                <a:gd name="T24" fmla="*/ 2147483646 w 1695"/>
                <a:gd name="T25" fmla="*/ 2147483646 h 1291"/>
                <a:gd name="T26" fmla="*/ 2147483646 w 1695"/>
                <a:gd name="T27" fmla="*/ 2147483646 h 1291"/>
                <a:gd name="T28" fmla="*/ 2147483646 w 1695"/>
                <a:gd name="T29" fmla="*/ 2147483646 h 1291"/>
                <a:gd name="T30" fmla="*/ 2147483646 w 1695"/>
                <a:gd name="T31" fmla="*/ 2147483646 h 1291"/>
                <a:gd name="T32" fmla="*/ 2147483646 w 1695"/>
                <a:gd name="T33" fmla="*/ 2147483646 h 1291"/>
                <a:gd name="T34" fmla="*/ 2147483646 w 1695"/>
                <a:gd name="T35" fmla="*/ 2147483646 h 1291"/>
                <a:gd name="T36" fmla="*/ 2147483646 w 1695"/>
                <a:gd name="T37" fmla="*/ 2147483646 h 1291"/>
                <a:gd name="T38" fmla="*/ 2147483646 w 1695"/>
                <a:gd name="T39" fmla="*/ 2147483646 h 1291"/>
                <a:gd name="T40" fmla="*/ 2147483646 w 1695"/>
                <a:gd name="T41" fmla="*/ 2147483646 h 1291"/>
                <a:gd name="T42" fmla="*/ 2147483646 w 1695"/>
                <a:gd name="T43" fmla="*/ 2147483646 h 1291"/>
                <a:gd name="T44" fmla="*/ 2147483646 w 1695"/>
                <a:gd name="T45" fmla="*/ 2147483646 h 1291"/>
                <a:gd name="T46" fmla="*/ 2147483646 w 1695"/>
                <a:gd name="T47" fmla="*/ 2147483646 h 1291"/>
                <a:gd name="T48" fmla="*/ 2147483646 w 1695"/>
                <a:gd name="T49" fmla="*/ 2147483646 h 1291"/>
                <a:gd name="T50" fmla="*/ 2147483646 w 1695"/>
                <a:gd name="T51" fmla="*/ 2147483646 h 1291"/>
                <a:gd name="T52" fmla="*/ 2147483646 w 1695"/>
                <a:gd name="T53" fmla="*/ 2147483646 h 1291"/>
                <a:gd name="T54" fmla="*/ 2147483646 w 1695"/>
                <a:gd name="T55" fmla="*/ 2147483646 h 1291"/>
                <a:gd name="T56" fmla="*/ 2147483646 w 1695"/>
                <a:gd name="T57" fmla="*/ 2147483646 h 1291"/>
                <a:gd name="T58" fmla="*/ 2147483646 w 1695"/>
                <a:gd name="T59" fmla="*/ 2147483646 h 1291"/>
                <a:gd name="T60" fmla="*/ 2147483646 w 1695"/>
                <a:gd name="T61" fmla="*/ 2147483646 h 1291"/>
                <a:gd name="T62" fmla="*/ 2147483646 w 1695"/>
                <a:gd name="T63" fmla="*/ 2147483646 h 1291"/>
                <a:gd name="T64" fmla="*/ 2147483646 w 1695"/>
                <a:gd name="T65" fmla="*/ 2147483646 h 1291"/>
                <a:gd name="T66" fmla="*/ 2147483646 w 1695"/>
                <a:gd name="T67" fmla="*/ 2147483646 h 1291"/>
                <a:gd name="T68" fmla="*/ 2147483646 w 1695"/>
                <a:gd name="T69" fmla="*/ 2147483646 h 1291"/>
                <a:gd name="T70" fmla="*/ 2147483646 w 1695"/>
                <a:gd name="T71" fmla="*/ 2147483646 h 1291"/>
                <a:gd name="T72" fmla="*/ 2147483646 w 1695"/>
                <a:gd name="T73" fmla="*/ 2147483646 h 1291"/>
                <a:gd name="T74" fmla="*/ 2147483646 w 1695"/>
                <a:gd name="T75" fmla="*/ 2147483646 h 1291"/>
                <a:gd name="T76" fmla="*/ 2147483646 w 1695"/>
                <a:gd name="T77" fmla="*/ 2147483646 h 1291"/>
                <a:gd name="T78" fmla="*/ 2147483646 w 1695"/>
                <a:gd name="T79" fmla="*/ 2147483646 h 1291"/>
                <a:gd name="T80" fmla="*/ 2147483646 w 1695"/>
                <a:gd name="T81" fmla="*/ 2147483646 h 1291"/>
                <a:gd name="T82" fmla="*/ 2147483646 w 1695"/>
                <a:gd name="T83" fmla="*/ 2147483646 h 1291"/>
                <a:gd name="T84" fmla="*/ 2147483646 w 1695"/>
                <a:gd name="T85" fmla="*/ 2147483646 h 1291"/>
                <a:gd name="T86" fmla="*/ 2147483646 w 1695"/>
                <a:gd name="T87" fmla="*/ 2147483646 h 1291"/>
                <a:gd name="T88" fmla="*/ 2147483646 w 1695"/>
                <a:gd name="T89" fmla="*/ 2147483646 h 1291"/>
                <a:gd name="T90" fmla="*/ 2147483646 w 1695"/>
                <a:gd name="T91" fmla="*/ 2147483646 h 1291"/>
                <a:gd name="T92" fmla="*/ 2147483646 w 1695"/>
                <a:gd name="T93" fmla="*/ 2147483646 h 1291"/>
                <a:gd name="T94" fmla="*/ 2147483646 w 1695"/>
                <a:gd name="T95" fmla="*/ 2147483646 h 1291"/>
                <a:gd name="T96" fmla="*/ 2147483646 w 1695"/>
                <a:gd name="T97" fmla="*/ 2147483646 h 1291"/>
                <a:gd name="T98" fmla="*/ 2147483646 w 1695"/>
                <a:gd name="T99" fmla="*/ 2147483646 h 1291"/>
                <a:gd name="T100" fmla="*/ 2147483646 w 1695"/>
                <a:gd name="T101" fmla="*/ 2147483646 h 1291"/>
                <a:gd name="T102" fmla="*/ 2147483646 w 1695"/>
                <a:gd name="T103" fmla="*/ 2147483646 h 1291"/>
                <a:gd name="T104" fmla="*/ 2147483646 w 1695"/>
                <a:gd name="T105" fmla="*/ 2147483646 h 1291"/>
                <a:gd name="T106" fmla="*/ 2147483646 w 1695"/>
                <a:gd name="T107" fmla="*/ 2147483646 h 1291"/>
                <a:gd name="T108" fmla="*/ 2147483646 w 1695"/>
                <a:gd name="T109" fmla="*/ 2147483646 h 1291"/>
                <a:gd name="T110" fmla="*/ 2147483646 w 1695"/>
                <a:gd name="T111" fmla="*/ 2147483646 h 1291"/>
                <a:gd name="T112" fmla="*/ 2147483646 w 1695"/>
                <a:gd name="T113" fmla="*/ 2147483646 h 1291"/>
                <a:gd name="T114" fmla="*/ 2147483646 w 1695"/>
                <a:gd name="T115" fmla="*/ 2147483646 h 1291"/>
                <a:gd name="T116" fmla="*/ 2147483646 w 1695"/>
                <a:gd name="T117" fmla="*/ 2147483646 h 1291"/>
                <a:gd name="T118" fmla="*/ 2147483646 w 1695"/>
                <a:gd name="T119" fmla="*/ 2147483646 h 1291"/>
                <a:gd name="T120" fmla="*/ 2147483646 w 1695"/>
                <a:gd name="T121" fmla="*/ 2147483646 h 1291"/>
                <a:gd name="T122" fmla="*/ 2147483646 w 1695"/>
                <a:gd name="T123" fmla="*/ 2147483646 h 12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95" h="1291">
                  <a:moveTo>
                    <a:pt x="1454" y="0"/>
                  </a:moveTo>
                  <a:cubicBezTo>
                    <a:pt x="1423" y="0"/>
                    <a:pt x="1393" y="7"/>
                    <a:pt x="1365" y="21"/>
                  </a:cubicBezTo>
                  <a:cubicBezTo>
                    <a:pt x="1365" y="21"/>
                    <a:pt x="1364" y="21"/>
                    <a:pt x="1364" y="21"/>
                  </a:cubicBezTo>
                  <a:cubicBezTo>
                    <a:pt x="1346" y="30"/>
                    <a:pt x="1328" y="42"/>
                    <a:pt x="1311" y="55"/>
                  </a:cubicBezTo>
                  <a:cubicBezTo>
                    <a:pt x="1311" y="56"/>
                    <a:pt x="1311" y="56"/>
                    <a:pt x="1310" y="56"/>
                  </a:cubicBezTo>
                  <a:cubicBezTo>
                    <a:pt x="1309" y="57"/>
                    <a:pt x="1308" y="58"/>
                    <a:pt x="1307" y="59"/>
                  </a:cubicBezTo>
                  <a:cubicBezTo>
                    <a:pt x="1307" y="59"/>
                    <a:pt x="1306" y="60"/>
                    <a:pt x="1306" y="60"/>
                  </a:cubicBezTo>
                  <a:cubicBezTo>
                    <a:pt x="1304" y="61"/>
                    <a:pt x="1303" y="63"/>
                    <a:pt x="1301" y="64"/>
                  </a:cubicBezTo>
                  <a:cubicBezTo>
                    <a:pt x="1301" y="64"/>
                    <a:pt x="1300" y="65"/>
                    <a:pt x="1300" y="65"/>
                  </a:cubicBezTo>
                  <a:cubicBezTo>
                    <a:pt x="1297" y="67"/>
                    <a:pt x="1295" y="70"/>
                    <a:pt x="1292" y="72"/>
                  </a:cubicBezTo>
                  <a:cubicBezTo>
                    <a:pt x="1290" y="74"/>
                    <a:pt x="1287" y="77"/>
                    <a:pt x="1285" y="79"/>
                  </a:cubicBezTo>
                  <a:cubicBezTo>
                    <a:pt x="1285" y="79"/>
                    <a:pt x="1284" y="80"/>
                    <a:pt x="1284" y="80"/>
                  </a:cubicBezTo>
                  <a:cubicBezTo>
                    <a:pt x="1283" y="81"/>
                    <a:pt x="1282" y="82"/>
                    <a:pt x="1281" y="83"/>
                  </a:cubicBezTo>
                  <a:cubicBezTo>
                    <a:pt x="1280" y="84"/>
                    <a:pt x="1280" y="85"/>
                    <a:pt x="1279" y="85"/>
                  </a:cubicBezTo>
                  <a:cubicBezTo>
                    <a:pt x="1278" y="86"/>
                    <a:pt x="1276" y="88"/>
                    <a:pt x="1275" y="89"/>
                  </a:cubicBezTo>
                  <a:cubicBezTo>
                    <a:pt x="1273" y="92"/>
                    <a:pt x="1270" y="94"/>
                    <a:pt x="1268" y="97"/>
                  </a:cubicBezTo>
                  <a:cubicBezTo>
                    <a:pt x="1270" y="95"/>
                    <a:pt x="1272" y="93"/>
                    <a:pt x="1275" y="91"/>
                  </a:cubicBezTo>
                  <a:cubicBezTo>
                    <a:pt x="1275" y="91"/>
                    <a:pt x="1275" y="90"/>
                    <a:pt x="1276" y="90"/>
                  </a:cubicBezTo>
                  <a:cubicBezTo>
                    <a:pt x="1277" y="89"/>
                    <a:pt x="1277" y="88"/>
                    <a:pt x="1278" y="88"/>
                  </a:cubicBezTo>
                  <a:cubicBezTo>
                    <a:pt x="1279" y="86"/>
                    <a:pt x="1280" y="85"/>
                    <a:pt x="1282" y="84"/>
                  </a:cubicBezTo>
                  <a:cubicBezTo>
                    <a:pt x="1282" y="84"/>
                    <a:pt x="1282" y="84"/>
                    <a:pt x="1282" y="83"/>
                  </a:cubicBezTo>
                  <a:cubicBezTo>
                    <a:pt x="1283" y="82"/>
                    <a:pt x="1284" y="81"/>
                    <a:pt x="1285" y="80"/>
                  </a:cubicBezTo>
                  <a:cubicBezTo>
                    <a:pt x="1288" y="78"/>
                    <a:pt x="1290" y="75"/>
                    <a:pt x="1293" y="73"/>
                  </a:cubicBezTo>
                  <a:cubicBezTo>
                    <a:pt x="1295" y="71"/>
                    <a:pt x="1296" y="70"/>
                    <a:pt x="1297" y="69"/>
                  </a:cubicBezTo>
                  <a:cubicBezTo>
                    <a:pt x="1299" y="67"/>
                    <a:pt x="1301" y="66"/>
                    <a:pt x="1302" y="64"/>
                  </a:cubicBezTo>
                  <a:cubicBezTo>
                    <a:pt x="1303" y="64"/>
                    <a:pt x="1303" y="63"/>
                    <a:pt x="1304" y="63"/>
                  </a:cubicBezTo>
                  <a:cubicBezTo>
                    <a:pt x="1305" y="62"/>
                    <a:pt x="1307" y="61"/>
                    <a:pt x="1308" y="60"/>
                  </a:cubicBezTo>
                  <a:cubicBezTo>
                    <a:pt x="1308" y="59"/>
                    <a:pt x="1309" y="59"/>
                    <a:pt x="1309" y="58"/>
                  </a:cubicBezTo>
                  <a:cubicBezTo>
                    <a:pt x="1327" y="44"/>
                    <a:pt x="1345" y="32"/>
                    <a:pt x="1365" y="22"/>
                  </a:cubicBezTo>
                  <a:cubicBezTo>
                    <a:pt x="1365" y="22"/>
                    <a:pt x="1365" y="22"/>
                    <a:pt x="1366" y="22"/>
                  </a:cubicBezTo>
                  <a:cubicBezTo>
                    <a:pt x="1393" y="8"/>
                    <a:pt x="1423" y="1"/>
                    <a:pt x="1454" y="1"/>
                  </a:cubicBezTo>
                  <a:cubicBezTo>
                    <a:pt x="1465" y="1"/>
                    <a:pt x="1477" y="2"/>
                    <a:pt x="1488" y="4"/>
                  </a:cubicBezTo>
                  <a:cubicBezTo>
                    <a:pt x="1489" y="4"/>
                    <a:pt x="1489" y="4"/>
                    <a:pt x="1489" y="4"/>
                  </a:cubicBezTo>
                  <a:cubicBezTo>
                    <a:pt x="1504" y="6"/>
                    <a:pt x="1519" y="10"/>
                    <a:pt x="1535" y="16"/>
                  </a:cubicBezTo>
                  <a:cubicBezTo>
                    <a:pt x="1564" y="27"/>
                    <a:pt x="1588" y="39"/>
                    <a:pt x="1608" y="52"/>
                  </a:cubicBezTo>
                  <a:cubicBezTo>
                    <a:pt x="1608" y="52"/>
                    <a:pt x="1609" y="52"/>
                    <a:pt x="1609" y="52"/>
                  </a:cubicBezTo>
                  <a:cubicBezTo>
                    <a:pt x="1642" y="73"/>
                    <a:pt x="1665" y="96"/>
                    <a:pt x="1678" y="121"/>
                  </a:cubicBezTo>
                  <a:cubicBezTo>
                    <a:pt x="1678" y="121"/>
                    <a:pt x="1678" y="122"/>
                    <a:pt x="1679" y="122"/>
                  </a:cubicBezTo>
                  <a:cubicBezTo>
                    <a:pt x="1689" y="142"/>
                    <a:pt x="1694" y="162"/>
                    <a:pt x="1694" y="183"/>
                  </a:cubicBezTo>
                  <a:cubicBezTo>
                    <a:pt x="1694" y="191"/>
                    <a:pt x="1693" y="199"/>
                    <a:pt x="1692" y="206"/>
                  </a:cubicBezTo>
                  <a:cubicBezTo>
                    <a:pt x="1692" y="207"/>
                    <a:pt x="1692" y="208"/>
                    <a:pt x="1692" y="208"/>
                  </a:cubicBezTo>
                  <a:cubicBezTo>
                    <a:pt x="1691" y="212"/>
                    <a:pt x="1690" y="216"/>
                    <a:pt x="1689" y="220"/>
                  </a:cubicBezTo>
                  <a:cubicBezTo>
                    <a:pt x="1689" y="220"/>
                    <a:pt x="1689" y="221"/>
                    <a:pt x="1689" y="222"/>
                  </a:cubicBezTo>
                  <a:cubicBezTo>
                    <a:pt x="1688" y="225"/>
                    <a:pt x="1687" y="228"/>
                    <a:pt x="1686" y="231"/>
                  </a:cubicBezTo>
                  <a:cubicBezTo>
                    <a:pt x="1686" y="232"/>
                    <a:pt x="1686" y="233"/>
                    <a:pt x="1685" y="234"/>
                  </a:cubicBezTo>
                  <a:cubicBezTo>
                    <a:pt x="1680" y="249"/>
                    <a:pt x="1674" y="264"/>
                    <a:pt x="1665" y="280"/>
                  </a:cubicBezTo>
                  <a:cubicBezTo>
                    <a:pt x="1664" y="281"/>
                    <a:pt x="1664" y="283"/>
                    <a:pt x="1663" y="284"/>
                  </a:cubicBezTo>
                  <a:cubicBezTo>
                    <a:pt x="1659" y="290"/>
                    <a:pt x="1655" y="297"/>
                    <a:pt x="1651" y="303"/>
                  </a:cubicBezTo>
                  <a:cubicBezTo>
                    <a:pt x="1650" y="305"/>
                    <a:pt x="1648" y="307"/>
                    <a:pt x="1647" y="310"/>
                  </a:cubicBezTo>
                  <a:cubicBezTo>
                    <a:pt x="1644" y="314"/>
                    <a:pt x="1640" y="319"/>
                    <a:pt x="1637" y="324"/>
                  </a:cubicBezTo>
                  <a:cubicBezTo>
                    <a:pt x="1634" y="328"/>
                    <a:pt x="1632" y="331"/>
                    <a:pt x="1629" y="334"/>
                  </a:cubicBezTo>
                  <a:cubicBezTo>
                    <a:pt x="1627" y="337"/>
                    <a:pt x="1625" y="340"/>
                    <a:pt x="1623" y="342"/>
                  </a:cubicBezTo>
                  <a:cubicBezTo>
                    <a:pt x="1620" y="346"/>
                    <a:pt x="1617" y="349"/>
                    <a:pt x="1614" y="352"/>
                  </a:cubicBezTo>
                  <a:cubicBezTo>
                    <a:pt x="1609" y="359"/>
                    <a:pt x="1604" y="366"/>
                    <a:pt x="1598" y="372"/>
                  </a:cubicBezTo>
                  <a:cubicBezTo>
                    <a:pt x="1607" y="362"/>
                    <a:pt x="1616" y="352"/>
                    <a:pt x="1624" y="342"/>
                  </a:cubicBezTo>
                  <a:cubicBezTo>
                    <a:pt x="1629" y="336"/>
                    <a:pt x="1634" y="330"/>
                    <a:pt x="1638" y="324"/>
                  </a:cubicBezTo>
                  <a:cubicBezTo>
                    <a:pt x="1640" y="321"/>
                    <a:pt x="1642" y="318"/>
                    <a:pt x="1644" y="315"/>
                  </a:cubicBezTo>
                  <a:cubicBezTo>
                    <a:pt x="1647" y="311"/>
                    <a:pt x="1650" y="308"/>
                    <a:pt x="1652" y="304"/>
                  </a:cubicBezTo>
                  <a:cubicBezTo>
                    <a:pt x="1653" y="302"/>
                    <a:pt x="1655" y="300"/>
                    <a:pt x="1656" y="298"/>
                  </a:cubicBezTo>
                  <a:cubicBezTo>
                    <a:pt x="1660" y="292"/>
                    <a:pt x="1663" y="286"/>
                    <a:pt x="1666" y="280"/>
                  </a:cubicBezTo>
                  <a:cubicBezTo>
                    <a:pt x="1667" y="279"/>
                    <a:pt x="1668" y="278"/>
                    <a:pt x="1668" y="276"/>
                  </a:cubicBezTo>
                  <a:cubicBezTo>
                    <a:pt x="1676" y="261"/>
                    <a:pt x="1682" y="247"/>
                    <a:pt x="1687" y="232"/>
                  </a:cubicBezTo>
                  <a:cubicBezTo>
                    <a:pt x="1687" y="231"/>
                    <a:pt x="1687" y="230"/>
                    <a:pt x="1688" y="229"/>
                  </a:cubicBezTo>
                  <a:cubicBezTo>
                    <a:pt x="1689" y="226"/>
                    <a:pt x="1689" y="223"/>
                    <a:pt x="1690" y="220"/>
                  </a:cubicBezTo>
                  <a:cubicBezTo>
                    <a:pt x="1690" y="220"/>
                    <a:pt x="1690" y="219"/>
                    <a:pt x="1691" y="218"/>
                  </a:cubicBezTo>
                  <a:cubicBezTo>
                    <a:pt x="1691" y="214"/>
                    <a:pt x="1692" y="211"/>
                    <a:pt x="1693" y="207"/>
                  </a:cubicBezTo>
                  <a:cubicBezTo>
                    <a:pt x="1693" y="206"/>
                    <a:pt x="1693" y="206"/>
                    <a:pt x="1693" y="205"/>
                  </a:cubicBezTo>
                  <a:cubicBezTo>
                    <a:pt x="1694" y="198"/>
                    <a:pt x="1695" y="190"/>
                    <a:pt x="1695" y="183"/>
                  </a:cubicBezTo>
                  <a:cubicBezTo>
                    <a:pt x="1695" y="162"/>
                    <a:pt x="1690" y="141"/>
                    <a:pt x="1679" y="121"/>
                  </a:cubicBezTo>
                  <a:cubicBezTo>
                    <a:pt x="1679" y="121"/>
                    <a:pt x="1679" y="120"/>
                    <a:pt x="1679" y="120"/>
                  </a:cubicBezTo>
                  <a:cubicBezTo>
                    <a:pt x="1665" y="95"/>
                    <a:pt x="1642" y="72"/>
                    <a:pt x="1609" y="51"/>
                  </a:cubicBezTo>
                  <a:cubicBezTo>
                    <a:pt x="1609" y="51"/>
                    <a:pt x="1609" y="51"/>
                    <a:pt x="1608" y="51"/>
                  </a:cubicBezTo>
                  <a:cubicBezTo>
                    <a:pt x="1588" y="38"/>
                    <a:pt x="1564" y="26"/>
                    <a:pt x="1535" y="15"/>
                  </a:cubicBezTo>
                  <a:cubicBezTo>
                    <a:pt x="1519" y="9"/>
                    <a:pt x="1504" y="5"/>
                    <a:pt x="1489" y="3"/>
                  </a:cubicBezTo>
                  <a:cubicBezTo>
                    <a:pt x="1489" y="3"/>
                    <a:pt x="1488" y="3"/>
                    <a:pt x="1488" y="3"/>
                  </a:cubicBezTo>
                  <a:cubicBezTo>
                    <a:pt x="1477" y="1"/>
                    <a:pt x="1465" y="0"/>
                    <a:pt x="1454" y="0"/>
                  </a:cubicBezTo>
                  <a:moveTo>
                    <a:pt x="1269" y="97"/>
                  </a:moveTo>
                  <a:cubicBezTo>
                    <a:pt x="1266" y="100"/>
                    <a:pt x="1264" y="102"/>
                    <a:pt x="1262" y="104"/>
                  </a:cubicBezTo>
                  <a:cubicBezTo>
                    <a:pt x="1259" y="107"/>
                    <a:pt x="1256" y="110"/>
                    <a:pt x="1254" y="113"/>
                  </a:cubicBezTo>
                  <a:cubicBezTo>
                    <a:pt x="1255" y="112"/>
                    <a:pt x="1256" y="112"/>
                    <a:pt x="1257" y="111"/>
                  </a:cubicBezTo>
                  <a:cubicBezTo>
                    <a:pt x="1260" y="107"/>
                    <a:pt x="1263" y="104"/>
                    <a:pt x="1266" y="100"/>
                  </a:cubicBezTo>
                  <a:cubicBezTo>
                    <a:pt x="1267" y="100"/>
                    <a:pt x="1267" y="100"/>
                    <a:pt x="1267" y="99"/>
                  </a:cubicBezTo>
                  <a:cubicBezTo>
                    <a:pt x="1268" y="99"/>
                    <a:pt x="1268" y="98"/>
                    <a:pt x="1269" y="97"/>
                  </a:cubicBezTo>
                  <a:moveTo>
                    <a:pt x="1254" y="114"/>
                  </a:moveTo>
                  <a:cubicBezTo>
                    <a:pt x="1253" y="115"/>
                    <a:pt x="1252" y="116"/>
                    <a:pt x="1251" y="117"/>
                  </a:cubicBezTo>
                  <a:cubicBezTo>
                    <a:pt x="1247" y="122"/>
                    <a:pt x="1243" y="127"/>
                    <a:pt x="1239" y="132"/>
                  </a:cubicBezTo>
                  <a:cubicBezTo>
                    <a:pt x="1239" y="132"/>
                    <a:pt x="1240" y="131"/>
                    <a:pt x="1241" y="131"/>
                  </a:cubicBezTo>
                  <a:cubicBezTo>
                    <a:pt x="1245" y="125"/>
                    <a:pt x="1250" y="120"/>
                    <a:pt x="1254" y="114"/>
                  </a:cubicBezTo>
                  <a:moveTo>
                    <a:pt x="1239" y="133"/>
                  </a:moveTo>
                  <a:cubicBezTo>
                    <a:pt x="1239" y="134"/>
                    <a:pt x="1238" y="134"/>
                    <a:pt x="1237" y="135"/>
                  </a:cubicBezTo>
                  <a:cubicBezTo>
                    <a:pt x="1232" y="141"/>
                    <a:pt x="1227" y="147"/>
                    <a:pt x="1223" y="154"/>
                  </a:cubicBezTo>
                  <a:cubicBezTo>
                    <a:pt x="1224" y="154"/>
                    <a:pt x="1224" y="153"/>
                    <a:pt x="1225" y="153"/>
                  </a:cubicBezTo>
                  <a:cubicBezTo>
                    <a:pt x="1230" y="146"/>
                    <a:pt x="1234" y="140"/>
                    <a:pt x="1239" y="133"/>
                  </a:cubicBezTo>
                  <a:moveTo>
                    <a:pt x="1224" y="155"/>
                  </a:moveTo>
                  <a:cubicBezTo>
                    <a:pt x="1223" y="155"/>
                    <a:pt x="1222" y="155"/>
                    <a:pt x="1222" y="156"/>
                  </a:cubicBezTo>
                  <a:cubicBezTo>
                    <a:pt x="1219" y="160"/>
                    <a:pt x="1216" y="164"/>
                    <a:pt x="1213" y="169"/>
                  </a:cubicBezTo>
                  <a:cubicBezTo>
                    <a:pt x="1213" y="169"/>
                    <a:pt x="1214" y="169"/>
                    <a:pt x="1214" y="168"/>
                  </a:cubicBezTo>
                  <a:cubicBezTo>
                    <a:pt x="1217" y="164"/>
                    <a:pt x="1221" y="159"/>
                    <a:pt x="1224" y="155"/>
                  </a:cubicBezTo>
                  <a:moveTo>
                    <a:pt x="1214" y="170"/>
                  </a:moveTo>
                  <a:cubicBezTo>
                    <a:pt x="1213" y="170"/>
                    <a:pt x="1213" y="170"/>
                    <a:pt x="1212" y="170"/>
                  </a:cubicBezTo>
                  <a:cubicBezTo>
                    <a:pt x="1207" y="178"/>
                    <a:pt x="1201" y="187"/>
                    <a:pt x="1196" y="195"/>
                  </a:cubicBezTo>
                  <a:cubicBezTo>
                    <a:pt x="1197" y="195"/>
                    <a:pt x="1197" y="195"/>
                    <a:pt x="1197" y="195"/>
                  </a:cubicBezTo>
                  <a:cubicBezTo>
                    <a:pt x="1203" y="187"/>
                    <a:pt x="1208" y="178"/>
                    <a:pt x="1214" y="170"/>
                  </a:cubicBezTo>
                  <a:moveTo>
                    <a:pt x="1196" y="196"/>
                  </a:moveTo>
                  <a:cubicBezTo>
                    <a:pt x="1189" y="207"/>
                    <a:pt x="1182" y="219"/>
                    <a:pt x="1176" y="230"/>
                  </a:cubicBezTo>
                  <a:cubicBezTo>
                    <a:pt x="1177" y="230"/>
                    <a:pt x="1177" y="230"/>
                    <a:pt x="1177" y="230"/>
                  </a:cubicBezTo>
                  <a:cubicBezTo>
                    <a:pt x="1184" y="219"/>
                    <a:pt x="1190" y="207"/>
                    <a:pt x="1197" y="196"/>
                  </a:cubicBezTo>
                  <a:cubicBezTo>
                    <a:pt x="1196" y="196"/>
                    <a:pt x="1196" y="196"/>
                    <a:pt x="1196" y="196"/>
                  </a:cubicBezTo>
                  <a:moveTo>
                    <a:pt x="1176" y="231"/>
                  </a:moveTo>
                  <a:cubicBezTo>
                    <a:pt x="1169" y="243"/>
                    <a:pt x="1163" y="254"/>
                    <a:pt x="1157" y="266"/>
                  </a:cubicBezTo>
                  <a:cubicBezTo>
                    <a:pt x="1158" y="266"/>
                    <a:pt x="1158" y="266"/>
                    <a:pt x="1158" y="266"/>
                  </a:cubicBezTo>
                  <a:cubicBezTo>
                    <a:pt x="1164" y="254"/>
                    <a:pt x="1170" y="243"/>
                    <a:pt x="1177" y="231"/>
                  </a:cubicBezTo>
                  <a:cubicBezTo>
                    <a:pt x="1176" y="231"/>
                    <a:pt x="1176" y="231"/>
                    <a:pt x="1176" y="231"/>
                  </a:cubicBezTo>
                  <a:moveTo>
                    <a:pt x="1157" y="267"/>
                  </a:moveTo>
                  <a:cubicBezTo>
                    <a:pt x="1153" y="274"/>
                    <a:pt x="1150" y="281"/>
                    <a:pt x="1146" y="288"/>
                  </a:cubicBezTo>
                  <a:cubicBezTo>
                    <a:pt x="1146" y="289"/>
                    <a:pt x="1146" y="290"/>
                    <a:pt x="1145" y="290"/>
                  </a:cubicBezTo>
                  <a:cubicBezTo>
                    <a:pt x="1145" y="291"/>
                    <a:pt x="1146" y="291"/>
                    <a:pt x="1146" y="291"/>
                  </a:cubicBezTo>
                  <a:cubicBezTo>
                    <a:pt x="1147" y="290"/>
                    <a:pt x="1147" y="289"/>
                    <a:pt x="1147" y="288"/>
                  </a:cubicBezTo>
                  <a:cubicBezTo>
                    <a:pt x="1148" y="287"/>
                    <a:pt x="1149" y="286"/>
                    <a:pt x="1149" y="284"/>
                  </a:cubicBezTo>
                  <a:cubicBezTo>
                    <a:pt x="1152" y="278"/>
                    <a:pt x="1155" y="273"/>
                    <a:pt x="1158" y="267"/>
                  </a:cubicBezTo>
                  <a:cubicBezTo>
                    <a:pt x="1157" y="267"/>
                    <a:pt x="1157" y="267"/>
                    <a:pt x="1157" y="267"/>
                  </a:cubicBezTo>
                  <a:moveTo>
                    <a:pt x="1145" y="291"/>
                  </a:moveTo>
                  <a:cubicBezTo>
                    <a:pt x="1145" y="291"/>
                    <a:pt x="1145" y="291"/>
                    <a:pt x="1145" y="291"/>
                  </a:cubicBezTo>
                  <a:cubicBezTo>
                    <a:pt x="1142" y="296"/>
                    <a:pt x="1140" y="301"/>
                    <a:pt x="1138" y="306"/>
                  </a:cubicBezTo>
                  <a:cubicBezTo>
                    <a:pt x="1136" y="311"/>
                    <a:pt x="1134" y="315"/>
                    <a:pt x="1132" y="319"/>
                  </a:cubicBezTo>
                  <a:cubicBezTo>
                    <a:pt x="1131" y="320"/>
                    <a:pt x="1131" y="321"/>
                    <a:pt x="1131" y="321"/>
                  </a:cubicBezTo>
                  <a:cubicBezTo>
                    <a:pt x="1130" y="322"/>
                    <a:pt x="1130" y="323"/>
                    <a:pt x="1129" y="324"/>
                  </a:cubicBezTo>
                  <a:cubicBezTo>
                    <a:pt x="1129" y="326"/>
                    <a:pt x="1128" y="327"/>
                    <a:pt x="1128" y="328"/>
                  </a:cubicBezTo>
                  <a:cubicBezTo>
                    <a:pt x="1128" y="328"/>
                    <a:pt x="1128" y="328"/>
                    <a:pt x="1129" y="328"/>
                  </a:cubicBezTo>
                  <a:cubicBezTo>
                    <a:pt x="1130" y="326"/>
                    <a:pt x="1131" y="324"/>
                    <a:pt x="1131" y="322"/>
                  </a:cubicBezTo>
                  <a:cubicBezTo>
                    <a:pt x="1132" y="321"/>
                    <a:pt x="1132" y="320"/>
                    <a:pt x="1133" y="319"/>
                  </a:cubicBezTo>
                  <a:cubicBezTo>
                    <a:pt x="1137" y="310"/>
                    <a:pt x="1141" y="301"/>
                    <a:pt x="1146" y="291"/>
                  </a:cubicBezTo>
                  <a:cubicBezTo>
                    <a:pt x="1145" y="291"/>
                    <a:pt x="1145" y="291"/>
                    <a:pt x="1145" y="291"/>
                  </a:cubicBezTo>
                  <a:moveTo>
                    <a:pt x="1127" y="329"/>
                  </a:moveTo>
                  <a:cubicBezTo>
                    <a:pt x="1124" y="336"/>
                    <a:pt x="1121" y="342"/>
                    <a:pt x="1118" y="349"/>
                  </a:cubicBezTo>
                  <a:cubicBezTo>
                    <a:pt x="1118" y="350"/>
                    <a:pt x="1117" y="351"/>
                    <a:pt x="1117" y="352"/>
                  </a:cubicBezTo>
                  <a:cubicBezTo>
                    <a:pt x="1116" y="354"/>
                    <a:pt x="1115" y="356"/>
                    <a:pt x="1115" y="358"/>
                  </a:cubicBezTo>
                  <a:cubicBezTo>
                    <a:pt x="1113" y="362"/>
                    <a:pt x="1111" y="366"/>
                    <a:pt x="1109" y="370"/>
                  </a:cubicBezTo>
                  <a:cubicBezTo>
                    <a:pt x="1110" y="370"/>
                    <a:pt x="1110" y="370"/>
                    <a:pt x="1110" y="370"/>
                  </a:cubicBezTo>
                  <a:cubicBezTo>
                    <a:pt x="1112" y="366"/>
                    <a:pt x="1114" y="362"/>
                    <a:pt x="1115" y="358"/>
                  </a:cubicBezTo>
                  <a:cubicBezTo>
                    <a:pt x="1117" y="355"/>
                    <a:pt x="1118" y="353"/>
                    <a:pt x="1119" y="350"/>
                  </a:cubicBezTo>
                  <a:cubicBezTo>
                    <a:pt x="1120" y="349"/>
                    <a:pt x="1120" y="348"/>
                    <a:pt x="1120" y="347"/>
                  </a:cubicBezTo>
                  <a:cubicBezTo>
                    <a:pt x="1123" y="341"/>
                    <a:pt x="1126" y="335"/>
                    <a:pt x="1128" y="329"/>
                  </a:cubicBezTo>
                  <a:cubicBezTo>
                    <a:pt x="1128" y="329"/>
                    <a:pt x="1128" y="329"/>
                    <a:pt x="1127" y="329"/>
                  </a:cubicBezTo>
                  <a:moveTo>
                    <a:pt x="1109" y="370"/>
                  </a:moveTo>
                  <a:cubicBezTo>
                    <a:pt x="1109" y="371"/>
                    <a:pt x="1109" y="371"/>
                    <a:pt x="1109" y="371"/>
                  </a:cubicBezTo>
                  <a:cubicBezTo>
                    <a:pt x="1104" y="382"/>
                    <a:pt x="1100" y="393"/>
                    <a:pt x="1095" y="403"/>
                  </a:cubicBezTo>
                  <a:cubicBezTo>
                    <a:pt x="1095" y="404"/>
                    <a:pt x="1095" y="404"/>
                    <a:pt x="1095" y="405"/>
                  </a:cubicBezTo>
                  <a:cubicBezTo>
                    <a:pt x="1092" y="411"/>
                    <a:pt x="1089" y="418"/>
                    <a:pt x="1087" y="423"/>
                  </a:cubicBezTo>
                  <a:cubicBezTo>
                    <a:pt x="1087" y="424"/>
                    <a:pt x="1088" y="424"/>
                    <a:pt x="1088" y="424"/>
                  </a:cubicBezTo>
                  <a:cubicBezTo>
                    <a:pt x="1091" y="417"/>
                    <a:pt x="1093" y="411"/>
                    <a:pt x="1096" y="404"/>
                  </a:cubicBezTo>
                  <a:cubicBezTo>
                    <a:pt x="1097" y="403"/>
                    <a:pt x="1097" y="402"/>
                    <a:pt x="1097" y="402"/>
                  </a:cubicBezTo>
                  <a:cubicBezTo>
                    <a:pt x="1101" y="392"/>
                    <a:pt x="1105" y="381"/>
                    <a:pt x="1110" y="371"/>
                  </a:cubicBezTo>
                  <a:cubicBezTo>
                    <a:pt x="1110" y="371"/>
                    <a:pt x="1109" y="371"/>
                    <a:pt x="1109" y="370"/>
                  </a:cubicBezTo>
                  <a:moveTo>
                    <a:pt x="1598" y="371"/>
                  </a:moveTo>
                  <a:cubicBezTo>
                    <a:pt x="1597" y="373"/>
                    <a:pt x="1596" y="374"/>
                    <a:pt x="1595" y="375"/>
                  </a:cubicBezTo>
                  <a:cubicBezTo>
                    <a:pt x="1594" y="376"/>
                    <a:pt x="1593" y="377"/>
                    <a:pt x="1593" y="377"/>
                  </a:cubicBezTo>
                  <a:cubicBezTo>
                    <a:pt x="1594" y="375"/>
                    <a:pt x="1596" y="373"/>
                    <a:pt x="1598" y="371"/>
                  </a:cubicBezTo>
                  <a:moveTo>
                    <a:pt x="937" y="383"/>
                  </a:moveTo>
                  <a:cubicBezTo>
                    <a:pt x="936" y="383"/>
                    <a:pt x="935" y="383"/>
                    <a:pt x="933" y="383"/>
                  </a:cubicBezTo>
                  <a:cubicBezTo>
                    <a:pt x="940" y="384"/>
                    <a:pt x="946" y="384"/>
                    <a:pt x="952" y="385"/>
                  </a:cubicBezTo>
                  <a:cubicBezTo>
                    <a:pt x="951" y="385"/>
                    <a:pt x="950" y="385"/>
                    <a:pt x="949" y="384"/>
                  </a:cubicBezTo>
                  <a:cubicBezTo>
                    <a:pt x="949" y="384"/>
                    <a:pt x="949" y="384"/>
                    <a:pt x="948" y="384"/>
                  </a:cubicBezTo>
                  <a:cubicBezTo>
                    <a:pt x="948" y="384"/>
                    <a:pt x="948" y="384"/>
                    <a:pt x="948" y="384"/>
                  </a:cubicBezTo>
                  <a:cubicBezTo>
                    <a:pt x="948" y="384"/>
                    <a:pt x="947" y="384"/>
                    <a:pt x="947" y="384"/>
                  </a:cubicBezTo>
                  <a:cubicBezTo>
                    <a:pt x="944" y="383"/>
                    <a:pt x="941" y="383"/>
                    <a:pt x="937" y="383"/>
                  </a:cubicBezTo>
                  <a:moveTo>
                    <a:pt x="928" y="384"/>
                  </a:moveTo>
                  <a:cubicBezTo>
                    <a:pt x="927" y="384"/>
                    <a:pt x="927" y="384"/>
                    <a:pt x="926" y="384"/>
                  </a:cubicBezTo>
                  <a:cubicBezTo>
                    <a:pt x="918" y="385"/>
                    <a:pt x="909" y="387"/>
                    <a:pt x="900" y="391"/>
                  </a:cubicBezTo>
                  <a:cubicBezTo>
                    <a:pt x="899" y="391"/>
                    <a:pt x="899" y="391"/>
                    <a:pt x="899" y="391"/>
                  </a:cubicBezTo>
                  <a:cubicBezTo>
                    <a:pt x="898" y="392"/>
                    <a:pt x="896" y="392"/>
                    <a:pt x="895" y="393"/>
                  </a:cubicBezTo>
                  <a:cubicBezTo>
                    <a:pt x="894" y="393"/>
                    <a:pt x="894" y="393"/>
                    <a:pt x="893" y="394"/>
                  </a:cubicBezTo>
                  <a:cubicBezTo>
                    <a:pt x="893" y="394"/>
                    <a:pt x="893" y="394"/>
                    <a:pt x="892" y="394"/>
                  </a:cubicBezTo>
                  <a:cubicBezTo>
                    <a:pt x="892" y="394"/>
                    <a:pt x="892" y="395"/>
                    <a:pt x="892" y="395"/>
                  </a:cubicBezTo>
                  <a:cubicBezTo>
                    <a:pt x="892" y="395"/>
                    <a:pt x="893" y="395"/>
                    <a:pt x="894" y="395"/>
                  </a:cubicBezTo>
                  <a:cubicBezTo>
                    <a:pt x="896" y="394"/>
                    <a:pt x="897" y="393"/>
                    <a:pt x="899" y="392"/>
                  </a:cubicBezTo>
                  <a:cubicBezTo>
                    <a:pt x="900" y="392"/>
                    <a:pt x="900" y="392"/>
                    <a:pt x="900" y="392"/>
                  </a:cubicBezTo>
                  <a:cubicBezTo>
                    <a:pt x="909" y="388"/>
                    <a:pt x="917" y="386"/>
                    <a:pt x="925" y="385"/>
                  </a:cubicBezTo>
                  <a:cubicBezTo>
                    <a:pt x="926" y="385"/>
                    <a:pt x="926" y="385"/>
                    <a:pt x="927" y="385"/>
                  </a:cubicBezTo>
                  <a:cubicBezTo>
                    <a:pt x="929" y="385"/>
                    <a:pt x="931" y="384"/>
                    <a:pt x="933" y="384"/>
                  </a:cubicBezTo>
                  <a:cubicBezTo>
                    <a:pt x="931" y="384"/>
                    <a:pt x="929" y="384"/>
                    <a:pt x="928" y="384"/>
                  </a:cubicBezTo>
                  <a:moveTo>
                    <a:pt x="1585" y="385"/>
                  </a:moveTo>
                  <a:cubicBezTo>
                    <a:pt x="1583" y="387"/>
                    <a:pt x="1582" y="389"/>
                    <a:pt x="1580" y="391"/>
                  </a:cubicBezTo>
                  <a:cubicBezTo>
                    <a:pt x="1578" y="393"/>
                    <a:pt x="1576" y="395"/>
                    <a:pt x="1574" y="398"/>
                  </a:cubicBezTo>
                  <a:cubicBezTo>
                    <a:pt x="1574" y="397"/>
                    <a:pt x="1575" y="397"/>
                    <a:pt x="1575" y="397"/>
                  </a:cubicBezTo>
                  <a:cubicBezTo>
                    <a:pt x="1579" y="393"/>
                    <a:pt x="1582" y="389"/>
                    <a:pt x="1585" y="385"/>
                  </a:cubicBezTo>
                  <a:moveTo>
                    <a:pt x="952" y="386"/>
                  </a:moveTo>
                  <a:cubicBezTo>
                    <a:pt x="953" y="386"/>
                    <a:pt x="953" y="386"/>
                    <a:pt x="953" y="387"/>
                  </a:cubicBezTo>
                  <a:cubicBezTo>
                    <a:pt x="953" y="386"/>
                    <a:pt x="953" y="386"/>
                    <a:pt x="953" y="386"/>
                  </a:cubicBezTo>
                  <a:cubicBezTo>
                    <a:pt x="953" y="386"/>
                    <a:pt x="953" y="386"/>
                    <a:pt x="952" y="386"/>
                  </a:cubicBezTo>
                  <a:moveTo>
                    <a:pt x="954" y="386"/>
                  </a:moveTo>
                  <a:cubicBezTo>
                    <a:pt x="954" y="387"/>
                    <a:pt x="954" y="387"/>
                    <a:pt x="954" y="387"/>
                  </a:cubicBezTo>
                  <a:cubicBezTo>
                    <a:pt x="956" y="388"/>
                    <a:pt x="959" y="389"/>
                    <a:pt x="961" y="390"/>
                  </a:cubicBezTo>
                  <a:cubicBezTo>
                    <a:pt x="961" y="390"/>
                    <a:pt x="961" y="390"/>
                    <a:pt x="961" y="391"/>
                  </a:cubicBezTo>
                  <a:cubicBezTo>
                    <a:pt x="963" y="392"/>
                    <a:pt x="964" y="393"/>
                    <a:pt x="965" y="394"/>
                  </a:cubicBezTo>
                  <a:cubicBezTo>
                    <a:pt x="965" y="394"/>
                    <a:pt x="965" y="394"/>
                    <a:pt x="966" y="395"/>
                  </a:cubicBezTo>
                  <a:cubicBezTo>
                    <a:pt x="970" y="400"/>
                    <a:pt x="973" y="407"/>
                    <a:pt x="973" y="418"/>
                  </a:cubicBezTo>
                  <a:cubicBezTo>
                    <a:pt x="973" y="421"/>
                    <a:pt x="973" y="424"/>
                    <a:pt x="972" y="428"/>
                  </a:cubicBezTo>
                  <a:cubicBezTo>
                    <a:pt x="973" y="428"/>
                    <a:pt x="973" y="428"/>
                    <a:pt x="973" y="428"/>
                  </a:cubicBezTo>
                  <a:cubicBezTo>
                    <a:pt x="974" y="424"/>
                    <a:pt x="974" y="421"/>
                    <a:pt x="974" y="418"/>
                  </a:cubicBezTo>
                  <a:cubicBezTo>
                    <a:pt x="974" y="407"/>
                    <a:pt x="971" y="400"/>
                    <a:pt x="967" y="394"/>
                  </a:cubicBezTo>
                  <a:cubicBezTo>
                    <a:pt x="966" y="394"/>
                    <a:pt x="966" y="394"/>
                    <a:pt x="966" y="393"/>
                  </a:cubicBezTo>
                  <a:cubicBezTo>
                    <a:pt x="965" y="392"/>
                    <a:pt x="963" y="391"/>
                    <a:pt x="962" y="390"/>
                  </a:cubicBezTo>
                  <a:cubicBezTo>
                    <a:pt x="962" y="390"/>
                    <a:pt x="962" y="390"/>
                    <a:pt x="961" y="389"/>
                  </a:cubicBezTo>
                  <a:cubicBezTo>
                    <a:pt x="960" y="388"/>
                    <a:pt x="958" y="387"/>
                    <a:pt x="956" y="387"/>
                  </a:cubicBezTo>
                  <a:cubicBezTo>
                    <a:pt x="956" y="387"/>
                    <a:pt x="955" y="387"/>
                    <a:pt x="954" y="386"/>
                  </a:cubicBezTo>
                  <a:moveTo>
                    <a:pt x="891" y="395"/>
                  </a:moveTo>
                  <a:cubicBezTo>
                    <a:pt x="883" y="398"/>
                    <a:pt x="875" y="403"/>
                    <a:pt x="868" y="408"/>
                  </a:cubicBezTo>
                  <a:cubicBezTo>
                    <a:pt x="867" y="408"/>
                    <a:pt x="865" y="409"/>
                    <a:pt x="864" y="410"/>
                  </a:cubicBezTo>
                  <a:cubicBezTo>
                    <a:pt x="864" y="410"/>
                    <a:pt x="864" y="410"/>
                    <a:pt x="863" y="411"/>
                  </a:cubicBezTo>
                  <a:cubicBezTo>
                    <a:pt x="864" y="411"/>
                    <a:pt x="864" y="411"/>
                    <a:pt x="865" y="411"/>
                  </a:cubicBezTo>
                  <a:cubicBezTo>
                    <a:pt x="865" y="411"/>
                    <a:pt x="865" y="411"/>
                    <a:pt x="865" y="411"/>
                  </a:cubicBezTo>
                  <a:cubicBezTo>
                    <a:pt x="873" y="405"/>
                    <a:pt x="882" y="400"/>
                    <a:pt x="891" y="396"/>
                  </a:cubicBezTo>
                  <a:cubicBezTo>
                    <a:pt x="891" y="395"/>
                    <a:pt x="891" y="395"/>
                    <a:pt x="891" y="395"/>
                  </a:cubicBezTo>
                  <a:moveTo>
                    <a:pt x="1573" y="397"/>
                  </a:moveTo>
                  <a:cubicBezTo>
                    <a:pt x="1571" y="399"/>
                    <a:pt x="1568" y="402"/>
                    <a:pt x="1566" y="404"/>
                  </a:cubicBezTo>
                  <a:cubicBezTo>
                    <a:pt x="1564" y="406"/>
                    <a:pt x="1563" y="408"/>
                    <a:pt x="1562" y="410"/>
                  </a:cubicBezTo>
                  <a:cubicBezTo>
                    <a:pt x="1562" y="409"/>
                    <a:pt x="1563" y="409"/>
                    <a:pt x="1563" y="408"/>
                  </a:cubicBezTo>
                  <a:cubicBezTo>
                    <a:pt x="1565" y="407"/>
                    <a:pt x="1566" y="406"/>
                    <a:pt x="1567" y="405"/>
                  </a:cubicBezTo>
                  <a:cubicBezTo>
                    <a:pt x="1569" y="402"/>
                    <a:pt x="1571" y="400"/>
                    <a:pt x="1573" y="397"/>
                  </a:cubicBezTo>
                  <a:moveTo>
                    <a:pt x="1561" y="409"/>
                  </a:moveTo>
                  <a:cubicBezTo>
                    <a:pt x="1558" y="412"/>
                    <a:pt x="1555" y="415"/>
                    <a:pt x="1553" y="418"/>
                  </a:cubicBezTo>
                  <a:cubicBezTo>
                    <a:pt x="1552" y="419"/>
                    <a:pt x="1551" y="420"/>
                    <a:pt x="1550" y="421"/>
                  </a:cubicBezTo>
                  <a:cubicBezTo>
                    <a:pt x="1546" y="424"/>
                    <a:pt x="1543" y="428"/>
                    <a:pt x="1540" y="431"/>
                  </a:cubicBezTo>
                  <a:cubicBezTo>
                    <a:pt x="1541" y="430"/>
                    <a:pt x="1542" y="430"/>
                    <a:pt x="1543" y="429"/>
                  </a:cubicBezTo>
                  <a:cubicBezTo>
                    <a:pt x="1545" y="427"/>
                    <a:pt x="1547" y="425"/>
                    <a:pt x="1549" y="423"/>
                  </a:cubicBezTo>
                  <a:cubicBezTo>
                    <a:pt x="1550" y="421"/>
                    <a:pt x="1552" y="420"/>
                    <a:pt x="1553" y="419"/>
                  </a:cubicBezTo>
                  <a:cubicBezTo>
                    <a:pt x="1554" y="418"/>
                    <a:pt x="1555" y="417"/>
                    <a:pt x="1555" y="416"/>
                  </a:cubicBezTo>
                  <a:cubicBezTo>
                    <a:pt x="1557" y="414"/>
                    <a:pt x="1559" y="412"/>
                    <a:pt x="1561" y="409"/>
                  </a:cubicBezTo>
                  <a:moveTo>
                    <a:pt x="862" y="412"/>
                  </a:moveTo>
                  <a:cubicBezTo>
                    <a:pt x="860" y="413"/>
                    <a:pt x="858" y="414"/>
                    <a:pt x="856" y="416"/>
                  </a:cubicBezTo>
                  <a:cubicBezTo>
                    <a:pt x="856" y="416"/>
                    <a:pt x="856" y="416"/>
                    <a:pt x="855" y="417"/>
                  </a:cubicBezTo>
                  <a:cubicBezTo>
                    <a:pt x="851" y="420"/>
                    <a:pt x="846" y="424"/>
                    <a:pt x="842" y="429"/>
                  </a:cubicBezTo>
                  <a:cubicBezTo>
                    <a:pt x="841" y="429"/>
                    <a:pt x="841" y="430"/>
                    <a:pt x="840" y="430"/>
                  </a:cubicBezTo>
                  <a:cubicBezTo>
                    <a:pt x="840" y="431"/>
                    <a:pt x="839" y="431"/>
                    <a:pt x="839" y="432"/>
                  </a:cubicBezTo>
                  <a:cubicBezTo>
                    <a:pt x="837" y="434"/>
                    <a:pt x="835" y="436"/>
                    <a:pt x="834" y="438"/>
                  </a:cubicBezTo>
                  <a:cubicBezTo>
                    <a:pt x="833" y="438"/>
                    <a:pt x="833" y="439"/>
                    <a:pt x="832" y="439"/>
                  </a:cubicBezTo>
                  <a:cubicBezTo>
                    <a:pt x="832" y="440"/>
                    <a:pt x="832" y="440"/>
                    <a:pt x="831" y="441"/>
                  </a:cubicBezTo>
                  <a:cubicBezTo>
                    <a:pt x="831" y="441"/>
                    <a:pt x="832" y="441"/>
                    <a:pt x="832" y="441"/>
                  </a:cubicBezTo>
                  <a:cubicBezTo>
                    <a:pt x="833" y="440"/>
                    <a:pt x="833" y="440"/>
                    <a:pt x="833" y="440"/>
                  </a:cubicBezTo>
                  <a:cubicBezTo>
                    <a:pt x="835" y="438"/>
                    <a:pt x="836" y="436"/>
                    <a:pt x="838" y="434"/>
                  </a:cubicBezTo>
                  <a:cubicBezTo>
                    <a:pt x="839" y="434"/>
                    <a:pt x="839" y="433"/>
                    <a:pt x="840" y="432"/>
                  </a:cubicBezTo>
                  <a:cubicBezTo>
                    <a:pt x="840" y="432"/>
                    <a:pt x="840" y="432"/>
                    <a:pt x="841" y="431"/>
                  </a:cubicBezTo>
                  <a:cubicBezTo>
                    <a:pt x="845" y="426"/>
                    <a:pt x="851" y="422"/>
                    <a:pt x="856" y="417"/>
                  </a:cubicBezTo>
                  <a:cubicBezTo>
                    <a:pt x="856" y="417"/>
                    <a:pt x="857" y="417"/>
                    <a:pt x="857" y="417"/>
                  </a:cubicBezTo>
                  <a:cubicBezTo>
                    <a:pt x="858" y="416"/>
                    <a:pt x="860" y="415"/>
                    <a:pt x="861" y="414"/>
                  </a:cubicBezTo>
                  <a:cubicBezTo>
                    <a:pt x="862" y="413"/>
                    <a:pt x="863" y="412"/>
                    <a:pt x="864" y="412"/>
                  </a:cubicBezTo>
                  <a:cubicBezTo>
                    <a:pt x="863" y="412"/>
                    <a:pt x="863" y="412"/>
                    <a:pt x="862" y="412"/>
                  </a:cubicBezTo>
                  <a:moveTo>
                    <a:pt x="1087" y="424"/>
                  </a:moveTo>
                  <a:cubicBezTo>
                    <a:pt x="1086" y="426"/>
                    <a:pt x="1086" y="427"/>
                    <a:pt x="1085" y="428"/>
                  </a:cubicBezTo>
                  <a:cubicBezTo>
                    <a:pt x="1085" y="429"/>
                    <a:pt x="1085" y="429"/>
                    <a:pt x="1084" y="430"/>
                  </a:cubicBezTo>
                  <a:cubicBezTo>
                    <a:pt x="1082" y="436"/>
                    <a:pt x="1079" y="442"/>
                    <a:pt x="1077" y="448"/>
                  </a:cubicBezTo>
                  <a:cubicBezTo>
                    <a:pt x="1077" y="449"/>
                    <a:pt x="1076" y="449"/>
                    <a:pt x="1076" y="450"/>
                  </a:cubicBezTo>
                  <a:cubicBezTo>
                    <a:pt x="1075" y="453"/>
                    <a:pt x="1074" y="456"/>
                    <a:pt x="1072" y="458"/>
                  </a:cubicBezTo>
                  <a:cubicBezTo>
                    <a:pt x="1072" y="460"/>
                    <a:pt x="1071" y="461"/>
                    <a:pt x="1070" y="463"/>
                  </a:cubicBezTo>
                  <a:cubicBezTo>
                    <a:pt x="1070" y="464"/>
                    <a:pt x="1069" y="465"/>
                    <a:pt x="1069" y="467"/>
                  </a:cubicBezTo>
                  <a:cubicBezTo>
                    <a:pt x="1066" y="471"/>
                    <a:pt x="1063" y="476"/>
                    <a:pt x="1060" y="480"/>
                  </a:cubicBezTo>
                  <a:cubicBezTo>
                    <a:pt x="1060" y="481"/>
                    <a:pt x="1060" y="481"/>
                    <a:pt x="1061" y="481"/>
                  </a:cubicBezTo>
                  <a:cubicBezTo>
                    <a:pt x="1065" y="476"/>
                    <a:pt x="1068" y="470"/>
                    <a:pt x="1071" y="463"/>
                  </a:cubicBezTo>
                  <a:cubicBezTo>
                    <a:pt x="1072" y="462"/>
                    <a:pt x="1072" y="461"/>
                    <a:pt x="1073" y="459"/>
                  </a:cubicBezTo>
                  <a:cubicBezTo>
                    <a:pt x="1073" y="459"/>
                    <a:pt x="1073" y="459"/>
                    <a:pt x="1073" y="459"/>
                  </a:cubicBezTo>
                  <a:cubicBezTo>
                    <a:pt x="1075" y="456"/>
                    <a:pt x="1076" y="452"/>
                    <a:pt x="1078" y="448"/>
                  </a:cubicBezTo>
                  <a:cubicBezTo>
                    <a:pt x="1078" y="447"/>
                    <a:pt x="1079" y="447"/>
                    <a:pt x="1079" y="446"/>
                  </a:cubicBezTo>
                  <a:cubicBezTo>
                    <a:pt x="1081" y="440"/>
                    <a:pt x="1084" y="435"/>
                    <a:pt x="1086" y="429"/>
                  </a:cubicBezTo>
                  <a:cubicBezTo>
                    <a:pt x="1086" y="428"/>
                    <a:pt x="1087" y="427"/>
                    <a:pt x="1087" y="426"/>
                  </a:cubicBezTo>
                  <a:cubicBezTo>
                    <a:pt x="1087" y="426"/>
                    <a:pt x="1087" y="425"/>
                    <a:pt x="1087" y="425"/>
                  </a:cubicBezTo>
                  <a:cubicBezTo>
                    <a:pt x="1087" y="425"/>
                    <a:pt x="1087" y="425"/>
                    <a:pt x="1087" y="424"/>
                  </a:cubicBezTo>
                  <a:moveTo>
                    <a:pt x="972" y="429"/>
                  </a:moveTo>
                  <a:cubicBezTo>
                    <a:pt x="972" y="431"/>
                    <a:pt x="971" y="434"/>
                    <a:pt x="971" y="436"/>
                  </a:cubicBezTo>
                  <a:cubicBezTo>
                    <a:pt x="970" y="440"/>
                    <a:pt x="969" y="443"/>
                    <a:pt x="969" y="447"/>
                  </a:cubicBezTo>
                  <a:cubicBezTo>
                    <a:pt x="969" y="448"/>
                    <a:pt x="969" y="450"/>
                    <a:pt x="969" y="451"/>
                  </a:cubicBezTo>
                  <a:cubicBezTo>
                    <a:pt x="968" y="452"/>
                    <a:pt x="968" y="453"/>
                    <a:pt x="968" y="453"/>
                  </a:cubicBezTo>
                  <a:cubicBezTo>
                    <a:pt x="968" y="455"/>
                    <a:pt x="968" y="458"/>
                    <a:pt x="968" y="460"/>
                  </a:cubicBezTo>
                  <a:cubicBezTo>
                    <a:pt x="968" y="467"/>
                    <a:pt x="969" y="473"/>
                    <a:pt x="970" y="478"/>
                  </a:cubicBezTo>
                  <a:cubicBezTo>
                    <a:pt x="970" y="479"/>
                    <a:pt x="971" y="479"/>
                    <a:pt x="971" y="479"/>
                  </a:cubicBezTo>
                  <a:cubicBezTo>
                    <a:pt x="970" y="473"/>
                    <a:pt x="969" y="467"/>
                    <a:pt x="969" y="460"/>
                  </a:cubicBezTo>
                  <a:cubicBezTo>
                    <a:pt x="969" y="457"/>
                    <a:pt x="969" y="454"/>
                    <a:pt x="969" y="452"/>
                  </a:cubicBezTo>
                  <a:cubicBezTo>
                    <a:pt x="970" y="451"/>
                    <a:pt x="970" y="450"/>
                    <a:pt x="970" y="449"/>
                  </a:cubicBezTo>
                  <a:cubicBezTo>
                    <a:pt x="970" y="449"/>
                    <a:pt x="970" y="448"/>
                    <a:pt x="970" y="447"/>
                  </a:cubicBezTo>
                  <a:cubicBezTo>
                    <a:pt x="970" y="444"/>
                    <a:pt x="971" y="440"/>
                    <a:pt x="972" y="437"/>
                  </a:cubicBezTo>
                  <a:cubicBezTo>
                    <a:pt x="972" y="434"/>
                    <a:pt x="973" y="431"/>
                    <a:pt x="973" y="429"/>
                  </a:cubicBezTo>
                  <a:cubicBezTo>
                    <a:pt x="973" y="429"/>
                    <a:pt x="973" y="429"/>
                    <a:pt x="972" y="429"/>
                  </a:cubicBezTo>
                  <a:moveTo>
                    <a:pt x="1541" y="432"/>
                  </a:moveTo>
                  <a:cubicBezTo>
                    <a:pt x="1538" y="435"/>
                    <a:pt x="1536" y="437"/>
                    <a:pt x="1533" y="440"/>
                  </a:cubicBezTo>
                  <a:cubicBezTo>
                    <a:pt x="1533" y="440"/>
                    <a:pt x="1533" y="440"/>
                    <a:pt x="1533" y="441"/>
                  </a:cubicBezTo>
                  <a:cubicBezTo>
                    <a:pt x="1535" y="439"/>
                    <a:pt x="1537" y="437"/>
                    <a:pt x="1539" y="435"/>
                  </a:cubicBezTo>
                  <a:cubicBezTo>
                    <a:pt x="1539" y="434"/>
                    <a:pt x="1539" y="434"/>
                    <a:pt x="1539" y="434"/>
                  </a:cubicBezTo>
                  <a:cubicBezTo>
                    <a:pt x="1540" y="434"/>
                    <a:pt x="1540" y="433"/>
                    <a:pt x="1541" y="433"/>
                  </a:cubicBezTo>
                  <a:cubicBezTo>
                    <a:pt x="1541" y="432"/>
                    <a:pt x="1541" y="432"/>
                    <a:pt x="1541" y="432"/>
                  </a:cubicBezTo>
                  <a:moveTo>
                    <a:pt x="830" y="442"/>
                  </a:moveTo>
                  <a:cubicBezTo>
                    <a:pt x="829" y="443"/>
                    <a:pt x="828" y="445"/>
                    <a:pt x="827" y="447"/>
                  </a:cubicBezTo>
                  <a:cubicBezTo>
                    <a:pt x="826" y="448"/>
                    <a:pt x="825" y="449"/>
                    <a:pt x="825" y="450"/>
                  </a:cubicBezTo>
                  <a:cubicBezTo>
                    <a:pt x="824" y="451"/>
                    <a:pt x="823" y="452"/>
                    <a:pt x="823" y="453"/>
                  </a:cubicBezTo>
                  <a:cubicBezTo>
                    <a:pt x="822" y="454"/>
                    <a:pt x="822" y="455"/>
                    <a:pt x="821" y="456"/>
                  </a:cubicBezTo>
                  <a:cubicBezTo>
                    <a:pt x="819" y="460"/>
                    <a:pt x="817" y="464"/>
                    <a:pt x="815" y="468"/>
                  </a:cubicBezTo>
                  <a:cubicBezTo>
                    <a:pt x="815" y="468"/>
                    <a:pt x="815" y="468"/>
                    <a:pt x="815" y="468"/>
                  </a:cubicBezTo>
                  <a:cubicBezTo>
                    <a:pt x="815" y="469"/>
                    <a:pt x="815" y="470"/>
                    <a:pt x="815" y="471"/>
                  </a:cubicBezTo>
                  <a:cubicBezTo>
                    <a:pt x="815" y="470"/>
                    <a:pt x="815" y="470"/>
                    <a:pt x="816" y="469"/>
                  </a:cubicBezTo>
                  <a:cubicBezTo>
                    <a:pt x="816" y="469"/>
                    <a:pt x="816" y="469"/>
                    <a:pt x="816" y="469"/>
                  </a:cubicBezTo>
                  <a:cubicBezTo>
                    <a:pt x="816" y="468"/>
                    <a:pt x="816" y="468"/>
                    <a:pt x="816" y="467"/>
                  </a:cubicBezTo>
                  <a:cubicBezTo>
                    <a:pt x="818" y="463"/>
                    <a:pt x="821" y="458"/>
                    <a:pt x="824" y="453"/>
                  </a:cubicBezTo>
                  <a:cubicBezTo>
                    <a:pt x="824" y="452"/>
                    <a:pt x="825" y="451"/>
                    <a:pt x="825" y="450"/>
                  </a:cubicBezTo>
                  <a:cubicBezTo>
                    <a:pt x="826" y="450"/>
                    <a:pt x="826" y="450"/>
                    <a:pt x="826" y="450"/>
                  </a:cubicBezTo>
                  <a:cubicBezTo>
                    <a:pt x="826" y="450"/>
                    <a:pt x="826" y="449"/>
                    <a:pt x="826" y="449"/>
                  </a:cubicBezTo>
                  <a:cubicBezTo>
                    <a:pt x="826" y="449"/>
                    <a:pt x="827" y="449"/>
                    <a:pt x="827" y="448"/>
                  </a:cubicBezTo>
                  <a:cubicBezTo>
                    <a:pt x="828" y="446"/>
                    <a:pt x="830" y="444"/>
                    <a:pt x="832" y="442"/>
                  </a:cubicBezTo>
                  <a:cubicBezTo>
                    <a:pt x="831" y="442"/>
                    <a:pt x="831" y="442"/>
                    <a:pt x="830" y="442"/>
                  </a:cubicBezTo>
                  <a:moveTo>
                    <a:pt x="1533" y="442"/>
                  </a:moveTo>
                  <a:cubicBezTo>
                    <a:pt x="1531" y="443"/>
                    <a:pt x="1530" y="445"/>
                    <a:pt x="1528" y="446"/>
                  </a:cubicBezTo>
                  <a:cubicBezTo>
                    <a:pt x="1528" y="446"/>
                    <a:pt x="1528" y="447"/>
                    <a:pt x="1528" y="447"/>
                  </a:cubicBezTo>
                  <a:cubicBezTo>
                    <a:pt x="1529" y="445"/>
                    <a:pt x="1531" y="443"/>
                    <a:pt x="1533" y="442"/>
                  </a:cubicBezTo>
                  <a:moveTo>
                    <a:pt x="1526" y="451"/>
                  </a:moveTo>
                  <a:cubicBezTo>
                    <a:pt x="1524" y="453"/>
                    <a:pt x="1523" y="454"/>
                    <a:pt x="1521" y="456"/>
                  </a:cubicBezTo>
                  <a:cubicBezTo>
                    <a:pt x="1512" y="468"/>
                    <a:pt x="1505" y="480"/>
                    <a:pt x="1497" y="492"/>
                  </a:cubicBezTo>
                  <a:cubicBezTo>
                    <a:pt x="1495" y="496"/>
                    <a:pt x="1493" y="499"/>
                    <a:pt x="1491" y="503"/>
                  </a:cubicBezTo>
                  <a:cubicBezTo>
                    <a:pt x="1486" y="513"/>
                    <a:pt x="1481" y="522"/>
                    <a:pt x="1477" y="532"/>
                  </a:cubicBezTo>
                  <a:cubicBezTo>
                    <a:pt x="1474" y="537"/>
                    <a:pt x="1472" y="542"/>
                    <a:pt x="1470" y="547"/>
                  </a:cubicBezTo>
                  <a:cubicBezTo>
                    <a:pt x="1465" y="557"/>
                    <a:pt x="1461" y="568"/>
                    <a:pt x="1456" y="578"/>
                  </a:cubicBezTo>
                  <a:cubicBezTo>
                    <a:pt x="1455" y="582"/>
                    <a:pt x="1454" y="587"/>
                    <a:pt x="1452" y="591"/>
                  </a:cubicBezTo>
                  <a:cubicBezTo>
                    <a:pt x="1460" y="571"/>
                    <a:pt x="1468" y="551"/>
                    <a:pt x="1477" y="532"/>
                  </a:cubicBezTo>
                  <a:cubicBezTo>
                    <a:pt x="1480" y="526"/>
                    <a:pt x="1483" y="520"/>
                    <a:pt x="1487" y="514"/>
                  </a:cubicBezTo>
                  <a:cubicBezTo>
                    <a:pt x="1490" y="507"/>
                    <a:pt x="1494" y="500"/>
                    <a:pt x="1498" y="493"/>
                  </a:cubicBezTo>
                  <a:cubicBezTo>
                    <a:pt x="1501" y="488"/>
                    <a:pt x="1504" y="482"/>
                    <a:pt x="1508" y="477"/>
                  </a:cubicBezTo>
                  <a:cubicBezTo>
                    <a:pt x="1513" y="468"/>
                    <a:pt x="1519" y="460"/>
                    <a:pt x="1526" y="451"/>
                  </a:cubicBezTo>
                  <a:moveTo>
                    <a:pt x="814" y="472"/>
                  </a:moveTo>
                  <a:cubicBezTo>
                    <a:pt x="813" y="472"/>
                    <a:pt x="813" y="472"/>
                    <a:pt x="813" y="472"/>
                  </a:cubicBezTo>
                  <a:cubicBezTo>
                    <a:pt x="813" y="472"/>
                    <a:pt x="813" y="472"/>
                    <a:pt x="813" y="472"/>
                  </a:cubicBezTo>
                  <a:cubicBezTo>
                    <a:pt x="813" y="472"/>
                    <a:pt x="813" y="472"/>
                    <a:pt x="814" y="472"/>
                  </a:cubicBezTo>
                  <a:moveTo>
                    <a:pt x="813" y="474"/>
                  </a:moveTo>
                  <a:cubicBezTo>
                    <a:pt x="813" y="475"/>
                    <a:pt x="813" y="475"/>
                    <a:pt x="812" y="476"/>
                  </a:cubicBezTo>
                  <a:cubicBezTo>
                    <a:pt x="812" y="476"/>
                    <a:pt x="812" y="476"/>
                    <a:pt x="812" y="476"/>
                  </a:cubicBezTo>
                  <a:cubicBezTo>
                    <a:pt x="812" y="477"/>
                    <a:pt x="812" y="478"/>
                    <a:pt x="812" y="479"/>
                  </a:cubicBezTo>
                  <a:cubicBezTo>
                    <a:pt x="811" y="481"/>
                    <a:pt x="810" y="483"/>
                    <a:pt x="810" y="485"/>
                  </a:cubicBezTo>
                  <a:cubicBezTo>
                    <a:pt x="810" y="484"/>
                    <a:pt x="811" y="484"/>
                    <a:pt x="811" y="483"/>
                  </a:cubicBezTo>
                  <a:cubicBezTo>
                    <a:pt x="812" y="482"/>
                    <a:pt x="812" y="480"/>
                    <a:pt x="813" y="479"/>
                  </a:cubicBezTo>
                  <a:cubicBezTo>
                    <a:pt x="813" y="478"/>
                    <a:pt x="813" y="478"/>
                    <a:pt x="813" y="477"/>
                  </a:cubicBezTo>
                  <a:cubicBezTo>
                    <a:pt x="813" y="476"/>
                    <a:pt x="813" y="475"/>
                    <a:pt x="813" y="474"/>
                  </a:cubicBezTo>
                  <a:moveTo>
                    <a:pt x="970" y="480"/>
                  </a:moveTo>
                  <a:cubicBezTo>
                    <a:pt x="973" y="491"/>
                    <a:pt x="978" y="500"/>
                    <a:pt x="984" y="505"/>
                  </a:cubicBezTo>
                  <a:cubicBezTo>
                    <a:pt x="984" y="505"/>
                    <a:pt x="984" y="505"/>
                    <a:pt x="984" y="504"/>
                  </a:cubicBezTo>
                  <a:cubicBezTo>
                    <a:pt x="978" y="499"/>
                    <a:pt x="974" y="491"/>
                    <a:pt x="971" y="480"/>
                  </a:cubicBezTo>
                  <a:cubicBezTo>
                    <a:pt x="971" y="480"/>
                    <a:pt x="971" y="480"/>
                    <a:pt x="970" y="480"/>
                  </a:cubicBezTo>
                  <a:moveTo>
                    <a:pt x="1059" y="481"/>
                  </a:moveTo>
                  <a:cubicBezTo>
                    <a:pt x="1059" y="482"/>
                    <a:pt x="1058" y="483"/>
                    <a:pt x="1057" y="483"/>
                  </a:cubicBezTo>
                  <a:cubicBezTo>
                    <a:pt x="1057" y="485"/>
                    <a:pt x="1056" y="486"/>
                    <a:pt x="1056" y="487"/>
                  </a:cubicBezTo>
                  <a:cubicBezTo>
                    <a:pt x="1057" y="485"/>
                    <a:pt x="1059" y="484"/>
                    <a:pt x="1060" y="482"/>
                  </a:cubicBezTo>
                  <a:cubicBezTo>
                    <a:pt x="1060" y="482"/>
                    <a:pt x="1060" y="481"/>
                    <a:pt x="1059" y="481"/>
                  </a:cubicBezTo>
                  <a:moveTo>
                    <a:pt x="810" y="486"/>
                  </a:moveTo>
                  <a:cubicBezTo>
                    <a:pt x="810" y="486"/>
                    <a:pt x="809" y="487"/>
                    <a:pt x="809" y="488"/>
                  </a:cubicBezTo>
                  <a:cubicBezTo>
                    <a:pt x="808" y="489"/>
                    <a:pt x="808" y="490"/>
                    <a:pt x="808" y="491"/>
                  </a:cubicBezTo>
                  <a:cubicBezTo>
                    <a:pt x="807" y="493"/>
                    <a:pt x="806" y="495"/>
                    <a:pt x="805" y="497"/>
                  </a:cubicBezTo>
                  <a:cubicBezTo>
                    <a:pt x="804" y="498"/>
                    <a:pt x="804" y="498"/>
                    <a:pt x="804" y="499"/>
                  </a:cubicBezTo>
                  <a:cubicBezTo>
                    <a:pt x="804" y="499"/>
                    <a:pt x="804" y="499"/>
                    <a:pt x="804" y="499"/>
                  </a:cubicBezTo>
                  <a:cubicBezTo>
                    <a:pt x="803" y="501"/>
                    <a:pt x="802" y="502"/>
                    <a:pt x="801" y="504"/>
                  </a:cubicBezTo>
                  <a:cubicBezTo>
                    <a:pt x="802" y="503"/>
                    <a:pt x="803" y="502"/>
                    <a:pt x="804" y="502"/>
                  </a:cubicBezTo>
                  <a:cubicBezTo>
                    <a:pt x="804" y="501"/>
                    <a:pt x="804" y="501"/>
                    <a:pt x="804" y="500"/>
                  </a:cubicBezTo>
                  <a:cubicBezTo>
                    <a:pt x="805" y="500"/>
                    <a:pt x="805" y="500"/>
                    <a:pt x="805" y="500"/>
                  </a:cubicBezTo>
                  <a:cubicBezTo>
                    <a:pt x="805" y="498"/>
                    <a:pt x="806" y="496"/>
                    <a:pt x="807" y="495"/>
                  </a:cubicBezTo>
                  <a:cubicBezTo>
                    <a:pt x="808" y="492"/>
                    <a:pt x="809" y="490"/>
                    <a:pt x="810" y="488"/>
                  </a:cubicBezTo>
                  <a:cubicBezTo>
                    <a:pt x="810" y="487"/>
                    <a:pt x="810" y="486"/>
                    <a:pt x="810" y="486"/>
                  </a:cubicBezTo>
                  <a:moveTo>
                    <a:pt x="1055" y="486"/>
                  </a:moveTo>
                  <a:cubicBezTo>
                    <a:pt x="1052" y="490"/>
                    <a:pt x="1049" y="492"/>
                    <a:pt x="1047" y="495"/>
                  </a:cubicBezTo>
                  <a:cubicBezTo>
                    <a:pt x="1046" y="496"/>
                    <a:pt x="1046" y="496"/>
                    <a:pt x="1046" y="497"/>
                  </a:cubicBezTo>
                  <a:cubicBezTo>
                    <a:pt x="1046" y="497"/>
                    <a:pt x="1046" y="497"/>
                    <a:pt x="1046" y="497"/>
                  </a:cubicBezTo>
                  <a:cubicBezTo>
                    <a:pt x="1048" y="495"/>
                    <a:pt x="1051" y="492"/>
                    <a:pt x="1053" y="490"/>
                  </a:cubicBezTo>
                  <a:cubicBezTo>
                    <a:pt x="1054" y="489"/>
                    <a:pt x="1054" y="488"/>
                    <a:pt x="1055" y="486"/>
                  </a:cubicBezTo>
                  <a:moveTo>
                    <a:pt x="1045" y="496"/>
                  </a:moveTo>
                  <a:cubicBezTo>
                    <a:pt x="1042" y="499"/>
                    <a:pt x="1039" y="501"/>
                    <a:pt x="1035" y="503"/>
                  </a:cubicBezTo>
                  <a:cubicBezTo>
                    <a:pt x="1035" y="504"/>
                    <a:pt x="1035" y="504"/>
                    <a:pt x="1035" y="505"/>
                  </a:cubicBezTo>
                  <a:cubicBezTo>
                    <a:pt x="1038" y="503"/>
                    <a:pt x="1041" y="501"/>
                    <a:pt x="1044" y="498"/>
                  </a:cubicBezTo>
                  <a:cubicBezTo>
                    <a:pt x="1045" y="498"/>
                    <a:pt x="1045" y="497"/>
                    <a:pt x="1045" y="496"/>
                  </a:cubicBezTo>
                  <a:cubicBezTo>
                    <a:pt x="1045" y="496"/>
                    <a:pt x="1045" y="496"/>
                    <a:pt x="1045" y="496"/>
                  </a:cubicBezTo>
                  <a:moveTo>
                    <a:pt x="1034" y="504"/>
                  </a:moveTo>
                  <a:cubicBezTo>
                    <a:pt x="1031" y="506"/>
                    <a:pt x="1027" y="508"/>
                    <a:pt x="1024" y="509"/>
                  </a:cubicBezTo>
                  <a:cubicBezTo>
                    <a:pt x="1024" y="510"/>
                    <a:pt x="1023" y="510"/>
                    <a:pt x="1023" y="510"/>
                  </a:cubicBezTo>
                  <a:cubicBezTo>
                    <a:pt x="1027" y="509"/>
                    <a:pt x="1030" y="507"/>
                    <a:pt x="1034" y="505"/>
                  </a:cubicBezTo>
                  <a:cubicBezTo>
                    <a:pt x="1034" y="505"/>
                    <a:pt x="1034" y="505"/>
                    <a:pt x="1034" y="504"/>
                  </a:cubicBezTo>
                  <a:moveTo>
                    <a:pt x="802" y="504"/>
                  </a:moveTo>
                  <a:cubicBezTo>
                    <a:pt x="801" y="505"/>
                    <a:pt x="800" y="506"/>
                    <a:pt x="800" y="507"/>
                  </a:cubicBezTo>
                  <a:cubicBezTo>
                    <a:pt x="799" y="508"/>
                    <a:pt x="799" y="509"/>
                    <a:pt x="798" y="509"/>
                  </a:cubicBezTo>
                  <a:cubicBezTo>
                    <a:pt x="797" y="512"/>
                    <a:pt x="796" y="514"/>
                    <a:pt x="794" y="516"/>
                  </a:cubicBezTo>
                  <a:cubicBezTo>
                    <a:pt x="793" y="518"/>
                    <a:pt x="792" y="520"/>
                    <a:pt x="791" y="523"/>
                  </a:cubicBezTo>
                  <a:cubicBezTo>
                    <a:pt x="791" y="522"/>
                    <a:pt x="791" y="522"/>
                    <a:pt x="791" y="522"/>
                  </a:cubicBezTo>
                  <a:cubicBezTo>
                    <a:pt x="792" y="521"/>
                    <a:pt x="793" y="519"/>
                    <a:pt x="794" y="518"/>
                  </a:cubicBezTo>
                  <a:cubicBezTo>
                    <a:pt x="795" y="517"/>
                    <a:pt x="795" y="517"/>
                    <a:pt x="795" y="516"/>
                  </a:cubicBezTo>
                  <a:cubicBezTo>
                    <a:pt x="797" y="514"/>
                    <a:pt x="798" y="512"/>
                    <a:pt x="799" y="510"/>
                  </a:cubicBezTo>
                  <a:cubicBezTo>
                    <a:pt x="800" y="508"/>
                    <a:pt x="801" y="506"/>
                    <a:pt x="802" y="504"/>
                  </a:cubicBezTo>
                  <a:moveTo>
                    <a:pt x="985" y="505"/>
                  </a:moveTo>
                  <a:cubicBezTo>
                    <a:pt x="985" y="505"/>
                    <a:pt x="985" y="506"/>
                    <a:pt x="985" y="506"/>
                  </a:cubicBezTo>
                  <a:cubicBezTo>
                    <a:pt x="989" y="509"/>
                    <a:pt x="993" y="511"/>
                    <a:pt x="998" y="512"/>
                  </a:cubicBezTo>
                  <a:cubicBezTo>
                    <a:pt x="998" y="513"/>
                    <a:pt x="998" y="513"/>
                    <a:pt x="999" y="513"/>
                  </a:cubicBezTo>
                  <a:cubicBezTo>
                    <a:pt x="1000" y="513"/>
                    <a:pt x="1001" y="513"/>
                    <a:pt x="1002" y="513"/>
                  </a:cubicBezTo>
                  <a:cubicBezTo>
                    <a:pt x="1002" y="513"/>
                    <a:pt x="1002" y="513"/>
                    <a:pt x="1002" y="512"/>
                  </a:cubicBezTo>
                  <a:cubicBezTo>
                    <a:pt x="1001" y="512"/>
                    <a:pt x="1000" y="512"/>
                    <a:pt x="1000" y="512"/>
                  </a:cubicBezTo>
                  <a:cubicBezTo>
                    <a:pt x="999" y="512"/>
                    <a:pt x="999" y="512"/>
                    <a:pt x="998" y="512"/>
                  </a:cubicBezTo>
                  <a:cubicBezTo>
                    <a:pt x="994" y="510"/>
                    <a:pt x="989" y="508"/>
                    <a:pt x="985" y="505"/>
                  </a:cubicBezTo>
                  <a:moveTo>
                    <a:pt x="1022" y="510"/>
                  </a:moveTo>
                  <a:cubicBezTo>
                    <a:pt x="1017" y="512"/>
                    <a:pt x="1012" y="513"/>
                    <a:pt x="1007" y="513"/>
                  </a:cubicBezTo>
                  <a:cubicBezTo>
                    <a:pt x="1005" y="513"/>
                    <a:pt x="1004" y="512"/>
                    <a:pt x="1003" y="512"/>
                  </a:cubicBezTo>
                  <a:cubicBezTo>
                    <a:pt x="1003" y="513"/>
                    <a:pt x="1003" y="513"/>
                    <a:pt x="1004" y="513"/>
                  </a:cubicBezTo>
                  <a:cubicBezTo>
                    <a:pt x="1005" y="513"/>
                    <a:pt x="1006" y="514"/>
                    <a:pt x="1007" y="514"/>
                  </a:cubicBezTo>
                  <a:cubicBezTo>
                    <a:pt x="1012" y="514"/>
                    <a:pt x="1017" y="513"/>
                    <a:pt x="1022" y="511"/>
                  </a:cubicBezTo>
                  <a:cubicBezTo>
                    <a:pt x="1022" y="510"/>
                    <a:pt x="1022" y="510"/>
                    <a:pt x="1022" y="510"/>
                  </a:cubicBezTo>
                  <a:moveTo>
                    <a:pt x="790" y="524"/>
                  </a:moveTo>
                  <a:cubicBezTo>
                    <a:pt x="790" y="524"/>
                    <a:pt x="790" y="524"/>
                    <a:pt x="790" y="524"/>
                  </a:cubicBezTo>
                  <a:cubicBezTo>
                    <a:pt x="789" y="525"/>
                    <a:pt x="789" y="526"/>
                    <a:pt x="788" y="526"/>
                  </a:cubicBezTo>
                  <a:cubicBezTo>
                    <a:pt x="789" y="526"/>
                    <a:pt x="789" y="525"/>
                    <a:pt x="790" y="524"/>
                  </a:cubicBezTo>
                  <a:moveTo>
                    <a:pt x="787" y="526"/>
                  </a:moveTo>
                  <a:cubicBezTo>
                    <a:pt x="787" y="527"/>
                    <a:pt x="786" y="527"/>
                    <a:pt x="786" y="528"/>
                  </a:cubicBezTo>
                  <a:cubicBezTo>
                    <a:pt x="785" y="529"/>
                    <a:pt x="785" y="529"/>
                    <a:pt x="785" y="530"/>
                  </a:cubicBezTo>
                  <a:cubicBezTo>
                    <a:pt x="786" y="529"/>
                    <a:pt x="786" y="527"/>
                    <a:pt x="787" y="526"/>
                  </a:cubicBezTo>
                  <a:moveTo>
                    <a:pt x="782" y="533"/>
                  </a:moveTo>
                  <a:cubicBezTo>
                    <a:pt x="781" y="534"/>
                    <a:pt x="781" y="534"/>
                    <a:pt x="780" y="535"/>
                  </a:cubicBezTo>
                  <a:cubicBezTo>
                    <a:pt x="781" y="535"/>
                    <a:pt x="781" y="535"/>
                    <a:pt x="781" y="535"/>
                  </a:cubicBezTo>
                  <a:cubicBezTo>
                    <a:pt x="781" y="535"/>
                    <a:pt x="781" y="535"/>
                    <a:pt x="781" y="535"/>
                  </a:cubicBezTo>
                  <a:cubicBezTo>
                    <a:pt x="781" y="534"/>
                    <a:pt x="782" y="534"/>
                    <a:pt x="782" y="533"/>
                  </a:cubicBezTo>
                  <a:moveTo>
                    <a:pt x="780" y="536"/>
                  </a:moveTo>
                  <a:cubicBezTo>
                    <a:pt x="780" y="536"/>
                    <a:pt x="780" y="536"/>
                    <a:pt x="780" y="536"/>
                  </a:cubicBezTo>
                  <a:cubicBezTo>
                    <a:pt x="779" y="536"/>
                    <a:pt x="779" y="536"/>
                    <a:pt x="779" y="537"/>
                  </a:cubicBezTo>
                  <a:cubicBezTo>
                    <a:pt x="779" y="537"/>
                    <a:pt x="779" y="537"/>
                    <a:pt x="779" y="537"/>
                  </a:cubicBezTo>
                  <a:cubicBezTo>
                    <a:pt x="779" y="537"/>
                    <a:pt x="779" y="536"/>
                    <a:pt x="780" y="536"/>
                  </a:cubicBezTo>
                  <a:moveTo>
                    <a:pt x="776" y="540"/>
                  </a:moveTo>
                  <a:cubicBezTo>
                    <a:pt x="770" y="547"/>
                    <a:pt x="763" y="555"/>
                    <a:pt x="755" y="562"/>
                  </a:cubicBezTo>
                  <a:cubicBezTo>
                    <a:pt x="756" y="563"/>
                    <a:pt x="756" y="563"/>
                    <a:pt x="756" y="563"/>
                  </a:cubicBezTo>
                  <a:cubicBezTo>
                    <a:pt x="762" y="558"/>
                    <a:pt x="767" y="552"/>
                    <a:pt x="771" y="547"/>
                  </a:cubicBezTo>
                  <a:cubicBezTo>
                    <a:pt x="773" y="545"/>
                    <a:pt x="774" y="543"/>
                    <a:pt x="776" y="541"/>
                  </a:cubicBezTo>
                  <a:cubicBezTo>
                    <a:pt x="776" y="540"/>
                    <a:pt x="776" y="540"/>
                    <a:pt x="776" y="540"/>
                  </a:cubicBezTo>
                  <a:moveTo>
                    <a:pt x="754" y="563"/>
                  </a:moveTo>
                  <a:cubicBezTo>
                    <a:pt x="754" y="564"/>
                    <a:pt x="753" y="564"/>
                    <a:pt x="753" y="565"/>
                  </a:cubicBezTo>
                  <a:cubicBezTo>
                    <a:pt x="753" y="565"/>
                    <a:pt x="753" y="565"/>
                    <a:pt x="753" y="566"/>
                  </a:cubicBezTo>
                  <a:cubicBezTo>
                    <a:pt x="754" y="565"/>
                    <a:pt x="755" y="564"/>
                    <a:pt x="755" y="564"/>
                  </a:cubicBezTo>
                  <a:cubicBezTo>
                    <a:pt x="755" y="563"/>
                    <a:pt x="755" y="563"/>
                    <a:pt x="754" y="563"/>
                  </a:cubicBezTo>
                  <a:moveTo>
                    <a:pt x="752" y="565"/>
                  </a:moveTo>
                  <a:cubicBezTo>
                    <a:pt x="751" y="566"/>
                    <a:pt x="750" y="567"/>
                    <a:pt x="749" y="569"/>
                  </a:cubicBezTo>
                  <a:cubicBezTo>
                    <a:pt x="748" y="569"/>
                    <a:pt x="748" y="569"/>
                    <a:pt x="747" y="570"/>
                  </a:cubicBezTo>
                  <a:cubicBezTo>
                    <a:pt x="747" y="570"/>
                    <a:pt x="746" y="571"/>
                    <a:pt x="746" y="571"/>
                  </a:cubicBezTo>
                  <a:cubicBezTo>
                    <a:pt x="745" y="572"/>
                    <a:pt x="743" y="574"/>
                    <a:pt x="742" y="575"/>
                  </a:cubicBezTo>
                  <a:cubicBezTo>
                    <a:pt x="741" y="576"/>
                    <a:pt x="740" y="577"/>
                    <a:pt x="739" y="577"/>
                  </a:cubicBezTo>
                  <a:cubicBezTo>
                    <a:pt x="739" y="578"/>
                    <a:pt x="738" y="578"/>
                    <a:pt x="738" y="578"/>
                  </a:cubicBezTo>
                  <a:cubicBezTo>
                    <a:pt x="734" y="582"/>
                    <a:pt x="730" y="585"/>
                    <a:pt x="726" y="588"/>
                  </a:cubicBezTo>
                  <a:cubicBezTo>
                    <a:pt x="726" y="589"/>
                    <a:pt x="725" y="589"/>
                    <a:pt x="725" y="589"/>
                  </a:cubicBezTo>
                  <a:cubicBezTo>
                    <a:pt x="724" y="590"/>
                    <a:pt x="722" y="592"/>
                    <a:pt x="720" y="593"/>
                  </a:cubicBezTo>
                  <a:cubicBezTo>
                    <a:pt x="719" y="594"/>
                    <a:pt x="718" y="595"/>
                    <a:pt x="717" y="595"/>
                  </a:cubicBezTo>
                  <a:cubicBezTo>
                    <a:pt x="718" y="595"/>
                    <a:pt x="718" y="596"/>
                    <a:pt x="718" y="596"/>
                  </a:cubicBezTo>
                  <a:cubicBezTo>
                    <a:pt x="724" y="591"/>
                    <a:pt x="730" y="587"/>
                    <a:pt x="735" y="582"/>
                  </a:cubicBezTo>
                  <a:cubicBezTo>
                    <a:pt x="736" y="581"/>
                    <a:pt x="737" y="580"/>
                    <a:pt x="738" y="580"/>
                  </a:cubicBezTo>
                  <a:cubicBezTo>
                    <a:pt x="738" y="579"/>
                    <a:pt x="739" y="579"/>
                    <a:pt x="739" y="579"/>
                  </a:cubicBezTo>
                  <a:cubicBezTo>
                    <a:pt x="742" y="576"/>
                    <a:pt x="744" y="574"/>
                    <a:pt x="746" y="572"/>
                  </a:cubicBezTo>
                  <a:cubicBezTo>
                    <a:pt x="746" y="572"/>
                    <a:pt x="747" y="572"/>
                    <a:pt x="747" y="572"/>
                  </a:cubicBezTo>
                  <a:cubicBezTo>
                    <a:pt x="748" y="571"/>
                    <a:pt x="749" y="570"/>
                    <a:pt x="750" y="569"/>
                  </a:cubicBezTo>
                  <a:cubicBezTo>
                    <a:pt x="751" y="568"/>
                    <a:pt x="752" y="567"/>
                    <a:pt x="752" y="567"/>
                  </a:cubicBezTo>
                  <a:cubicBezTo>
                    <a:pt x="752" y="566"/>
                    <a:pt x="752" y="566"/>
                    <a:pt x="752" y="565"/>
                  </a:cubicBezTo>
                  <a:moveTo>
                    <a:pt x="1451" y="591"/>
                  </a:moveTo>
                  <a:cubicBezTo>
                    <a:pt x="1449" y="598"/>
                    <a:pt x="1446" y="604"/>
                    <a:pt x="1444" y="611"/>
                  </a:cubicBezTo>
                  <a:cubicBezTo>
                    <a:pt x="1444" y="613"/>
                    <a:pt x="1443" y="615"/>
                    <a:pt x="1443" y="617"/>
                  </a:cubicBezTo>
                  <a:cubicBezTo>
                    <a:pt x="1445" y="612"/>
                    <a:pt x="1446" y="607"/>
                    <a:pt x="1448" y="603"/>
                  </a:cubicBezTo>
                  <a:cubicBezTo>
                    <a:pt x="1449" y="599"/>
                    <a:pt x="1450" y="595"/>
                    <a:pt x="1451" y="591"/>
                  </a:cubicBezTo>
                  <a:moveTo>
                    <a:pt x="717" y="596"/>
                  </a:moveTo>
                  <a:cubicBezTo>
                    <a:pt x="716" y="596"/>
                    <a:pt x="716" y="596"/>
                    <a:pt x="716" y="596"/>
                  </a:cubicBezTo>
                  <a:cubicBezTo>
                    <a:pt x="712" y="600"/>
                    <a:pt x="708" y="603"/>
                    <a:pt x="703" y="606"/>
                  </a:cubicBezTo>
                  <a:cubicBezTo>
                    <a:pt x="702" y="607"/>
                    <a:pt x="700" y="608"/>
                    <a:pt x="698" y="610"/>
                  </a:cubicBezTo>
                  <a:cubicBezTo>
                    <a:pt x="698" y="610"/>
                    <a:pt x="698" y="610"/>
                    <a:pt x="698" y="611"/>
                  </a:cubicBezTo>
                  <a:cubicBezTo>
                    <a:pt x="699" y="610"/>
                    <a:pt x="700" y="609"/>
                    <a:pt x="701" y="609"/>
                  </a:cubicBezTo>
                  <a:cubicBezTo>
                    <a:pt x="704" y="607"/>
                    <a:pt x="707" y="605"/>
                    <a:pt x="709" y="603"/>
                  </a:cubicBezTo>
                  <a:cubicBezTo>
                    <a:pt x="712" y="601"/>
                    <a:pt x="715" y="599"/>
                    <a:pt x="717" y="597"/>
                  </a:cubicBezTo>
                  <a:cubicBezTo>
                    <a:pt x="717" y="597"/>
                    <a:pt x="717" y="597"/>
                    <a:pt x="717" y="597"/>
                  </a:cubicBezTo>
                  <a:cubicBezTo>
                    <a:pt x="717" y="596"/>
                    <a:pt x="717" y="596"/>
                    <a:pt x="717" y="596"/>
                  </a:cubicBezTo>
                  <a:moveTo>
                    <a:pt x="697" y="610"/>
                  </a:moveTo>
                  <a:cubicBezTo>
                    <a:pt x="697" y="610"/>
                    <a:pt x="697" y="610"/>
                    <a:pt x="697" y="610"/>
                  </a:cubicBezTo>
                  <a:cubicBezTo>
                    <a:pt x="695" y="612"/>
                    <a:pt x="693" y="614"/>
                    <a:pt x="691" y="616"/>
                  </a:cubicBezTo>
                  <a:cubicBezTo>
                    <a:pt x="692" y="615"/>
                    <a:pt x="694" y="614"/>
                    <a:pt x="695" y="613"/>
                  </a:cubicBezTo>
                  <a:cubicBezTo>
                    <a:pt x="696" y="613"/>
                    <a:pt x="697" y="612"/>
                    <a:pt x="698" y="611"/>
                  </a:cubicBezTo>
                  <a:cubicBezTo>
                    <a:pt x="698" y="611"/>
                    <a:pt x="697" y="611"/>
                    <a:pt x="697" y="610"/>
                  </a:cubicBezTo>
                  <a:moveTo>
                    <a:pt x="691" y="615"/>
                  </a:moveTo>
                  <a:cubicBezTo>
                    <a:pt x="685" y="619"/>
                    <a:pt x="680" y="622"/>
                    <a:pt x="674" y="626"/>
                  </a:cubicBezTo>
                  <a:cubicBezTo>
                    <a:pt x="674" y="626"/>
                    <a:pt x="674" y="627"/>
                    <a:pt x="675" y="627"/>
                  </a:cubicBezTo>
                  <a:cubicBezTo>
                    <a:pt x="678" y="625"/>
                    <a:pt x="681" y="623"/>
                    <a:pt x="684" y="621"/>
                  </a:cubicBezTo>
                  <a:cubicBezTo>
                    <a:pt x="686" y="619"/>
                    <a:pt x="688" y="617"/>
                    <a:pt x="691" y="615"/>
                  </a:cubicBezTo>
                  <a:moveTo>
                    <a:pt x="1442" y="617"/>
                  </a:moveTo>
                  <a:cubicBezTo>
                    <a:pt x="1440" y="624"/>
                    <a:pt x="1437" y="631"/>
                    <a:pt x="1435" y="638"/>
                  </a:cubicBezTo>
                  <a:cubicBezTo>
                    <a:pt x="1435" y="639"/>
                    <a:pt x="1435" y="640"/>
                    <a:pt x="1435" y="642"/>
                  </a:cubicBezTo>
                  <a:cubicBezTo>
                    <a:pt x="1437" y="635"/>
                    <a:pt x="1439" y="629"/>
                    <a:pt x="1441" y="623"/>
                  </a:cubicBezTo>
                  <a:cubicBezTo>
                    <a:pt x="1441" y="621"/>
                    <a:pt x="1442" y="619"/>
                    <a:pt x="1442" y="617"/>
                  </a:cubicBezTo>
                  <a:moveTo>
                    <a:pt x="673" y="627"/>
                  </a:moveTo>
                  <a:cubicBezTo>
                    <a:pt x="672" y="628"/>
                    <a:pt x="670" y="629"/>
                    <a:pt x="669" y="629"/>
                  </a:cubicBezTo>
                  <a:cubicBezTo>
                    <a:pt x="668" y="630"/>
                    <a:pt x="668" y="630"/>
                    <a:pt x="668" y="630"/>
                  </a:cubicBezTo>
                  <a:cubicBezTo>
                    <a:pt x="666" y="632"/>
                    <a:pt x="663" y="633"/>
                    <a:pt x="661" y="634"/>
                  </a:cubicBezTo>
                  <a:cubicBezTo>
                    <a:pt x="660" y="635"/>
                    <a:pt x="659" y="635"/>
                    <a:pt x="658" y="636"/>
                  </a:cubicBezTo>
                  <a:cubicBezTo>
                    <a:pt x="655" y="638"/>
                    <a:pt x="651" y="640"/>
                    <a:pt x="647" y="642"/>
                  </a:cubicBezTo>
                  <a:cubicBezTo>
                    <a:pt x="647" y="643"/>
                    <a:pt x="647" y="643"/>
                    <a:pt x="646" y="643"/>
                  </a:cubicBezTo>
                  <a:cubicBezTo>
                    <a:pt x="646" y="643"/>
                    <a:pt x="646" y="643"/>
                    <a:pt x="645" y="644"/>
                  </a:cubicBezTo>
                  <a:cubicBezTo>
                    <a:pt x="645" y="644"/>
                    <a:pt x="645" y="644"/>
                    <a:pt x="646" y="645"/>
                  </a:cubicBezTo>
                  <a:cubicBezTo>
                    <a:pt x="646" y="644"/>
                    <a:pt x="646" y="644"/>
                    <a:pt x="646" y="644"/>
                  </a:cubicBezTo>
                  <a:cubicBezTo>
                    <a:pt x="647" y="644"/>
                    <a:pt x="647" y="644"/>
                    <a:pt x="647" y="644"/>
                  </a:cubicBezTo>
                  <a:cubicBezTo>
                    <a:pt x="650" y="642"/>
                    <a:pt x="654" y="640"/>
                    <a:pt x="657" y="638"/>
                  </a:cubicBezTo>
                  <a:cubicBezTo>
                    <a:pt x="657" y="638"/>
                    <a:pt x="658" y="637"/>
                    <a:pt x="659" y="637"/>
                  </a:cubicBezTo>
                  <a:cubicBezTo>
                    <a:pt x="661" y="635"/>
                    <a:pt x="663" y="634"/>
                    <a:pt x="665" y="633"/>
                  </a:cubicBezTo>
                  <a:cubicBezTo>
                    <a:pt x="666" y="632"/>
                    <a:pt x="667" y="632"/>
                    <a:pt x="669" y="631"/>
                  </a:cubicBezTo>
                  <a:cubicBezTo>
                    <a:pt x="669" y="631"/>
                    <a:pt x="669" y="630"/>
                    <a:pt x="670" y="630"/>
                  </a:cubicBezTo>
                  <a:cubicBezTo>
                    <a:pt x="671" y="629"/>
                    <a:pt x="672" y="628"/>
                    <a:pt x="674" y="627"/>
                  </a:cubicBezTo>
                  <a:cubicBezTo>
                    <a:pt x="674" y="627"/>
                    <a:pt x="673" y="627"/>
                    <a:pt x="673" y="627"/>
                  </a:cubicBezTo>
                  <a:moveTo>
                    <a:pt x="1434" y="641"/>
                  </a:moveTo>
                  <a:cubicBezTo>
                    <a:pt x="1431" y="648"/>
                    <a:pt x="1429" y="655"/>
                    <a:pt x="1427" y="662"/>
                  </a:cubicBezTo>
                  <a:cubicBezTo>
                    <a:pt x="1427" y="663"/>
                    <a:pt x="1427" y="664"/>
                    <a:pt x="1427" y="665"/>
                  </a:cubicBezTo>
                  <a:cubicBezTo>
                    <a:pt x="1429" y="658"/>
                    <a:pt x="1431" y="652"/>
                    <a:pt x="1433" y="645"/>
                  </a:cubicBezTo>
                  <a:cubicBezTo>
                    <a:pt x="1433" y="644"/>
                    <a:pt x="1434" y="643"/>
                    <a:pt x="1434" y="641"/>
                  </a:cubicBezTo>
                  <a:moveTo>
                    <a:pt x="644" y="644"/>
                  </a:moveTo>
                  <a:cubicBezTo>
                    <a:pt x="638" y="648"/>
                    <a:pt x="632" y="651"/>
                    <a:pt x="626" y="654"/>
                  </a:cubicBezTo>
                  <a:cubicBezTo>
                    <a:pt x="626" y="654"/>
                    <a:pt x="627" y="655"/>
                    <a:pt x="627" y="655"/>
                  </a:cubicBezTo>
                  <a:cubicBezTo>
                    <a:pt x="633" y="652"/>
                    <a:pt x="639" y="648"/>
                    <a:pt x="645" y="645"/>
                  </a:cubicBezTo>
                  <a:cubicBezTo>
                    <a:pt x="645" y="645"/>
                    <a:pt x="645" y="644"/>
                    <a:pt x="644" y="644"/>
                  </a:cubicBezTo>
                  <a:moveTo>
                    <a:pt x="625" y="655"/>
                  </a:moveTo>
                  <a:cubicBezTo>
                    <a:pt x="625" y="655"/>
                    <a:pt x="625" y="655"/>
                    <a:pt x="625" y="655"/>
                  </a:cubicBezTo>
                  <a:cubicBezTo>
                    <a:pt x="623" y="656"/>
                    <a:pt x="622" y="656"/>
                    <a:pt x="620" y="657"/>
                  </a:cubicBezTo>
                  <a:cubicBezTo>
                    <a:pt x="613" y="661"/>
                    <a:pt x="605" y="665"/>
                    <a:pt x="598" y="668"/>
                  </a:cubicBezTo>
                  <a:cubicBezTo>
                    <a:pt x="596" y="669"/>
                    <a:pt x="595" y="670"/>
                    <a:pt x="593" y="670"/>
                  </a:cubicBezTo>
                  <a:cubicBezTo>
                    <a:pt x="593" y="671"/>
                    <a:pt x="593" y="671"/>
                    <a:pt x="593" y="671"/>
                  </a:cubicBezTo>
                  <a:cubicBezTo>
                    <a:pt x="601" y="668"/>
                    <a:pt x="609" y="664"/>
                    <a:pt x="617" y="660"/>
                  </a:cubicBezTo>
                  <a:cubicBezTo>
                    <a:pt x="618" y="659"/>
                    <a:pt x="619" y="659"/>
                    <a:pt x="621" y="658"/>
                  </a:cubicBezTo>
                  <a:cubicBezTo>
                    <a:pt x="623" y="657"/>
                    <a:pt x="624" y="656"/>
                    <a:pt x="626" y="655"/>
                  </a:cubicBezTo>
                  <a:cubicBezTo>
                    <a:pt x="626" y="655"/>
                    <a:pt x="625" y="655"/>
                    <a:pt x="625" y="655"/>
                  </a:cubicBezTo>
                  <a:moveTo>
                    <a:pt x="1426" y="665"/>
                  </a:moveTo>
                  <a:cubicBezTo>
                    <a:pt x="1418" y="689"/>
                    <a:pt x="1411" y="713"/>
                    <a:pt x="1403" y="736"/>
                  </a:cubicBezTo>
                  <a:cubicBezTo>
                    <a:pt x="1403" y="737"/>
                    <a:pt x="1403" y="738"/>
                    <a:pt x="1403" y="738"/>
                  </a:cubicBezTo>
                  <a:cubicBezTo>
                    <a:pt x="1411" y="715"/>
                    <a:pt x="1418" y="692"/>
                    <a:pt x="1426" y="668"/>
                  </a:cubicBezTo>
                  <a:cubicBezTo>
                    <a:pt x="1426" y="667"/>
                    <a:pt x="1426" y="666"/>
                    <a:pt x="1426" y="665"/>
                  </a:cubicBezTo>
                  <a:moveTo>
                    <a:pt x="592" y="671"/>
                  </a:moveTo>
                  <a:cubicBezTo>
                    <a:pt x="592" y="671"/>
                    <a:pt x="591" y="671"/>
                    <a:pt x="591" y="672"/>
                  </a:cubicBezTo>
                  <a:cubicBezTo>
                    <a:pt x="589" y="672"/>
                    <a:pt x="587" y="673"/>
                    <a:pt x="585" y="674"/>
                  </a:cubicBezTo>
                  <a:cubicBezTo>
                    <a:pt x="584" y="675"/>
                    <a:pt x="583" y="675"/>
                    <a:pt x="582" y="676"/>
                  </a:cubicBezTo>
                  <a:cubicBezTo>
                    <a:pt x="580" y="676"/>
                    <a:pt x="578" y="677"/>
                    <a:pt x="576" y="678"/>
                  </a:cubicBezTo>
                  <a:cubicBezTo>
                    <a:pt x="577" y="678"/>
                    <a:pt x="577" y="678"/>
                    <a:pt x="577" y="678"/>
                  </a:cubicBezTo>
                  <a:cubicBezTo>
                    <a:pt x="577" y="678"/>
                    <a:pt x="577" y="678"/>
                    <a:pt x="577" y="678"/>
                  </a:cubicBezTo>
                  <a:cubicBezTo>
                    <a:pt x="578" y="678"/>
                    <a:pt x="579" y="678"/>
                    <a:pt x="579" y="678"/>
                  </a:cubicBezTo>
                  <a:cubicBezTo>
                    <a:pt x="580" y="677"/>
                    <a:pt x="581" y="677"/>
                    <a:pt x="582" y="676"/>
                  </a:cubicBezTo>
                  <a:cubicBezTo>
                    <a:pt x="583" y="676"/>
                    <a:pt x="584" y="675"/>
                    <a:pt x="585" y="675"/>
                  </a:cubicBezTo>
                  <a:cubicBezTo>
                    <a:pt x="587" y="674"/>
                    <a:pt x="589" y="673"/>
                    <a:pt x="591" y="672"/>
                  </a:cubicBezTo>
                  <a:cubicBezTo>
                    <a:pt x="592" y="672"/>
                    <a:pt x="592" y="672"/>
                    <a:pt x="592" y="672"/>
                  </a:cubicBezTo>
                  <a:cubicBezTo>
                    <a:pt x="592" y="671"/>
                    <a:pt x="592" y="671"/>
                    <a:pt x="592" y="671"/>
                  </a:cubicBezTo>
                  <a:moveTo>
                    <a:pt x="575" y="678"/>
                  </a:moveTo>
                  <a:cubicBezTo>
                    <a:pt x="572" y="680"/>
                    <a:pt x="569" y="681"/>
                    <a:pt x="566" y="682"/>
                  </a:cubicBezTo>
                  <a:cubicBezTo>
                    <a:pt x="565" y="683"/>
                    <a:pt x="564" y="683"/>
                    <a:pt x="563" y="683"/>
                  </a:cubicBezTo>
                  <a:cubicBezTo>
                    <a:pt x="560" y="684"/>
                    <a:pt x="557" y="685"/>
                    <a:pt x="555" y="686"/>
                  </a:cubicBezTo>
                  <a:cubicBezTo>
                    <a:pt x="553" y="687"/>
                    <a:pt x="551" y="688"/>
                    <a:pt x="549" y="689"/>
                  </a:cubicBezTo>
                  <a:cubicBezTo>
                    <a:pt x="553" y="688"/>
                    <a:pt x="557" y="687"/>
                    <a:pt x="560" y="685"/>
                  </a:cubicBezTo>
                  <a:cubicBezTo>
                    <a:pt x="561" y="685"/>
                    <a:pt x="562" y="685"/>
                    <a:pt x="563" y="684"/>
                  </a:cubicBezTo>
                  <a:cubicBezTo>
                    <a:pt x="568" y="682"/>
                    <a:pt x="572" y="681"/>
                    <a:pt x="576" y="679"/>
                  </a:cubicBezTo>
                  <a:cubicBezTo>
                    <a:pt x="576" y="679"/>
                    <a:pt x="576" y="679"/>
                    <a:pt x="576" y="679"/>
                  </a:cubicBezTo>
                  <a:cubicBezTo>
                    <a:pt x="576" y="678"/>
                    <a:pt x="576" y="678"/>
                    <a:pt x="575" y="678"/>
                  </a:cubicBezTo>
                  <a:moveTo>
                    <a:pt x="549" y="689"/>
                  </a:moveTo>
                  <a:cubicBezTo>
                    <a:pt x="546" y="690"/>
                    <a:pt x="542" y="691"/>
                    <a:pt x="539" y="692"/>
                  </a:cubicBezTo>
                  <a:cubicBezTo>
                    <a:pt x="539" y="692"/>
                    <a:pt x="540" y="692"/>
                    <a:pt x="540" y="693"/>
                  </a:cubicBezTo>
                  <a:cubicBezTo>
                    <a:pt x="541" y="692"/>
                    <a:pt x="542" y="692"/>
                    <a:pt x="544" y="691"/>
                  </a:cubicBezTo>
                  <a:cubicBezTo>
                    <a:pt x="545" y="690"/>
                    <a:pt x="547" y="690"/>
                    <a:pt x="549" y="689"/>
                  </a:cubicBezTo>
                  <a:moveTo>
                    <a:pt x="538" y="692"/>
                  </a:moveTo>
                  <a:cubicBezTo>
                    <a:pt x="533" y="694"/>
                    <a:pt x="528" y="696"/>
                    <a:pt x="523" y="697"/>
                  </a:cubicBezTo>
                  <a:cubicBezTo>
                    <a:pt x="524" y="697"/>
                    <a:pt x="524" y="697"/>
                    <a:pt x="525" y="698"/>
                  </a:cubicBezTo>
                  <a:cubicBezTo>
                    <a:pt x="529" y="696"/>
                    <a:pt x="534" y="695"/>
                    <a:pt x="539" y="693"/>
                  </a:cubicBezTo>
                  <a:cubicBezTo>
                    <a:pt x="539" y="693"/>
                    <a:pt x="539" y="693"/>
                    <a:pt x="538" y="692"/>
                  </a:cubicBezTo>
                  <a:moveTo>
                    <a:pt x="522" y="698"/>
                  </a:moveTo>
                  <a:cubicBezTo>
                    <a:pt x="509" y="701"/>
                    <a:pt x="497" y="704"/>
                    <a:pt x="485" y="707"/>
                  </a:cubicBezTo>
                  <a:cubicBezTo>
                    <a:pt x="484" y="707"/>
                    <a:pt x="483" y="708"/>
                    <a:pt x="483" y="708"/>
                  </a:cubicBezTo>
                  <a:cubicBezTo>
                    <a:pt x="483" y="708"/>
                    <a:pt x="483" y="708"/>
                    <a:pt x="483" y="708"/>
                  </a:cubicBezTo>
                  <a:cubicBezTo>
                    <a:pt x="496" y="706"/>
                    <a:pt x="510" y="702"/>
                    <a:pt x="523" y="698"/>
                  </a:cubicBezTo>
                  <a:cubicBezTo>
                    <a:pt x="523" y="698"/>
                    <a:pt x="522" y="698"/>
                    <a:pt x="522" y="698"/>
                  </a:cubicBezTo>
                  <a:moveTo>
                    <a:pt x="481" y="708"/>
                  </a:moveTo>
                  <a:cubicBezTo>
                    <a:pt x="475" y="709"/>
                    <a:pt x="469" y="710"/>
                    <a:pt x="463" y="711"/>
                  </a:cubicBezTo>
                  <a:cubicBezTo>
                    <a:pt x="460" y="711"/>
                    <a:pt x="457" y="712"/>
                    <a:pt x="453" y="712"/>
                  </a:cubicBezTo>
                  <a:cubicBezTo>
                    <a:pt x="454" y="713"/>
                    <a:pt x="455" y="713"/>
                    <a:pt x="456" y="713"/>
                  </a:cubicBezTo>
                  <a:cubicBezTo>
                    <a:pt x="458" y="713"/>
                    <a:pt x="461" y="712"/>
                    <a:pt x="463" y="712"/>
                  </a:cubicBezTo>
                  <a:cubicBezTo>
                    <a:pt x="468" y="711"/>
                    <a:pt x="473" y="710"/>
                    <a:pt x="478" y="709"/>
                  </a:cubicBezTo>
                  <a:cubicBezTo>
                    <a:pt x="479" y="709"/>
                    <a:pt x="480" y="708"/>
                    <a:pt x="481" y="708"/>
                  </a:cubicBezTo>
                  <a:moveTo>
                    <a:pt x="482" y="708"/>
                  </a:moveTo>
                  <a:cubicBezTo>
                    <a:pt x="482" y="709"/>
                    <a:pt x="482" y="709"/>
                    <a:pt x="482" y="709"/>
                  </a:cubicBezTo>
                  <a:cubicBezTo>
                    <a:pt x="482" y="709"/>
                    <a:pt x="482" y="709"/>
                    <a:pt x="482" y="709"/>
                  </a:cubicBezTo>
                  <a:cubicBezTo>
                    <a:pt x="482" y="709"/>
                    <a:pt x="482" y="708"/>
                    <a:pt x="482" y="708"/>
                  </a:cubicBezTo>
                  <a:moveTo>
                    <a:pt x="451" y="713"/>
                  </a:moveTo>
                  <a:cubicBezTo>
                    <a:pt x="447" y="713"/>
                    <a:pt x="443" y="714"/>
                    <a:pt x="439" y="714"/>
                  </a:cubicBezTo>
                  <a:cubicBezTo>
                    <a:pt x="438" y="715"/>
                    <a:pt x="437" y="715"/>
                    <a:pt x="436" y="716"/>
                  </a:cubicBezTo>
                  <a:cubicBezTo>
                    <a:pt x="442" y="715"/>
                    <a:pt x="448" y="714"/>
                    <a:pt x="453" y="713"/>
                  </a:cubicBezTo>
                  <a:cubicBezTo>
                    <a:pt x="452" y="713"/>
                    <a:pt x="452" y="713"/>
                    <a:pt x="451" y="713"/>
                  </a:cubicBezTo>
                  <a:moveTo>
                    <a:pt x="436" y="715"/>
                  </a:moveTo>
                  <a:cubicBezTo>
                    <a:pt x="423" y="717"/>
                    <a:pt x="408" y="719"/>
                    <a:pt x="393" y="722"/>
                  </a:cubicBezTo>
                  <a:cubicBezTo>
                    <a:pt x="392" y="722"/>
                    <a:pt x="391" y="723"/>
                    <a:pt x="390" y="723"/>
                  </a:cubicBezTo>
                  <a:cubicBezTo>
                    <a:pt x="406" y="721"/>
                    <a:pt x="420" y="718"/>
                    <a:pt x="433" y="716"/>
                  </a:cubicBezTo>
                  <a:cubicBezTo>
                    <a:pt x="434" y="716"/>
                    <a:pt x="435" y="715"/>
                    <a:pt x="436" y="715"/>
                  </a:cubicBezTo>
                  <a:moveTo>
                    <a:pt x="390" y="722"/>
                  </a:moveTo>
                  <a:cubicBezTo>
                    <a:pt x="377" y="724"/>
                    <a:pt x="364" y="727"/>
                    <a:pt x="351" y="729"/>
                  </a:cubicBezTo>
                  <a:cubicBezTo>
                    <a:pt x="350" y="730"/>
                    <a:pt x="349" y="730"/>
                    <a:pt x="347" y="731"/>
                  </a:cubicBezTo>
                  <a:cubicBezTo>
                    <a:pt x="361" y="728"/>
                    <a:pt x="374" y="726"/>
                    <a:pt x="387" y="724"/>
                  </a:cubicBezTo>
                  <a:cubicBezTo>
                    <a:pt x="388" y="723"/>
                    <a:pt x="389" y="723"/>
                    <a:pt x="390" y="722"/>
                  </a:cubicBezTo>
                  <a:moveTo>
                    <a:pt x="347" y="730"/>
                  </a:moveTo>
                  <a:cubicBezTo>
                    <a:pt x="344" y="730"/>
                    <a:pt x="341" y="731"/>
                    <a:pt x="337" y="732"/>
                  </a:cubicBezTo>
                  <a:cubicBezTo>
                    <a:pt x="337" y="732"/>
                    <a:pt x="337" y="732"/>
                    <a:pt x="337" y="732"/>
                  </a:cubicBezTo>
                  <a:cubicBezTo>
                    <a:pt x="339" y="732"/>
                    <a:pt x="341" y="732"/>
                    <a:pt x="343" y="732"/>
                  </a:cubicBezTo>
                  <a:cubicBezTo>
                    <a:pt x="343" y="731"/>
                    <a:pt x="343" y="731"/>
                    <a:pt x="344" y="731"/>
                  </a:cubicBezTo>
                  <a:cubicBezTo>
                    <a:pt x="345" y="731"/>
                    <a:pt x="346" y="730"/>
                    <a:pt x="347" y="730"/>
                  </a:cubicBezTo>
                  <a:moveTo>
                    <a:pt x="336" y="733"/>
                  </a:moveTo>
                  <a:cubicBezTo>
                    <a:pt x="334" y="733"/>
                    <a:pt x="332" y="733"/>
                    <a:pt x="330" y="733"/>
                  </a:cubicBezTo>
                  <a:cubicBezTo>
                    <a:pt x="326" y="734"/>
                    <a:pt x="321" y="735"/>
                    <a:pt x="317" y="735"/>
                  </a:cubicBezTo>
                  <a:cubicBezTo>
                    <a:pt x="315" y="736"/>
                    <a:pt x="313" y="736"/>
                    <a:pt x="311" y="737"/>
                  </a:cubicBezTo>
                  <a:cubicBezTo>
                    <a:pt x="309" y="737"/>
                    <a:pt x="308" y="737"/>
                    <a:pt x="307" y="737"/>
                  </a:cubicBezTo>
                  <a:cubicBezTo>
                    <a:pt x="307" y="737"/>
                    <a:pt x="307" y="737"/>
                    <a:pt x="307" y="737"/>
                  </a:cubicBezTo>
                  <a:cubicBezTo>
                    <a:pt x="306" y="738"/>
                    <a:pt x="304" y="738"/>
                    <a:pt x="303" y="739"/>
                  </a:cubicBezTo>
                  <a:cubicBezTo>
                    <a:pt x="304" y="739"/>
                    <a:pt x="304" y="739"/>
                    <a:pt x="305" y="739"/>
                  </a:cubicBezTo>
                  <a:cubicBezTo>
                    <a:pt x="306" y="739"/>
                    <a:pt x="306" y="738"/>
                    <a:pt x="307" y="738"/>
                  </a:cubicBezTo>
                  <a:cubicBezTo>
                    <a:pt x="308" y="738"/>
                    <a:pt x="309" y="738"/>
                    <a:pt x="310" y="738"/>
                  </a:cubicBezTo>
                  <a:cubicBezTo>
                    <a:pt x="310" y="738"/>
                    <a:pt x="311" y="738"/>
                    <a:pt x="311" y="737"/>
                  </a:cubicBezTo>
                  <a:cubicBezTo>
                    <a:pt x="317" y="736"/>
                    <a:pt x="322" y="735"/>
                    <a:pt x="327" y="734"/>
                  </a:cubicBezTo>
                  <a:cubicBezTo>
                    <a:pt x="329" y="734"/>
                    <a:pt x="331" y="734"/>
                    <a:pt x="333" y="733"/>
                  </a:cubicBezTo>
                  <a:cubicBezTo>
                    <a:pt x="334" y="733"/>
                    <a:pt x="335" y="733"/>
                    <a:pt x="336" y="733"/>
                  </a:cubicBezTo>
                  <a:moveTo>
                    <a:pt x="303" y="738"/>
                  </a:moveTo>
                  <a:cubicBezTo>
                    <a:pt x="297" y="739"/>
                    <a:pt x="291" y="741"/>
                    <a:pt x="285" y="742"/>
                  </a:cubicBezTo>
                  <a:cubicBezTo>
                    <a:pt x="283" y="742"/>
                    <a:pt x="282" y="742"/>
                    <a:pt x="281" y="742"/>
                  </a:cubicBezTo>
                  <a:cubicBezTo>
                    <a:pt x="280" y="743"/>
                    <a:pt x="278" y="743"/>
                    <a:pt x="277" y="743"/>
                  </a:cubicBezTo>
                  <a:cubicBezTo>
                    <a:pt x="276" y="744"/>
                    <a:pt x="275" y="744"/>
                    <a:pt x="273" y="744"/>
                  </a:cubicBezTo>
                  <a:cubicBezTo>
                    <a:pt x="272" y="744"/>
                    <a:pt x="270" y="745"/>
                    <a:pt x="268" y="745"/>
                  </a:cubicBezTo>
                  <a:cubicBezTo>
                    <a:pt x="267" y="745"/>
                    <a:pt x="267" y="745"/>
                    <a:pt x="266" y="746"/>
                  </a:cubicBezTo>
                  <a:cubicBezTo>
                    <a:pt x="266" y="746"/>
                    <a:pt x="265" y="746"/>
                    <a:pt x="264" y="746"/>
                  </a:cubicBezTo>
                  <a:cubicBezTo>
                    <a:pt x="262" y="746"/>
                    <a:pt x="261" y="747"/>
                    <a:pt x="260" y="747"/>
                  </a:cubicBezTo>
                  <a:cubicBezTo>
                    <a:pt x="258" y="747"/>
                    <a:pt x="256" y="748"/>
                    <a:pt x="254" y="748"/>
                  </a:cubicBezTo>
                  <a:cubicBezTo>
                    <a:pt x="253" y="749"/>
                    <a:pt x="251" y="750"/>
                    <a:pt x="249" y="750"/>
                  </a:cubicBezTo>
                  <a:cubicBezTo>
                    <a:pt x="250" y="750"/>
                    <a:pt x="251" y="750"/>
                    <a:pt x="251" y="750"/>
                  </a:cubicBezTo>
                  <a:cubicBezTo>
                    <a:pt x="251" y="750"/>
                    <a:pt x="251" y="750"/>
                    <a:pt x="251" y="750"/>
                  </a:cubicBezTo>
                  <a:cubicBezTo>
                    <a:pt x="252" y="750"/>
                    <a:pt x="252" y="750"/>
                    <a:pt x="252" y="750"/>
                  </a:cubicBezTo>
                  <a:cubicBezTo>
                    <a:pt x="253" y="750"/>
                    <a:pt x="253" y="749"/>
                    <a:pt x="254" y="749"/>
                  </a:cubicBezTo>
                  <a:cubicBezTo>
                    <a:pt x="255" y="749"/>
                    <a:pt x="256" y="749"/>
                    <a:pt x="257" y="749"/>
                  </a:cubicBezTo>
                  <a:cubicBezTo>
                    <a:pt x="257" y="749"/>
                    <a:pt x="258" y="748"/>
                    <a:pt x="258" y="748"/>
                  </a:cubicBezTo>
                  <a:cubicBezTo>
                    <a:pt x="261" y="748"/>
                    <a:pt x="264" y="747"/>
                    <a:pt x="268" y="746"/>
                  </a:cubicBezTo>
                  <a:cubicBezTo>
                    <a:pt x="268" y="746"/>
                    <a:pt x="268" y="746"/>
                    <a:pt x="269" y="746"/>
                  </a:cubicBezTo>
                  <a:cubicBezTo>
                    <a:pt x="270" y="746"/>
                    <a:pt x="271" y="746"/>
                    <a:pt x="272" y="745"/>
                  </a:cubicBezTo>
                  <a:cubicBezTo>
                    <a:pt x="272" y="745"/>
                    <a:pt x="273" y="745"/>
                    <a:pt x="274" y="745"/>
                  </a:cubicBezTo>
                  <a:cubicBezTo>
                    <a:pt x="277" y="744"/>
                    <a:pt x="281" y="744"/>
                    <a:pt x="285" y="743"/>
                  </a:cubicBezTo>
                  <a:cubicBezTo>
                    <a:pt x="286" y="743"/>
                    <a:pt x="287" y="742"/>
                    <a:pt x="288" y="742"/>
                  </a:cubicBezTo>
                  <a:cubicBezTo>
                    <a:pt x="291" y="741"/>
                    <a:pt x="295" y="741"/>
                    <a:pt x="299" y="740"/>
                  </a:cubicBezTo>
                  <a:cubicBezTo>
                    <a:pt x="300" y="739"/>
                    <a:pt x="301" y="739"/>
                    <a:pt x="303" y="738"/>
                  </a:cubicBezTo>
                  <a:moveTo>
                    <a:pt x="1402" y="738"/>
                  </a:moveTo>
                  <a:cubicBezTo>
                    <a:pt x="1395" y="761"/>
                    <a:pt x="1387" y="784"/>
                    <a:pt x="1378" y="805"/>
                  </a:cubicBezTo>
                  <a:cubicBezTo>
                    <a:pt x="1378" y="805"/>
                    <a:pt x="1378" y="806"/>
                    <a:pt x="1378" y="806"/>
                  </a:cubicBezTo>
                  <a:cubicBezTo>
                    <a:pt x="1387" y="785"/>
                    <a:pt x="1395" y="763"/>
                    <a:pt x="1403" y="740"/>
                  </a:cubicBezTo>
                  <a:cubicBezTo>
                    <a:pt x="1403" y="739"/>
                    <a:pt x="1402" y="739"/>
                    <a:pt x="1402" y="738"/>
                  </a:cubicBezTo>
                  <a:moveTo>
                    <a:pt x="249" y="749"/>
                  </a:moveTo>
                  <a:cubicBezTo>
                    <a:pt x="249" y="749"/>
                    <a:pt x="248" y="749"/>
                    <a:pt x="248" y="749"/>
                  </a:cubicBezTo>
                  <a:cubicBezTo>
                    <a:pt x="248" y="750"/>
                    <a:pt x="247" y="750"/>
                    <a:pt x="247" y="750"/>
                  </a:cubicBezTo>
                  <a:cubicBezTo>
                    <a:pt x="245" y="750"/>
                    <a:pt x="242" y="751"/>
                    <a:pt x="240" y="751"/>
                  </a:cubicBezTo>
                  <a:cubicBezTo>
                    <a:pt x="239" y="751"/>
                    <a:pt x="239" y="752"/>
                    <a:pt x="238" y="752"/>
                  </a:cubicBezTo>
                  <a:cubicBezTo>
                    <a:pt x="238" y="752"/>
                    <a:pt x="238" y="752"/>
                    <a:pt x="238" y="752"/>
                  </a:cubicBezTo>
                  <a:cubicBezTo>
                    <a:pt x="229" y="754"/>
                    <a:pt x="220" y="756"/>
                    <a:pt x="211" y="758"/>
                  </a:cubicBezTo>
                  <a:cubicBezTo>
                    <a:pt x="211" y="758"/>
                    <a:pt x="210" y="758"/>
                    <a:pt x="210" y="758"/>
                  </a:cubicBezTo>
                  <a:cubicBezTo>
                    <a:pt x="207" y="759"/>
                    <a:pt x="205" y="760"/>
                    <a:pt x="203" y="760"/>
                  </a:cubicBezTo>
                  <a:cubicBezTo>
                    <a:pt x="200" y="761"/>
                    <a:pt x="198" y="762"/>
                    <a:pt x="195" y="763"/>
                  </a:cubicBezTo>
                  <a:cubicBezTo>
                    <a:pt x="200" y="762"/>
                    <a:pt x="206" y="761"/>
                    <a:pt x="211" y="759"/>
                  </a:cubicBezTo>
                  <a:cubicBezTo>
                    <a:pt x="211" y="759"/>
                    <a:pt x="212" y="759"/>
                    <a:pt x="212" y="759"/>
                  </a:cubicBezTo>
                  <a:cubicBezTo>
                    <a:pt x="220" y="757"/>
                    <a:pt x="229" y="755"/>
                    <a:pt x="237" y="753"/>
                  </a:cubicBezTo>
                  <a:cubicBezTo>
                    <a:pt x="237" y="753"/>
                    <a:pt x="237" y="753"/>
                    <a:pt x="237" y="753"/>
                  </a:cubicBezTo>
                  <a:cubicBezTo>
                    <a:pt x="237" y="753"/>
                    <a:pt x="238" y="753"/>
                    <a:pt x="239" y="753"/>
                  </a:cubicBezTo>
                  <a:cubicBezTo>
                    <a:pt x="240" y="752"/>
                    <a:pt x="242" y="752"/>
                    <a:pt x="243" y="752"/>
                  </a:cubicBezTo>
                  <a:cubicBezTo>
                    <a:pt x="243" y="752"/>
                    <a:pt x="243" y="752"/>
                    <a:pt x="244" y="752"/>
                  </a:cubicBezTo>
                  <a:cubicBezTo>
                    <a:pt x="245" y="751"/>
                    <a:pt x="247" y="750"/>
                    <a:pt x="249" y="749"/>
                  </a:cubicBezTo>
                  <a:moveTo>
                    <a:pt x="195" y="762"/>
                  </a:moveTo>
                  <a:cubicBezTo>
                    <a:pt x="193" y="763"/>
                    <a:pt x="191" y="763"/>
                    <a:pt x="188" y="764"/>
                  </a:cubicBezTo>
                  <a:cubicBezTo>
                    <a:pt x="187" y="764"/>
                    <a:pt x="186" y="764"/>
                    <a:pt x="185" y="765"/>
                  </a:cubicBezTo>
                  <a:cubicBezTo>
                    <a:pt x="179" y="766"/>
                    <a:pt x="173" y="768"/>
                    <a:pt x="167" y="769"/>
                  </a:cubicBezTo>
                  <a:cubicBezTo>
                    <a:pt x="167" y="770"/>
                    <a:pt x="166" y="770"/>
                    <a:pt x="166" y="770"/>
                  </a:cubicBezTo>
                  <a:cubicBezTo>
                    <a:pt x="153" y="773"/>
                    <a:pt x="140" y="777"/>
                    <a:pt x="128" y="781"/>
                  </a:cubicBezTo>
                  <a:cubicBezTo>
                    <a:pt x="128" y="781"/>
                    <a:pt x="127" y="781"/>
                    <a:pt x="127" y="782"/>
                  </a:cubicBezTo>
                  <a:cubicBezTo>
                    <a:pt x="127" y="782"/>
                    <a:pt x="127" y="782"/>
                    <a:pt x="126" y="782"/>
                  </a:cubicBezTo>
                  <a:cubicBezTo>
                    <a:pt x="120" y="784"/>
                    <a:pt x="113" y="787"/>
                    <a:pt x="107" y="789"/>
                  </a:cubicBezTo>
                  <a:cubicBezTo>
                    <a:pt x="107" y="789"/>
                    <a:pt x="107" y="789"/>
                    <a:pt x="107" y="789"/>
                  </a:cubicBezTo>
                  <a:cubicBezTo>
                    <a:pt x="107" y="789"/>
                    <a:pt x="107" y="789"/>
                    <a:pt x="107" y="789"/>
                  </a:cubicBezTo>
                  <a:cubicBezTo>
                    <a:pt x="107" y="789"/>
                    <a:pt x="107" y="789"/>
                    <a:pt x="107" y="789"/>
                  </a:cubicBezTo>
                  <a:cubicBezTo>
                    <a:pt x="108" y="789"/>
                    <a:pt x="108" y="789"/>
                    <a:pt x="108" y="789"/>
                  </a:cubicBezTo>
                  <a:cubicBezTo>
                    <a:pt x="109" y="789"/>
                    <a:pt x="109" y="789"/>
                    <a:pt x="109" y="788"/>
                  </a:cubicBezTo>
                  <a:cubicBezTo>
                    <a:pt x="111" y="788"/>
                    <a:pt x="113" y="787"/>
                    <a:pt x="116" y="786"/>
                  </a:cubicBezTo>
                  <a:cubicBezTo>
                    <a:pt x="116" y="786"/>
                    <a:pt x="117" y="786"/>
                    <a:pt x="117" y="786"/>
                  </a:cubicBezTo>
                  <a:cubicBezTo>
                    <a:pt x="121" y="785"/>
                    <a:pt x="124" y="783"/>
                    <a:pt x="128" y="782"/>
                  </a:cubicBezTo>
                  <a:cubicBezTo>
                    <a:pt x="128" y="782"/>
                    <a:pt x="129" y="782"/>
                    <a:pt x="129" y="782"/>
                  </a:cubicBezTo>
                  <a:cubicBezTo>
                    <a:pt x="141" y="778"/>
                    <a:pt x="154" y="774"/>
                    <a:pt x="167" y="771"/>
                  </a:cubicBezTo>
                  <a:cubicBezTo>
                    <a:pt x="167" y="771"/>
                    <a:pt x="168" y="770"/>
                    <a:pt x="168" y="770"/>
                  </a:cubicBezTo>
                  <a:cubicBezTo>
                    <a:pt x="175" y="769"/>
                    <a:pt x="181" y="767"/>
                    <a:pt x="187" y="765"/>
                  </a:cubicBezTo>
                  <a:cubicBezTo>
                    <a:pt x="190" y="764"/>
                    <a:pt x="193" y="763"/>
                    <a:pt x="195" y="762"/>
                  </a:cubicBezTo>
                  <a:moveTo>
                    <a:pt x="108" y="788"/>
                  </a:moveTo>
                  <a:cubicBezTo>
                    <a:pt x="107" y="788"/>
                    <a:pt x="107" y="788"/>
                    <a:pt x="107" y="788"/>
                  </a:cubicBezTo>
                  <a:cubicBezTo>
                    <a:pt x="107" y="788"/>
                    <a:pt x="107" y="788"/>
                    <a:pt x="107" y="788"/>
                  </a:cubicBezTo>
                  <a:cubicBezTo>
                    <a:pt x="106" y="788"/>
                    <a:pt x="106" y="788"/>
                    <a:pt x="106" y="789"/>
                  </a:cubicBezTo>
                  <a:cubicBezTo>
                    <a:pt x="106" y="789"/>
                    <a:pt x="106" y="789"/>
                    <a:pt x="105" y="789"/>
                  </a:cubicBezTo>
                  <a:cubicBezTo>
                    <a:pt x="105" y="789"/>
                    <a:pt x="104" y="789"/>
                    <a:pt x="104" y="789"/>
                  </a:cubicBezTo>
                  <a:cubicBezTo>
                    <a:pt x="104" y="789"/>
                    <a:pt x="103" y="789"/>
                    <a:pt x="103" y="790"/>
                  </a:cubicBezTo>
                  <a:cubicBezTo>
                    <a:pt x="103" y="790"/>
                    <a:pt x="103" y="790"/>
                    <a:pt x="102" y="790"/>
                  </a:cubicBezTo>
                  <a:cubicBezTo>
                    <a:pt x="102" y="790"/>
                    <a:pt x="102" y="790"/>
                    <a:pt x="101" y="790"/>
                  </a:cubicBezTo>
                  <a:cubicBezTo>
                    <a:pt x="100" y="791"/>
                    <a:pt x="98" y="792"/>
                    <a:pt x="96" y="792"/>
                  </a:cubicBezTo>
                  <a:cubicBezTo>
                    <a:pt x="96" y="792"/>
                    <a:pt x="95" y="792"/>
                    <a:pt x="95" y="793"/>
                  </a:cubicBezTo>
                  <a:cubicBezTo>
                    <a:pt x="94" y="793"/>
                    <a:pt x="93" y="793"/>
                    <a:pt x="93" y="793"/>
                  </a:cubicBezTo>
                  <a:cubicBezTo>
                    <a:pt x="92" y="794"/>
                    <a:pt x="92" y="794"/>
                    <a:pt x="92" y="794"/>
                  </a:cubicBezTo>
                  <a:cubicBezTo>
                    <a:pt x="92" y="794"/>
                    <a:pt x="91" y="794"/>
                    <a:pt x="91" y="794"/>
                  </a:cubicBezTo>
                  <a:cubicBezTo>
                    <a:pt x="91" y="794"/>
                    <a:pt x="90" y="794"/>
                    <a:pt x="90" y="794"/>
                  </a:cubicBezTo>
                  <a:cubicBezTo>
                    <a:pt x="90" y="795"/>
                    <a:pt x="90" y="795"/>
                    <a:pt x="89" y="795"/>
                  </a:cubicBezTo>
                  <a:cubicBezTo>
                    <a:pt x="89" y="795"/>
                    <a:pt x="88" y="795"/>
                    <a:pt x="88" y="795"/>
                  </a:cubicBezTo>
                  <a:cubicBezTo>
                    <a:pt x="87" y="796"/>
                    <a:pt x="87" y="796"/>
                    <a:pt x="86" y="796"/>
                  </a:cubicBezTo>
                  <a:cubicBezTo>
                    <a:pt x="86" y="796"/>
                    <a:pt x="85" y="796"/>
                    <a:pt x="84" y="797"/>
                  </a:cubicBezTo>
                  <a:cubicBezTo>
                    <a:pt x="84" y="797"/>
                    <a:pt x="84" y="797"/>
                    <a:pt x="83" y="797"/>
                  </a:cubicBezTo>
                  <a:cubicBezTo>
                    <a:pt x="83" y="797"/>
                    <a:pt x="83" y="797"/>
                    <a:pt x="83" y="797"/>
                  </a:cubicBezTo>
                  <a:cubicBezTo>
                    <a:pt x="82" y="797"/>
                    <a:pt x="82" y="798"/>
                    <a:pt x="82" y="798"/>
                  </a:cubicBezTo>
                  <a:cubicBezTo>
                    <a:pt x="82" y="798"/>
                    <a:pt x="82" y="798"/>
                    <a:pt x="81" y="798"/>
                  </a:cubicBezTo>
                  <a:cubicBezTo>
                    <a:pt x="81" y="798"/>
                    <a:pt x="81" y="798"/>
                    <a:pt x="81" y="798"/>
                  </a:cubicBezTo>
                  <a:cubicBezTo>
                    <a:pt x="80" y="798"/>
                    <a:pt x="80" y="799"/>
                    <a:pt x="79" y="799"/>
                  </a:cubicBezTo>
                  <a:cubicBezTo>
                    <a:pt x="79" y="799"/>
                    <a:pt x="79" y="799"/>
                    <a:pt x="79" y="799"/>
                  </a:cubicBezTo>
                  <a:cubicBezTo>
                    <a:pt x="79" y="799"/>
                    <a:pt x="78" y="799"/>
                    <a:pt x="78" y="799"/>
                  </a:cubicBezTo>
                  <a:cubicBezTo>
                    <a:pt x="77" y="800"/>
                    <a:pt x="77" y="800"/>
                    <a:pt x="76" y="800"/>
                  </a:cubicBezTo>
                  <a:cubicBezTo>
                    <a:pt x="76" y="800"/>
                    <a:pt x="75" y="800"/>
                    <a:pt x="75" y="801"/>
                  </a:cubicBezTo>
                  <a:cubicBezTo>
                    <a:pt x="74" y="801"/>
                    <a:pt x="74" y="801"/>
                    <a:pt x="74" y="801"/>
                  </a:cubicBezTo>
                  <a:cubicBezTo>
                    <a:pt x="73" y="802"/>
                    <a:pt x="72" y="802"/>
                    <a:pt x="71" y="802"/>
                  </a:cubicBezTo>
                  <a:cubicBezTo>
                    <a:pt x="70" y="803"/>
                    <a:pt x="70" y="803"/>
                    <a:pt x="70" y="803"/>
                  </a:cubicBezTo>
                  <a:cubicBezTo>
                    <a:pt x="69" y="803"/>
                    <a:pt x="69" y="803"/>
                    <a:pt x="69" y="803"/>
                  </a:cubicBezTo>
                  <a:cubicBezTo>
                    <a:pt x="69" y="803"/>
                    <a:pt x="68" y="804"/>
                    <a:pt x="68" y="804"/>
                  </a:cubicBezTo>
                  <a:cubicBezTo>
                    <a:pt x="65" y="805"/>
                    <a:pt x="63" y="806"/>
                    <a:pt x="61" y="807"/>
                  </a:cubicBezTo>
                  <a:cubicBezTo>
                    <a:pt x="61" y="807"/>
                    <a:pt x="60" y="807"/>
                    <a:pt x="60" y="808"/>
                  </a:cubicBezTo>
                  <a:cubicBezTo>
                    <a:pt x="58" y="808"/>
                    <a:pt x="57" y="809"/>
                    <a:pt x="55" y="810"/>
                  </a:cubicBezTo>
                  <a:cubicBezTo>
                    <a:pt x="55" y="810"/>
                    <a:pt x="54" y="810"/>
                    <a:pt x="54" y="811"/>
                  </a:cubicBezTo>
                  <a:cubicBezTo>
                    <a:pt x="53" y="811"/>
                    <a:pt x="53" y="811"/>
                    <a:pt x="52" y="811"/>
                  </a:cubicBezTo>
                  <a:cubicBezTo>
                    <a:pt x="48" y="813"/>
                    <a:pt x="44" y="815"/>
                    <a:pt x="41" y="818"/>
                  </a:cubicBezTo>
                  <a:cubicBezTo>
                    <a:pt x="46" y="815"/>
                    <a:pt x="52" y="812"/>
                    <a:pt x="58" y="810"/>
                  </a:cubicBezTo>
                  <a:cubicBezTo>
                    <a:pt x="59" y="809"/>
                    <a:pt x="60" y="808"/>
                    <a:pt x="61" y="808"/>
                  </a:cubicBezTo>
                  <a:cubicBezTo>
                    <a:pt x="62" y="808"/>
                    <a:pt x="62" y="807"/>
                    <a:pt x="63" y="807"/>
                  </a:cubicBezTo>
                  <a:cubicBezTo>
                    <a:pt x="65" y="806"/>
                    <a:pt x="67" y="805"/>
                    <a:pt x="69" y="804"/>
                  </a:cubicBezTo>
                  <a:cubicBezTo>
                    <a:pt x="70" y="804"/>
                    <a:pt x="70" y="804"/>
                    <a:pt x="71" y="804"/>
                  </a:cubicBezTo>
                  <a:cubicBezTo>
                    <a:pt x="71" y="804"/>
                    <a:pt x="71" y="804"/>
                    <a:pt x="71" y="803"/>
                  </a:cubicBezTo>
                  <a:cubicBezTo>
                    <a:pt x="71" y="803"/>
                    <a:pt x="72" y="803"/>
                    <a:pt x="72" y="803"/>
                  </a:cubicBezTo>
                  <a:cubicBezTo>
                    <a:pt x="73" y="802"/>
                    <a:pt x="74" y="802"/>
                    <a:pt x="75" y="802"/>
                  </a:cubicBezTo>
                  <a:cubicBezTo>
                    <a:pt x="75" y="802"/>
                    <a:pt x="76" y="801"/>
                    <a:pt x="76" y="801"/>
                  </a:cubicBezTo>
                  <a:cubicBezTo>
                    <a:pt x="77" y="801"/>
                    <a:pt x="77" y="801"/>
                    <a:pt x="78" y="801"/>
                  </a:cubicBezTo>
                  <a:cubicBezTo>
                    <a:pt x="78" y="800"/>
                    <a:pt x="78" y="800"/>
                    <a:pt x="79" y="800"/>
                  </a:cubicBezTo>
                  <a:cubicBezTo>
                    <a:pt x="79" y="800"/>
                    <a:pt x="79" y="800"/>
                    <a:pt x="79" y="800"/>
                  </a:cubicBezTo>
                  <a:cubicBezTo>
                    <a:pt x="89" y="796"/>
                    <a:pt x="98" y="792"/>
                    <a:pt x="108" y="788"/>
                  </a:cubicBezTo>
                  <a:moveTo>
                    <a:pt x="1377" y="806"/>
                  </a:moveTo>
                  <a:cubicBezTo>
                    <a:pt x="1372" y="817"/>
                    <a:pt x="1368" y="828"/>
                    <a:pt x="1362" y="838"/>
                  </a:cubicBezTo>
                  <a:cubicBezTo>
                    <a:pt x="1360" y="843"/>
                    <a:pt x="1357" y="849"/>
                    <a:pt x="1354" y="854"/>
                  </a:cubicBezTo>
                  <a:cubicBezTo>
                    <a:pt x="1354" y="855"/>
                    <a:pt x="1354" y="855"/>
                    <a:pt x="1354" y="856"/>
                  </a:cubicBezTo>
                  <a:cubicBezTo>
                    <a:pt x="1357" y="850"/>
                    <a:pt x="1360" y="844"/>
                    <a:pt x="1363" y="838"/>
                  </a:cubicBezTo>
                  <a:cubicBezTo>
                    <a:pt x="1368" y="829"/>
                    <a:pt x="1373" y="818"/>
                    <a:pt x="1378" y="808"/>
                  </a:cubicBezTo>
                  <a:cubicBezTo>
                    <a:pt x="1377" y="807"/>
                    <a:pt x="1377" y="807"/>
                    <a:pt x="1377" y="806"/>
                  </a:cubicBezTo>
                  <a:moveTo>
                    <a:pt x="40" y="819"/>
                  </a:moveTo>
                  <a:cubicBezTo>
                    <a:pt x="38" y="820"/>
                    <a:pt x="35" y="821"/>
                    <a:pt x="32" y="823"/>
                  </a:cubicBezTo>
                  <a:cubicBezTo>
                    <a:pt x="31" y="823"/>
                    <a:pt x="30" y="824"/>
                    <a:pt x="29" y="825"/>
                  </a:cubicBezTo>
                  <a:cubicBezTo>
                    <a:pt x="29" y="825"/>
                    <a:pt x="29" y="825"/>
                    <a:pt x="28" y="826"/>
                  </a:cubicBezTo>
                  <a:cubicBezTo>
                    <a:pt x="26" y="827"/>
                    <a:pt x="23" y="829"/>
                    <a:pt x="21" y="831"/>
                  </a:cubicBezTo>
                  <a:cubicBezTo>
                    <a:pt x="20" y="832"/>
                    <a:pt x="20" y="832"/>
                    <a:pt x="20" y="832"/>
                  </a:cubicBezTo>
                  <a:cubicBezTo>
                    <a:pt x="19" y="832"/>
                    <a:pt x="19" y="833"/>
                    <a:pt x="19" y="833"/>
                  </a:cubicBezTo>
                  <a:cubicBezTo>
                    <a:pt x="18" y="833"/>
                    <a:pt x="18" y="834"/>
                    <a:pt x="18" y="834"/>
                  </a:cubicBezTo>
                  <a:cubicBezTo>
                    <a:pt x="14" y="837"/>
                    <a:pt x="11" y="840"/>
                    <a:pt x="9" y="843"/>
                  </a:cubicBezTo>
                  <a:cubicBezTo>
                    <a:pt x="9" y="843"/>
                    <a:pt x="9" y="843"/>
                    <a:pt x="9" y="843"/>
                  </a:cubicBezTo>
                  <a:cubicBezTo>
                    <a:pt x="8" y="844"/>
                    <a:pt x="8" y="844"/>
                    <a:pt x="8" y="844"/>
                  </a:cubicBezTo>
                  <a:cubicBezTo>
                    <a:pt x="8" y="845"/>
                    <a:pt x="8" y="845"/>
                    <a:pt x="7" y="845"/>
                  </a:cubicBezTo>
                  <a:cubicBezTo>
                    <a:pt x="7" y="846"/>
                    <a:pt x="6" y="847"/>
                    <a:pt x="6" y="848"/>
                  </a:cubicBezTo>
                  <a:cubicBezTo>
                    <a:pt x="6" y="847"/>
                    <a:pt x="7" y="847"/>
                    <a:pt x="7" y="847"/>
                  </a:cubicBezTo>
                  <a:cubicBezTo>
                    <a:pt x="8" y="846"/>
                    <a:pt x="8" y="846"/>
                    <a:pt x="8" y="846"/>
                  </a:cubicBezTo>
                  <a:cubicBezTo>
                    <a:pt x="8" y="845"/>
                    <a:pt x="9" y="845"/>
                    <a:pt x="9" y="845"/>
                  </a:cubicBezTo>
                  <a:cubicBezTo>
                    <a:pt x="9" y="845"/>
                    <a:pt x="9" y="845"/>
                    <a:pt x="9" y="845"/>
                  </a:cubicBezTo>
                  <a:cubicBezTo>
                    <a:pt x="9" y="844"/>
                    <a:pt x="9" y="844"/>
                    <a:pt x="10" y="844"/>
                  </a:cubicBezTo>
                  <a:cubicBezTo>
                    <a:pt x="10" y="844"/>
                    <a:pt x="10" y="843"/>
                    <a:pt x="10" y="843"/>
                  </a:cubicBezTo>
                  <a:cubicBezTo>
                    <a:pt x="12" y="840"/>
                    <a:pt x="15" y="837"/>
                    <a:pt x="19" y="834"/>
                  </a:cubicBezTo>
                  <a:cubicBezTo>
                    <a:pt x="19" y="834"/>
                    <a:pt x="19" y="834"/>
                    <a:pt x="20" y="833"/>
                  </a:cubicBezTo>
                  <a:cubicBezTo>
                    <a:pt x="20" y="833"/>
                    <a:pt x="20" y="833"/>
                    <a:pt x="21" y="832"/>
                  </a:cubicBezTo>
                  <a:cubicBezTo>
                    <a:pt x="21" y="832"/>
                    <a:pt x="21" y="832"/>
                    <a:pt x="22" y="832"/>
                  </a:cubicBezTo>
                  <a:cubicBezTo>
                    <a:pt x="24" y="830"/>
                    <a:pt x="27" y="828"/>
                    <a:pt x="29" y="826"/>
                  </a:cubicBezTo>
                  <a:cubicBezTo>
                    <a:pt x="30" y="826"/>
                    <a:pt x="30" y="825"/>
                    <a:pt x="31" y="825"/>
                  </a:cubicBezTo>
                  <a:cubicBezTo>
                    <a:pt x="32" y="824"/>
                    <a:pt x="35" y="822"/>
                    <a:pt x="37" y="821"/>
                  </a:cubicBezTo>
                  <a:cubicBezTo>
                    <a:pt x="37" y="821"/>
                    <a:pt x="38" y="821"/>
                    <a:pt x="38" y="820"/>
                  </a:cubicBezTo>
                  <a:cubicBezTo>
                    <a:pt x="39" y="820"/>
                    <a:pt x="40" y="819"/>
                    <a:pt x="40" y="819"/>
                  </a:cubicBezTo>
                  <a:moveTo>
                    <a:pt x="6" y="849"/>
                  </a:moveTo>
                  <a:cubicBezTo>
                    <a:pt x="6" y="849"/>
                    <a:pt x="5" y="849"/>
                    <a:pt x="5" y="849"/>
                  </a:cubicBezTo>
                  <a:cubicBezTo>
                    <a:pt x="4" y="851"/>
                    <a:pt x="3" y="853"/>
                    <a:pt x="2" y="855"/>
                  </a:cubicBezTo>
                  <a:cubicBezTo>
                    <a:pt x="2" y="855"/>
                    <a:pt x="2" y="856"/>
                    <a:pt x="2" y="856"/>
                  </a:cubicBezTo>
                  <a:cubicBezTo>
                    <a:pt x="2" y="856"/>
                    <a:pt x="2" y="856"/>
                    <a:pt x="2" y="856"/>
                  </a:cubicBezTo>
                  <a:cubicBezTo>
                    <a:pt x="2" y="856"/>
                    <a:pt x="2" y="857"/>
                    <a:pt x="1" y="857"/>
                  </a:cubicBezTo>
                  <a:cubicBezTo>
                    <a:pt x="1" y="857"/>
                    <a:pt x="1" y="857"/>
                    <a:pt x="1" y="857"/>
                  </a:cubicBezTo>
                  <a:cubicBezTo>
                    <a:pt x="1" y="858"/>
                    <a:pt x="1" y="858"/>
                    <a:pt x="1" y="858"/>
                  </a:cubicBezTo>
                  <a:cubicBezTo>
                    <a:pt x="1" y="858"/>
                    <a:pt x="1" y="858"/>
                    <a:pt x="1" y="859"/>
                  </a:cubicBezTo>
                  <a:cubicBezTo>
                    <a:pt x="1" y="859"/>
                    <a:pt x="1" y="859"/>
                    <a:pt x="1" y="859"/>
                  </a:cubicBezTo>
                  <a:cubicBezTo>
                    <a:pt x="1" y="860"/>
                    <a:pt x="1" y="860"/>
                    <a:pt x="1" y="860"/>
                  </a:cubicBezTo>
                  <a:cubicBezTo>
                    <a:pt x="1" y="861"/>
                    <a:pt x="1" y="861"/>
                    <a:pt x="1" y="861"/>
                  </a:cubicBezTo>
                  <a:cubicBezTo>
                    <a:pt x="0" y="861"/>
                    <a:pt x="0" y="862"/>
                    <a:pt x="0" y="862"/>
                  </a:cubicBezTo>
                  <a:cubicBezTo>
                    <a:pt x="1" y="862"/>
                    <a:pt x="1" y="862"/>
                    <a:pt x="1" y="862"/>
                  </a:cubicBezTo>
                  <a:cubicBezTo>
                    <a:pt x="1" y="862"/>
                    <a:pt x="1" y="861"/>
                    <a:pt x="2" y="861"/>
                  </a:cubicBezTo>
                  <a:cubicBezTo>
                    <a:pt x="2" y="861"/>
                    <a:pt x="2" y="861"/>
                    <a:pt x="2" y="861"/>
                  </a:cubicBezTo>
                  <a:cubicBezTo>
                    <a:pt x="2" y="860"/>
                    <a:pt x="2" y="860"/>
                    <a:pt x="2" y="860"/>
                  </a:cubicBezTo>
                  <a:cubicBezTo>
                    <a:pt x="2" y="859"/>
                    <a:pt x="2" y="859"/>
                    <a:pt x="2" y="859"/>
                  </a:cubicBezTo>
                  <a:cubicBezTo>
                    <a:pt x="2" y="859"/>
                    <a:pt x="2" y="858"/>
                    <a:pt x="2" y="858"/>
                  </a:cubicBezTo>
                  <a:cubicBezTo>
                    <a:pt x="2" y="858"/>
                    <a:pt x="2" y="858"/>
                    <a:pt x="2" y="858"/>
                  </a:cubicBezTo>
                  <a:cubicBezTo>
                    <a:pt x="2" y="858"/>
                    <a:pt x="2" y="857"/>
                    <a:pt x="2" y="857"/>
                  </a:cubicBezTo>
                  <a:cubicBezTo>
                    <a:pt x="3" y="857"/>
                    <a:pt x="3" y="856"/>
                    <a:pt x="3" y="856"/>
                  </a:cubicBezTo>
                  <a:cubicBezTo>
                    <a:pt x="3" y="856"/>
                    <a:pt x="3" y="856"/>
                    <a:pt x="3" y="855"/>
                  </a:cubicBezTo>
                  <a:cubicBezTo>
                    <a:pt x="4" y="853"/>
                    <a:pt x="5" y="851"/>
                    <a:pt x="6" y="849"/>
                  </a:cubicBezTo>
                  <a:moveTo>
                    <a:pt x="1353" y="856"/>
                  </a:moveTo>
                  <a:cubicBezTo>
                    <a:pt x="1346" y="869"/>
                    <a:pt x="1338" y="882"/>
                    <a:pt x="1330" y="896"/>
                  </a:cubicBezTo>
                  <a:cubicBezTo>
                    <a:pt x="1330" y="896"/>
                    <a:pt x="1330" y="897"/>
                    <a:pt x="1330" y="897"/>
                  </a:cubicBezTo>
                  <a:cubicBezTo>
                    <a:pt x="1338" y="883"/>
                    <a:pt x="1346" y="870"/>
                    <a:pt x="1353" y="857"/>
                  </a:cubicBezTo>
                  <a:cubicBezTo>
                    <a:pt x="1353" y="856"/>
                    <a:pt x="1353" y="856"/>
                    <a:pt x="1353" y="856"/>
                  </a:cubicBezTo>
                  <a:moveTo>
                    <a:pt x="1" y="863"/>
                  </a:moveTo>
                  <a:cubicBezTo>
                    <a:pt x="1" y="863"/>
                    <a:pt x="1" y="863"/>
                    <a:pt x="0" y="864"/>
                  </a:cubicBezTo>
                  <a:cubicBezTo>
                    <a:pt x="0" y="864"/>
                    <a:pt x="0" y="865"/>
                    <a:pt x="0" y="865"/>
                  </a:cubicBezTo>
                  <a:cubicBezTo>
                    <a:pt x="0" y="866"/>
                    <a:pt x="0" y="866"/>
                    <a:pt x="0" y="866"/>
                  </a:cubicBezTo>
                  <a:cubicBezTo>
                    <a:pt x="0" y="867"/>
                    <a:pt x="0" y="867"/>
                    <a:pt x="0" y="868"/>
                  </a:cubicBezTo>
                  <a:cubicBezTo>
                    <a:pt x="1" y="870"/>
                    <a:pt x="1" y="872"/>
                    <a:pt x="1" y="874"/>
                  </a:cubicBezTo>
                  <a:cubicBezTo>
                    <a:pt x="2" y="874"/>
                    <a:pt x="2" y="874"/>
                    <a:pt x="2" y="874"/>
                  </a:cubicBezTo>
                  <a:cubicBezTo>
                    <a:pt x="2" y="872"/>
                    <a:pt x="2" y="871"/>
                    <a:pt x="1" y="870"/>
                  </a:cubicBezTo>
                  <a:cubicBezTo>
                    <a:pt x="1" y="869"/>
                    <a:pt x="1" y="868"/>
                    <a:pt x="1" y="868"/>
                  </a:cubicBezTo>
                  <a:cubicBezTo>
                    <a:pt x="1" y="868"/>
                    <a:pt x="1" y="868"/>
                    <a:pt x="1" y="868"/>
                  </a:cubicBezTo>
                  <a:cubicBezTo>
                    <a:pt x="1" y="867"/>
                    <a:pt x="1" y="867"/>
                    <a:pt x="1" y="867"/>
                  </a:cubicBezTo>
                  <a:cubicBezTo>
                    <a:pt x="1" y="866"/>
                    <a:pt x="1" y="866"/>
                    <a:pt x="1" y="865"/>
                  </a:cubicBezTo>
                  <a:cubicBezTo>
                    <a:pt x="1" y="865"/>
                    <a:pt x="1" y="864"/>
                    <a:pt x="1" y="863"/>
                  </a:cubicBezTo>
                  <a:moveTo>
                    <a:pt x="3" y="875"/>
                  </a:moveTo>
                  <a:cubicBezTo>
                    <a:pt x="2" y="875"/>
                    <a:pt x="2" y="875"/>
                    <a:pt x="2" y="875"/>
                  </a:cubicBezTo>
                  <a:cubicBezTo>
                    <a:pt x="3" y="877"/>
                    <a:pt x="4" y="879"/>
                    <a:pt x="5" y="882"/>
                  </a:cubicBezTo>
                  <a:cubicBezTo>
                    <a:pt x="5" y="882"/>
                    <a:pt x="5" y="881"/>
                    <a:pt x="6" y="881"/>
                  </a:cubicBezTo>
                  <a:cubicBezTo>
                    <a:pt x="4" y="879"/>
                    <a:pt x="3" y="877"/>
                    <a:pt x="3" y="875"/>
                  </a:cubicBezTo>
                  <a:moveTo>
                    <a:pt x="6" y="882"/>
                  </a:moveTo>
                  <a:cubicBezTo>
                    <a:pt x="6" y="882"/>
                    <a:pt x="6" y="882"/>
                    <a:pt x="5" y="883"/>
                  </a:cubicBezTo>
                  <a:cubicBezTo>
                    <a:pt x="6" y="884"/>
                    <a:pt x="7" y="886"/>
                    <a:pt x="9" y="888"/>
                  </a:cubicBezTo>
                  <a:cubicBezTo>
                    <a:pt x="9" y="888"/>
                    <a:pt x="9" y="888"/>
                    <a:pt x="9" y="888"/>
                  </a:cubicBezTo>
                  <a:cubicBezTo>
                    <a:pt x="9" y="888"/>
                    <a:pt x="9" y="888"/>
                    <a:pt x="9" y="888"/>
                  </a:cubicBezTo>
                  <a:cubicBezTo>
                    <a:pt x="9" y="887"/>
                    <a:pt x="9" y="886"/>
                    <a:pt x="9" y="886"/>
                  </a:cubicBezTo>
                  <a:cubicBezTo>
                    <a:pt x="8" y="885"/>
                    <a:pt x="7" y="883"/>
                    <a:pt x="6" y="882"/>
                  </a:cubicBezTo>
                  <a:moveTo>
                    <a:pt x="10" y="888"/>
                  </a:moveTo>
                  <a:cubicBezTo>
                    <a:pt x="10" y="888"/>
                    <a:pt x="10" y="888"/>
                    <a:pt x="10" y="888"/>
                  </a:cubicBezTo>
                  <a:cubicBezTo>
                    <a:pt x="10" y="889"/>
                    <a:pt x="10" y="889"/>
                    <a:pt x="10" y="889"/>
                  </a:cubicBezTo>
                  <a:cubicBezTo>
                    <a:pt x="11" y="891"/>
                    <a:pt x="12" y="892"/>
                    <a:pt x="14" y="894"/>
                  </a:cubicBezTo>
                  <a:cubicBezTo>
                    <a:pt x="14" y="893"/>
                    <a:pt x="14" y="893"/>
                    <a:pt x="15" y="893"/>
                  </a:cubicBezTo>
                  <a:cubicBezTo>
                    <a:pt x="13" y="892"/>
                    <a:pt x="12" y="890"/>
                    <a:pt x="11" y="889"/>
                  </a:cubicBezTo>
                  <a:cubicBezTo>
                    <a:pt x="11" y="889"/>
                    <a:pt x="10" y="888"/>
                    <a:pt x="10" y="888"/>
                  </a:cubicBezTo>
                  <a:moveTo>
                    <a:pt x="15" y="894"/>
                  </a:moveTo>
                  <a:cubicBezTo>
                    <a:pt x="15" y="894"/>
                    <a:pt x="15" y="894"/>
                    <a:pt x="15" y="894"/>
                  </a:cubicBezTo>
                  <a:cubicBezTo>
                    <a:pt x="15" y="895"/>
                    <a:pt x="16" y="896"/>
                    <a:pt x="17" y="897"/>
                  </a:cubicBezTo>
                  <a:cubicBezTo>
                    <a:pt x="17" y="896"/>
                    <a:pt x="17" y="896"/>
                    <a:pt x="17" y="895"/>
                  </a:cubicBezTo>
                  <a:cubicBezTo>
                    <a:pt x="16" y="895"/>
                    <a:pt x="16" y="894"/>
                    <a:pt x="15" y="894"/>
                  </a:cubicBezTo>
                  <a:moveTo>
                    <a:pt x="18" y="896"/>
                  </a:moveTo>
                  <a:cubicBezTo>
                    <a:pt x="18" y="897"/>
                    <a:pt x="18" y="897"/>
                    <a:pt x="18" y="897"/>
                  </a:cubicBezTo>
                  <a:cubicBezTo>
                    <a:pt x="18" y="898"/>
                    <a:pt x="19" y="898"/>
                    <a:pt x="19" y="899"/>
                  </a:cubicBezTo>
                  <a:cubicBezTo>
                    <a:pt x="19" y="898"/>
                    <a:pt x="20" y="898"/>
                    <a:pt x="20" y="898"/>
                  </a:cubicBezTo>
                  <a:cubicBezTo>
                    <a:pt x="19" y="897"/>
                    <a:pt x="19" y="897"/>
                    <a:pt x="18" y="896"/>
                  </a:cubicBezTo>
                  <a:moveTo>
                    <a:pt x="1329" y="897"/>
                  </a:moveTo>
                  <a:cubicBezTo>
                    <a:pt x="1322" y="909"/>
                    <a:pt x="1315" y="922"/>
                    <a:pt x="1309" y="934"/>
                  </a:cubicBezTo>
                  <a:cubicBezTo>
                    <a:pt x="1309" y="934"/>
                    <a:pt x="1309" y="934"/>
                    <a:pt x="1309" y="935"/>
                  </a:cubicBezTo>
                  <a:cubicBezTo>
                    <a:pt x="1316" y="922"/>
                    <a:pt x="1323" y="910"/>
                    <a:pt x="1330" y="898"/>
                  </a:cubicBezTo>
                  <a:cubicBezTo>
                    <a:pt x="1330" y="898"/>
                    <a:pt x="1329" y="897"/>
                    <a:pt x="1329" y="897"/>
                  </a:cubicBezTo>
                  <a:moveTo>
                    <a:pt x="21" y="899"/>
                  </a:moveTo>
                  <a:cubicBezTo>
                    <a:pt x="20" y="899"/>
                    <a:pt x="20" y="899"/>
                    <a:pt x="20" y="899"/>
                  </a:cubicBezTo>
                  <a:cubicBezTo>
                    <a:pt x="22" y="901"/>
                    <a:pt x="23" y="902"/>
                    <a:pt x="25" y="904"/>
                  </a:cubicBezTo>
                  <a:cubicBezTo>
                    <a:pt x="26" y="903"/>
                    <a:pt x="26" y="903"/>
                    <a:pt x="26" y="903"/>
                  </a:cubicBezTo>
                  <a:cubicBezTo>
                    <a:pt x="24" y="902"/>
                    <a:pt x="22" y="900"/>
                    <a:pt x="21" y="899"/>
                  </a:cubicBezTo>
                  <a:moveTo>
                    <a:pt x="27" y="904"/>
                  </a:moveTo>
                  <a:cubicBezTo>
                    <a:pt x="27" y="904"/>
                    <a:pt x="26" y="904"/>
                    <a:pt x="26" y="904"/>
                  </a:cubicBezTo>
                  <a:cubicBezTo>
                    <a:pt x="26" y="905"/>
                    <a:pt x="27" y="905"/>
                    <a:pt x="27" y="905"/>
                  </a:cubicBezTo>
                  <a:cubicBezTo>
                    <a:pt x="27" y="905"/>
                    <a:pt x="27" y="904"/>
                    <a:pt x="27" y="904"/>
                  </a:cubicBezTo>
                  <a:cubicBezTo>
                    <a:pt x="27" y="904"/>
                    <a:pt x="27" y="904"/>
                    <a:pt x="27" y="904"/>
                  </a:cubicBezTo>
                  <a:moveTo>
                    <a:pt x="28" y="905"/>
                  </a:moveTo>
                  <a:cubicBezTo>
                    <a:pt x="28" y="905"/>
                    <a:pt x="28" y="905"/>
                    <a:pt x="28" y="905"/>
                  </a:cubicBezTo>
                  <a:cubicBezTo>
                    <a:pt x="30" y="907"/>
                    <a:pt x="32" y="908"/>
                    <a:pt x="34" y="910"/>
                  </a:cubicBezTo>
                  <a:cubicBezTo>
                    <a:pt x="34" y="910"/>
                    <a:pt x="34" y="909"/>
                    <a:pt x="35" y="909"/>
                  </a:cubicBezTo>
                  <a:cubicBezTo>
                    <a:pt x="32" y="908"/>
                    <a:pt x="30" y="906"/>
                    <a:pt x="28" y="905"/>
                  </a:cubicBezTo>
                  <a:moveTo>
                    <a:pt x="36" y="910"/>
                  </a:moveTo>
                  <a:cubicBezTo>
                    <a:pt x="35" y="910"/>
                    <a:pt x="35" y="910"/>
                    <a:pt x="35" y="910"/>
                  </a:cubicBezTo>
                  <a:cubicBezTo>
                    <a:pt x="35" y="911"/>
                    <a:pt x="35" y="911"/>
                    <a:pt x="36" y="911"/>
                  </a:cubicBezTo>
                  <a:cubicBezTo>
                    <a:pt x="36" y="911"/>
                    <a:pt x="37" y="912"/>
                    <a:pt x="37" y="912"/>
                  </a:cubicBezTo>
                  <a:cubicBezTo>
                    <a:pt x="38" y="912"/>
                    <a:pt x="38" y="913"/>
                    <a:pt x="39" y="913"/>
                  </a:cubicBezTo>
                  <a:cubicBezTo>
                    <a:pt x="39" y="913"/>
                    <a:pt x="39" y="912"/>
                    <a:pt x="39" y="912"/>
                  </a:cubicBezTo>
                  <a:cubicBezTo>
                    <a:pt x="39" y="912"/>
                    <a:pt x="38" y="911"/>
                    <a:pt x="38" y="911"/>
                  </a:cubicBezTo>
                  <a:cubicBezTo>
                    <a:pt x="37" y="911"/>
                    <a:pt x="36" y="910"/>
                    <a:pt x="36" y="910"/>
                  </a:cubicBezTo>
                  <a:moveTo>
                    <a:pt x="40" y="912"/>
                  </a:moveTo>
                  <a:cubicBezTo>
                    <a:pt x="40" y="913"/>
                    <a:pt x="40" y="913"/>
                    <a:pt x="39" y="913"/>
                  </a:cubicBezTo>
                  <a:cubicBezTo>
                    <a:pt x="52" y="921"/>
                    <a:pt x="67" y="928"/>
                    <a:pt x="85" y="936"/>
                  </a:cubicBezTo>
                  <a:cubicBezTo>
                    <a:pt x="87" y="936"/>
                    <a:pt x="88" y="937"/>
                    <a:pt x="89" y="937"/>
                  </a:cubicBezTo>
                  <a:cubicBezTo>
                    <a:pt x="106" y="944"/>
                    <a:pt x="126" y="952"/>
                    <a:pt x="150" y="959"/>
                  </a:cubicBezTo>
                  <a:cubicBezTo>
                    <a:pt x="150" y="959"/>
                    <a:pt x="151" y="959"/>
                    <a:pt x="151" y="959"/>
                  </a:cubicBezTo>
                  <a:cubicBezTo>
                    <a:pt x="152" y="960"/>
                    <a:pt x="152" y="960"/>
                    <a:pt x="153" y="960"/>
                  </a:cubicBezTo>
                  <a:cubicBezTo>
                    <a:pt x="154" y="960"/>
                    <a:pt x="154" y="960"/>
                    <a:pt x="155" y="960"/>
                  </a:cubicBezTo>
                  <a:cubicBezTo>
                    <a:pt x="155" y="960"/>
                    <a:pt x="155" y="961"/>
                    <a:pt x="155" y="961"/>
                  </a:cubicBezTo>
                  <a:cubicBezTo>
                    <a:pt x="156" y="961"/>
                    <a:pt x="156" y="961"/>
                    <a:pt x="157" y="961"/>
                  </a:cubicBezTo>
                  <a:cubicBezTo>
                    <a:pt x="161" y="962"/>
                    <a:pt x="165" y="964"/>
                    <a:pt x="170" y="965"/>
                  </a:cubicBezTo>
                  <a:cubicBezTo>
                    <a:pt x="170" y="965"/>
                    <a:pt x="171" y="965"/>
                    <a:pt x="171" y="965"/>
                  </a:cubicBezTo>
                  <a:cubicBezTo>
                    <a:pt x="181" y="968"/>
                    <a:pt x="192" y="971"/>
                    <a:pt x="203" y="974"/>
                  </a:cubicBezTo>
                  <a:cubicBezTo>
                    <a:pt x="204" y="975"/>
                    <a:pt x="204" y="975"/>
                    <a:pt x="204" y="975"/>
                  </a:cubicBezTo>
                  <a:cubicBezTo>
                    <a:pt x="219" y="979"/>
                    <a:pt x="234" y="982"/>
                    <a:pt x="250" y="986"/>
                  </a:cubicBezTo>
                  <a:cubicBezTo>
                    <a:pt x="250" y="986"/>
                    <a:pt x="250" y="986"/>
                    <a:pt x="251" y="986"/>
                  </a:cubicBezTo>
                  <a:cubicBezTo>
                    <a:pt x="254" y="987"/>
                    <a:pt x="257" y="988"/>
                    <a:pt x="260" y="989"/>
                  </a:cubicBezTo>
                  <a:cubicBezTo>
                    <a:pt x="260" y="988"/>
                    <a:pt x="261" y="988"/>
                    <a:pt x="261" y="988"/>
                  </a:cubicBezTo>
                  <a:cubicBezTo>
                    <a:pt x="258" y="987"/>
                    <a:pt x="255" y="986"/>
                    <a:pt x="251" y="986"/>
                  </a:cubicBezTo>
                  <a:cubicBezTo>
                    <a:pt x="251" y="986"/>
                    <a:pt x="251" y="985"/>
                    <a:pt x="250" y="985"/>
                  </a:cubicBezTo>
                  <a:cubicBezTo>
                    <a:pt x="234" y="982"/>
                    <a:pt x="219" y="978"/>
                    <a:pt x="205" y="974"/>
                  </a:cubicBezTo>
                  <a:cubicBezTo>
                    <a:pt x="205" y="974"/>
                    <a:pt x="205" y="974"/>
                    <a:pt x="204" y="974"/>
                  </a:cubicBezTo>
                  <a:cubicBezTo>
                    <a:pt x="193" y="971"/>
                    <a:pt x="182" y="968"/>
                    <a:pt x="172" y="965"/>
                  </a:cubicBezTo>
                  <a:cubicBezTo>
                    <a:pt x="171" y="964"/>
                    <a:pt x="171" y="964"/>
                    <a:pt x="171" y="964"/>
                  </a:cubicBezTo>
                  <a:cubicBezTo>
                    <a:pt x="166" y="963"/>
                    <a:pt x="162" y="962"/>
                    <a:pt x="158" y="960"/>
                  </a:cubicBezTo>
                  <a:cubicBezTo>
                    <a:pt x="157" y="960"/>
                    <a:pt x="157" y="960"/>
                    <a:pt x="156" y="960"/>
                  </a:cubicBezTo>
                  <a:cubicBezTo>
                    <a:pt x="156" y="960"/>
                    <a:pt x="156" y="960"/>
                    <a:pt x="156" y="960"/>
                  </a:cubicBezTo>
                  <a:cubicBezTo>
                    <a:pt x="155" y="960"/>
                    <a:pt x="155" y="959"/>
                    <a:pt x="154" y="959"/>
                  </a:cubicBezTo>
                  <a:cubicBezTo>
                    <a:pt x="154" y="959"/>
                    <a:pt x="153" y="959"/>
                    <a:pt x="152" y="959"/>
                  </a:cubicBezTo>
                  <a:cubicBezTo>
                    <a:pt x="152" y="959"/>
                    <a:pt x="151" y="958"/>
                    <a:pt x="151" y="958"/>
                  </a:cubicBezTo>
                  <a:cubicBezTo>
                    <a:pt x="129" y="951"/>
                    <a:pt x="109" y="944"/>
                    <a:pt x="92" y="938"/>
                  </a:cubicBezTo>
                  <a:cubicBezTo>
                    <a:pt x="91" y="937"/>
                    <a:pt x="90" y="937"/>
                    <a:pt x="89" y="936"/>
                  </a:cubicBezTo>
                  <a:cubicBezTo>
                    <a:pt x="69" y="928"/>
                    <a:pt x="53" y="920"/>
                    <a:pt x="40" y="912"/>
                  </a:cubicBezTo>
                  <a:moveTo>
                    <a:pt x="1308" y="935"/>
                  </a:moveTo>
                  <a:cubicBezTo>
                    <a:pt x="1301" y="948"/>
                    <a:pt x="1294" y="961"/>
                    <a:pt x="1289" y="974"/>
                  </a:cubicBezTo>
                  <a:cubicBezTo>
                    <a:pt x="1289" y="974"/>
                    <a:pt x="1289" y="974"/>
                    <a:pt x="1289" y="975"/>
                  </a:cubicBezTo>
                  <a:cubicBezTo>
                    <a:pt x="1295" y="962"/>
                    <a:pt x="1302" y="949"/>
                    <a:pt x="1309" y="936"/>
                  </a:cubicBezTo>
                  <a:cubicBezTo>
                    <a:pt x="1308" y="935"/>
                    <a:pt x="1308" y="935"/>
                    <a:pt x="1308" y="935"/>
                  </a:cubicBezTo>
                  <a:moveTo>
                    <a:pt x="1288" y="975"/>
                  </a:moveTo>
                  <a:cubicBezTo>
                    <a:pt x="1282" y="988"/>
                    <a:pt x="1277" y="1002"/>
                    <a:pt x="1273" y="1015"/>
                  </a:cubicBezTo>
                  <a:cubicBezTo>
                    <a:pt x="1273" y="1016"/>
                    <a:pt x="1273" y="1016"/>
                    <a:pt x="1273" y="1016"/>
                  </a:cubicBezTo>
                  <a:cubicBezTo>
                    <a:pt x="1277" y="1003"/>
                    <a:pt x="1283" y="989"/>
                    <a:pt x="1289" y="976"/>
                  </a:cubicBezTo>
                  <a:cubicBezTo>
                    <a:pt x="1289" y="975"/>
                    <a:pt x="1288" y="975"/>
                    <a:pt x="1288" y="975"/>
                  </a:cubicBezTo>
                  <a:moveTo>
                    <a:pt x="661" y="987"/>
                  </a:moveTo>
                  <a:cubicBezTo>
                    <a:pt x="655" y="987"/>
                    <a:pt x="649" y="987"/>
                    <a:pt x="643" y="987"/>
                  </a:cubicBezTo>
                  <a:cubicBezTo>
                    <a:pt x="642" y="987"/>
                    <a:pt x="642" y="987"/>
                    <a:pt x="641" y="988"/>
                  </a:cubicBezTo>
                  <a:cubicBezTo>
                    <a:pt x="639" y="988"/>
                    <a:pt x="637" y="988"/>
                    <a:pt x="635" y="989"/>
                  </a:cubicBezTo>
                  <a:cubicBezTo>
                    <a:pt x="637" y="989"/>
                    <a:pt x="640" y="989"/>
                    <a:pt x="643" y="988"/>
                  </a:cubicBezTo>
                  <a:cubicBezTo>
                    <a:pt x="644" y="988"/>
                    <a:pt x="645" y="988"/>
                    <a:pt x="647" y="988"/>
                  </a:cubicBezTo>
                  <a:cubicBezTo>
                    <a:pt x="652" y="988"/>
                    <a:pt x="656" y="988"/>
                    <a:pt x="661" y="988"/>
                  </a:cubicBezTo>
                  <a:cubicBezTo>
                    <a:pt x="668" y="988"/>
                    <a:pt x="675" y="988"/>
                    <a:pt x="682" y="989"/>
                  </a:cubicBezTo>
                  <a:cubicBezTo>
                    <a:pt x="681" y="988"/>
                    <a:pt x="681" y="988"/>
                    <a:pt x="681" y="988"/>
                  </a:cubicBezTo>
                  <a:cubicBezTo>
                    <a:pt x="675" y="987"/>
                    <a:pt x="668" y="987"/>
                    <a:pt x="661" y="987"/>
                  </a:cubicBezTo>
                  <a:moveTo>
                    <a:pt x="682" y="988"/>
                  </a:moveTo>
                  <a:cubicBezTo>
                    <a:pt x="682" y="988"/>
                    <a:pt x="682" y="988"/>
                    <a:pt x="683" y="989"/>
                  </a:cubicBezTo>
                  <a:cubicBezTo>
                    <a:pt x="688" y="989"/>
                    <a:pt x="693" y="990"/>
                    <a:pt x="698" y="990"/>
                  </a:cubicBezTo>
                  <a:cubicBezTo>
                    <a:pt x="698" y="990"/>
                    <a:pt x="698" y="989"/>
                    <a:pt x="698" y="989"/>
                  </a:cubicBezTo>
                  <a:cubicBezTo>
                    <a:pt x="693" y="988"/>
                    <a:pt x="688" y="988"/>
                    <a:pt x="682" y="988"/>
                  </a:cubicBezTo>
                  <a:moveTo>
                    <a:pt x="263" y="988"/>
                  </a:moveTo>
                  <a:cubicBezTo>
                    <a:pt x="263" y="989"/>
                    <a:pt x="262" y="989"/>
                    <a:pt x="261" y="989"/>
                  </a:cubicBezTo>
                  <a:cubicBezTo>
                    <a:pt x="269" y="991"/>
                    <a:pt x="277" y="993"/>
                    <a:pt x="285" y="994"/>
                  </a:cubicBezTo>
                  <a:cubicBezTo>
                    <a:pt x="285" y="994"/>
                    <a:pt x="286" y="994"/>
                    <a:pt x="287" y="994"/>
                  </a:cubicBezTo>
                  <a:cubicBezTo>
                    <a:pt x="279" y="992"/>
                    <a:pt x="271" y="990"/>
                    <a:pt x="263" y="988"/>
                  </a:cubicBezTo>
                  <a:moveTo>
                    <a:pt x="618" y="989"/>
                  </a:moveTo>
                  <a:cubicBezTo>
                    <a:pt x="618" y="989"/>
                    <a:pt x="617" y="989"/>
                    <a:pt x="616" y="989"/>
                  </a:cubicBezTo>
                  <a:cubicBezTo>
                    <a:pt x="616" y="989"/>
                    <a:pt x="615" y="989"/>
                    <a:pt x="615" y="989"/>
                  </a:cubicBezTo>
                  <a:cubicBezTo>
                    <a:pt x="613" y="989"/>
                    <a:pt x="612" y="989"/>
                    <a:pt x="611" y="989"/>
                  </a:cubicBezTo>
                  <a:cubicBezTo>
                    <a:pt x="611" y="989"/>
                    <a:pt x="611" y="989"/>
                    <a:pt x="610" y="989"/>
                  </a:cubicBezTo>
                  <a:cubicBezTo>
                    <a:pt x="610" y="990"/>
                    <a:pt x="609" y="990"/>
                    <a:pt x="608" y="990"/>
                  </a:cubicBezTo>
                  <a:cubicBezTo>
                    <a:pt x="607" y="990"/>
                    <a:pt x="606" y="990"/>
                    <a:pt x="604" y="991"/>
                  </a:cubicBezTo>
                  <a:cubicBezTo>
                    <a:pt x="609" y="990"/>
                    <a:pt x="614" y="989"/>
                    <a:pt x="618" y="989"/>
                  </a:cubicBezTo>
                  <a:moveTo>
                    <a:pt x="699" y="989"/>
                  </a:moveTo>
                  <a:cubicBezTo>
                    <a:pt x="699" y="990"/>
                    <a:pt x="699" y="990"/>
                    <a:pt x="699" y="990"/>
                  </a:cubicBezTo>
                  <a:cubicBezTo>
                    <a:pt x="705" y="991"/>
                    <a:pt x="711" y="992"/>
                    <a:pt x="716" y="993"/>
                  </a:cubicBezTo>
                  <a:cubicBezTo>
                    <a:pt x="716" y="993"/>
                    <a:pt x="716" y="993"/>
                    <a:pt x="716" y="992"/>
                  </a:cubicBezTo>
                  <a:cubicBezTo>
                    <a:pt x="710" y="991"/>
                    <a:pt x="705" y="990"/>
                    <a:pt x="699" y="989"/>
                  </a:cubicBezTo>
                  <a:moveTo>
                    <a:pt x="601" y="990"/>
                  </a:moveTo>
                  <a:cubicBezTo>
                    <a:pt x="597" y="991"/>
                    <a:pt x="594" y="991"/>
                    <a:pt x="590" y="991"/>
                  </a:cubicBezTo>
                  <a:cubicBezTo>
                    <a:pt x="576" y="993"/>
                    <a:pt x="563" y="994"/>
                    <a:pt x="549" y="996"/>
                  </a:cubicBezTo>
                  <a:cubicBezTo>
                    <a:pt x="546" y="996"/>
                    <a:pt x="544" y="997"/>
                    <a:pt x="542" y="997"/>
                  </a:cubicBezTo>
                  <a:cubicBezTo>
                    <a:pt x="560" y="995"/>
                    <a:pt x="577" y="994"/>
                    <a:pt x="594" y="992"/>
                  </a:cubicBezTo>
                  <a:cubicBezTo>
                    <a:pt x="597" y="991"/>
                    <a:pt x="599" y="991"/>
                    <a:pt x="601" y="990"/>
                  </a:cubicBezTo>
                  <a:moveTo>
                    <a:pt x="717" y="992"/>
                  </a:moveTo>
                  <a:cubicBezTo>
                    <a:pt x="717" y="993"/>
                    <a:pt x="717" y="993"/>
                    <a:pt x="717" y="994"/>
                  </a:cubicBezTo>
                  <a:cubicBezTo>
                    <a:pt x="723" y="995"/>
                    <a:pt x="729" y="997"/>
                    <a:pt x="734" y="999"/>
                  </a:cubicBezTo>
                  <a:cubicBezTo>
                    <a:pt x="734" y="999"/>
                    <a:pt x="734" y="998"/>
                    <a:pt x="734" y="998"/>
                  </a:cubicBezTo>
                  <a:cubicBezTo>
                    <a:pt x="728" y="996"/>
                    <a:pt x="723" y="994"/>
                    <a:pt x="717" y="992"/>
                  </a:cubicBezTo>
                  <a:moveTo>
                    <a:pt x="289" y="994"/>
                  </a:moveTo>
                  <a:cubicBezTo>
                    <a:pt x="288" y="994"/>
                    <a:pt x="287" y="995"/>
                    <a:pt x="287" y="995"/>
                  </a:cubicBezTo>
                  <a:cubicBezTo>
                    <a:pt x="291" y="996"/>
                    <a:pt x="295" y="997"/>
                    <a:pt x="300" y="998"/>
                  </a:cubicBezTo>
                  <a:cubicBezTo>
                    <a:pt x="303" y="998"/>
                    <a:pt x="306" y="999"/>
                    <a:pt x="309" y="1000"/>
                  </a:cubicBezTo>
                  <a:cubicBezTo>
                    <a:pt x="309" y="999"/>
                    <a:pt x="310" y="999"/>
                    <a:pt x="311" y="999"/>
                  </a:cubicBezTo>
                  <a:cubicBezTo>
                    <a:pt x="307" y="998"/>
                    <a:pt x="304" y="998"/>
                    <a:pt x="300" y="997"/>
                  </a:cubicBezTo>
                  <a:cubicBezTo>
                    <a:pt x="296" y="996"/>
                    <a:pt x="292" y="995"/>
                    <a:pt x="289" y="994"/>
                  </a:cubicBezTo>
                  <a:moveTo>
                    <a:pt x="541" y="996"/>
                  </a:moveTo>
                  <a:cubicBezTo>
                    <a:pt x="541" y="997"/>
                    <a:pt x="540" y="997"/>
                    <a:pt x="539" y="997"/>
                  </a:cubicBezTo>
                  <a:cubicBezTo>
                    <a:pt x="539" y="997"/>
                    <a:pt x="538" y="997"/>
                    <a:pt x="538" y="997"/>
                  </a:cubicBezTo>
                  <a:cubicBezTo>
                    <a:pt x="523" y="999"/>
                    <a:pt x="508" y="1000"/>
                    <a:pt x="492" y="1002"/>
                  </a:cubicBezTo>
                  <a:cubicBezTo>
                    <a:pt x="490" y="1002"/>
                    <a:pt x="488" y="1003"/>
                    <a:pt x="487" y="1003"/>
                  </a:cubicBezTo>
                  <a:cubicBezTo>
                    <a:pt x="503" y="1002"/>
                    <a:pt x="519" y="1000"/>
                    <a:pt x="535" y="998"/>
                  </a:cubicBezTo>
                  <a:cubicBezTo>
                    <a:pt x="537" y="998"/>
                    <a:pt x="539" y="997"/>
                    <a:pt x="541" y="996"/>
                  </a:cubicBezTo>
                  <a:moveTo>
                    <a:pt x="735" y="998"/>
                  </a:moveTo>
                  <a:cubicBezTo>
                    <a:pt x="735" y="999"/>
                    <a:pt x="736" y="999"/>
                    <a:pt x="736" y="1000"/>
                  </a:cubicBezTo>
                  <a:cubicBezTo>
                    <a:pt x="738" y="1000"/>
                    <a:pt x="739" y="1001"/>
                    <a:pt x="741" y="1002"/>
                  </a:cubicBezTo>
                  <a:cubicBezTo>
                    <a:pt x="742" y="1002"/>
                    <a:pt x="743" y="1003"/>
                    <a:pt x="743" y="1003"/>
                  </a:cubicBezTo>
                  <a:cubicBezTo>
                    <a:pt x="748" y="1005"/>
                    <a:pt x="753" y="1008"/>
                    <a:pt x="757" y="1011"/>
                  </a:cubicBezTo>
                  <a:cubicBezTo>
                    <a:pt x="756" y="1011"/>
                    <a:pt x="756" y="1010"/>
                    <a:pt x="756" y="1010"/>
                  </a:cubicBezTo>
                  <a:cubicBezTo>
                    <a:pt x="753" y="1007"/>
                    <a:pt x="749" y="1005"/>
                    <a:pt x="746" y="1003"/>
                  </a:cubicBezTo>
                  <a:cubicBezTo>
                    <a:pt x="745" y="1003"/>
                    <a:pt x="744" y="1002"/>
                    <a:pt x="744" y="1002"/>
                  </a:cubicBezTo>
                  <a:cubicBezTo>
                    <a:pt x="741" y="1001"/>
                    <a:pt x="738" y="999"/>
                    <a:pt x="735" y="998"/>
                  </a:cubicBezTo>
                  <a:moveTo>
                    <a:pt x="313" y="999"/>
                  </a:moveTo>
                  <a:cubicBezTo>
                    <a:pt x="312" y="1000"/>
                    <a:pt x="311" y="1000"/>
                    <a:pt x="311" y="1000"/>
                  </a:cubicBezTo>
                  <a:cubicBezTo>
                    <a:pt x="317" y="1001"/>
                    <a:pt x="323" y="1002"/>
                    <a:pt x="329" y="1003"/>
                  </a:cubicBezTo>
                  <a:cubicBezTo>
                    <a:pt x="330" y="1003"/>
                    <a:pt x="331" y="1003"/>
                    <a:pt x="332" y="1003"/>
                  </a:cubicBezTo>
                  <a:cubicBezTo>
                    <a:pt x="334" y="1004"/>
                    <a:pt x="335" y="1004"/>
                    <a:pt x="336" y="1004"/>
                  </a:cubicBezTo>
                  <a:cubicBezTo>
                    <a:pt x="337" y="1004"/>
                    <a:pt x="338" y="1004"/>
                    <a:pt x="339" y="1003"/>
                  </a:cubicBezTo>
                  <a:cubicBezTo>
                    <a:pt x="337" y="1003"/>
                    <a:pt x="334" y="1003"/>
                    <a:pt x="332" y="1002"/>
                  </a:cubicBezTo>
                  <a:cubicBezTo>
                    <a:pt x="331" y="1002"/>
                    <a:pt x="330" y="1002"/>
                    <a:pt x="329" y="1002"/>
                  </a:cubicBezTo>
                  <a:cubicBezTo>
                    <a:pt x="327" y="1002"/>
                    <a:pt x="325" y="1002"/>
                    <a:pt x="324" y="1001"/>
                  </a:cubicBezTo>
                  <a:cubicBezTo>
                    <a:pt x="320" y="1001"/>
                    <a:pt x="316" y="1000"/>
                    <a:pt x="313" y="999"/>
                  </a:cubicBezTo>
                  <a:moveTo>
                    <a:pt x="486" y="1002"/>
                  </a:moveTo>
                  <a:cubicBezTo>
                    <a:pt x="485" y="1002"/>
                    <a:pt x="484" y="1002"/>
                    <a:pt x="483" y="1002"/>
                  </a:cubicBezTo>
                  <a:cubicBezTo>
                    <a:pt x="483" y="1002"/>
                    <a:pt x="482" y="1003"/>
                    <a:pt x="482" y="1003"/>
                  </a:cubicBezTo>
                  <a:cubicBezTo>
                    <a:pt x="479" y="1003"/>
                    <a:pt x="476" y="1003"/>
                    <a:pt x="473" y="1003"/>
                  </a:cubicBezTo>
                  <a:cubicBezTo>
                    <a:pt x="472" y="1003"/>
                    <a:pt x="471" y="1003"/>
                    <a:pt x="470" y="1004"/>
                  </a:cubicBezTo>
                  <a:cubicBezTo>
                    <a:pt x="462" y="1004"/>
                    <a:pt x="454" y="1005"/>
                    <a:pt x="445" y="1005"/>
                  </a:cubicBezTo>
                  <a:cubicBezTo>
                    <a:pt x="444" y="1006"/>
                    <a:pt x="442" y="1006"/>
                    <a:pt x="441" y="1006"/>
                  </a:cubicBezTo>
                  <a:cubicBezTo>
                    <a:pt x="450" y="1006"/>
                    <a:pt x="458" y="1005"/>
                    <a:pt x="467" y="1005"/>
                  </a:cubicBezTo>
                  <a:cubicBezTo>
                    <a:pt x="468" y="1005"/>
                    <a:pt x="469" y="1005"/>
                    <a:pt x="470" y="1005"/>
                  </a:cubicBezTo>
                  <a:cubicBezTo>
                    <a:pt x="474" y="1004"/>
                    <a:pt x="477" y="1004"/>
                    <a:pt x="481" y="1004"/>
                  </a:cubicBezTo>
                  <a:cubicBezTo>
                    <a:pt x="483" y="1003"/>
                    <a:pt x="484" y="1003"/>
                    <a:pt x="486" y="1002"/>
                  </a:cubicBezTo>
                  <a:moveTo>
                    <a:pt x="341" y="1004"/>
                  </a:moveTo>
                  <a:cubicBezTo>
                    <a:pt x="340" y="1004"/>
                    <a:pt x="340" y="1004"/>
                    <a:pt x="339" y="1004"/>
                  </a:cubicBezTo>
                  <a:cubicBezTo>
                    <a:pt x="347" y="1005"/>
                    <a:pt x="355" y="1006"/>
                    <a:pt x="363" y="1006"/>
                  </a:cubicBezTo>
                  <a:cubicBezTo>
                    <a:pt x="364" y="1006"/>
                    <a:pt x="365" y="1006"/>
                    <a:pt x="366" y="1006"/>
                  </a:cubicBezTo>
                  <a:cubicBezTo>
                    <a:pt x="358" y="1005"/>
                    <a:pt x="349" y="1004"/>
                    <a:pt x="341" y="1004"/>
                  </a:cubicBezTo>
                  <a:moveTo>
                    <a:pt x="441" y="1005"/>
                  </a:moveTo>
                  <a:cubicBezTo>
                    <a:pt x="429" y="1006"/>
                    <a:pt x="417" y="1006"/>
                    <a:pt x="406" y="1007"/>
                  </a:cubicBezTo>
                  <a:cubicBezTo>
                    <a:pt x="405" y="1007"/>
                    <a:pt x="404" y="1007"/>
                    <a:pt x="403" y="1007"/>
                  </a:cubicBezTo>
                  <a:cubicBezTo>
                    <a:pt x="402" y="1007"/>
                    <a:pt x="401" y="1007"/>
                    <a:pt x="400" y="1007"/>
                  </a:cubicBezTo>
                  <a:cubicBezTo>
                    <a:pt x="399" y="1007"/>
                    <a:pt x="399" y="1007"/>
                    <a:pt x="399" y="1007"/>
                  </a:cubicBezTo>
                  <a:cubicBezTo>
                    <a:pt x="398" y="1007"/>
                    <a:pt x="397" y="1007"/>
                    <a:pt x="396" y="1008"/>
                  </a:cubicBezTo>
                  <a:cubicBezTo>
                    <a:pt x="397" y="1008"/>
                    <a:pt x="399" y="1008"/>
                    <a:pt x="400" y="1008"/>
                  </a:cubicBezTo>
                  <a:cubicBezTo>
                    <a:pt x="401" y="1008"/>
                    <a:pt x="401" y="1008"/>
                    <a:pt x="401" y="1008"/>
                  </a:cubicBezTo>
                  <a:cubicBezTo>
                    <a:pt x="402" y="1008"/>
                    <a:pt x="402" y="1008"/>
                    <a:pt x="403" y="1008"/>
                  </a:cubicBezTo>
                  <a:cubicBezTo>
                    <a:pt x="414" y="1008"/>
                    <a:pt x="425" y="1007"/>
                    <a:pt x="437" y="1007"/>
                  </a:cubicBezTo>
                  <a:cubicBezTo>
                    <a:pt x="438" y="1006"/>
                    <a:pt x="439" y="1006"/>
                    <a:pt x="441" y="1005"/>
                  </a:cubicBezTo>
                  <a:moveTo>
                    <a:pt x="369" y="1006"/>
                  </a:moveTo>
                  <a:cubicBezTo>
                    <a:pt x="368" y="1006"/>
                    <a:pt x="367" y="1006"/>
                    <a:pt x="366" y="1007"/>
                  </a:cubicBezTo>
                  <a:cubicBezTo>
                    <a:pt x="375" y="1007"/>
                    <a:pt x="384" y="1007"/>
                    <a:pt x="393" y="1008"/>
                  </a:cubicBezTo>
                  <a:cubicBezTo>
                    <a:pt x="394" y="1007"/>
                    <a:pt x="395" y="1007"/>
                    <a:pt x="396" y="1007"/>
                  </a:cubicBezTo>
                  <a:cubicBezTo>
                    <a:pt x="387" y="1007"/>
                    <a:pt x="378" y="1006"/>
                    <a:pt x="369" y="1006"/>
                  </a:cubicBezTo>
                  <a:moveTo>
                    <a:pt x="758" y="1011"/>
                  </a:moveTo>
                  <a:cubicBezTo>
                    <a:pt x="758" y="1011"/>
                    <a:pt x="758" y="1012"/>
                    <a:pt x="758" y="1013"/>
                  </a:cubicBezTo>
                  <a:cubicBezTo>
                    <a:pt x="763" y="1017"/>
                    <a:pt x="767" y="1021"/>
                    <a:pt x="771" y="1026"/>
                  </a:cubicBezTo>
                  <a:cubicBezTo>
                    <a:pt x="772" y="1027"/>
                    <a:pt x="772" y="1027"/>
                    <a:pt x="772" y="1027"/>
                  </a:cubicBezTo>
                  <a:cubicBezTo>
                    <a:pt x="775" y="1032"/>
                    <a:pt x="778" y="1037"/>
                    <a:pt x="781" y="1042"/>
                  </a:cubicBezTo>
                  <a:cubicBezTo>
                    <a:pt x="782" y="1043"/>
                    <a:pt x="784" y="1044"/>
                    <a:pt x="786" y="1045"/>
                  </a:cubicBezTo>
                  <a:cubicBezTo>
                    <a:pt x="786" y="1045"/>
                    <a:pt x="786" y="1045"/>
                    <a:pt x="786" y="1044"/>
                  </a:cubicBezTo>
                  <a:cubicBezTo>
                    <a:pt x="784" y="1043"/>
                    <a:pt x="783" y="1042"/>
                    <a:pt x="781" y="1042"/>
                  </a:cubicBezTo>
                  <a:cubicBezTo>
                    <a:pt x="779" y="1037"/>
                    <a:pt x="776" y="1032"/>
                    <a:pt x="773" y="1028"/>
                  </a:cubicBezTo>
                  <a:cubicBezTo>
                    <a:pt x="773" y="1027"/>
                    <a:pt x="773" y="1027"/>
                    <a:pt x="773" y="1027"/>
                  </a:cubicBezTo>
                  <a:cubicBezTo>
                    <a:pt x="768" y="1021"/>
                    <a:pt x="763" y="1015"/>
                    <a:pt x="758" y="1011"/>
                  </a:cubicBezTo>
                  <a:moveTo>
                    <a:pt x="1272" y="1016"/>
                  </a:moveTo>
                  <a:cubicBezTo>
                    <a:pt x="1268" y="1031"/>
                    <a:pt x="1265" y="1046"/>
                    <a:pt x="1264" y="1061"/>
                  </a:cubicBezTo>
                  <a:cubicBezTo>
                    <a:pt x="1265" y="1061"/>
                    <a:pt x="1265" y="1062"/>
                    <a:pt x="1265" y="1062"/>
                  </a:cubicBezTo>
                  <a:cubicBezTo>
                    <a:pt x="1266" y="1047"/>
                    <a:pt x="1269" y="1032"/>
                    <a:pt x="1273" y="1017"/>
                  </a:cubicBezTo>
                  <a:cubicBezTo>
                    <a:pt x="1273" y="1017"/>
                    <a:pt x="1273" y="1017"/>
                    <a:pt x="1272" y="1016"/>
                  </a:cubicBezTo>
                  <a:moveTo>
                    <a:pt x="787" y="1045"/>
                  </a:moveTo>
                  <a:cubicBezTo>
                    <a:pt x="787" y="1045"/>
                    <a:pt x="787" y="1046"/>
                    <a:pt x="787" y="1046"/>
                  </a:cubicBezTo>
                  <a:cubicBezTo>
                    <a:pt x="789" y="1047"/>
                    <a:pt x="790" y="1048"/>
                    <a:pt x="792" y="1049"/>
                  </a:cubicBezTo>
                  <a:cubicBezTo>
                    <a:pt x="793" y="1050"/>
                    <a:pt x="794" y="1050"/>
                    <a:pt x="795" y="1051"/>
                  </a:cubicBezTo>
                  <a:cubicBezTo>
                    <a:pt x="803" y="1055"/>
                    <a:pt x="810" y="1060"/>
                    <a:pt x="817" y="1064"/>
                  </a:cubicBezTo>
                  <a:cubicBezTo>
                    <a:pt x="817" y="1064"/>
                    <a:pt x="817" y="1063"/>
                    <a:pt x="816" y="1062"/>
                  </a:cubicBezTo>
                  <a:cubicBezTo>
                    <a:pt x="810" y="1059"/>
                    <a:pt x="804" y="1055"/>
                    <a:pt x="799" y="1052"/>
                  </a:cubicBezTo>
                  <a:cubicBezTo>
                    <a:pt x="797" y="1051"/>
                    <a:pt x="796" y="1051"/>
                    <a:pt x="795" y="1050"/>
                  </a:cubicBezTo>
                  <a:cubicBezTo>
                    <a:pt x="792" y="1048"/>
                    <a:pt x="790" y="1047"/>
                    <a:pt x="787" y="1045"/>
                  </a:cubicBezTo>
                  <a:moveTo>
                    <a:pt x="1264" y="1062"/>
                  </a:moveTo>
                  <a:cubicBezTo>
                    <a:pt x="1264" y="1064"/>
                    <a:pt x="1264" y="1065"/>
                    <a:pt x="1264" y="1066"/>
                  </a:cubicBezTo>
                  <a:cubicBezTo>
                    <a:pt x="1264" y="1088"/>
                    <a:pt x="1270" y="1108"/>
                    <a:pt x="1282" y="1128"/>
                  </a:cubicBezTo>
                  <a:cubicBezTo>
                    <a:pt x="1284" y="1130"/>
                    <a:pt x="1286" y="1133"/>
                    <a:pt x="1287" y="1135"/>
                  </a:cubicBezTo>
                  <a:cubicBezTo>
                    <a:pt x="1288" y="1136"/>
                    <a:pt x="1289" y="1137"/>
                    <a:pt x="1290" y="1138"/>
                  </a:cubicBezTo>
                  <a:cubicBezTo>
                    <a:pt x="1288" y="1135"/>
                    <a:pt x="1286" y="1131"/>
                    <a:pt x="1283" y="1127"/>
                  </a:cubicBezTo>
                  <a:cubicBezTo>
                    <a:pt x="1271" y="1108"/>
                    <a:pt x="1265" y="1087"/>
                    <a:pt x="1265" y="1066"/>
                  </a:cubicBezTo>
                  <a:cubicBezTo>
                    <a:pt x="1265" y="1065"/>
                    <a:pt x="1265" y="1064"/>
                    <a:pt x="1265" y="1063"/>
                  </a:cubicBezTo>
                  <a:cubicBezTo>
                    <a:pt x="1265" y="1063"/>
                    <a:pt x="1265" y="1063"/>
                    <a:pt x="1264" y="1062"/>
                  </a:cubicBezTo>
                  <a:moveTo>
                    <a:pt x="818" y="1064"/>
                  </a:moveTo>
                  <a:cubicBezTo>
                    <a:pt x="818" y="1064"/>
                    <a:pt x="819" y="1065"/>
                    <a:pt x="819" y="1065"/>
                  </a:cubicBezTo>
                  <a:cubicBezTo>
                    <a:pt x="830" y="1072"/>
                    <a:pt x="840" y="1078"/>
                    <a:pt x="851" y="1084"/>
                  </a:cubicBezTo>
                  <a:cubicBezTo>
                    <a:pt x="852" y="1085"/>
                    <a:pt x="854" y="1086"/>
                    <a:pt x="855" y="1086"/>
                  </a:cubicBezTo>
                  <a:cubicBezTo>
                    <a:pt x="856" y="1087"/>
                    <a:pt x="857" y="1088"/>
                    <a:pt x="858" y="1088"/>
                  </a:cubicBezTo>
                  <a:cubicBezTo>
                    <a:pt x="858" y="1088"/>
                    <a:pt x="857" y="1087"/>
                    <a:pt x="856" y="1086"/>
                  </a:cubicBezTo>
                  <a:cubicBezTo>
                    <a:pt x="856" y="1086"/>
                    <a:pt x="856" y="1086"/>
                    <a:pt x="855" y="1085"/>
                  </a:cubicBezTo>
                  <a:cubicBezTo>
                    <a:pt x="843" y="1078"/>
                    <a:pt x="830" y="1071"/>
                    <a:pt x="818" y="1064"/>
                  </a:cubicBezTo>
                  <a:moveTo>
                    <a:pt x="859" y="1087"/>
                  </a:moveTo>
                  <a:cubicBezTo>
                    <a:pt x="859" y="1088"/>
                    <a:pt x="860" y="1089"/>
                    <a:pt x="861" y="1090"/>
                  </a:cubicBezTo>
                  <a:cubicBezTo>
                    <a:pt x="869" y="1095"/>
                    <a:pt x="877" y="1099"/>
                    <a:pt x="886" y="1104"/>
                  </a:cubicBezTo>
                  <a:cubicBezTo>
                    <a:pt x="888" y="1105"/>
                    <a:pt x="889" y="1106"/>
                    <a:pt x="891" y="1107"/>
                  </a:cubicBezTo>
                  <a:cubicBezTo>
                    <a:pt x="898" y="1111"/>
                    <a:pt x="905" y="1115"/>
                    <a:pt x="911" y="1119"/>
                  </a:cubicBezTo>
                  <a:cubicBezTo>
                    <a:pt x="912" y="1119"/>
                    <a:pt x="912" y="1119"/>
                    <a:pt x="912" y="1119"/>
                  </a:cubicBezTo>
                  <a:cubicBezTo>
                    <a:pt x="911" y="1119"/>
                    <a:pt x="910" y="1118"/>
                    <a:pt x="910" y="1117"/>
                  </a:cubicBezTo>
                  <a:cubicBezTo>
                    <a:pt x="905" y="1114"/>
                    <a:pt x="901" y="1112"/>
                    <a:pt x="897" y="1109"/>
                  </a:cubicBezTo>
                  <a:cubicBezTo>
                    <a:pt x="895" y="1108"/>
                    <a:pt x="893" y="1107"/>
                    <a:pt x="891" y="1106"/>
                  </a:cubicBezTo>
                  <a:cubicBezTo>
                    <a:pt x="882" y="1101"/>
                    <a:pt x="873" y="1096"/>
                    <a:pt x="863" y="1090"/>
                  </a:cubicBezTo>
                  <a:cubicBezTo>
                    <a:pt x="862" y="1089"/>
                    <a:pt x="861" y="1089"/>
                    <a:pt x="859" y="1088"/>
                  </a:cubicBezTo>
                  <a:cubicBezTo>
                    <a:pt x="859" y="1088"/>
                    <a:pt x="859" y="1088"/>
                    <a:pt x="859" y="1087"/>
                  </a:cubicBezTo>
                  <a:moveTo>
                    <a:pt x="913" y="1119"/>
                  </a:moveTo>
                  <a:cubicBezTo>
                    <a:pt x="913" y="1119"/>
                    <a:pt x="914" y="1120"/>
                    <a:pt x="915" y="1121"/>
                  </a:cubicBezTo>
                  <a:cubicBezTo>
                    <a:pt x="916" y="1122"/>
                    <a:pt x="918" y="1123"/>
                    <a:pt x="919" y="1124"/>
                  </a:cubicBezTo>
                  <a:cubicBezTo>
                    <a:pt x="922" y="1125"/>
                    <a:pt x="925" y="1127"/>
                    <a:pt x="927" y="1128"/>
                  </a:cubicBezTo>
                  <a:cubicBezTo>
                    <a:pt x="933" y="1131"/>
                    <a:pt x="938" y="1134"/>
                    <a:pt x="944" y="1137"/>
                  </a:cubicBezTo>
                  <a:cubicBezTo>
                    <a:pt x="958" y="1145"/>
                    <a:pt x="971" y="1153"/>
                    <a:pt x="985" y="1160"/>
                  </a:cubicBezTo>
                  <a:cubicBezTo>
                    <a:pt x="985" y="1160"/>
                    <a:pt x="985" y="1160"/>
                    <a:pt x="984" y="1160"/>
                  </a:cubicBezTo>
                  <a:cubicBezTo>
                    <a:pt x="980" y="1157"/>
                    <a:pt x="975" y="1154"/>
                    <a:pt x="970" y="1151"/>
                  </a:cubicBezTo>
                  <a:cubicBezTo>
                    <a:pt x="967" y="1149"/>
                    <a:pt x="963" y="1147"/>
                    <a:pt x="960" y="1146"/>
                  </a:cubicBezTo>
                  <a:cubicBezTo>
                    <a:pt x="955" y="1143"/>
                    <a:pt x="949" y="1140"/>
                    <a:pt x="944" y="1136"/>
                  </a:cubicBezTo>
                  <a:cubicBezTo>
                    <a:pt x="938" y="1133"/>
                    <a:pt x="933" y="1130"/>
                    <a:pt x="928" y="1127"/>
                  </a:cubicBezTo>
                  <a:cubicBezTo>
                    <a:pt x="925" y="1126"/>
                    <a:pt x="922" y="1124"/>
                    <a:pt x="920" y="1123"/>
                  </a:cubicBezTo>
                  <a:cubicBezTo>
                    <a:pt x="917" y="1121"/>
                    <a:pt x="915" y="1120"/>
                    <a:pt x="913" y="1119"/>
                  </a:cubicBezTo>
                  <a:moveTo>
                    <a:pt x="1289" y="1139"/>
                  </a:moveTo>
                  <a:cubicBezTo>
                    <a:pt x="1312" y="1175"/>
                    <a:pt x="1327" y="1204"/>
                    <a:pt x="1334" y="1227"/>
                  </a:cubicBezTo>
                  <a:cubicBezTo>
                    <a:pt x="1335" y="1227"/>
                    <a:pt x="1335" y="1228"/>
                    <a:pt x="1336" y="1228"/>
                  </a:cubicBezTo>
                  <a:cubicBezTo>
                    <a:pt x="1329" y="1206"/>
                    <a:pt x="1315" y="1178"/>
                    <a:pt x="1292" y="1142"/>
                  </a:cubicBezTo>
                  <a:cubicBezTo>
                    <a:pt x="1291" y="1141"/>
                    <a:pt x="1290" y="1140"/>
                    <a:pt x="1289" y="1139"/>
                  </a:cubicBezTo>
                  <a:moveTo>
                    <a:pt x="987" y="1160"/>
                  </a:moveTo>
                  <a:cubicBezTo>
                    <a:pt x="992" y="1164"/>
                    <a:pt x="998" y="1167"/>
                    <a:pt x="1004" y="1171"/>
                  </a:cubicBezTo>
                  <a:cubicBezTo>
                    <a:pt x="1004" y="1171"/>
                    <a:pt x="1005" y="1171"/>
                    <a:pt x="1006" y="1172"/>
                  </a:cubicBezTo>
                  <a:cubicBezTo>
                    <a:pt x="1003" y="1170"/>
                    <a:pt x="1000" y="1168"/>
                    <a:pt x="997" y="1166"/>
                  </a:cubicBezTo>
                  <a:cubicBezTo>
                    <a:pt x="993" y="1164"/>
                    <a:pt x="990" y="1162"/>
                    <a:pt x="987" y="1160"/>
                  </a:cubicBezTo>
                  <a:moveTo>
                    <a:pt x="1006" y="1171"/>
                  </a:moveTo>
                  <a:cubicBezTo>
                    <a:pt x="1009" y="1173"/>
                    <a:pt x="1012" y="1174"/>
                    <a:pt x="1014" y="1176"/>
                  </a:cubicBezTo>
                  <a:cubicBezTo>
                    <a:pt x="1017" y="1178"/>
                    <a:pt x="1020" y="1180"/>
                    <a:pt x="1023" y="1181"/>
                  </a:cubicBezTo>
                  <a:cubicBezTo>
                    <a:pt x="1021" y="1180"/>
                    <a:pt x="1019" y="1178"/>
                    <a:pt x="1017" y="1177"/>
                  </a:cubicBezTo>
                  <a:cubicBezTo>
                    <a:pt x="1014" y="1175"/>
                    <a:pt x="1010" y="1173"/>
                    <a:pt x="1006" y="1171"/>
                  </a:cubicBezTo>
                  <a:moveTo>
                    <a:pt x="1024" y="1180"/>
                  </a:moveTo>
                  <a:cubicBezTo>
                    <a:pt x="1026" y="1182"/>
                    <a:pt x="1028" y="1183"/>
                    <a:pt x="1030" y="1185"/>
                  </a:cubicBezTo>
                  <a:cubicBezTo>
                    <a:pt x="1033" y="1186"/>
                    <a:pt x="1037" y="1188"/>
                    <a:pt x="1041" y="1190"/>
                  </a:cubicBezTo>
                  <a:cubicBezTo>
                    <a:pt x="1039" y="1189"/>
                    <a:pt x="1038" y="1188"/>
                    <a:pt x="1036" y="1187"/>
                  </a:cubicBezTo>
                  <a:cubicBezTo>
                    <a:pt x="1032" y="1185"/>
                    <a:pt x="1028" y="1183"/>
                    <a:pt x="1024" y="1180"/>
                  </a:cubicBezTo>
                  <a:moveTo>
                    <a:pt x="1041" y="1190"/>
                  </a:moveTo>
                  <a:cubicBezTo>
                    <a:pt x="1043" y="1191"/>
                    <a:pt x="1044" y="1192"/>
                    <a:pt x="1046" y="1193"/>
                  </a:cubicBezTo>
                  <a:cubicBezTo>
                    <a:pt x="1156" y="1251"/>
                    <a:pt x="1250" y="1291"/>
                    <a:pt x="1301" y="1291"/>
                  </a:cubicBezTo>
                  <a:cubicBezTo>
                    <a:pt x="1326" y="1291"/>
                    <a:pt x="1341" y="1280"/>
                    <a:pt x="1341" y="1257"/>
                  </a:cubicBezTo>
                  <a:cubicBezTo>
                    <a:pt x="1341" y="1249"/>
                    <a:pt x="1340" y="1240"/>
                    <a:pt x="1336" y="1230"/>
                  </a:cubicBezTo>
                  <a:cubicBezTo>
                    <a:pt x="1336" y="1230"/>
                    <a:pt x="1336" y="1229"/>
                    <a:pt x="1335" y="1229"/>
                  </a:cubicBezTo>
                  <a:cubicBezTo>
                    <a:pt x="1338" y="1240"/>
                    <a:pt x="1340" y="1249"/>
                    <a:pt x="1340" y="1257"/>
                  </a:cubicBezTo>
                  <a:cubicBezTo>
                    <a:pt x="1340" y="1280"/>
                    <a:pt x="1326" y="1290"/>
                    <a:pt x="1301" y="1290"/>
                  </a:cubicBezTo>
                  <a:cubicBezTo>
                    <a:pt x="1301" y="1290"/>
                    <a:pt x="1301" y="1290"/>
                    <a:pt x="1301" y="1290"/>
                  </a:cubicBezTo>
                  <a:cubicBezTo>
                    <a:pt x="1249" y="1290"/>
                    <a:pt x="1154" y="1249"/>
                    <a:pt x="1041" y="1190"/>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62" name="Freeform 91"/>
            <p:cNvSpPr>
              <a:spLocks noEditPoints="1"/>
            </p:cNvSpPr>
            <p:nvPr userDrawn="1"/>
          </p:nvSpPr>
          <p:spPr bwMode="auto">
            <a:xfrm>
              <a:off x="2044" y="3555"/>
              <a:ext cx="3377" cy="2638"/>
            </a:xfrm>
            <a:custGeom>
              <a:avLst/>
              <a:gdLst>
                <a:gd name="T0" fmla="*/ 2147483646 w 1666"/>
                <a:gd name="T1" fmla="*/ 2147483646 h 1301"/>
                <a:gd name="T2" fmla="*/ 2147483646 w 1666"/>
                <a:gd name="T3" fmla="*/ 2147483646 h 1301"/>
                <a:gd name="T4" fmla="*/ 2147483646 w 1666"/>
                <a:gd name="T5" fmla="*/ 2147483646 h 1301"/>
                <a:gd name="T6" fmla="*/ 2147483646 w 1666"/>
                <a:gd name="T7" fmla="*/ 2147483646 h 1301"/>
                <a:gd name="T8" fmla="*/ 2147483646 w 1666"/>
                <a:gd name="T9" fmla="*/ 2147483646 h 1301"/>
                <a:gd name="T10" fmla="*/ 2147483646 w 1666"/>
                <a:gd name="T11" fmla="*/ 2147483646 h 1301"/>
                <a:gd name="T12" fmla="*/ 2147483646 w 1666"/>
                <a:gd name="T13" fmla="*/ 2147483646 h 1301"/>
                <a:gd name="T14" fmla="*/ 2147483646 w 1666"/>
                <a:gd name="T15" fmla="*/ 2147483646 h 1301"/>
                <a:gd name="T16" fmla="*/ 2147483646 w 1666"/>
                <a:gd name="T17" fmla="*/ 2147483646 h 1301"/>
                <a:gd name="T18" fmla="*/ 2147483646 w 1666"/>
                <a:gd name="T19" fmla="*/ 2147483646 h 1301"/>
                <a:gd name="T20" fmla="*/ 2147483646 w 1666"/>
                <a:gd name="T21" fmla="*/ 2147483646 h 1301"/>
                <a:gd name="T22" fmla="*/ 2147483646 w 1666"/>
                <a:gd name="T23" fmla="*/ 2147483646 h 1301"/>
                <a:gd name="T24" fmla="*/ 2147483646 w 1666"/>
                <a:gd name="T25" fmla="*/ 2147483646 h 1301"/>
                <a:gd name="T26" fmla="*/ 2147483646 w 1666"/>
                <a:gd name="T27" fmla="*/ 2147483646 h 1301"/>
                <a:gd name="T28" fmla="*/ 2147483646 w 1666"/>
                <a:gd name="T29" fmla="*/ 2147483646 h 1301"/>
                <a:gd name="T30" fmla="*/ 2147483646 w 1666"/>
                <a:gd name="T31" fmla="*/ 2147483646 h 1301"/>
                <a:gd name="T32" fmla="*/ 2147483646 w 1666"/>
                <a:gd name="T33" fmla="*/ 2147483646 h 1301"/>
                <a:gd name="T34" fmla="*/ 2147483646 w 1666"/>
                <a:gd name="T35" fmla="*/ 2147483646 h 1301"/>
                <a:gd name="T36" fmla="*/ 2147483646 w 1666"/>
                <a:gd name="T37" fmla="*/ 2147483646 h 1301"/>
                <a:gd name="T38" fmla="*/ 2147483646 w 1666"/>
                <a:gd name="T39" fmla="*/ 2147483646 h 1301"/>
                <a:gd name="T40" fmla="*/ 2147483646 w 1666"/>
                <a:gd name="T41" fmla="*/ 2147483646 h 1301"/>
                <a:gd name="T42" fmla="*/ 2147483646 w 1666"/>
                <a:gd name="T43" fmla="*/ 2147483646 h 1301"/>
                <a:gd name="T44" fmla="*/ 2147483646 w 1666"/>
                <a:gd name="T45" fmla="*/ 2147483646 h 1301"/>
                <a:gd name="T46" fmla="*/ 2147483646 w 1666"/>
                <a:gd name="T47" fmla="*/ 2147483646 h 1301"/>
                <a:gd name="T48" fmla="*/ 2147483646 w 1666"/>
                <a:gd name="T49" fmla="*/ 2147483646 h 1301"/>
                <a:gd name="T50" fmla="*/ 2147483646 w 1666"/>
                <a:gd name="T51" fmla="*/ 2147483646 h 1301"/>
                <a:gd name="T52" fmla="*/ 2147483646 w 1666"/>
                <a:gd name="T53" fmla="*/ 2147483646 h 1301"/>
                <a:gd name="T54" fmla="*/ 2147483646 w 1666"/>
                <a:gd name="T55" fmla="*/ 2147483646 h 1301"/>
                <a:gd name="T56" fmla="*/ 2147483646 w 1666"/>
                <a:gd name="T57" fmla="*/ 2147483646 h 1301"/>
                <a:gd name="T58" fmla="*/ 2147483646 w 1666"/>
                <a:gd name="T59" fmla="*/ 2147483646 h 1301"/>
                <a:gd name="T60" fmla="*/ 2147483646 w 1666"/>
                <a:gd name="T61" fmla="*/ 2147483646 h 1301"/>
                <a:gd name="T62" fmla="*/ 2147483646 w 1666"/>
                <a:gd name="T63" fmla="*/ 2147483646 h 1301"/>
                <a:gd name="T64" fmla="*/ 2147483646 w 1666"/>
                <a:gd name="T65" fmla="*/ 2147483646 h 1301"/>
                <a:gd name="T66" fmla="*/ 2147483646 w 1666"/>
                <a:gd name="T67" fmla="*/ 2147483646 h 1301"/>
                <a:gd name="T68" fmla="*/ 2147483646 w 1666"/>
                <a:gd name="T69" fmla="*/ 2147483646 h 1301"/>
                <a:gd name="T70" fmla="*/ 2147483646 w 1666"/>
                <a:gd name="T71" fmla="*/ 2147483646 h 1301"/>
                <a:gd name="T72" fmla="*/ 2147483646 w 1666"/>
                <a:gd name="T73" fmla="*/ 2147483646 h 1301"/>
                <a:gd name="T74" fmla="*/ 2147483646 w 1666"/>
                <a:gd name="T75" fmla="*/ 2147483646 h 1301"/>
                <a:gd name="T76" fmla="*/ 2147483646 w 1666"/>
                <a:gd name="T77" fmla="*/ 2147483646 h 1301"/>
                <a:gd name="T78" fmla="*/ 2147483646 w 1666"/>
                <a:gd name="T79" fmla="*/ 2147483646 h 1301"/>
                <a:gd name="T80" fmla="*/ 2147483646 w 1666"/>
                <a:gd name="T81" fmla="*/ 2147483646 h 1301"/>
                <a:gd name="T82" fmla="*/ 2147483646 w 1666"/>
                <a:gd name="T83" fmla="*/ 2147483646 h 1301"/>
                <a:gd name="T84" fmla="*/ 2147483646 w 1666"/>
                <a:gd name="T85" fmla="*/ 2147483646 h 1301"/>
                <a:gd name="T86" fmla="*/ 2147483646 w 1666"/>
                <a:gd name="T87" fmla="*/ 2147483646 h 1301"/>
                <a:gd name="T88" fmla="*/ 2147483646 w 1666"/>
                <a:gd name="T89" fmla="*/ 2147483646 h 1301"/>
                <a:gd name="T90" fmla="*/ 2147483646 w 1666"/>
                <a:gd name="T91" fmla="*/ 2147483646 h 1301"/>
                <a:gd name="T92" fmla="*/ 2147483646 w 1666"/>
                <a:gd name="T93" fmla="*/ 2147483646 h 1301"/>
                <a:gd name="T94" fmla="*/ 2147483646 w 1666"/>
                <a:gd name="T95" fmla="*/ 2147483646 h 1301"/>
                <a:gd name="T96" fmla="*/ 2147483646 w 1666"/>
                <a:gd name="T97" fmla="*/ 2147483646 h 1301"/>
                <a:gd name="T98" fmla="*/ 2147483646 w 1666"/>
                <a:gd name="T99" fmla="*/ 2147483646 h 1301"/>
                <a:gd name="T100" fmla="*/ 2147483646 w 1666"/>
                <a:gd name="T101" fmla="*/ 2147483646 h 1301"/>
                <a:gd name="T102" fmla="*/ 2147483646 w 1666"/>
                <a:gd name="T103" fmla="*/ 2147483646 h 1301"/>
                <a:gd name="T104" fmla="*/ 2147483646 w 1666"/>
                <a:gd name="T105" fmla="*/ 2147483646 h 1301"/>
                <a:gd name="T106" fmla="*/ 2147483646 w 1666"/>
                <a:gd name="T107" fmla="*/ 2147483646 h 1301"/>
                <a:gd name="T108" fmla="*/ 2147483646 w 1666"/>
                <a:gd name="T109" fmla="*/ 2147483646 h 1301"/>
                <a:gd name="T110" fmla="*/ 2147483646 w 1666"/>
                <a:gd name="T111" fmla="*/ 2147483646 h 1301"/>
                <a:gd name="T112" fmla="*/ 2147483646 w 1666"/>
                <a:gd name="T113" fmla="*/ 2147483646 h 1301"/>
                <a:gd name="T114" fmla="*/ 2147483646 w 1666"/>
                <a:gd name="T115" fmla="*/ 2147483646 h 1301"/>
                <a:gd name="T116" fmla="*/ 2147483646 w 1666"/>
                <a:gd name="T117" fmla="*/ 2147483646 h 1301"/>
                <a:gd name="T118" fmla="*/ 2147483646 w 1666"/>
                <a:gd name="T119" fmla="*/ 2147483646 h 1301"/>
                <a:gd name="T120" fmla="*/ 2147483646 w 1666"/>
                <a:gd name="T121" fmla="*/ 2147483646 h 1301"/>
                <a:gd name="T122" fmla="*/ 2147483646 w 1666"/>
                <a:gd name="T123" fmla="*/ 2147483646 h 13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66" h="1301">
                  <a:moveTo>
                    <a:pt x="1414" y="0"/>
                  </a:moveTo>
                  <a:cubicBezTo>
                    <a:pt x="1397" y="0"/>
                    <a:pt x="1380" y="2"/>
                    <a:pt x="1365" y="5"/>
                  </a:cubicBezTo>
                  <a:cubicBezTo>
                    <a:pt x="1364" y="6"/>
                    <a:pt x="1364" y="6"/>
                    <a:pt x="1364" y="6"/>
                  </a:cubicBezTo>
                  <a:cubicBezTo>
                    <a:pt x="1338" y="12"/>
                    <a:pt x="1314" y="23"/>
                    <a:pt x="1291" y="39"/>
                  </a:cubicBezTo>
                  <a:cubicBezTo>
                    <a:pt x="1291" y="39"/>
                    <a:pt x="1290" y="39"/>
                    <a:pt x="1289" y="40"/>
                  </a:cubicBezTo>
                  <a:cubicBezTo>
                    <a:pt x="1288" y="41"/>
                    <a:pt x="1287" y="41"/>
                    <a:pt x="1287" y="42"/>
                  </a:cubicBezTo>
                  <a:cubicBezTo>
                    <a:pt x="1286" y="42"/>
                    <a:pt x="1284" y="43"/>
                    <a:pt x="1283" y="44"/>
                  </a:cubicBezTo>
                  <a:cubicBezTo>
                    <a:pt x="1282" y="45"/>
                    <a:pt x="1281" y="45"/>
                    <a:pt x="1280" y="46"/>
                  </a:cubicBezTo>
                  <a:cubicBezTo>
                    <a:pt x="1279" y="47"/>
                    <a:pt x="1277" y="49"/>
                    <a:pt x="1275" y="50"/>
                  </a:cubicBezTo>
                  <a:cubicBezTo>
                    <a:pt x="1274" y="51"/>
                    <a:pt x="1273" y="52"/>
                    <a:pt x="1271" y="53"/>
                  </a:cubicBezTo>
                  <a:cubicBezTo>
                    <a:pt x="1271" y="54"/>
                    <a:pt x="1270" y="55"/>
                    <a:pt x="1269" y="55"/>
                  </a:cubicBezTo>
                  <a:cubicBezTo>
                    <a:pt x="1268" y="56"/>
                    <a:pt x="1268" y="56"/>
                    <a:pt x="1267" y="56"/>
                  </a:cubicBezTo>
                  <a:cubicBezTo>
                    <a:pt x="1267" y="57"/>
                    <a:pt x="1267" y="57"/>
                    <a:pt x="1267" y="57"/>
                  </a:cubicBezTo>
                  <a:cubicBezTo>
                    <a:pt x="1264" y="59"/>
                    <a:pt x="1262" y="61"/>
                    <a:pt x="1260" y="63"/>
                  </a:cubicBezTo>
                  <a:cubicBezTo>
                    <a:pt x="1260" y="63"/>
                    <a:pt x="1259" y="64"/>
                    <a:pt x="1259" y="64"/>
                  </a:cubicBezTo>
                  <a:cubicBezTo>
                    <a:pt x="1258" y="64"/>
                    <a:pt x="1258" y="64"/>
                    <a:pt x="1258" y="65"/>
                  </a:cubicBezTo>
                  <a:cubicBezTo>
                    <a:pt x="1249" y="72"/>
                    <a:pt x="1241" y="81"/>
                    <a:pt x="1233" y="90"/>
                  </a:cubicBezTo>
                  <a:cubicBezTo>
                    <a:pt x="1235" y="88"/>
                    <a:pt x="1237" y="86"/>
                    <a:pt x="1239" y="85"/>
                  </a:cubicBezTo>
                  <a:cubicBezTo>
                    <a:pt x="1244" y="80"/>
                    <a:pt x="1249" y="75"/>
                    <a:pt x="1254" y="70"/>
                  </a:cubicBezTo>
                  <a:cubicBezTo>
                    <a:pt x="1256" y="68"/>
                    <a:pt x="1258" y="66"/>
                    <a:pt x="1261" y="63"/>
                  </a:cubicBezTo>
                  <a:cubicBezTo>
                    <a:pt x="1261" y="63"/>
                    <a:pt x="1262" y="62"/>
                    <a:pt x="1263" y="62"/>
                  </a:cubicBezTo>
                  <a:cubicBezTo>
                    <a:pt x="1264" y="61"/>
                    <a:pt x="1265" y="60"/>
                    <a:pt x="1266" y="59"/>
                  </a:cubicBezTo>
                  <a:cubicBezTo>
                    <a:pt x="1266" y="59"/>
                    <a:pt x="1267" y="58"/>
                    <a:pt x="1267" y="58"/>
                  </a:cubicBezTo>
                  <a:cubicBezTo>
                    <a:pt x="1267" y="58"/>
                    <a:pt x="1268" y="57"/>
                    <a:pt x="1268" y="57"/>
                  </a:cubicBezTo>
                  <a:cubicBezTo>
                    <a:pt x="1270" y="56"/>
                    <a:pt x="1271" y="55"/>
                    <a:pt x="1272" y="54"/>
                  </a:cubicBezTo>
                  <a:cubicBezTo>
                    <a:pt x="1274" y="52"/>
                    <a:pt x="1276" y="51"/>
                    <a:pt x="1278" y="49"/>
                  </a:cubicBezTo>
                  <a:cubicBezTo>
                    <a:pt x="1279" y="48"/>
                    <a:pt x="1280" y="48"/>
                    <a:pt x="1281" y="47"/>
                  </a:cubicBezTo>
                  <a:cubicBezTo>
                    <a:pt x="1282" y="46"/>
                    <a:pt x="1284" y="45"/>
                    <a:pt x="1285" y="44"/>
                  </a:cubicBezTo>
                  <a:cubicBezTo>
                    <a:pt x="1286" y="44"/>
                    <a:pt x="1287" y="43"/>
                    <a:pt x="1287" y="42"/>
                  </a:cubicBezTo>
                  <a:cubicBezTo>
                    <a:pt x="1288" y="42"/>
                    <a:pt x="1289" y="41"/>
                    <a:pt x="1290" y="41"/>
                  </a:cubicBezTo>
                  <a:cubicBezTo>
                    <a:pt x="1313" y="25"/>
                    <a:pt x="1337" y="13"/>
                    <a:pt x="1364" y="7"/>
                  </a:cubicBezTo>
                  <a:cubicBezTo>
                    <a:pt x="1364" y="7"/>
                    <a:pt x="1365" y="7"/>
                    <a:pt x="1365" y="6"/>
                  </a:cubicBezTo>
                  <a:cubicBezTo>
                    <a:pt x="1381" y="3"/>
                    <a:pt x="1397" y="1"/>
                    <a:pt x="1414" y="1"/>
                  </a:cubicBezTo>
                  <a:cubicBezTo>
                    <a:pt x="1437" y="1"/>
                    <a:pt x="1462" y="5"/>
                    <a:pt x="1488" y="13"/>
                  </a:cubicBezTo>
                  <a:cubicBezTo>
                    <a:pt x="1488" y="13"/>
                    <a:pt x="1489" y="13"/>
                    <a:pt x="1489" y="13"/>
                  </a:cubicBezTo>
                  <a:cubicBezTo>
                    <a:pt x="1489" y="14"/>
                    <a:pt x="1490" y="14"/>
                    <a:pt x="1490" y="14"/>
                  </a:cubicBezTo>
                  <a:cubicBezTo>
                    <a:pt x="1532" y="27"/>
                    <a:pt x="1565" y="43"/>
                    <a:pt x="1591" y="60"/>
                  </a:cubicBezTo>
                  <a:cubicBezTo>
                    <a:pt x="1591" y="60"/>
                    <a:pt x="1591" y="60"/>
                    <a:pt x="1591" y="61"/>
                  </a:cubicBezTo>
                  <a:cubicBezTo>
                    <a:pt x="1619" y="79"/>
                    <a:pt x="1638" y="99"/>
                    <a:pt x="1650" y="121"/>
                  </a:cubicBezTo>
                  <a:cubicBezTo>
                    <a:pt x="1650" y="121"/>
                    <a:pt x="1650" y="122"/>
                    <a:pt x="1651" y="122"/>
                  </a:cubicBezTo>
                  <a:cubicBezTo>
                    <a:pt x="1660" y="140"/>
                    <a:pt x="1665" y="159"/>
                    <a:pt x="1665" y="179"/>
                  </a:cubicBezTo>
                  <a:cubicBezTo>
                    <a:pt x="1665" y="184"/>
                    <a:pt x="1664" y="189"/>
                    <a:pt x="1664" y="195"/>
                  </a:cubicBezTo>
                  <a:cubicBezTo>
                    <a:pt x="1664" y="195"/>
                    <a:pt x="1664" y="196"/>
                    <a:pt x="1663" y="196"/>
                  </a:cubicBezTo>
                  <a:cubicBezTo>
                    <a:pt x="1663" y="200"/>
                    <a:pt x="1662" y="204"/>
                    <a:pt x="1662" y="208"/>
                  </a:cubicBezTo>
                  <a:cubicBezTo>
                    <a:pt x="1661" y="209"/>
                    <a:pt x="1661" y="209"/>
                    <a:pt x="1661" y="210"/>
                  </a:cubicBezTo>
                  <a:cubicBezTo>
                    <a:pt x="1660" y="213"/>
                    <a:pt x="1660" y="217"/>
                    <a:pt x="1659" y="220"/>
                  </a:cubicBezTo>
                  <a:cubicBezTo>
                    <a:pt x="1658" y="221"/>
                    <a:pt x="1658" y="221"/>
                    <a:pt x="1658" y="222"/>
                  </a:cubicBezTo>
                  <a:cubicBezTo>
                    <a:pt x="1654" y="236"/>
                    <a:pt x="1648" y="251"/>
                    <a:pt x="1640" y="265"/>
                  </a:cubicBezTo>
                  <a:cubicBezTo>
                    <a:pt x="1639" y="267"/>
                    <a:pt x="1639" y="268"/>
                    <a:pt x="1638" y="269"/>
                  </a:cubicBezTo>
                  <a:cubicBezTo>
                    <a:pt x="1635" y="275"/>
                    <a:pt x="1631" y="281"/>
                    <a:pt x="1627" y="287"/>
                  </a:cubicBezTo>
                  <a:cubicBezTo>
                    <a:pt x="1626" y="289"/>
                    <a:pt x="1625" y="291"/>
                    <a:pt x="1624" y="292"/>
                  </a:cubicBezTo>
                  <a:cubicBezTo>
                    <a:pt x="1621" y="297"/>
                    <a:pt x="1617" y="302"/>
                    <a:pt x="1614" y="307"/>
                  </a:cubicBezTo>
                  <a:cubicBezTo>
                    <a:pt x="1612" y="309"/>
                    <a:pt x="1610" y="312"/>
                    <a:pt x="1609" y="314"/>
                  </a:cubicBezTo>
                  <a:cubicBezTo>
                    <a:pt x="1606" y="317"/>
                    <a:pt x="1604" y="320"/>
                    <a:pt x="1601" y="323"/>
                  </a:cubicBezTo>
                  <a:cubicBezTo>
                    <a:pt x="1598" y="327"/>
                    <a:pt x="1595" y="331"/>
                    <a:pt x="1592" y="335"/>
                  </a:cubicBezTo>
                  <a:cubicBezTo>
                    <a:pt x="1591" y="336"/>
                    <a:pt x="1590" y="337"/>
                    <a:pt x="1590" y="337"/>
                  </a:cubicBezTo>
                  <a:cubicBezTo>
                    <a:pt x="1588" y="339"/>
                    <a:pt x="1586" y="341"/>
                    <a:pt x="1585" y="343"/>
                  </a:cubicBezTo>
                  <a:cubicBezTo>
                    <a:pt x="1579" y="350"/>
                    <a:pt x="1574" y="357"/>
                    <a:pt x="1568" y="363"/>
                  </a:cubicBezTo>
                  <a:cubicBezTo>
                    <a:pt x="1576" y="355"/>
                    <a:pt x="1583" y="347"/>
                    <a:pt x="1590" y="338"/>
                  </a:cubicBezTo>
                  <a:cubicBezTo>
                    <a:pt x="1596" y="332"/>
                    <a:pt x="1601" y="325"/>
                    <a:pt x="1606" y="318"/>
                  </a:cubicBezTo>
                  <a:cubicBezTo>
                    <a:pt x="1608" y="317"/>
                    <a:pt x="1609" y="315"/>
                    <a:pt x="1610" y="314"/>
                  </a:cubicBezTo>
                  <a:cubicBezTo>
                    <a:pt x="1612" y="312"/>
                    <a:pt x="1613" y="309"/>
                    <a:pt x="1615" y="307"/>
                  </a:cubicBezTo>
                  <a:cubicBezTo>
                    <a:pt x="1616" y="305"/>
                    <a:pt x="1618" y="303"/>
                    <a:pt x="1619" y="301"/>
                  </a:cubicBezTo>
                  <a:cubicBezTo>
                    <a:pt x="1622" y="296"/>
                    <a:pt x="1625" y="292"/>
                    <a:pt x="1628" y="288"/>
                  </a:cubicBezTo>
                  <a:cubicBezTo>
                    <a:pt x="1629" y="286"/>
                    <a:pt x="1630" y="285"/>
                    <a:pt x="1631" y="283"/>
                  </a:cubicBezTo>
                  <a:cubicBezTo>
                    <a:pt x="1634" y="277"/>
                    <a:pt x="1638" y="272"/>
                    <a:pt x="1641" y="266"/>
                  </a:cubicBezTo>
                  <a:cubicBezTo>
                    <a:pt x="1641" y="265"/>
                    <a:pt x="1642" y="264"/>
                    <a:pt x="1643" y="262"/>
                  </a:cubicBezTo>
                  <a:cubicBezTo>
                    <a:pt x="1650" y="248"/>
                    <a:pt x="1656" y="234"/>
                    <a:pt x="1659" y="220"/>
                  </a:cubicBezTo>
                  <a:cubicBezTo>
                    <a:pt x="1660" y="220"/>
                    <a:pt x="1660" y="219"/>
                    <a:pt x="1660" y="218"/>
                  </a:cubicBezTo>
                  <a:cubicBezTo>
                    <a:pt x="1661" y="215"/>
                    <a:pt x="1662" y="212"/>
                    <a:pt x="1662" y="208"/>
                  </a:cubicBezTo>
                  <a:cubicBezTo>
                    <a:pt x="1663" y="208"/>
                    <a:pt x="1663" y="207"/>
                    <a:pt x="1663" y="206"/>
                  </a:cubicBezTo>
                  <a:cubicBezTo>
                    <a:pt x="1664" y="203"/>
                    <a:pt x="1664" y="199"/>
                    <a:pt x="1665" y="195"/>
                  </a:cubicBezTo>
                  <a:cubicBezTo>
                    <a:pt x="1665" y="195"/>
                    <a:pt x="1665" y="194"/>
                    <a:pt x="1665" y="193"/>
                  </a:cubicBezTo>
                  <a:cubicBezTo>
                    <a:pt x="1665" y="189"/>
                    <a:pt x="1666" y="184"/>
                    <a:pt x="1666" y="179"/>
                  </a:cubicBezTo>
                  <a:cubicBezTo>
                    <a:pt x="1666" y="159"/>
                    <a:pt x="1661" y="139"/>
                    <a:pt x="1651" y="121"/>
                  </a:cubicBezTo>
                  <a:cubicBezTo>
                    <a:pt x="1651" y="121"/>
                    <a:pt x="1651" y="120"/>
                    <a:pt x="1651" y="120"/>
                  </a:cubicBezTo>
                  <a:cubicBezTo>
                    <a:pt x="1639" y="98"/>
                    <a:pt x="1620" y="78"/>
                    <a:pt x="1592" y="60"/>
                  </a:cubicBezTo>
                  <a:cubicBezTo>
                    <a:pt x="1591" y="59"/>
                    <a:pt x="1591" y="59"/>
                    <a:pt x="1591" y="59"/>
                  </a:cubicBezTo>
                  <a:cubicBezTo>
                    <a:pt x="1565" y="42"/>
                    <a:pt x="1532" y="27"/>
                    <a:pt x="1490" y="13"/>
                  </a:cubicBezTo>
                  <a:cubicBezTo>
                    <a:pt x="1490" y="13"/>
                    <a:pt x="1490" y="12"/>
                    <a:pt x="1489" y="12"/>
                  </a:cubicBezTo>
                  <a:cubicBezTo>
                    <a:pt x="1489" y="12"/>
                    <a:pt x="1488" y="12"/>
                    <a:pt x="1488" y="12"/>
                  </a:cubicBezTo>
                  <a:cubicBezTo>
                    <a:pt x="1462" y="4"/>
                    <a:pt x="1437" y="0"/>
                    <a:pt x="1414" y="0"/>
                  </a:cubicBezTo>
                  <a:moveTo>
                    <a:pt x="1234" y="90"/>
                  </a:moveTo>
                  <a:cubicBezTo>
                    <a:pt x="1232" y="92"/>
                    <a:pt x="1229" y="94"/>
                    <a:pt x="1227" y="96"/>
                  </a:cubicBezTo>
                  <a:cubicBezTo>
                    <a:pt x="1224" y="99"/>
                    <a:pt x="1221" y="103"/>
                    <a:pt x="1218" y="107"/>
                  </a:cubicBezTo>
                  <a:cubicBezTo>
                    <a:pt x="1219" y="106"/>
                    <a:pt x="1220" y="105"/>
                    <a:pt x="1221" y="105"/>
                  </a:cubicBezTo>
                  <a:cubicBezTo>
                    <a:pt x="1225" y="100"/>
                    <a:pt x="1229" y="95"/>
                    <a:pt x="1234" y="90"/>
                  </a:cubicBezTo>
                  <a:moveTo>
                    <a:pt x="1219" y="107"/>
                  </a:moveTo>
                  <a:cubicBezTo>
                    <a:pt x="1218" y="108"/>
                    <a:pt x="1216" y="109"/>
                    <a:pt x="1215" y="110"/>
                  </a:cubicBezTo>
                  <a:cubicBezTo>
                    <a:pt x="1211" y="115"/>
                    <a:pt x="1207" y="121"/>
                    <a:pt x="1202" y="127"/>
                  </a:cubicBezTo>
                  <a:cubicBezTo>
                    <a:pt x="1203" y="126"/>
                    <a:pt x="1204" y="126"/>
                    <a:pt x="1204" y="125"/>
                  </a:cubicBezTo>
                  <a:cubicBezTo>
                    <a:pt x="1209" y="119"/>
                    <a:pt x="1214" y="113"/>
                    <a:pt x="1219" y="107"/>
                  </a:cubicBezTo>
                  <a:moveTo>
                    <a:pt x="1203" y="127"/>
                  </a:moveTo>
                  <a:cubicBezTo>
                    <a:pt x="1202" y="128"/>
                    <a:pt x="1202" y="128"/>
                    <a:pt x="1201" y="129"/>
                  </a:cubicBezTo>
                  <a:cubicBezTo>
                    <a:pt x="1199" y="131"/>
                    <a:pt x="1197" y="134"/>
                    <a:pt x="1195" y="137"/>
                  </a:cubicBezTo>
                  <a:cubicBezTo>
                    <a:pt x="1195" y="137"/>
                    <a:pt x="1196" y="137"/>
                    <a:pt x="1196" y="137"/>
                  </a:cubicBezTo>
                  <a:cubicBezTo>
                    <a:pt x="1198" y="134"/>
                    <a:pt x="1201" y="130"/>
                    <a:pt x="1203" y="127"/>
                  </a:cubicBezTo>
                  <a:moveTo>
                    <a:pt x="1195" y="138"/>
                  </a:moveTo>
                  <a:cubicBezTo>
                    <a:pt x="1195" y="138"/>
                    <a:pt x="1194" y="138"/>
                    <a:pt x="1194" y="138"/>
                  </a:cubicBezTo>
                  <a:cubicBezTo>
                    <a:pt x="1189" y="146"/>
                    <a:pt x="1183" y="154"/>
                    <a:pt x="1178" y="161"/>
                  </a:cubicBezTo>
                  <a:cubicBezTo>
                    <a:pt x="1179" y="161"/>
                    <a:pt x="1179" y="161"/>
                    <a:pt x="1180" y="161"/>
                  </a:cubicBezTo>
                  <a:cubicBezTo>
                    <a:pt x="1185" y="153"/>
                    <a:pt x="1190" y="146"/>
                    <a:pt x="1195" y="138"/>
                  </a:cubicBezTo>
                  <a:moveTo>
                    <a:pt x="1179" y="162"/>
                  </a:moveTo>
                  <a:cubicBezTo>
                    <a:pt x="1178" y="162"/>
                    <a:pt x="1178" y="162"/>
                    <a:pt x="1178" y="162"/>
                  </a:cubicBezTo>
                  <a:cubicBezTo>
                    <a:pt x="1171" y="173"/>
                    <a:pt x="1164" y="184"/>
                    <a:pt x="1158" y="195"/>
                  </a:cubicBezTo>
                  <a:cubicBezTo>
                    <a:pt x="1159" y="195"/>
                    <a:pt x="1159" y="195"/>
                    <a:pt x="1159" y="195"/>
                  </a:cubicBezTo>
                  <a:cubicBezTo>
                    <a:pt x="1166" y="184"/>
                    <a:pt x="1172" y="173"/>
                    <a:pt x="1179" y="162"/>
                  </a:cubicBezTo>
                  <a:moveTo>
                    <a:pt x="1158" y="196"/>
                  </a:moveTo>
                  <a:cubicBezTo>
                    <a:pt x="1153" y="203"/>
                    <a:pt x="1149" y="211"/>
                    <a:pt x="1145" y="219"/>
                  </a:cubicBezTo>
                  <a:cubicBezTo>
                    <a:pt x="1144" y="220"/>
                    <a:pt x="1144" y="221"/>
                    <a:pt x="1143" y="222"/>
                  </a:cubicBezTo>
                  <a:cubicBezTo>
                    <a:pt x="1142" y="225"/>
                    <a:pt x="1140" y="228"/>
                    <a:pt x="1139" y="231"/>
                  </a:cubicBezTo>
                  <a:cubicBezTo>
                    <a:pt x="1139" y="231"/>
                    <a:pt x="1140" y="231"/>
                    <a:pt x="1140" y="231"/>
                  </a:cubicBezTo>
                  <a:cubicBezTo>
                    <a:pt x="1141" y="229"/>
                    <a:pt x="1142" y="228"/>
                    <a:pt x="1142" y="226"/>
                  </a:cubicBezTo>
                  <a:cubicBezTo>
                    <a:pt x="1143" y="225"/>
                    <a:pt x="1144" y="224"/>
                    <a:pt x="1144" y="223"/>
                  </a:cubicBezTo>
                  <a:cubicBezTo>
                    <a:pt x="1149" y="214"/>
                    <a:pt x="1154" y="205"/>
                    <a:pt x="1159" y="196"/>
                  </a:cubicBezTo>
                  <a:cubicBezTo>
                    <a:pt x="1158" y="196"/>
                    <a:pt x="1158" y="196"/>
                    <a:pt x="1158" y="196"/>
                  </a:cubicBezTo>
                  <a:moveTo>
                    <a:pt x="1138" y="232"/>
                  </a:moveTo>
                  <a:cubicBezTo>
                    <a:pt x="1134" y="239"/>
                    <a:pt x="1131" y="247"/>
                    <a:pt x="1127" y="255"/>
                  </a:cubicBezTo>
                  <a:cubicBezTo>
                    <a:pt x="1127" y="256"/>
                    <a:pt x="1127" y="256"/>
                    <a:pt x="1128" y="256"/>
                  </a:cubicBezTo>
                  <a:cubicBezTo>
                    <a:pt x="1132" y="248"/>
                    <a:pt x="1136" y="240"/>
                    <a:pt x="1140" y="232"/>
                  </a:cubicBezTo>
                  <a:cubicBezTo>
                    <a:pt x="1139" y="232"/>
                    <a:pt x="1139" y="232"/>
                    <a:pt x="1138" y="232"/>
                  </a:cubicBezTo>
                  <a:moveTo>
                    <a:pt x="1126" y="256"/>
                  </a:moveTo>
                  <a:cubicBezTo>
                    <a:pt x="1123" y="262"/>
                    <a:pt x="1121" y="269"/>
                    <a:pt x="1118" y="275"/>
                  </a:cubicBezTo>
                  <a:cubicBezTo>
                    <a:pt x="1118" y="275"/>
                    <a:pt x="1117" y="276"/>
                    <a:pt x="1117" y="277"/>
                  </a:cubicBezTo>
                  <a:cubicBezTo>
                    <a:pt x="1115" y="282"/>
                    <a:pt x="1112" y="287"/>
                    <a:pt x="1110" y="292"/>
                  </a:cubicBezTo>
                  <a:cubicBezTo>
                    <a:pt x="1110" y="292"/>
                    <a:pt x="1111" y="292"/>
                    <a:pt x="1111" y="292"/>
                  </a:cubicBezTo>
                  <a:cubicBezTo>
                    <a:pt x="1114" y="287"/>
                    <a:pt x="1116" y="281"/>
                    <a:pt x="1119" y="275"/>
                  </a:cubicBezTo>
                  <a:cubicBezTo>
                    <a:pt x="1119" y="274"/>
                    <a:pt x="1119" y="274"/>
                    <a:pt x="1120" y="273"/>
                  </a:cubicBezTo>
                  <a:cubicBezTo>
                    <a:pt x="1122" y="268"/>
                    <a:pt x="1125" y="262"/>
                    <a:pt x="1127" y="256"/>
                  </a:cubicBezTo>
                  <a:cubicBezTo>
                    <a:pt x="1127" y="256"/>
                    <a:pt x="1127" y="256"/>
                    <a:pt x="1126" y="256"/>
                  </a:cubicBezTo>
                  <a:moveTo>
                    <a:pt x="1110" y="293"/>
                  </a:moveTo>
                  <a:cubicBezTo>
                    <a:pt x="1108" y="297"/>
                    <a:pt x="1106" y="300"/>
                    <a:pt x="1105" y="304"/>
                  </a:cubicBezTo>
                  <a:cubicBezTo>
                    <a:pt x="1105" y="305"/>
                    <a:pt x="1104" y="305"/>
                    <a:pt x="1104" y="306"/>
                  </a:cubicBezTo>
                  <a:cubicBezTo>
                    <a:pt x="1101" y="314"/>
                    <a:pt x="1097" y="322"/>
                    <a:pt x="1094" y="330"/>
                  </a:cubicBezTo>
                  <a:cubicBezTo>
                    <a:pt x="1094" y="331"/>
                    <a:pt x="1093" y="332"/>
                    <a:pt x="1093" y="332"/>
                  </a:cubicBezTo>
                  <a:cubicBezTo>
                    <a:pt x="1093" y="332"/>
                    <a:pt x="1093" y="333"/>
                    <a:pt x="1093" y="333"/>
                  </a:cubicBezTo>
                  <a:cubicBezTo>
                    <a:pt x="1093" y="333"/>
                    <a:pt x="1094" y="333"/>
                    <a:pt x="1094" y="333"/>
                  </a:cubicBezTo>
                  <a:cubicBezTo>
                    <a:pt x="1094" y="332"/>
                    <a:pt x="1095" y="332"/>
                    <a:pt x="1095" y="331"/>
                  </a:cubicBezTo>
                  <a:cubicBezTo>
                    <a:pt x="1095" y="330"/>
                    <a:pt x="1095" y="330"/>
                    <a:pt x="1096" y="329"/>
                  </a:cubicBezTo>
                  <a:cubicBezTo>
                    <a:pt x="1099" y="321"/>
                    <a:pt x="1102" y="313"/>
                    <a:pt x="1106" y="305"/>
                  </a:cubicBezTo>
                  <a:cubicBezTo>
                    <a:pt x="1106" y="304"/>
                    <a:pt x="1106" y="303"/>
                    <a:pt x="1106" y="303"/>
                  </a:cubicBezTo>
                  <a:cubicBezTo>
                    <a:pt x="1108" y="300"/>
                    <a:pt x="1109" y="296"/>
                    <a:pt x="1111" y="293"/>
                  </a:cubicBezTo>
                  <a:cubicBezTo>
                    <a:pt x="1110" y="293"/>
                    <a:pt x="1110" y="293"/>
                    <a:pt x="1110" y="293"/>
                  </a:cubicBezTo>
                  <a:moveTo>
                    <a:pt x="1093" y="334"/>
                  </a:moveTo>
                  <a:cubicBezTo>
                    <a:pt x="1087" y="349"/>
                    <a:pt x="1081" y="363"/>
                    <a:pt x="1076" y="377"/>
                  </a:cubicBezTo>
                  <a:cubicBezTo>
                    <a:pt x="1076" y="377"/>
                    <a:pt x="1075" y="378"/>
                    <a:pt x="1075" y="378"/>
                  </a:cubicBezTo>
                  <a:cubicBezTo>
                    <a:pt x="1075" y="379"/>
                    <a:pt x="1075" y="380"/>
                    <a:pt x="1075" y="380"/>
                  </a:cubicBezTo>
                  <a:cubicBezTo>
                    <a:pt x="1074" y="380"/>
                    <a:pt x="1074" y="381"/>
                    <a:pt x="1074" y="381"/>
                  </a:cubicBezTo>
                  <a:cubicBezTo>
                    <a:pt x="1074" y="383"/>
                    <a:pt x="1073" y="384"/>
                    <a:pt x="1072" y="386"/>
                  </a:cubicBezTo>
                  <a:cubicBezTo>
                    <a:pt x="1073" y="386"/>
                    <a:pt x="1073" y="386"/>
                    <a:pt x="1073" y="386"/>
                  </a:cubicBezTo>
                  <a:cubicBezTo>
                    <a:pt x="1074" y="384"/>
                    <a:pt x="1075" y="381"/>
                    <a:pt x="1076" y="379"/>
                  </a:cubicBezTo>
                  <a:cubicBezTo>
                    <a:pt x="1076" y="379"/>
                    <a:pt x="1076" y="378"/>
                    <a:pt x="1077" y="377"/>
                  </a:cubicBezTo>
                  <a:cubicBezTo>
                    <a:pt x="1077" y="376"/>
                    <a:pt x="1078" y="375"/>
                    <a:pt x="1078" y="373"/>
                  </a:cubicBezTo>
                  <a:cubicBezTo>
                    <a:pt x="1083" y="361"/>
                    <a:pt x="1088" y="348"/>
                    <a:pt x="1094" y="334"/>
                  </a:cubicBezTo>
                  <a:cubicBezTo>
                    <a:pt x="1093" y="334"/>
                    <a:pt x="1093" y="334"/>
                    <a:pt x="1093" y="334"/>
                  </a:cubicBezTo>
                  <a:moveTo>
                    <a:pt x="1567" y="363"/>
                  </a:moveTo>
                  <a:cubicBezTo>
                    <a:pt x="1567" y="363"/>
                    <a:pt x="1566" y="364"/>
                    <a:pt x="1566" y="364"/>
                  </a:cubicBezTo>
                  <a:cubicBezTo>
                    <a:pt x="1565" y="365"/>
                    <a:pt x="1565" y="365"/>
                    <a:pt x="1565" y="366"/>
                  </a:cubicBezTo>
                  <a:cubicBezTo>
                    <a:pt x="1565" y="365"/>
                    <a:pt x="1566" y="364"/>
                    <a:pt x="1567" y="363"/>
                  </a:cubicBezTo>
                  <a:moveTo>
                    <a:pt x="1556" y="374"/>
                  </a:moveTo>
                  <a:cubicBezTo>
                    <a:pt x="1555" y="375"/>
                    <a:pt x="1553" y="377"/>
                    <a:pt x="1551" y="379"/>
                  </a:cubicBezTo>
                  <a:cubicBezTo>
                    <a:pt x="1550" y="381"/>
                    <a:pt x="1548" y="383"/>
                    <a:pt x="1546" y="385"/>
                  </a:cubicBezTo>
                  <a:cubicBezTo>
                    <a:pt x="1547" y="385"/>
                    <a:pt x="1547" y="384"/>
                    <a:pt x="1548" y="384"/>
                  </a:cubicBezTo>
                  <a:cubicBezTo>
                    <a:pt x="1551" y="380"/>
                    <a:pt x="1554" y="377"/>
                    <a:pt x="1556" y="374"/>
                  </a:cubicBezTo>
                  <a:moveTo>
                    <a:pt x="916" y="375"/>
                  </a:moveTo>
                  <a:cubicBezTo>
                    <a:pt x="915" y="375"/>
                    <a:pt x="915" y="375"/>
                    <a:pt x="915" y="375"/>
                  </a:cubicBezTo>
                  <a:cubicBezTo>
                    <a:pt x="908" y="375"/>
                    <a:pt x="901" y="376"/>
                    <a:pt x="893" y="378"/>
                  </a:cubicBezTo>
                  <a:cubicBezTo>
                    <a:pt x="892" y="378"/>
                    <a:pt x="892" y="378"/>
                    <a:pt x="891" y="379"/>
                  </a:cubicBezTo>
                  <a:cubicBezTo>
                    <a:pt x="890" y="379"/>
                    <a:pt x="889" y="379"/>
                    <a:pt x="888" y="380"/>
                  </a:cubicBezTo>
                  <a:cubicBezTo>
                    <a:pt x="889" y="380"/>
                    <a:pt x="889" y="380"/>
                    <a:pt x="890" y="380"/>
                  </a:cubicBezTo>
                  <a:cubicBezTo>
                    <a:pt x="891" y="380"/>
                    <a:pt x="891" y="380"/>
                    <a:pt x="892" y="380"/>
                  </a:cubicBezTo>
                  <a:cubicBezTo>
                    <a:pt x="899" y="377"/>
                    <a:pt x="907" y="376"/>
                    <a:pt x="914" y="376"/>
                  </a:cubicBezTo>
                  <a:cubicBezTo>
                    <a:pt x="914" y="376"/>
                    <a:pt x="915" y="376"/>
                    <a:pt x="915" y="376"/>
                  </a:cubicBezTo>
                  <a:cubicBezTo>
                    <a:pt x="915" y="376"/>
                    <a:pt x="916" y="376"/>
                    <a:pt x="916" y="376"/>
                  </a:cubicBezTo>
                  <a:cubicBezTo>
                    <a:pt x="918" y="376"/>
                    <a:pt x="921" y="376"/>
                    <a:pt x="923" y="376"/>
                  </a:cubicBezTo>
                  <a:cubicBezTo>
                    <a:pt x="923" y="376"/>
                    <a:pt x="924" y="376"/>
                    <a:pt x="924" y="377"/>
                  </a:cubicBezTo>
                  <a:cubicBezTo>
                    <a:pt x="924" y="377"/>
                    <a:pt x="924" y="377"/>
                    <a:pt x="924" y="377"/>
                  </a:cubicBezTo>
                  <a:cubicBezTo>
                    <a:pt x="925" y="377"/>
                    <a:pt x="925" y="377"/>
                    <a:pt x="926" y="377"/>
                  </a:cubicBezTo>
                  <a:cubicBezTo>
                    <a:pt x="926" y="377"/>
                    <a:pt x="926" y="377"/>
                    <a:pt x="926" y="377"/>
                  </a:cubicBezTo>
                  <a:cubicBezTo>
                    <a:pt x="927" y="377"/>
                    <a:pt x="927" y="377"/>
                    <a:pt x="927" y="377"/>
                  </a:cubicBezTo>
                  <a:cubicBezTo>
                    <a:pt x="931" y="378"/>
                    <a:pt x="934" y="379"/>
                    <a:pt x="937" y="381"/>
                  </a:cubicBezTo>
                  <a:cubicBezTo>
                    <a:pt x="937" y="380"/>
                    <a:pt x="937" y="380"/>
                    <a:pt x="938" y="380"/>
                  </a:cubicBezTo>
                  <a:cubicBezTo>
                    <a:pt x="935" y="378"/>
                    <a:pt x="931" y="377"/>
                    <a:pt x="928" y="376"/>
                  </a:cubicBezTo>
                  <a:cubicBezTo>
                    <a:pt x="928" y="376"/>
                    <a:pt x="927" y="376"/>
                    <a:pt x="927" y="376"/>
                  </a:cubicBezTo>
                  <a:cubicBezTo>
                    <a:pt x="927" y="376"/>
                    <a:pt x="926" y="376"/>
                    <a:pt x="926" y="376"/>
                  </a:cubicBezTo>
                  <a:cubicBezTo>
                    <a:pt x="925" y="376"/>
                    <a:pt x="925" y="376"/>
                    <a:pt x="925" y="376"/>
                  </a:cubicBezTo>
                  <a:cubicBezTo>
                    <a:pt x="925" y="376"/>
                    <a:pt x="925" y="376"/>
                    <a:pt x="925" y="376"/>
                  </a:cubicBezTo>
                  <a:cubicBezTo>
                    <a:pt x="924" y="376"/>
                    <a:pt x="924" y="376"/>
                    <a:pt x="924" y="375"/>
                  </a:cubicBezTo>
                  <a:cubicBezTo>
                    <a:pt x="921" y="375"/>
                    <a:pt x="919" y="375"/>
                    <a:pt x="916" y="375"/>
                  </a:cubicBezTo>
                  <a:cubicBezTo>
                    <a:pt x="916" y="375"/>
                    <a:pt x="916" y="375"/>
                    <a:pt x="916" y="375"/>
                  </a:cubicBezTo>
                  <a:moveTo>
                    <a:pt x="938" y="380"/>
                  </a:moveTo>
                  <a:cubicBezTo>
                    <a:pt x="938" y="380"/>
                    <a:pt x="938" y="381"/>
                    <a:pt x="938" y="381"/>
                  </a:cubicBezTo>
                  <a:cubicBezTo>
                    <a:pt x="942" y="383"/>
                    <a:pt x="945" y="386"/>
                    <a:pt x="947" y="389"/>
                  </a:cubicBezTo>
                  <a:cubicBezTo>
                    <a:pt x="948" y="389"/>
                    <a:pt x="948" y="390"/>
                    <a:pt x="949" y="390"/>
                  </a:cubicBezTo>
                  <a:cubicBezTo>
                    <a:pt x="946" y="386"/>
                    <a:pt x="943" y="382"/>
                    <a:pt x="938" y="380"/>
                  </a:cubicBezTo>
                  <a:moveTo>
                    <a:pt x="885" y="380"/>
                  </a:moveTo>
                  <a:cubicBezTo>
                    <a:pt x="883" y="381"/>
                    <a:pt x="880" y="382"/>
                    <a:pt x="878" y="383"/>
                  </a:cubicBezTo>
                  <a:cubicBezTo>
                    <a:pt x="878" y="383"/>
                    <a:pt x="878" y="384"/>
                    <a:pt x="878" y="384"/>
                  </a:cubicBezTo>
                  <a:cubicBezTo>
                    <a:pt x="881" y="383"/>
                    <a:pt x="885" y="382"/>
                    <a:pt x="888" y="381"/>
                  </a:cubicBezTo>
                  <a:cubicBezTo>
                    <a:pt x="887" y="380"/>
                    <a:pt x="886" y="380"/>
                    <a:pt x="885" y="380"/>
                  </a:cubicBezTo>
                  <a:moveTo>
                    <a:pt x="877" y="383"/>
                  </a:moveTo>
                  <a:cubicBezTo>
                    <a:pt x="872" y="385"/>
                    <a:pt x="867" y="388"/>
                    <a:pt x="862" y="390"/>
                  </a:cubicBezTo>
                  <a:cubicBezTo>
                    <a:pt x="861" y="391"/>
                    <a:pt x="861" y="391"/>
                    <a:pt x="860" y="391"/>
                  </a:cubicBezTo>
                  <a:cubicBezTo>
                    <a:pt x="860" y="391"/>
                    <a:pt x="860" y="391"/>
                    <a:pt x="860" y="391"/>
                  </a:cubicBezTo>
                  <a:cubicBezTo>
                    <a:pt x="859" y="392"/>
                    <a:pt x="858" y="392"/>
                    <a:pt x="857" y="393"/>
                  </a:cubicBezTo>
                  <a:cubicBezTo>
                    <a:pt x="849" y="397"/>
                    <a:pt x="842" y="402"/>
                    <a:pt x="834" y="408"/>
                  </a:cubicBezTo>
                  <a:cubicBezTo>
                    <a:pt x="835" y="408"/>
                    <a:pt x="835" y="408"/>
                    <a:pt x="836" y="408"/>
                  </a:cubicBezTo>
                  <a:cubicBezTo>
                    <a:pt x="842" y="403"/>
                    <a:pt x="848" y="399"/>
                    <a:pt x="855" y="395"/>
                  </a:cubicBezTo>
                  <a:cubicBezTo>
                    <a:pt x="856" y="395"/>
                    <a:pt x="857" y="394"/>
                    <a:pt x="858" y="394"/>
                  </a:cubicBezTo>
                  <a:cubicBezTo>
                    <a:pt x="859" y="393"/>
                    <a:pt x="860" y="392"/>
                    <a:pt x="862" y="391"/>
                  </a:cubicBezTo>
                  <a:cubicBezTo>
                    <a:pt x="862" y="391"/>
                    <a:pt x="863" y="391"/>
                    <a:pt x="863" y="391"/>
                  </a:cubicBezTo>
                  <a:cubicBezTo>
                    <a:pt x="867" y="388"/>
                    <a:pt x="872" y="386"/>
                    <a:pt x="876" y="385"/>
                  </a:cubicBezTo>
                  <a:cubicBezTo>
                    <a:pt x="877" y="384"/>
                    <a:pt x="877" y="384"/>
                    <a:pt x="877" y="383"/>
                  </a:cubicBezTo>
                  <a:moveTo>
                    <a:pt x="1545" y="385"/>
                  </a:moveTo>
                  <a:cubicBezTo>
                    <a:pt x="1545" y="386"/>
                    <a:pt x="1544" y="386"/>
                    <a:pt x="1543" y="387"/>
                  </a:cubicBezTo>
                  <a:cubicBezTo>
                    <a:pt x="1543" y="387"/>
                    <a:pt x="1542" y="388"/>
                    <a:pt x="1541" y="389"/>
                  </a:cubicBezTo>
                  <a:cubicBezTo>
                    <a:pt x="1539" y="391"/>
                    <a:pt x="1537" y="393"/>
                    <a:pt x="1535" y="395"/>
                  </a:cubicBezTo>
                  <a:cubicBezTo>
                    <a:pt x="1534" y="396"/>
                    <a:pt x="1533" y="396"/>
                    <a:pt x="1532" y="397"/>
                  </a:cubicBezTo>
                  <a:cubicBezTo>
                    <a:pt x="1530" y="400"/>
                    <a:pt x="1527" y="403"/>
                    <a:pt x="1524" y="405"/>
                  </a:cubicBezTo>
                  <a:cubicBezTo>
                    <a:pt x="1521" y="408"/>
                    <a:pt x="1519" y="412"/>
                    <a:pt x="1516" y="415"/>
                  </a:cubicBezTo>
                  <a:cubicBezTo>
                    <a:pt x="1519" y="412"/>
                    <a:pt x="1522" y="409"/>
                    <a:pt x="1524" y="407"/>
                  </a:cubicBezTo>
                  <a:cubicBezTo>
                    <a:pt x="1525" y="407"/>
                    <a:pt x="1525" y="406"/>
                    <a:pt x="1525" y="406"/>
                  </a:cubicBezTo>
                  <a:cubicBezTo>
                    <a:pt x="1528" y="403"/>
                    <a:pt x="1530" y="401"/>
                    <a:pt x="1533" y="398"/>
                  </a:cubicBezTo>
                  <a:cubicBezTo>
                    <a:pt x="1534" y="397"/>
                    <a:pt x="1535" y="396"/>
                    <a:pt x="1536" y="395"/>
                  </a:cubicBezTo>
                  <a:cubicBezTo>
                    <a:pt x="1537" y="395"/>
                    <a:pt x="1537" y="394"/>
                    <a:pt x="1538" y="393"/>
                  </a:cubicBezTo>
                  <a:cubicBezTo>
                    <a:pt x="1538" y="393"/>
                    <a:pt x="1539" y="393"/>
                    <a:pt x="1539" y="392"/>
                  </a:cubicBezTo>
                  <a:cubicBezTo>
                    <a:pt x="1541" y="390"/>
                    <a:pt x="1543" y="387"/>
                    <a:pt x="1545" y="385"/>
                  </a:cubicBezTo>
                  <a:moveTo>
                    <a:pt x="1072" y="387"/>
                  </a:moveTo>
                  <a:cubicBezTo>
                    <a:pt x="1070" y="392"/>
                    <a:pt x="1068" y="398"/>
                    <a:pt x="1066" y="403"/>
                  </a:cubicBezTo>
                  <a:cubicBezTo>
                    <a:pt x="1066" y="403"/>
                    <a:pt x="1066" y="404"/>
                    <a:pt x="1066" y="404"/>
                  </a:cubicBezTo>
                  <a:cubicBezTo>
                    <a:pt x="1063" y="411"/>
                    <a:pt x="1061" y="417"/>
                    <a:pt x="1059" y="423"/>
                  </a:cubicBezTo>
                  <a:cubicBezTo>
                    <a:pt x="1058" y="423"/>
                    <a:pt x="1058" y="424"/>
                    <a:pt x="1058" y="425"/>
                  </a:cubicBezTo>
                  <a:cubicBezTo>
                    <a:pt x="1056" y="430"/>
                    <a:pt x="1054" y="435"/>
                    <a:pt x="1052" y="439"/>
                  </a:cubicBezTo>
                  <a:cubicBezTo>
                    <a:pt x="1052" y="440"/>
                    <a:pt x="1052" y="441"/>
                    <a:pt x="1052" y="441"/>
                  </a:cubicBezTo>
                  <a:cubicBezTo>
                    <a:pt x="1051" y="442"/>
                    <a:pt x="1051" y="443"/>
                    <a:pt x="1051" y="444"/>
                  </a:cubicBezTo>
                  <a:cubicBezTo>
                    <a:pt x="1051" y="444"/>
                    <a:pt x="1051" y="444"/>
                    <a:pt x="1051" y="444"/>
                  </a:cubicBezTo>
                  <a:cubicBezTo>
                    <a:pt x="1051" y="445"/>
                    <a:pt x="1051" y="445"/>
                    <a:pt x="1051" y="445"/>
                  </a:cubicBezTo>
                  <a:cubicBezTo>
                    <a:pt x="1051" y="445"/>
                    <a:pt x="1052" y="444"/>
                    <a:pt x="1052" y="444"/>
                  </a:cubicBezTo>
                  <a:cubicBezTo>
                    <a:pt x="1052" y="443"/>
                    <a:pt x="1053" y="441"/>
                    <a:pt x="1053" y="440"/>
                  </a:cubicBezTo>
                  <a:cubicBezTo>
                    <a:pt x="1054" y="439"/>
                    <a:pt x="1054" y="438"/>
                    <a:pt x="1054" y="438"/>
                  </a:cubicBezTo>
                  <a:cubicBezTo>
                    <a:pt x="1056" y="433"/>
                    <a:pt x="1058" y="428"/>
                    <a:pt x="1059" y="423"/>
                  </a:cubicBezTo>
                  <a:cubicBezTo>
                    <a:pt x="1060" y="423"/>
                    <a:pt x="1060" y="422"/>
                    <a:pt x="1060" y="422"/>
                  </a:cubicBezTo>
                  <a:cubicBezTo>
                    <a:pt x="1062" y="416"/>
                    <a:pt x="1065" y="410"/>
                    <a:pt x="1067" y="403"/>
                  </a:cubicBezTo>
                  <a:cubicBezTo>
                    <a:pt x="1067" y="403"/>
                    <a:pt x="1067" y="402"/>
                    <a:pt x="1068" y="402"/>
                  </a:cubicBezTo>
                  <a:cubicBezTo>
                    <a:pt x="1069" y="397"/>
                    <a:pt x="1071" y="392"/>
                    <a:pt x="1073" y="387"/>
                  </a:cubicBezTo>
                  <a:cubicBezTo>
                    <a:pt x="1073" y="387"/>
                    <a:pt x="1072" y="387"/>
                    <a:pt x="1072" y="387"/>
                  </a:cubicBezTo>
                  <a:moveTo>
                    <a:pt x="948" y="391"/>
                  </a:moveTo>
                  <a:cubicBezTo>
                    <a:pt x="951" y="396"/>
                    <a:pt x="953" y="402"/>
                    <a:pt x="953" y="410"/>
                  </a:cubicBezTo>
                  <a:cubicBezTo>
                    <a:pt x="953" y="415"/>
                    <a:pt x="952" y="420"/>
                    <a:pt x="951" y="425"/>
                  </a:cubicBezTo>
                  <a:cubicBezTo>
                    <a:pt x="951" y="428"/>
                    <a:pt x="950" y="430"/>
                    <a:pt x="950" y="433"/>
                  </a:cubicBezTo>
                  <a:cubicBezTo>
                    <a:pt x="950" y="433"/>
                    <a:pt x="950" y="434"/>
                    <a:pt x="950" y="435"/>
                  </a:cubicBezTo>
                  <a:cubicBezTo>
                    <a:pt x="950" y="435"/>
                    <a:pt x="950" y="435"/>
                    <a:pt x="950" y="435"/>
                  </a:cubicBezTo>
                  <a:cubicBezTo>
                    <a:pt x="950" y="436"/>
                    <a:pt x="950" y="437"/>
                    <a:pt x="950" y="438"/>
                  </a:cubicBezTo>
                  <a:cubicBezTo>
                    <a:pt x="950" y="438"/>
                    <a:pt x="951" y="438"/>
                    <a:pt x="951" y="438"/>
                  </a:cubicBezTo>
                  <a:cubicBezTo>
                    <a:pt x="951" y="437"/>
                    <a:pt x="951" y="436"/>
                    <a:pt x="951" y="435"/>
                  </a:cubicBezTo>
                  <a:cubicBezTo>
                    <a:pt x="951" y="434"/>
                    <a:pt x="951" y="434"/>
                    <a:pt x="951" y="433"/>
                  </a:cubicBezTo>
                  <a:cubicBezTo>
                    <a:pt x="951" y="432"/>
                    <a:pt x="951" y="432"/>
                    <a:pt x="951" y="431"/>
                  </a:cubicBezTo>
                  <a:cubicBezTo>
                    <a:pt x="951" y="429"/>
                    <a:pt x="952" y="427"/>
                    <a:pt x="952" y="425"/>
                  </a:cubicBezTo>
                  <a:cubicBezTo>
                    <a:pt x="953" y="420"/>
                    <a:pt x="954" y="415"/>
                    <a:pt x="954" y="410"/>
                  </a:cubicBezTo>
                  <a:cubicBezTo>
                    <a:pt x="954" y="402"/>
                    <a:pt x="952" y="396"/>
                    <a:pt x="949" y="391"/>
                  </a:cubicBezTo>
                  <a:cubicBezTo>
                    <a:pt x="949" y="391"/>
                    <a:pt x="948" y="391"/>
                    <a:pt x="948" y="391"/>
                  </a:cubicBezTo>
                  <a:moveTo>
                    <a:pt x="833" y="409"/>
                  </a:moveTo>
                  <a:cubicBezTo>
                    <a:pt x="831" y="411"/>
                    <a:pt x="829" y="413"/>
                    <a:pt x="826" y="415"/>
                  </a:cubicBezTo>
                  <a:cubicBezTo>
                    <a:pt x="826" y="415"/>
                    <a:pt x="826" y="416"/>
                    <a:pt x="825" y="416"/>
                  </a:cubicBezTo>
                  <a:cubicBezTo>
                    <a:pt x="825" y="416"/>
                    <a:pt x="825" y="416"/>
                    <a:pt x="824" y="417"/>
                  </a:cubicBezTo>
                  <a:cubicBezTo>
                    <a:pt x="824" y="417"/>
                    <a:pt x="823" y="418"/>
                    <a:pt x="823" y="418"/>
                  </a:cubicBezTo>
                  <a:cubicBezTo>
                    <a:pt x="822" y="419"/>
                    <a:pt x="822" y="419"/>
                    <a:pt x="822" y="419"/>
                  </a:cubicBezTo>
                  <a:cubicBezTo>
                    <a:pt x="821" y="420"/>
                    <a:pt x="821" y="420"/>
                    <a:pt x="820" y="421"/>
                  </a:cubicBezTo>
                  <a:cubicBezTo>
                    <a:pt x="819" y="421"/>
                    <a:pt x="819" y="422"/>
                    <a:pt x="818" y="423"/>
                  </a:cubicBezTo>
                  <a:cubicBezTo>
                    <a:pt x="817" y="424"/>
                    <a:pt x="816" y="425"/>
                    <a:pt x="815" y="426"/>
                  </a:cubicBezTo>
                  <a:cubicBezTo>
                    <a:pt x="814" y="427"/>
                    <a:pt x="814" y="427"/>
                    <a:pt x="813" y="428"/>
                  </a:cubicBezTo>
                  <a:cubicBezTo>
                    <a:pt x="812" y="430"/>
                    <a:pt x="811" y="431"/>
                    <a:pt x="809" y="433"/>
                  </a:cubicBezTo>
                  <a:cubicBezTo>
                    <a:pt x="809" y="434"/>
                    <a:pt x="809" y="434"/>
                    <a:pt x="808" y="434"/>
                  </a:cubicBezTo>
                  <a:cubicBezTo>
                    <a:pt x="808" y="435"/>
                    <a:pt x="808" y="435"/>
                    <a:pt x="808" y="435"/>
                  </a:cubicBezTo>
                  <a:cubicBezTo>
                    <a:pt x="807" y="436"/>
                    <a:pt x="807" y="436"/>
                    <a:pt x="807" y="437"/>
                  </a:cubicBezTo>
                  <a:cubicBezTo>
                    <a:pt x="807" y="437"/>
                    <a:pt x="807" y="438"/>
                    <a:pt x="806" y="439"/>
                  </a:cubicBezTo>
                  <a:cubicBezTo>
                    <a:pt x="808" y="436"/>
                    <a:pt x="811" y="433"/>
                    <a:pt x="813" y="430"/>
                  </a:cubicBezTo>
                  <a:cubicBezTo>
                    <a:pt x="813" y="430"/>
                    <a:pt x="814" y="429"/>
                    <a:pt x="814" y="428"/>
                  </a:cubicBezTo>
                  <a:cubicBezTo>
                    <a:pt x="814" y="428"/>
                    <a:pt x="815" y="428"/>
                    <a:pt x="815" y="428"/>
                  </a:cubicBezTo>
                  <a:cubicBezTo>
                    <a:pt x="816" y="427"/>
                    <a:pt x="818" y="425"/>
                    <a:pt x="819" y="423"/>
                  </a:cubicBezTo>
                  <a:cubicBezTo>
                    <a:pt x="820" y="423"/>
                    <a:pt x="820" y="422"/>
                    <a:pt x="821" y="421"/>
                  </a:cubicBezTo>
                  <a:cubicBezTo>
                    <a:pt x="821" y="421"/>
                    <a:pt x="821" y="421"/>
                    <a:pt x="821" y="421"/>
                  </a:cubicBezTo>
                  <a:cubicBezTo>
                    <a:pt x="822" y="420"/>
                    <a:pt x="823" y="420"/>
                    <a:pt x="823" y="419"/>
                  </a:cubicBezTo>
                  <a:cubicBezTo>
                    <a:pt x="824" y="418"/>
                    <a:pt x="825" y="417"/>
                    <a:pt x="827" y="416"/>
                  </a:cubicBezTo>
                  <a:cubicBezTo>
                    <a:pt x="827" y="416"/>
                    <a:pt x="827" y="415"/>
                    <a:pt x="828" y="415"/>
                  </a:cubicBezTo>
                  <a:cubicBezTo>
                    <a:pt x="830" y="413"/>
                    <a:pt x="832" y="411"/>
                    <a:pt x="835" y="409"/>
                  </a:cubicBezTo>
                  <a:cubicBezTo>
                    <a:pt x="834" y="409"/>
                    <a:pt x="834" y="409"/>
                    <a:pt x="833" y="409"/>
                  </a:cubicBezTo>
                  <a:moveTo>
                    <a:pt x="1516" y="416"/>
                  </a:moveTo>
                  <a:cubicBezTo>
                    <a:pt x="1516" y="416"/>
                    <a:pt x="1516" y="416"/>
                    <a:pt x="1516" y="416"/>
                  </a:cubicBezTo>
                  <a:cubicBezTo>
                    <a:pt x="1514" y="418"/>
                    <a:pt x="1512" y="420"/>
                    <a:pt x="1510" y="422"/>
                  </a:cubicBezTo>
                  <a:cubicBezTo>
                    <a:pt x="1510" y="422"/>
                    <a:pt x="1509" y="423"/>
                    <a:pt x="1509" y="423"/>
                  </a:cubicBezTo>
                  <a:cubicBezTo>
                    <a:pt x="1511" y="422"/>
                    <a:pt x="1513" y="420"/>
                    <a:pt x="1514" y="418"/>
                  </a:cubicBezTo>
                  <a:cubicBezTo>
                    <a:pt x="1515" y="417"/>
                    <a:pt x="1516" y="416"/>
                    <a:pt x="1516" y="416"/>
                  </a:cubicBezTo>
                  <a:moveTo>
                    <a:pt x="1508" y="425"/>
                  </a:moveTo>
                  <a:cubicBezTo>
                    <a:pt x="1507" y="426"/>
                    <a:pt x="1506" y="427"/>
                    <a:pt x="1505" y="428"/>
                  </a:cubicBezTo>
                  <a:cubicBezTo>
                    <a:pt x="1505" y="429"/>
                    <a:pt x="1504" y="429"/>
                    <a:pt x="1504" y="429"/>
                  </a:cubicBezTo>
                  <a:cubicBezTo>
                    <a:pt x="1506" y="428"/>
                    <a:pt x="1507" y="426"/>
                    <a:pt x="1508" y="425"/>
                  </a:cubicBezTo>
                  <a:moveTo>
                    <a:pt x="1505" y="430"/>
                  </a:moveTo>
                  <a:cubicBezTo>
                    <a:pt x="1503" y="431"/>
                    <a:pt x="1502" y="433"/>
                    <a:pt x="1501" y="434"/>
                  </a:cubicBezTo>
                  <a:cubicBezTo>
                    <a:pt x="1498" y="437"/>
                    <a:pt x="1496" y="440"/>
                    <a:pt x="1494" y="444"/>
                  </a:cubicBezTo>
                  <a:cubicBezTo>
                    <a:pt x="1484" y="458"/>
                    <a:pt x="1475" y="474"/>
                    <a:pt x="1468" y="490"/>
                  </a:cubicBezTo>
                  <a:cubicBezTo>
                    <a:pt x="1467" y="492"/>
                    <a:pt x="1466" y="494"/>
                    <a:pt x="1465" y="497"/>
                  </a:cubicBezTo>
                  <a:cubicBezTo>
                    <a:pt x="1461" y="506"/>
                    <a:pt x="1457" y="516"/>
                    <a:pt x="1453" y="526"/>
                  </a:cubicBezTo>
                  <a:cubicBezTo>
                    <a:pt x="1452" y="529"/>
                    <a:pt x="1452" y="531"/>
                    <a:pt x="1451" y="533"/>
                  </a:cubicBezTo>
                  <a:cubicBezTo>
                    <a:pt x="1448" y="541"/>
                    <a:pt x="1446" y="549"/>
                    <a:pt x="1443" y="557"/>
                  </a:cubicBezTo>
                  <a:cubicBezTo>
                    <a:pt x="1442" y="561"/>
                    <a:pt x="1441" y="565"/>
                    <a:pt x="1440" y="569"/>
                  </a:cubicBezTo>
                  <a:cubicBezTo>
                    <a:pt x="1437" y="579"/>
                    <a:pt x="1435" y="589"/>
                    <a:pt x="1432" y="600"/>
                  </a:cubicBezTo>
                  <a:cubicBezTo>
                    <a:pt x="1432" y="603"/>
                    <a:pt x="1431" y="607"/>
                    <a:pt x="1431" y="611"/>
                  </a:cubicBezTo>
                  <a:cubicBezTo>
                    <a:pt x="1435" y="593"/>
                    <a:pt x="1439" y="575"/>
                    <a:pt x="1444" y="557"/>
                  </a:cubicBezTo>
                  <a:cubicBezTo>
                    <a:pt x="1446" y="553"/>
                    <a:pt x="1447" y="548"/>
                    <a:pt x="1448" y="544"/>
                  </a:cubicBezTo>
                  <a:cubicBezTo>
                    <a:pt x="1450" y="538"/>
                    <a:pt x="1452" y="533"/>
                    <a:pt x="1454" y="527"/>
                  </a:cubicBezTo>
                  <a:cubicBezTo>
                    <a:pt x="1455" y="524"/>
                    <a:pt x="1456" y="522"/>
                    <a:pt x="1457" y="519"/>
                  </a:cubicBezTo>
                  <a:cubicBezTo>
                    <a:pt x="1461" y="510"/>
                    <a:pt x="1464" y="500"/>
                    <a:pt x="1469" y="491"/>
                  </a:cubicBezTo>
                  <a:cubicBezTo>
                    <a:pt x="1470" y="489"/>
                    <a:pt x="1471" y="487"/>
                    <a:pt x="1472" y="484"/>
                  </a:cubicBezTo>
                  <a:cubicBezTo>
                    <a:pt x="1481" y="465"/>
                    <a:pt x="1492" y="447"/>
                    <a:pt x="1505" y="430"/>
                  </a:cubicBezTo>
                  <a:moveTo>
                    <a:pt x="805" y="438"/>
                  </a:moveTo>
                  <a:cubicBezTo>
                    <a:pt x="805" y="438"/>
                    <a:pt x="805" y="438"/>
                    <a:pt x="805" y="438"/>
                  </a:cubicBezTo>
                  <a:cubicBezTo>
                    <a:pt x="804" y="440"/>
                    <a:pt x="803" y="442"/>
                    <a:pt x="802" y="443"/>
                  </a:cubicBezTo>
                  <a:cubicBezTo>
                    <a:pt x="801" y="445"/>
                    <a:pt x="800" y="447"/>
                    <a:pt x="799" y="449"/>
                  </a:cubicBezTo>
                  <a:cubicBezTo>
                    <a:pt x="798" y="452"/>
                    <a:pt x="796" y="455"/>
                    <a:pt x="795" y="458"/>
                  </a:cubicBezTo>
                  <a:cubicBezTo>
                    <a:pt x="795" y="458"/>
                    <a:pt x="795" y="458"/>
                    <a:pt x="795" y="458"/>
                  </a:cubicBezTo>
                  <a:cubicBezTo>
                    <a:pt x="794" y="459"/>
                    <a:pt x="794" y="460"/>
                    <a:pt x="794" y="461"/>
                  </a:cubicBezTo>
                  <a:cubicBezTo>
                    <a:pt x="794" y="461"/>
                    <a:pt x="794" y="461"/>
                    <a:pt x="794" y="461"/>
                  </a:cubicBezTo>
                  <a:cubicBezTo>
                    <a:pt x="794" y="461"/>
                    <a:pt x="794" y="461"/>
                    <a:pt x="794" y="461"/>
                  </a:cubicBezTo>
                  <a:cubicBezTo>
                    <a:pt x="794" y="460"/>
                    <a:pt x="795" y="459"/>
                    <a:pt x="796" y="458"/>
                  </a:cubicBezTo>
                  <a:cubicBezTo>
                    <a:pt x="796" y="458"/>
                    <a:pt x="796" y="457"/>
                    <a:pt x="796" y="457"/>
                  </a:cubicBezTo>
                  <a:cubicBezTo>
                    <a:pt x="798" y="452"/>
                    <a:pt x="801" y="448"/>
                    <a:pt x="803" y="444"/>
                  </a:cubicBezTo>
                  <a:cubicBezTo>
                    <a:pt x="804" y="443"/>
                    <a:pt x="804" y="442"/>
                    <a:pt x="804" y="442"/>
                  </a:cubicBezTo>
                  <a:cubicBezTo>
                    <a:pt x="805" y="441"/>
                    <a:pt x="805" y="441"/>
                    <a:pt x="805" y="440"/>
                  </a:cubicBezTo>
                  <a:cubicBezTo>
                    <a:pt x="805" y="440"/>
                    <a:pt x="805" y="439"/>
                    <a:pt x="805" y="438"/>
                  </a:cubicBezTo>
                  <a:moveTo>
                    <a:pt x="950" y="439"/>
                  </a:moveTo>
                  <a:cubicBezTo>
                    <a:pt x="950" y="439"/>
                    <a:pt x="950" y="439"/>
                    <a:pt x="950" y="439"/>
                  </a:cubicBezTo>
                  <a:cubicBezTo>
                    <a:pt x="950" y="468"/>
                    <a:pt x="959" y="485"/>
                    <a:pt x="972" y="493"/>
                  </a:cubicBezTo>
                  <a:cubicBezTo>
                    <a:pt x="972" y="493"/>
                    <a:pt x="972" y="492"/>
                    <a:pt x="972" y="492"/>
                  </a:cubicBezTo>
                  <a:cubicBezTo>
                    <a:pt x="960" y="485"/>
                    <a:pt x="951" y="468"/>
                    <a:pt x="951" y="439"/>
                  </a:cubicBezTo>
                  <a:cubicBezTo>
                    <a:pt x="951" y="439"/>
                    <a:pt x="950" y="439"/>
                    <a:pt x="950" y="439"/>
                  </a:cubicBezTo>
                  <a:moveTo>
                    <a:pt x="1050" y="445"/>
                  </a:moveTo>
                  <a:cubicBezTo>
                    <a:pt x="1049" y="448"/>
                    <a:pt x="1048" y="450"/>
                    <a:pt x="1047" y="452"/>
                  </a:cubicBezTo>
                  <a:cubicBezTo>
                    <a:pt x="1046" y="454"/>
                    <a:pt x="1046" y="455"/>
                    <a:pt x="1045" y="456"/>
                  </a:cubicBezTo>
                  <a:cubicBezTo>
                    <a:pt x="1042" y="462"/>
                    <a:pt x="1038" y="467"/>
                    <a:pt x="1034" y="472"/>
                  </a:cubicBezTo>
                  <a:cubicBezTo>
                    <a:pt x="1034" y="473"/>
                    <a:pt x="1033" y="474"/>
                    <a:pt x="1033" y="475"/>
                  </a:cubicBezTo>
                  <a:cubicBezTo>
                    <a:pt x="1038" y="469"/>
                    <a:pt x="1044" y="462"/>
                    <a:pt x="1048" y="453"/>
                  </a:cubicBezTo>
                  <a:cubicBezTo>
                    <a:pt x="1048" y="452"/>
                    <a:pt x="1049" y="451"/>
                    <a:pt x="1049" y="449"/>
                  </a:cubicBezTo>
                  <a:cubicBezTo>
                    <a:pt x="1050" y="448"/>
                    <a:pt x="1050" y="447"/>
                    <a:pt x="1051" y="446"/>
                  </a:cubicBezTo>
                  <a:cubicBezTo>
                    <a:pt x="1051" y="446"/>
                    <a:pt x="1050" y="446"/>
                    <a:pt x="1050" y="445"/>
                  </a:cubicBezTo>
                  <a:moveTo>
                    <a:pt x="795" y="461"/>
                  </a:moveTo>
                  <a:cubicBezTo>
                    <a:pt x="794" y="462"/>
                    <a:pt x="793" y="463"/>
                    <a:pt x="793" y="464"/>
                  </a:cubicBezTo>
                  <a:cubicBezTo>
                    <a:pt x="792" y="465"/>
                    <a:pt x="792" y="466"/>
                    <a:pt x="792" y="467"/>
                  </a:cubicBezTo>
                  <a:cubicBezTo>
                    <a:pt x="791" y="469"/>
                    <a:pt x="790" y="472"/>
                    <a:pt x="789" y="475"/>
                  </a:cubicBezTo>
                  <a:cubicBezTo>
                    <a:pt x="789" y="475"/>
                    <a:pt x="788" y="475"/>
                    <a:pt x="788" y="475"/>
                  </a:cubicBezTo>
                  <a:cubicBezTo>
                    <a:pt x="789" y="474"/>
                    <a:pt x="790" y="474"/>
                    <a:pt x="790" y="473"/>
                  </a:cubicBezTo>
                  <a:cubicBezTo>
                    <a:pt x="791" y="472"/>
                    <a:pt x="791" y="472"/>
                    <a:pt x="791" y="472"/>
                  </a:cubicBezTo>
                  <a:cubicBezTo>
                    <a:pt x="792" y="469"/>
                    <a:pt x="793" y="467"/>
                    <a:pt x="794" y="465"/>
                  </a:cubicBezTo>
                  <a:cubicBezTo>
                    <a:pt x="794" y="464"/>
                    <a:pt x="794" y="464"/>
                    <a:pt x="794" y="464"/>
                  </a:cubicBezTo>
                  <a:cubicBezTo>
                    <a:pt x="794" y="463"/>
                    <a:pt x="794" y="463"/>
                    <a:pt x="794" y="462"/>
                  </a:cubicBezTo>
                  <a:cubicBezTo>
                    <a:pt x="795" y="462"/>
                    <a:pt x="795" y="461"/>
                    <a:pt x="795" y="461"/>
                  </a:cubicBezTo>
                  <a:moveTo>
                    <a:pt x="1032" y="475"/>
                  </a:moveTo>
                  <a:cubicBezTo>
                    <a:pt x="1029" y="478"/>
                    <a:pt x="1027" y="480"/>
                    <a:pt x="1024" y="483"/>
                  </a:cubicBezTo>
                  <a:cubicBezTo>
                    <a:pt x="1024" y="483"/>
                    <a:pt x="1023" y="484"/>
                    <a:pt x="1023" y="484"/>
                  </a:cubicBezTo>
                  <a:cubicBezTo>
                    <a:pt x="1026" y="482"/>
                    <a:pt x="1028" y="480"/>
                    <a:pt x="1030" y="478"/>
                  </a:cubicBezTo>
                  <a:cubicBezTo>
                    <a:pt x="1031" y="477"/>
                    <a:pt x="1031" y="476"/>
                    <a:pt x="1032" y="475"/>
                  </a:cubicBezTo>
                  <a:moveTo>
                    <a:pt x="789" y="476"/>
                  </a:moveTo>
                  <a:cubicBezTo>
                    <a:pt x="789" y="476"/>
                    <a:pt x="788" y="477"/>
                    <a:pt x="787" y="478"/>
                  </a:cubicBezTo>
                  <a:cubicBezTo>
                    <a:pt x="787" y="478"/>
                    <a:pt x="787" y="478"/>
                    <a:pt x="787" y="478"/>
                  </a:cubicBezTo>
                  <a:cubicBezTo>
                    <a:pt x="787" y="479"/>
                    <a:pt x="787" y="479"/>
                    <a:pt x="787" y="479"/>
                  </a:cubicBezTo>
                  <a:cubicBezTo>
                    <a:pt x="786" y="479"/>
                    <a:pt x="786" y="480"/>
                    <a:pt x="786" y="480"/>
                  </a:cubicBezTo>
                  <a:cubicBezTo>
                    <a:pt x="785" y="482"/>
                    <a:pt x="785" y="483"/>
                    <a:pt x="784" y="484"/>
                  </a:cubicBezTo>
                  <a:cubicBezTo>
                    <a:pt x="783" y="486"/>
                    <a:pt x="782" y="488"/>
                    <a:pt x="781" y="489"/>
                  </a:cubicBezTo>
                  <a:cubicBezTo>
                    <a:pt x="781" y="489"/>
                    <a:pt x="782" y="489"/>
                    <a:pt x="783" y="489"/>
                  </a:cubicBezTo>
                  <a:cubicBezTo>
                    <a:pt x="784" y="486"/>
                    <a:pt x="785" y="484"/>
                    <a:pt x="786" y="482"/>
                  </a:cubicBezTo>
                  <a:cubicBezTo>
                    <a:pt x="787" y="481"/>
                    <a:pt x="787" y="480"/>
                    <a:pt x="788" y="479"/>
                  </a:cubicBezTo>
                  <a:cubicBezTo>
                    <a:pt x="788" y="478"/>
                    <a:pt x="789" y="477"/>
                    <a:pt x="789" y="476"/>
                  </a:cubicBezTo>
                  <a:moveTo>
                    <a:pt x="1022" y="484"/>
                  </a:moveTo>
                  <a:cubicBezTo>
                    <a:pt x="1019" y="486"/>
                    <a:pt x="1016" y="489"/>
                    <a:pt x="1012" y="490"/>
                  </a:cubicBezTo>
                  <a:cubicBezTo>
                    <a:pt x="1012" y="491"/>
                    <a:pt x="1012" y="491"/>
                    <a:pt x="1012" y="492"/>
                  </a:cubicBezTo>
                  <a:cubicBezTo>
                    <a:pt x="1015" y="490"/>
                    <a:pt x="1018" y="488"/>
                    <a:pt x="1022" y="485"/>
                  </a:cubicBezTo>
                  <a:cubicBezTo>
                    <a:pt x="1022" y="485"/>
                    <a:pt x="1022" y="484"/>
                    <a:pt x="1022" y="484"/>
                  </a:cubicBezTo>
                  <a:moveTo>
                    <a:pt x="782" y="490"/>
                  </a:moveTo>
                  <a:cubicBezTo>
                    <a:pt x="781" y="490"/>
                    <a:pt x="781" y="491"/>
                    <a:pt x="780" y="491"/>
                  </a:cubicBezTo>
                  <a:cubicBezTo>
                    <a:pt x="780" y="491"/>
                    <a:pt x="780" y="492"/>
                    <a:pt x="779" y="492"/>
                  </a:cubicBezTo>
                  <a:cubicBezTo>
                    <a:pt x="778" y="493"/>
                    <a:pt x="778" y="495"/>
                    <a:pt x="777" y="496"/>
                  </a:cubicBezTo>
                  <a:cubicBezTo>
                    <a:pt x="776" y="497"/>
                    <a:pt x="776" y="497"/>
                    <a:pt x="776" y="498"/>
                  </a:cubicBezTo>
                  <a:cubicBezTo>
                    <a:pt x="777" y="497"/>
                    <a:pt x="778" y="496"/>
                    <a:pt x="779" y="495"/>
                  </a:cubicBezTo>
                  <a:cubicBezTo>
                    <a:pt x="779" y="494"/>
                    <a:pt x="780" y="493"/>
                    <a:pt x="780" y="492"/>
                  </a:cubicBezTo>
                  <a:cubicBezTo>
                    <a:pt x="781" y="492"/>
                    <a:pt x="781" y="491"/>
                    <a:pt x="782" y="490"/>
                  </a:cubicBezTo>
                  <a:moveTo>
                    <a:pt x="1011" y="491"/>
                  </a:moveTo>
                  <a:cubicBezTo>
                    <a:pt x="1008" y="493"/>
                    <a:pt x="1004" y="494"/>
                    <a:pt x="1001" y="495"/>
                  </a:cubicBezTo>
                  <a:cubicBezTo>
                    <a:pt x="1001" y="495"/>
                    <a:pt x="1001" y="496"/>
                    <a:pt x="1001" y="496"/>
                  </a:cubicBezTo>
                  <a:cubicBezTo>
                    <a:pt x="1004" y="495"/>
                    <a:pt x="1008" y="494"/>
                    <a:pt x="1011" y="492"/>
                  </a:cubicBezTo>
                  <a:cubicBezTo>
                    <a:pt x="1011" y="492"/>
                    <a:pt x="1011" y="491"/>
                    <a:pt x="1011" y="491"/>
                  </a:cubicBezTo>
                  <a:moveTo>
                    <a:pt x="973" y="493"/>
                  </a:moveTo>
                  <a:cubicBezTo>
                    <a:pt x="973" y="493"/>
                    <a:pt x="973" y="493"/>
                    <a:pt x="973" y="494"/>
                  </a:cubicBezTo>
                  <a:cubicBezTo>
                    <a:pt x="973" y="494"/>
                    <a:pt x="974" y="494"/>
                    <a:pt x="974" y="494"/>
                  </a:cubicBezTo>
                  <a:cubicBezTo>
                    <a:pt x="979" y="496"/>
                    <a:pt x="984" y="498"/>
                    <a:pt x="989" y="498"/>
                  </a:cubicBezTo>
                  <a:cubicBezTo>
                    <a:pt x="993" y="498"/>
                    <a:pt x="996" y="497"/>
                    <a:pt x="1000" y="496"/>
                  </a:cubicBezTo>
                  <a:cubicBezTo>
                    <a:pt x="1000" y="496"/>
                    <a:pt x="1000" y="496"/>
                    <a:pt x="1000" y="495"/>
                  </a:cubicBezTo>
                  <a:cubicBezTo>
                    <a:pt x="996" y="496"/>
                    <a:pt x="993" y="497"/>
                    <a:pt x="989" y="497"/>
                  </a:cubicBezTo>
                  <a:cubicBezTo>
                    <a:pt x="984" y="497"/>
                    <a:pt x="979" y="496"/>
                    <a:pt x="975" y="493"/>
                  </a:cubicBezTo>
                  <a:cubicBezTo>
                    <a:pt x="974" y="493"/>
                    <a:pt x="974" y="493"/>
                    <a:pt x="974" y="493"/>
                  </a:cubicBezTo>
                  <a:cubicBezTo>
                    <a:pt x="974" y="493"/>
                    <a:pt x="973" y="493"/>
                    <a:pt x="973" y="493"/>
                  </a:cubicBezTo>
                  <a:moveTo>
                    <a:pt x="776" y="499"/>
                  </a:moveTo>
                  <a:cubicBezTo>
                    <a:pt x="775" y="500"/>
                    <a:pt x="775" y="500"/>
                    <a:pt x="774" y="501"/>
                  </a:cubicBezTo>
                  <a:cubicBezTo>
                    <a:pt x="774" y="501"/>
                    <a:pt x="775" y="501"/>
                    <a:pt x="775" y="501"/>
                  </a:cubicBezTo>
                  <a:cubicBezTo>
                    <a:pt x="775" y="500"/>
                    <a:pt x="775" y="500"/>
                    <a:pt x="776" y="499"/>
                  </a:cubicBezTo>
                  <a:moveTo>
                    <a:pt x="774" y="502"/>
                  </a:moveTo>
                  <a:cubicBezTo>
                    <a:pt x="774" y="502"/>
                    <a:pt x="774" y="502"/>
                    <a:pt x="773" y="502"/>
                  </a:cubicBezTo>
                  <a:cubicBezTo>
                    <a:pt x="773" y="503"/>
                    <a:pt x="772" y="505"/>
                    <a:pt x="771" y="506"/>
                  </a:cubicBezTo>
                  <a:cubicBezTo>
                    <a:pt x="771" y="505"/>
                    <a:pt x="772" y="505"/>
                    <a:pt x="772" y="504"/>
                  </a:cubicBezTo>
                  <a:cubicBezTo>
                    <a:pt x="773" y="503"/>
                    <a:pt x="773" y="502"/>
                    <a:pt x="774" y="502"/>
                  </a:cubicBezTo>
                  <a:moveTo>
                    <a:pt x="769" y="507"/>
                  </a:moveTo>
                  <a:cubicBezTo>
                    <a:pt x="769" y="507"/>
                    <a:pt x="769" y="507"/>
                    <a:pt x="769" y="507"/>
                  </a:cubicBezTo>
                  <a:cubicBezTo>
                    <a:pt x="769" y="508"/>
                    <a:pt x="768" y="508"/>
                    <a:pt x="768" y="508"/>
                  </a:cubicBezTo>
                  <a:cubicBezTo>
                    <a:pt x="769" y="507"/>
                    <a:pt x="769" y="507"/>
                    <a:pt x="769" y="507"/>
                  </a:cubicBezTo>
                  <a:moveTo>
                    <a:pt x="764" y="514"/>
                  </a:moveTo>
                  <a:cubicBezTo>
                    <a:pt x="763" y="515"/>
                    <a:pt x="763" y="516"/>
                    <a:pt x="762" y="517"/>
                  </a:cubicBezTo>
                  <a:cubicBezTo>
                    <a:pt x="762" y="517"/>
                    <a:pt x="762" y="517"/>
                    <a:pt x="762" y="516"/>
                  </a:cubicBezTo>
                  <a:cubicBezTo>
                    <a:pt x="763" y="516"/>
                    <a:pt x="763" y="515"/>
                    <a:pt x="764" y="514"/>
                  </a:cubicBezTo>
                  <a:moveTo>
                    <a:pt x="761" y="517"/>
                  </a:moveTo>
                  <a:cubicBezTo>
                    <a:pt x="757" y="521"/>
                    <a:pt x="754" y="525"/>
                    <a:pt x="750" y="529"/>
                  </a:cubicBezTo>
                  <a:cubicBezTo>
                    <a:pt x="750" y="529"/>
                    <a:pt x="750" y="530"/>
                    <a:pt x="751" y="530"/>
                  </a:cubicBezTo>
                  <a:cubicBezTo>
                    <a:pt x="751" y="529"/>
                    <a:pt x="752" y="528"/>
                    <a:pt x="752" y="528"/>
                  </a:cubicBezTo>
                  <a:cubicBezTo>
                    <a:pt x="754" y="526"/>
                    <a:pt x="756" y="523"/>
                    <a:pt x="758" y="521"/>
                  </a:cubicBezTo>
                  <a:cubicBezTo>
                    <a:pt x="759" y="521"/>
                    <a:pt x="759" y="521"/>
                    <a:pt x="759" y="521"/>
                  </a:cubicBezTo>
                  <a:cubicBezTo>
                    <a:pt x="759" y="519"/>
                    <a:pt x="760" y="518"/>
                    <a:pt x="761" y="517"/>
                  </a:cubicBezTo>
                  <a:moveTo>
                    <a:pt x="749" y="530"/>
                  </a:moveTo>
                  <a:cubicBezTo>
                    <a:pt x="749" y="530"/>
                    <a:pt x="748" y="531"/>
                    <a:pt x="748" y="531"/>
                  </a:cubicBezTo>
                  <a:cubicBezTo>
                    <a:pt x="747" y="532"/>
                    <a:pt x="746" y="533"/>
                    <a:pt x="745" y="534"/>
                  </a:cubicBezTo>
                  <a:cubicBezTo>
                    <a:pt x="745" y="534"/>
                    <a:pt x="745" y="535"/>
                    <a:pt x="745" y="535"/>
                  </a:cubicBezTo>
                  <a:cubicBezTo>
                    <a:pt x="746" y="534"/>
                    <a:pt x="747" y="533"/>
                    <a:pt x="748" y="532"/>
                  </a:cubicBezTo>
                  <a:cubicBezTo>
                    <a:pt x="748" y="532"/>
                    <a:pt x="749" y="532"/>
                    <a:pt x="749" y="532"/>
                  </a:cubicBezTo>
                  <a:cubicBezTo>
                    <a:pt x="749" y="531"/>
                    <a:pt x="749" y="531"/>
                    <a:pt x="750" y="530"/>
                  </a:cubicBezTo>
                  <a:cubicBezTo>
                    <a:pt x="750" y="530"/>
                    <a:pt x="749" y="530"/>
                    <a:pt x="749" y="530"/>
                  </a:cubicBezTo>
                  <a:moveTo>
                    <a:pt x="744" y="535"/>
                  </a:moveTo>
                  <a:cubicBezTo>
                    <a:pt x="744" y="535"/>
                    <a:pt x="743" y="536"/>
                    <a:pt x="743" y="536"/>
                  </a:cubicBezTo>
                  <a:cubicBezTo>
                    <a:pt x="741" y="538"/>
                    <a:pt x="739" y="540"/>
                    <a:pt x="737" y="542"/>
                  </a:cubicBezTo>
                  <a:cubicBezTo>
                    <a:pt x="737" y="542"/>
                    <a:pt x="736" y="542"/>
                    <a:pt x="736" y="542"/>
                  </a:cubicBezTo>
                  <a:cubicBezTo>
                    <a:pt x="736" y="543"/>
                    <a:pt x="735" y="544"/>
                    <a:pt x="734" y="544"/>
                  </a:cubicBezTo>
                  <a:cubicBezTo>
                    <a:pt x="733" y="546"/>
                    <a:pt x="731" y="547"/>
                    <a:pt x="730" y="549"/>
                  </a:cubicBezTo>
                  <a:cubicBezTo>
                    <a:pt x="726" y="552"/>
                    <a:pt x="723" y="555"/>
                    <a:pt x="719" y="558"/>
                  </a:cubicBezTo>
                  <a:cubicBezTo>
                    <a:pt x="719" y="558"/>
                    <a:pt x="718" y="558"/>
                    <a:pt x="718" y="559"/>
                  </a:cubicBezTo>
                  <a:cubicBezTo>
                    <a:pt x="716" y="560"/>
                    <a:pt x="715" y="561"/>
                    <a:pt x="713" y="563"/>
                  </a:cubicBezTo>
                  <a:cubicBezTo>
                    <a:pt x="713" y="563"/>
                    <a:pt x="713" y="563"/>
                    <a:pt x="712" y="563"/>
                  </a:cubicBezTo>
                  <a:cubicBezTo>
                    <a:pt x="712" y="563"/>
                    <a:pt x="712" y="564"/>
                    <a:pt x="712" y="564"/>
                  </a:cubicBezTo>
                  <a:cubicBezTo>
                    <a:pt x="712" y="564"/>
                    <a:pt x="713" y="564"/>
                    <a:pt x="713" y="564"/>
                  </a:cubicBezTo>
                  <a:cubicBezTo>
                    <a:pt x="713" y="564"/>
                    <a:pt x="713" y="564"/>
                    <a:pt x="714" y="564"/>
                  </a:cubicBezTo>
                  <a:cubicBezTo>
                    <a:pt x="714" y="563"/>
                    <a:pt x="714" y="563"/>
                    <a:pt x="714" y="563"/>
                  </a:cubicBezTo>
                  <a:cubicBezTo>
                    <a:pt x="715" y="563"/>
                    <a:pt x="715" y="562"/>
                    <a:pt x="716" y="562"/>
                  </a:cubicBezTo>
                  <a:cubicBezTo>
                    <a:pt x="716" y="561"/>
                    <a:pt x="717" y="561"/>
                    <a:pt x="718" y="560"/>
                  </a:cubicBezTo>
                  <a:cubicBezTo>
                    <a:pt x="719" y="560"/>
                    <a:pt x="719" y="559"/>
                    <a:pt x="719" y="559"/>
                  </a:cubicBezTo>
                  <a:cubicBezTo>
                    <a:pt x="723" y="556"/>
                    <a:pt x="726" y="553"/>
                    <a:pt x="730" y="550"/>
                  </a:cubicBezTo>
                  <a:cubicBezTo>
                    <a:pt x="730" y="549"/>
                    <a:pt x="731" y="549"/>
                    <a:pt x="731" y="549"/>
                  </a:cubicBezTo>
                  <a:cubicBezTo>
                    <a:pt x="732" y="548"/>
                    <a:pt x="733" y="547"/>
                    <a:pt x="734" y="546"/>
                  </a:cubicBezTo>
                  <a:cubicBezTo>
                    <a:pt x="734" y="546"/>
                    <a:pt x="735" y="545"/>
                    <a:pt x="735" y="545"/>
                  </a:cubicBezTo>
                  <a:cubicBezTo>
                    <a:pt x="737" y="544"/>
                    <a:pt x="738" y="542"/>
                    <a:pt x="739" y="541"/>
                  </a:cubicBezTo>
                  <a:cubicBezTo>
                    <a:pt x="741" y="540"/>
                    <a:pt x="742" y="538"/>
                    <a:pt x="744" y="537"/>
                  </a:cubicBezTo>
                  <a:cubicBezTo>
                    <a:pt x="744" y="537"/>
                    <a:pt x="744" y="536"/>
                    <a:pt x="745" y="536"/>
                  </a:cubicBezTo>
                  <a:cubicBezTo>
                    <a:pt x="744" y="535"/>
                    <a:pt x="744" y="535"/>
                    <a:pt x="744" y="535"/>
                  </a:cubicBezTo>
                  <a:moveTo>
                    <a:pt x="711" y="564"/>
                  </a:moveTo>
                  <a:cubicBezTo>
                    <a:pt x="710" y="565"/>
                    <a:pt x="709" y="566"/>
                    <a:pt x="707" y="567"/>
                  </a:cubicBezTo>
                  <a:cubicBezTo>
                    <a:pt x="706" y="568"/>
                    <a:pt x="704" y="570"/>
                    <a:pt x="703" y="571"/>
                  </a:cubicBezTo>
                  <a:cubicBezTo>
                    <a:pt x="699" y="574"/>
                    <a:pt x="695" y="577"/>
                    <a:pt x="691" y="580"/>
                  </a:cubicBezTo>
                  <a:cubicBezTo>
                    <a:pt x="691" y="580"/>
                    <a:pt x="691" y="580"/>
                    <a:pt x="691" y="581"/>
                  </a:cubicBezTo>
                  <a:cubicBezTo>
                    <a:pt x="698" y="576"/>
                    <a:pt x="705" y="570"/>
                    <a:pt x="712" y="565"/>
                  </a:cubicBezTo>
                  <a:cubicBezTo>
                    <a:pt x="712" y="565"/>
                    <a:pt x="712" y="564"/>
                    <a:pt x="711" y="564"/>
                  </a:cubicBezTo>
                  <a:moveTo>
                    <a:pt x="690" y="580"/>
                  </a:moveTo>
                  <a:cubicBezTo>
                    <a:pt x="688" y="582"/>
                    <a:pt x="687" y="583"/>
                    <a:pt x="685" y="584"/>
                  </a:cubicBezTo>
                  <a:cubicBezTo>
                    <a:pt x="682" y="586"/>
                    <a:pt x="680" y="588"/>
                    <a:pt x="678" y="589"/>
                  </a:cubicBezTo>
                  <a:cubicBezTo>
                    <a:pt x="675" y="591"/>
                    <a:pt x="672" y="593"/>
                    <a:pt x="668" y="596"/>
                  </a:cubicBezTo>
                  <a:cubicBezTo>
                    <a:pt x="668" y="596"/>
                    <a:pt x="668" y="596"/>
                    <a:pt x="669" y="596"/>
                  </a:cubicBezTo>
                  <a:cubicBezTo>
                    <a:pt x="669" y="596"/>
                    <a:pt x="669" y="596"/>
                    <a:pt x="669" y="596"/>
                  </a:cubicBezTo>
                  <a:cubicBezTo>
                    <a:pt x="670" y="596"/>
                    <a:pt x="671" y="595"/>
                    <a:pt x="672" y="594"/>
                  </a:cubicBezTo>
                  <a:cubicBezTo>
                    <a:pt x="674" y="593"/>
                    <a:pt x="676" y="591"/>
                    <a:pt x="678" y="590"/>
                  </a:cubicBezTo>
                  <a:cubicBezTo>
                    <a:pt x="681" y="588"/>
                    <a:pt x="684" y="586"/>
                    <a:pt x="686" y="584"/>
                  </a:cubicBezTo>
                  <a:cubicBezTo>
                    <a:pt x="688" y="583"/>
                    <a:pt x="689" y="582"/>
                    <a:pt x="690" y="581"/>
                  </a:cubicBezTo>
                  <a:cubicBezTo>
                    <a:pt x="690" y="581"/>
                    <a:pt x="690" y="581"/>
                    <a:pt x="690" y="580"/>
                  </a:cubicBezTo>
                  <a:moveTo>
                    <a:pt x="668" y="596"/>
                  </a:moveTo>
                  <a:cubicBezTo>
                    <a:pt x="667" y="597"/>
                    <a:pt x="665" y="598"/>
                    <a:pt x="664" y="598"/>
                  </a:cubicBezTo>
                  <a:cubicBezTo>
                    <a:pt x="664" y="598"/>
                    <a:pt x="664" y="599"/>
                    <a:pt x="663" y="599"/>
                  </a:cubicBezTo>
                  <a:cubicBezTo>
                    <a:pt x="661" y="600"/>
                    <a:pt x="660" y="601"/>
                    <a:pt x="658" y="603"/>
                  </a:cubicBezTo>
                  <a:cubicBezTo>
                    <a:pt x="654" y="605"/>
                    <a:pt x="650" y="608"/>
                    <a:pt x="647" y="611"/>
                  </a:cubicBezTo>
                  <a:cubicBezTo>
                    <a:pt x="653" y="607"/>
                    <a:pt x="658" y="603"/>
                    <a:pt x="664" y="599"/>
                  </a:cubicBezTo>
                  <a:cubicBezTo>
                    <a:pt x="665" y="599"/>
                    <a:pt x="665" y="599"/>
                    <a:pt x="665" y="599"/>
                  </a:cubicBezTo>
                  <a:cubicBezTo>
                    <a:pt x="666" y="598"/>
                    <a:pt x="667" y="598"/>
                    <a:pt x="668" y="597"/>
                  </a:cubicBezTo>
                  <a:cubicBezTo>
                    <a:pt x="668" y="597"/>
                    <a:pt x="668" y="596"/>
                    <a:pt x="668" y="596"/>
                  </a:cubicBezTo>
                  <a:cubicBezTo>
                    <a:pt x="668" y="596"/>
                    <a:pt x="668" y="596"/>
                    <a:pt x="668" y="596"/>
                  </a:cubicBezTo>
                  <a:moveTo>
                    <a:pt x="646" y="610"/>
                  </a:moveTo>
                  <a:cubicBezTo>
                    <a:pt x="646" y="610"/>
                    <a:pt x="646" y="610"/>
                    <a:pt x="646" y="610"/>
                  </a:cubicBezTo>
                  <a:cubicBezTo>
                    <a:pt x="645" y="610"/>
                    <a:pt x="644" y="611"/>
                    <a:pt x="644" y="611"/>
                  </a:cubicBezTo>
                  <a:cubicBezTo>
                    <a:pt x="643" y="611"/>
                    <a:pt x="643" y="611"/>
                    <a:pt x="643" y="612"/>
                  </a:cubicBezTo>
                  <a:cubicBezTo>
                    <a:pt x="642" y="612"/>
                    <a:pt x="641" y="613"/>
                    <a:pt x="640" y="614"/>
                  </a:cubicBezTo>
                  <a:cubicBezTo>
                    <a:pt x="639" y="614"/>
                    <a:pt x="639" y="614"/>
                    <a:pt x="639" y="614"/>
                  </a:cubicBezTo>
                  <a:cubicBezTo>
                    <a:pt x="639" y="614"/>
                    <a:pt x="639" y="614"/>
                    <a:pt x="639" y="614"/>
                  </a:cubicBezTo>
                  <a:cubicBezTo>
                    <a:pt x="639" y="614"/>
                    <a:pt x="639" y="615"/>
                    <a:pt x="639" y="615"/>
                  </a:cubicBezTo>
                  <a:cubicBezTo>
                    <a:pt x="641" y="613"/>
                    <a:pt x="644" y="611"/>
                    <a:pt x="646" y="610"/>
                  </a:cubicBezTo>
                  <a:moveTo>
                    <a:pt x="1430" y="611"/>
                  </a:moveTo>
                  <a:cubicBezTo>
                    <a:pt x="1429" y="617"/>
                    <a:pt x="1427" y="624"/>
                    <a:pt x="1426" y="631"/>
                  </a:cubicBezTo>
                  <a:cubicBezTo>
                    <a:pt x="1426" y="632"/>
                    <a:pt x="1426" y="634"/>
                    <a:pt x="1426" y="636"/>
                  </a:cubicBezTo>
                  <a:cubicBezTo>
                    <a:pt x="1427" y="631"/>
                    <a:pt x="1428" y="626"/>
                    <a:pt x="1429" y="621"/>
                  </a:cubicBezTo>
                  <a:cubicBezTo>
                    <a:pt x="1429" y="618"/>
                    <a:pt x="1430" y="614"/>
                    <a:pt x="1430" y="611"/>
                  </a:cubicBezTo>
                  <a:moveTo>
                    <a:pt x="638" y="615"/>
                  </a:moveTo>
                  <a:cubicBezTo>
                    <a:pt x="638" y="615"/>
                    <a:pt x="638" y="615"/>
                    <a:pt x="638" y="615"/>
                  </a:cubicBezTo>
                  <a:cubicBezTo>
                    <a:pt x="633" y="618"/>
                    <a:pt x="627" y="621"/>
                    <a:pt x="622" y="624"/>
                  </a:cubicBezTo>
                  <a:cubicBezTo>
                    <a:pt x="622" y="624"/>
                    <a:pt x="623" y="624"/>
                    <a:pt x="623" y="624"/>
                  </a:cubicBezTo>
                  <a:cubicBezTo>
                    <a:pt x="626" y="622"/>
                    <a:pt x="630" y="620"/>
                    <a:pt x="633" y="618"/>
                  </a:cubicBezTo>
                  <a:cubicBezTo>
                    <a:pt x="634" y="618"/>
                    <a:pt x="634" y="618"/>
                    <a:pt x="634" y="618"/>
                  </a:cubicBezTo>
                  <a:cubicBezTo>
                    <a:pt x="636" y="617"/>
                    <a:pt x="637" y="616"/>
                    <a:pt x="638" y="615"/>
                  </a:cubicBezTo>
                  <a:cubicBezTo>
                    <a:pt x="638" y="615"/>
                    <a:pt x="638" y="615"/>
                    <a:pt x="638" y="615"/>
                  </a:cubicBezTo>
                  <a:moveTo>
                    <a:pt x="621" y="624"/>
                  </a:moveTo>
                  <a:cubicBezTo>
                    <a:pt x="614" y="628"/>
                    <a:pt x="607" y="632"/>
                    <a:pt x="600" y="635"/>
                  </a:cubicBezTo>
                  <a:cubicBezTo>
                    <a:pt x="599" y="636"/>
                    <a:pt x="598" y="636"/>
                    <a:pt x="596" y="637"/>
                  </a:cubicBezTo>
                  <a:cubicBezTo>
                    <a:pt x="593" y="638"/>
                    <a:pt x="590" y="640"/>
                    <a:pt x="587" y="641"/>
                  </a:cubicBezTo>
                  <a:cubicBezTo>
                    <a:pt x="587" y="642"/>
                    <a:pt x="587" y="642"/>
                    <a:pt x="587" y="642"/>
                  </a:cubicBezTo>
                  <a:cubicBezTo>
                    <a:pt x="587" y="642"/>
                    <a:pt x="587" y="642"/>
                    <a:pt x="587" y="642"/>
                  </a:cubicBezTo>
                  <a:cubicBezTo>
                    <a:pt x="590" y="641"/>
                    <a:pt x="592" y="640"/>
                    <a:pt x="594" y="639"/>
                  </a:cubicBezTo>
                  <a:cubicBezTo>
                    <a:pt x="595" y="639"/>
                    <a:pt x="596" y="638"/>
                    <a:pt x="597" y="638"/>
                  </a:cubicBezTo>
                  <a:cubicBezTo>
                    <a:pt x="605" y="634"/>
                    <a:pt x="614" y="629"/>
                    <a:pt x="622" y="625"/>
                  </a:cubicBezTo>
                  <a:cubicBezTo>
                    <a:pt x="622" y="625"/>
                    <a:pt x="621" y="624"/>
                    <a:pt x="621" y="624"/>
                  </a:cubicBezTo>
                  <a:moveTo>
                    <a:pt x="1425" y="636"/>
                  </a:moveTo>
                  <a:cubicBezTo>
                    <a:pt x="1424" y="643"/>
                    <a:pt x="1422" y="650"/>
                    <a:pt x="1421" y="656"/>
                  </a:cubicBezTo>
                  <a:cubicBezTo>
                    <a:pt x="1421" y="658"/>
                    <a:pt x="1421" y="659"/>
                    <a:pt x="1421" y="660"/>
                  </a:cubicBezTo>
                  <a:cubicBezTo>
                    <a:pt x="1423" y="654"/>
                    <a:pt x="1424" y="647"/>
                    <a:pt x="1425" y="641"/>
                  </a:cubicBezTo>
                  <a:cubicBezTo>
                    <a:pt x="1425" y="640"/>
                    <a:pt x="1425" y="638"/>
                    <a:pt x="1425" y="637"/>
                  </a:cubicBezTo>
                  <a:cubicBezTo>
                    <a:pt x="1425" y="636"/>
                    <a:pt x="1425" y="636"/>
                    <a:pt x="1425" y="636"/>
                  </a:cubicBezTo>
                  <a:moveTo>
                    <a:pt x="586" y="642"/>
                  </a:moveTo>
                  <a:cubicBezTo>
                    <a:pt x="582" y="644"/>
                    <a:pt x="578" y="646"/>
                    <a:pt x="574" y="647"/>
                  </a:cubicBezTo>
                  <a:cubicBezTo>
                    <a:pt x="575" y="648"/>
                    <a:pt x="575" y="648"/>
                    <a:pt x="575" y="648"/>
                  </a:cubicBezTo>
                  <a:cubicBezTo>
                    <a:pt x="579" y="646"/>
                    <a:pt x="583" y="645"/>
                    <a:pt x="586" y="643"/>
                  </a:cubicBezTo>
                  <a:cubicBezTo>
                    <a:pt x="586" y="643"/>
                    <a:pt x="586" y="643"/>
                    <a:pt x="586" y="643"/>
                  </a:cubicBezTo>
                  <a:cubicBezTo>
                    <a:pt x="586" y="642"/>
                    <a:pt x="586" y="642"/>
                    <a:pt x="586" y="642"/>
                  </a:cubicBezTo>
                  <a:moveTo>
                    <a:pt x="573" y="648"/>
                  </a:moveTo>
                  <a:cubicBezTo>
                    <a:pt x="570" y="649"/>
                    <a:pt x="567" y="651"/>
                    <a:pt x="564" y="652"/>
                  </a:cubicBezTo>
                  <a:cubicBezTo>
                    <a:pt x="563" y="652"/>
                    <a:pt x="562" y="653"/>
                    <a:pt x="561" y="653"/>
                  </a:cubicBezTo>
                  <a:cubicBezTo>
                    <a:pt x="561" y="653"/>
                    <a:pt x="561" y="653"/>
                    <a:pt x="560" y="653"/>
                  </a:cubicBezTo>
                  <a:cubicBezTo>
                    <a:pt x="559" y="654"/>
                    <a:pt x="558" y="655"/>
                    <a:pt x="556" y="655"/>
                  </a:cubicBezTo>
                  <a:cubicBezTo>
                    <a:pt x="552" y="657"/>
                    <a:pt x="548" y="659"/>
                    <a:pt x="544" y="660"/>
                  </a:cubicBezTo>
                  <a:cubicBezTo>
                    <a:pt x="543" y="661"/>
                    <a:pt x="542" y="661"/>
                    <a:pt x="541" y="661"/>
                  </a:cubicBezTo>
                  <a:cubicBezTo>
                    <a:pt x="539" y="662"/>
                    <a:pt x="537" y="663"/>
                    <a:pt x="534" y="664"/>
                  </a:cubicBezTo>
                  <a:cubicBezTo>
                    <a:pt x="534" y="664"/>
                    <a:pt x="535" y="664"/>
                    <a:pt x="535" y="665"/>
                  </a:cubicBezTo>
                  <a:cubicBezTo>
                    <a:pt x="536" y="664"/>
                    <a:pt x="538" y="664"/>
                    <a:pt x="539" y="663"/>
                  </a:cubicBezTo>
                  <a:cubicBezTo>
                    <a:pt x="540" y="663"/>
                    <a:pt x="541" y="662"/>
                    <a:pt x="542" y="662"/>
                  </a:cubicBezTo>
                  <a:cubicBezTo>
                    <a:pt x="545" y="661"/>
                    <a:pt x="549" y="659"/>
                    <a:pt x="553" y="658"/>
                  </a:cubicBezTo>
                  <a:cubicBezTo>
                    <a:pt x="554" y="657"/>
                    <a:pt x="555" y="657"/>
                    <a:pt x="557" y="656"/>
                  </a:cubicBezTo>
                  <a:cubicBezTo>
                    <a:pt x="558" y="656"/>
                    <a:pt x="558" y="655"/>
                    <a:pt x="559" y="655"/>
                  </a:cubicBezTo>
                  <a:cubicBezTo>
                    <a:pt x="560" y="655"/>
                    <a:pt x="561" y="654"/>
                    <a:pt x="562" y="654"/>
                  </a:cubicBezTo>
                  <a:cubicBezTo>
                    <a:pt x="566" y="652"/>
                    <a:pt x="570" y="650"/>
                    <a:pt x="574" y="649"/>
                  </a:cubicBezTo>
                  <a:cubicBezTo>
                    <a:pt x="574" y="648"/>
                    <a:pt x="573" y="648"/>
                    <a:pt x="573" y="648"/>
                  </a:cubicBezTo>
                  <a:moveTo>
                    <a:pt x="1420" y="660"/>
                  </a:moveTo>
                  <a:cubicBezTo>
                    <a:pt x="1415" y="688"/>
                    <a:pt x="1411" y="716"/>
                    <a:pt x="1406" y="743"/>
                  </a:cubicBezTo>
                  <a:cubicBezTo>
                    <a:pt x="1406" y="744"/>
                    <a:pt x="1406" y="744"/>
                    <a:pt x="1407" y="745"/>
                  </a:cubicBezTo>
                  <a:cubicBezTo>
                    <a:pt x="1411" y="718"/>
                    <a:pt x="1416" y="691"/>
                    <a:pt x="1421" y="663"/>
                  </a:cubicBezTo>
                  <a:cubicBezTo>
                    <a:pt x="1421" y="662"/>
                    <a:pt x="1421" y="661"/>
                    <a:pt x="1420" y="660"/>
                  </a:cubicBezTo>
                  <a:moveTo>
                    <a:pt x="533" y="664"/>
                  </a:moveTo>
                  <a:cubicBezTo>
                    <a:pt x="530" y="665"/>
                    <a:pt x="527" y="666"/>
                    <a:pt x="524" y="667"/>
                  </a:cubicBezTo>
                  <a:cubicBezTo>
                    <a:pt x="524" y="668"/>
                    <a:pt x="525" y="668"/>
                    <a:pt x="525" y="668"/>
                  </a:cubicBezTo>
                  <a:cubicBezTo>
                    <a:pt x="528" y="667"/>
                    <a:pt x="531" y="666"/>
                    <a:pt x="534" y="665"/>
                  </a:cubicBezTo>
                  <a:cubicBezTo>
                    <a:pt x="534" y="665"/>
                    <a:pt x="533" y="664"/>
                    <a:pt x="533" y="664"/>
                  </a:cubicBezTo>
                  <a:moveTo>
                    <a:pt x="523" y="668"/>
                  </a:moveTo>
                  <a:cubicBezTo>
                    <a:pt x="518" y="669"/>
                    <a:pt x="514" y="671"/>
                    <a:pt x="510" y="672"/>
                  </a:cubicBezTo>
                  <a:cubicBezTo>
                    <a:pt x="508" y="673"/>
                    <a:pt x="506" y="674"/>
                    <a:pt x="505" y="675"/>
                  </a:cubicBezTo>
                  <a:cubicBezTo>
                    <a:pt x="511" y="673"/>
                    <a:pt x="517" y="671"/>
                    <a:pt x="524" y="668"/>
                  </a:cubicBezTo>
                  <a:cubicBezTo>
                    <a:pt x="523" y="668"/>
                    <a:pt x="523" y="668"/>
                    <a:pt x="523" y="668"/>
                  </a:cubicBezTo>
                  <a:moveTo>
                    <a:pt x="504" y="674"/>
                  </a:moveTo>
                  <a:cubicBezTo>
                    <a:pt x="496" y="676"/>
                    <a:pt x="487" y="679"/>
                    <a:pt x="479" y="681"/>
                  </a:cubicBezTo>
                  <a:cubicBezTo>
                    <a:pt x="479" y="681"/>
                    <a:pt x="479" y="681"/>
                    <a:pt x="480" y="682"/>
                  </a:cubicBezTo>
                  <a:cubicBezTo>
                    <a:pt x="486" y="680"/>
                    <a:pt x="492" y="678"/>
                    <a:pt x="499" y="676"/>
                  </a:cubicBezTo>
                  <a:cubicBezTo>
                    <a:pt x="501" y="676"/>
                    <a:pt x="502" y="675"/>
                    <a:pt x="504" y="674"/>
                  </a:cubicBezTo>
                  <a:moveTo>
                    <a:pt x="478" y="681"/>
                  </a:moveTo>
                  <a:cubicBezTo>
                    <a:pt x="473" y="682"/>
                    <a:pt x="468" y="683"/>
                    <a:pt x="462" y="684"/>
                  </a:cubicBezTo>
                  <a:cubicBezTo>
                    <a:pt x="463" y="685"/>
                    <a:pt x="463" y="685"/>
                    <a:pt x="464" y="685"/>
                  </a:cubicBezTo>
                  <a:cubicBezTo>
                    <a:pt x="469" y="684"/>
                    <a:pt x="474" y="683"/>
                    <a:pt x="479" y="682"/>
                  </a:cubicBezTo>
                  <a:cubicBezTo>
                    <a:pt x="478" y="681"/>
                    <a:pt x="478" y="681"/>
                    <a:pt x="478" y="681"/>
                  </a:cubicBezTo>
                  <a:moveTo>
                    <a:pt x="460" y="685"/>
                  </a:moveTo>
                  <a:cubicBezTo>
                    <a:pt x="457" y="685"/>
                    <a:pt x="454" y="686"/>
                    <a:pt x="451" y="686"/>
                  </a:cubicBezTo>
                  <a:cubicBezTo>
                    <a:pt x="450" y="687"/>
                    <a:pt x="450" y="687"/>
                    <a:pt x="449" y="687"/>
                  </a:cubicBezTo>
                  <a:cubicBezTo>
                    <a:pt x="448" y="687"/>
                    <a:pt x="447" y="688"/>
                    <a:pt x="446" y="688"/>
                  </a:cubicBezTo>
                  <a:cubicBezTo>
                    <a:pt x="448" y="688"/>
                    <a:pt x="449" y="688"/>
                    <a:pt x="451" y="687"/>
                  </a:cubicBezTo>
                  <a:cubicBezTo>
                    <a:pt x="455" y="687"/>
                    <a:pt x="459" y="686"/>
                    <a:pt x="462" y="685"/>
                  </a:cubicBezTo>
                  <a:cubicBezTo>
                    <a:pt x="462" y="685"/>
                    <a:pt x="461" y="685"/>
                    <a:pt x="460" y="685"/>
                  </a:cubicBezTo>
                  <a:moveTo>
                    <a:pt x="445" y="687"/>
                  </a:moveTo>
                  <a:cubicBezTo>
                    <a:pt x="432" y="690"/>
                    <a:pt x="417" y="692"/>
                    <a:pt x="401" y="695"/>
                  </a:cubicBezTo>
                  <a:cubicBezTo>
                    <a:pt x="400" y="696"/>
                    <a:pt x="398" y="696"/>
                    <a:pt x="397" y="697"/>
                  </a:cubicBezTo>
                  <a:cubicBezTo>
                    <a:pt x="414" y="694"/>
                    <a:pt x="429" y="691"/>
                    <a:pt x="442" y="689"/>
                  </a:cubicBezTo>
                  <a:cubicBezTo>
                    <a:pt x="443" y="688"/>
                    <a:pt x="444" y="688"/>
                    <a:pt x="445" y="687"/>
                  </a:cubicBezTo>
                  <a:moveTo>
                    <a:pt x="397" y="696"/>
                  </a:moveTo>
                  <a:cubicBezTo>
                    <a:pt x="390" y="697"/>
                    <a:pt x="384" y="698"/>
                    <a:pt x="377" y="700"/>
                  </a:cubicBezTo>
                  <a:cubicBezTo>
                    <a:pt x="378" y="700"/>
                    <a:pt x="379" y="700"/>
                    <a:pt x="380" y="700"/>
                  </a:cubicBezTo>
                  <a:cubicBezTo>
                    <a:pt x="385" y="699"/>
                    <a:pt x="389" y="698"/>
                    <a:pt x="393" y="698"/>
                  </a:cubicBezTo>
                  <a:cubicBezTo>
                    <a:pt x="395" y="697"/>
                    <a:pt x="396" y="697"/>
                    <a:pt x="397" y="696"/>
                  </a:cubicBezTo>
                  <a:moveTo>
                    <a:pt x="374" y="700"/>
                  </a:moveTo>
                  <a:cubicBezTo>
                    <a:pt x="369" y="701"/>
                    <a:pt x="365" y="702"/>
                    <a:pt x="360" y="703"/>
                  </a:cubicBezTo>
                  <a:cubicBezTo>
                    <a:pt x="359" y="703"/>
                    <a:pt x="358" y="704"/>
                    <a:pt x="357" y="704"/>
                  </a:cubicBezTo>
                  <a:cubicBezTo>
                    <a:pt x="356" y="704"/>
                    <a:pt x="355" y="704"/>
                    <a:pt x="354" y="704"/>
                  </a:cubicBezTo>
                  <a:cubicBezTo>
                    <a:pt x="353" y="704"/>
                    <a:pt x="353" y="704"/>
                    <a:pt x="352" y="705"/>
                  </a:cubicBezTo>
                  <a:cubicBezTo>
                    <a:pt x="351" y="705"/>
                    <a:pt x="349" y="705"/>
                    <a:pt x="348" y="705"/>
                  </a:cubicBezTo>
                  <a:cubicBezTo>
                    <a:pt x="347" y="706"/>
                    <a:pt x="345" y="707"/>
                    <a:pt x="344" y="707"/>
                  </a:cubicBezTo>
                  <a:cubicBezTo>
                    <a:pt x="347" y="707"/>
                    <a:pt x="350" y="706"/>
                    <a:pt x="352" y="706"/>
                  </a:cubicBezTo>
                  <a:cubicBezTo>
                    <a:pt x="353" y="705"/>
                    <a:pt x="353" y="705"/>
                    <a:pt x="353" y="705"/>
                  </a:cubicBezTo>
                  <a:cubicBezTo>
                    <a:pt x="355" y="705"/>
                    <a:pt x="357" y="704"/>
                    <a:pt x="360" y="704"/>
                  </a:cubicBezTo>
                  <a:cubicBezTo>
                    <a:pt x="360" y="704"/>
                    <a:pt x="361" y="704"/>
                    <a:pt x="362" y="704"/>
                  </a:cubicBezTo>
                  <a:cubicBezTo>
                    <a:pt x="367" y="703"/>
                    <a:pt x="372" y="702"/>
                    <a:pt x="377" y="701"/>
                  </a:cubicBezTo>
                  <a:cubicBezTo>
                    <a:pt x="376" y="701"/>
                    <a:pt x="375" y="700"/>
                    <a:pt x="374" y="700"/>
                  </a:cubicBezTo>
                  <a:moveTo>
                    <a:pt x="343" y="706"/>
                  </a:moveTo>
                  <a:cubicBezTo>
                    <a:pt x="339" y="707"/>
                    <a:pt x="335" y="708"/>
                    <a:pt x="330" y="709"/>
                  </a:cubicBezTo>
                  <a:cubicBezTo>
                    <a:pt x="330" y="709"/>
                    <a:pt x="329" y="709"/>
                    <a:pt x="328" y="710"/>
                  </a:cubicBezTo>
                  <a:cubicBezTo>
                    <a:pt x="326" y="710"/>
                    <a:pt x="324" y="710"/>
                    <a:pt x="322" y="711"/>
                  </a:cubicBezTo>
                  <a:cubicBezTo>
                    <a:pt x="321" y="711"/>
                    <a:pt x="319" y="711"/>
                    <a:pt x="318" y="712"/>
                  </a:cubicBezTo>
                  <a:cubicBezTo>
                    <a:pt x="317" y="712"/>
                    <a:pt x="315" y="712"/>
                    <a:pt x="314" y="713"/>
                  </a:cubicBezTo>
                  <a:cubicBezTo>
                    <a:pt x="308" y="714"/>
                    <a:pt x="303" y="715"/>
                    <a:pt x="297" y="716"/>
                  </a:cubicBezTo>
                  <a:cubicBezTo>
                    <a:pt x="295" y="717"/>
                    <a:pt x="294" y="718"/>
                    <a:pt x="292" y="718"/>
                  </a:cubicBezTo>
                  <a:cubicBezTo>
                    <a:pt x="301" y="716"/>
                    <a:pt x="310" y="714"/>
                    <a:pt x="319" y="712"/>
                  </a:cubicBezTo>
                  <a:cubicBezTo>
                    <a:pt x="320" y="712"/>
                    <a:pt x="321" y="712"/>
                    <a:pt x="322" y="712"/>
                  </a:cubicBezTo>
                  <a:cubicBezTo>
                    <a:pt x="323" y="711"/>
                    <a:pt x="325" y="711"/>
                    <a:pt x="326" y="711"/>
                  </a:cubicBezTo>
                  <a:cubicBezTo>
                    <a:pt x="328" y="711"/>
                    <a:pt x="329" y="710"/>
                    <a:pt x="330" y="710"/>
                  </a:cubicBezTo>
                  <a:cubicBezTo>
                    <a:pt x="331" y="710"/>
                    <a:pt x="332" y="710"/>
                    <a:pt x="333" y="709"/>
                  </a:cubicBezTo>
                  <a:cubicBezTo>
                    <a:pt x="335" y="709"/>
                    <a:pt x="337" y="709"/>
                    <a:pt x="340" y="708"/>
                  </a:cubicBezTo>
                  <a:cubicBezTo>
                    <a:pt x="341" y="708"/>
                    <a:pt x="342" y="707"/>
                    <a:pt x="343" y="706"/>
                  </a:cubicBezTo>
                  <a:moveTo>
                    <a:pt x="292" y="717"/>
                  </a:moveTo>
                  <a:cubicBezTo>
                    <a:pt x="286" y="719"/>
                    <a:pt x="280" y="720"/>
                    <a:pt x="274" y="721"/>
                  </a:cubicBezTo>
                  <a:cubicBezTo>
                    <a:pt x="273" y="722"/>
                    <a:pt x="273" y="722"/>
                    <a:pt x="272" y="722"/>
                  </a:cubicBezTo>
                  <a:cubicBezTo>
                    <a:pt x="265" y="724"/>
                    <a:pt x="257" y="725"/>
                    <a:pt x="250" y="727"/>
                  </a:cubicBezTo>
                  <a:cubicBezTo>
                    <a:pt x="249" y="727"/>
                    <a:pt x="247" y="728"/>
                    <a:pt x="246" y="728"/>
                  </a:cubicBezTo>
                  <a:cubicBezTo>
                    <a:pt x="244" y="729"/>
                    <a:pt x="242" y="729"/>
                    <a:pt x="240" y="729"/>
                  </a:cubicBezTo>
                  <a:cubicBezTo>
                    <a:pt x="240" y="730"/>
                    <a:pt x="240" y="730"/>
                    <a:pt x="240" y="730"/>
                  </a:cubicBezTo>
                  <a:cubicBezTo>
                    <a:pt x="240" y="730"/>
                    <a:pt x="239" y="730"/>
                    <a:pt x="239" y="730"/>
                  </a:cubicBezTo>
                  <a:cubicBezTo>
                    <a:pt x="237" y="731"/>
                    <a:pt x="236" y="731"/>
                    <a:pt x="234" y="732"/>
                  </a:cubicBezTo>
                  <a:cubicBezTo>
                    <a:pt x="234" y="732"/>
                    <a:pt x="234" y="732"/>
                    <a:pt x="235" y="732"/>
                  </a:cubicBezTo>
                  <a:cubicBezTo>
                    <a:pt x="237" y="731"/>
                    <a:pt x="238" y="731"/>
                    <a:pt x="240" y="730"/>
                  </a:cubicBezTo>
                  <a:cubicBezTo>
                    <a:pt x="240" y="730"/>
                    <a:pt x="240" y="730"/>
                    <a:pt x="240" y="730"/>
                  </a:cubicBezTo>
                  <a:cubicBezTo>
                    <a:pt x="241" y="730"/>
                    <a:pt x="242" y="730"/>
                    <a:pt x="242" y="730"/>
                  </a:cubicBezTo>
                  <a:cubicBezTo>
                    <a:pt x="243" y="730"/>
                    <a:pt x="245" y="729"/>
                    <a:pt x="246" y="729"/>
                  </a:cubicBezTo>
                  <a:cubicBezTo>
                    <a:pt x="255" y="727"/>
                    <a:pt x="264" y="725"/>
                    <a:pt x="273" y="723"/>
                  </a:cubicBezTo>
                  <a:cubicBezTo>
                    <a:pt x="274" y="722"/>
                    <a:pt x="274" y="722"/>
                    <a:pt x="275" y="722"/>
                  </a:cubicBezTo>
                  <a:cubicBezTo>
                    <a:pt x="279" y="721"/>
                    <a:pt x="283" y="720"/>
                    <a:pt x="287" y="719"/>
                  </a:cubicBezTo>
                  <a:cubicBezTo>
                    <a:pt x="289" y="719"/>
                    <a:pt x="291" y="718"/>
                    <a:pt x="292" y="717"/>
                  </a:cubicBezTo>
                  <a:moveTo>
                    <a:pt x="233" y="731"/>
                  </a:moveTo>
                  <a:cubicBezTo>
                    <a:pt x="233" y="731"/>
                    <a:pt x="233" y="731"/>
                    <a:pt x="232" y="731"/>
                  </a:cubicBezTo>
                  <a:cubicBezTo>
                    <a:pt x="231" y="732"/>
                    <a:pt x="231" y="732"/>
                    <a:pt x="230" y="732"/>
                  </a:cubicBezTo>
                  <a:cubicBezTo>
                    <a:pt x="229" y="732"/>
                    <a:pt x="229" y="732"/>
                    <a:pt x="229" y="732"/>
                  </a:cubicBezTo>
                  <a:cubicBezTo>
                    <a:pt x="228" y="733"/>
                    <a:pt x="227" y="733"/>
                    <a:pt x="226" y="733"/>
                  </a:cubicBezTo>
                  <a:cubicBezTo>
                    <a:pt x="225" y="733"/>
                    <a:pt x="223" y="734"/>
                    <a:pt x="222" y="734"/>
                  </a:cubicBezTo>
                  <a:cubicBezTo>
                    <a:pt x="222" y="734"/>
                    <a:pt x="222" y="734"/>
                    <a:pt x="221" y="734"/>
                  </a:cubicBezTo>
                  <a:cubicBezTo>
                    <a:pt x="220" y="734"/>
                    <a:pt x="220" y="735"/>
                    <a:pt x="219" y="735"/>
                  </a:cubicBezTo>
                  <a:cubicBezTo>
                    <a:pt x="219" y="735"/>
                    <a:pt x="218" y="735"/>
                    <a:pt x="218" y="735"/>
                  </a:cubicBezTo>
                  <a:cubicBezTo>
                    <a:pt x="217" y="735"/>
                    <a:pt x="216" y="736"/>
                    <a:pt x="216" y="736"/>
                  </a:cubicBezTo>
                  <a:cubicBezTo>
                    <a:pt x="215" y="736"/>
                    <a:pt x="215" y="736"/>
                    <a:pt x="214" y="736"/>
                  </a:cubicBezTo>
                  <a:cubicBezTo>
                    <a:pt x="201" y="740"/>
                    <a:pt x="188" y="743"/>
                    <a:pt x="175" y="747"/>
                  </a:cubicBezTo>
                  <a:cubicBezTo>
                    <a:pt x="175" y="747"/>
                    <a:pt x="175" y="747"/>
                    <a:pt x="174" y="747"/>
                  </a:cubicBezTo>
                  <a:cubicBezTo>
                    <a:pt x="168" y="749"/>
                    <a:pt x="162" y="751"/>
                    <a:pt x="156" y="753"/>
                  </a:cubicBezTo>
                  <a:cubicBezTo>
                    <a:pt x="153" y="754"/>
                    <a:pt x="149" y="756"/>
                    <a:pt x="146" y="757"/>
                  </a:cubicBezTo>
                  <a:cubicBezTo>
                    <a:pt x="156" y="754"/>
                    <a:pt x="165" y="751"/>
                    <a:pt x="175" y="748"/>
                  </a:cubicBezTo>
                  <a:cubicBezTo>
                    <a:pt x="176" y="748"/>
                    <a:pt x="176" y="748"/>
                    <a:pt x="176" y="748"/>
                  </a:cubicBezTo>
                  <a:cubicBezTo>
                    <a:pt x="188" y="744"/>
                    <a:pt x="201" y="741"/>
                    <a:pt x="213" y="738"/>
                  </a:cubicBezTo>
                  <a:cubicBezTo>
                    <a:pt x="213" y="737"/>
                    <a:pt x="214" y="737"/>
                    <a:pt x="215" y="737"/>
                  </a:cubicBezTo>
                  <a:cubicBezTo>
                    <a:pt x="215" y="737"/>
                    <a:pt x="216" y="737"/>
                    <a:pt x="217" y="736"/>
                  </a:cubicBezTo>
                  <a:cubicBezTo>
                    <a:pt x="218" y="736"/>
                    <a:pt x="218" y="736"/>
                    <a:pt x="219" y="736"/>
                  </a:cubicBezTo>
                  <a:cubicBezTo>
                    <a:pt x="220" y="736"/>
                    <a:pt x="220" y="736"/>
                    <a:pt x="220" y="736"/>
                  </a:cubicBezTo>
                  <a:cubicBezTo>
                    <a:pt x="222" y="735"/>
                    <a:pt x="224" y="735"/>
                    <a:pt x="226" y="734"/>
                  </a:cubicBezTo>
                  <a:cubicBezTo>
                    <a:pt x="226" y="734"/>
                    <a:pt x="227" y="734"/>
                    <a:pt x="228" y="734"/>
                  </a:cubicBezTo>
                  <a:cubicBezTo>
                    <a:pt x="229" y="733"/>
                    <a:pt x="231" y="732"/>
                    <a:pt x="233" y="731"/>
                  </a:cubicBezTo>
                  <a:moveTo>
                    <a:pt x="1406" y="745"/>
                  </a:moveTo>
                  <a:cubicBezTo>
                    <a:pt x="1401" y="770"/>
                    <a:pt x="1396" y="795"/>
                    <a:pt x="1389" y="818"/>
                  </a:cubicBezTo>
                  <a:cubicBezTo>
                    <a:pt x="1390" y="819"/>
                    <a:pt x="1390" y="819"/>
                    <a:pt x="1390" y="819"/>
                  </a:cubicBezTo>
                  <a:cubicBezTo>
                    <a:pt x="1396" y="797"/>
                    <a:pt x="1401" y="772"/>
                    <a:pt x="1406" y="747"/>
                  </a:cubicBezTo>
                  <a:cubicBezTo>
                    <a:pt x="1406" y="746"/>
                    <a:pt x="1406" y="746"/>
                    <a:pt x="1406" y="745"/>
                  </a:cubicBezTo>
                  <a:moveTo>
                    <a:pt x="146" y="756"/>
                  </a:moveTo>
                  <a:cubicBezTo>
                    <a:pt x="145" y="756"/>
                    <a:pt x="144" y="757"/>
                    <a:pt x="143" y="757"/>
                  </a:cubicBezTo>
                  <a:cubicBezTo>
                    <a:pt x="142" y="757"/>
                    <a:pt x="142" y="757"/>
                    <a:pt x="141" y="758"/>
                  </a:cubicBezTo>
                  <a:cubicBezTo>
                    <a:pt x="139" y="758"/>
                    <a:pt x="137" y="759"/>
                    <a:pt x="135" y="759"/>
                  </a:cubicBezTo>
                  <a:cubicBezTo>
                    <a:pt x="135" y="760"/>
                    <a:pt x="135" y="760"/>
                    <a:pt x="134" y="760"/>
                  </a:cubicBezTo>
                  <a:cubicBezTo>
                    <a:pt x="134" y="760"/>
                    <a:pt x="133" y="760"/>
                    <a:pt x="132" y="761"/>
                  </a:cubicBezTo>
                  <a:cubicBezTo>
                    <a:pt x="128" y="762"/>
                    <a:pt x="125" y="763"/>
                    <a:pt x="122" y="764"/>
                  </a:cubicBezTo>
                  <a:cubicBezTo>
                    <a:pt x="121" y="765"/>
                    <a:pt x="120" y="765"/>
                    <a:pt x="119" y="765"/>
                  </a:cubicBezTo>
                  <a:cubicBezTo>
                    <a:pt x="118" y="765"/>
                    <a:pt x="118" y="766"/>
                    <a:pt x="117" y="766"/>
                  </a:cubicBezTo>
                  <a:cubicBezTo>
                    <a:pt x="117" y="766"/>
                    <a:pt x="117" y="766"/>
                    <a:pt x="116" y="766"/>
                  </a:cubicBezTo>
                  <a:cubicBezTo>
                    <a:pt x="116" y="766"/>
                    <a:pt x="115" y="766"/>
                    <a:pt x="115" y="766"/>
                  </a:cubicBezTo>
                  <a:cubicBezTo>
                    <a:pt x="115" y="767"/>
                    <a:pt x="114" y="767"/>
                    <a:pt x="113" y="767"/>
                  </a:cubicBezTo>
                  <a:cubicBezTo>
                    <a:pt x="113" y="767"/>
                    <a:pt x="113" y="767"/>
                    <a:pt x="112" y="768"/>
                  </a:cubicBezTo>
                  <a:cubicBezTo>
                    <a:pt x="112" y="768"/>
                    <a:pt x="112" y="768"/>
                    <a:pt x="111" y="768"/>
                  </a:cubicBezTo>
                  <a:cubicBezTo>
                    <a:pt x="111" y="768"/>
                    <a:pt x="110" y="768"/>
                    <a:pt x="110" y="768"/>
                  </a:cubicBezTo>
                  <a:cubicBezTo>
                    <a:pt x="110" y="768"/>
                    <a:pt x="110" y="768"/>
                    <a:pt x="110" y="768"/>
                  </a:cubicBezTo>
                  <a:cubicBezTo>
                    <a:pt x="109" y="769"/>
                    <a:pt x="109" y="769"/>
                    <a:pt x="109" y="769"/>
                  </a:cubicBezTo>
                  <a:cubicBezTo>
                    <a:pt x="108" y="769"/>
                    <a:pt x="108" y="769"/>
                    <a:pt x="108" y="769"/>
                  </a:cubicBezTo>
                  <a:cubicBezTo>
                    <a:pt x="107" y="769"/>
                    <a:pt x="107" y="770"/>
                    <a:pt x="106" y="770"/>
                  </a:cubicBezTo>
                  <a:cubicBezTo>
                    <a:pt x="106" y="770"/>
                    <a:pt x="106" y="770"/>
                    <a:pt x="105" y="770"/>
                  </a:cubicBezTo>
                  <a:cubicBezTo>
                    <a:pt x="104" y="771"/>
                    <a:pt x="103" y="771"/>
                    <a:pt x="102" y="771"/>
                  </a:cubicBezTo>
                  <a:cubicBezTo>
                    <a:pt x="102" y="772"/>
                    <a:pt x="101" y="772"/>
                    <a:pt x="101" y="772"/>
                  </a:cubicBezTo>
                  <a:cubicBezTo>
                    <a:pt x="101" y="772"/>
                    <a:pt x="100" y="772"/>
                    <a:pt x="100" y="772"/>
                  </a:cubicBezTo>
                  <a:cubicBezTo>
                    <a:pt x="100" y="772"/>
                    <a:pt x="99" y="772"/>
                    <a:pt x="99" y="773"/>
                  </a:cubicBezTo>
                  <a:cubicBezTo>
                    <a:pt x="98" y="773"/>
                    <a:pt x="97" y="773"/>
                    <a:pt x="96" y="774"/>
                  </a:cubicBezTo>
                  <a:cubicBezTo>
                    <a:pt x="95" y="774"/>
                    <a:pt x="95" y="774"/>
                    <a:pt x="94" y="774"/>
                  </a:cubicBezTo>
                  <a:cubicBezTo>
                    <a:pt x="94" y="774"/>
                    <a:pt x="94" y="774"/>
                    <a:pt x="94" y="774"/>
                  </a:cubicBezTo>
                  <a:cubicBezTo>
                    <a:pt x="93" y="775"/>
                    <a:pt x="93" y="775"/>
                    <a:pt x="92" y="775"/>
                  </a:cubicBezTo>
                  <a:cubicBezTo>
                    <a:pt x="92" y="776"/>
                    <a:pt x="91" y="776"/>
                    <a:pt x="91" y="776"/>
                  </a:cubicBezTo>
                  <a:cubicBezTo>
                    <a:pt x="91" y="776"/>
                    <a:pt x="91" y="776"/>
                    <a:pt x="91" y="776"/>
                  </a:cubicBezTo>
                  <a:cubicBezTo>
                    <a:pt x="90" y="776"/>
                    <a:pt x="90" y="776"/>
                    <a:pt x="90" y="776"/>
                  </a:cubicBezTo>
                  <a:cubicBezTo>
                    <a:pt x="89" y="777"/>
                    <a:pt x="89" y="777"/>
                    <a:pt x="88" y="777"/>
                  </a:cubicBezTo>
                  <a:cubicBezTo>
                    <a:pt x="88" y="777"/>
                    <a:pt x="87" y="777"/>
                    <a:pt x="87" y="778"/>
                  </a:cubicBezTo>
                  <a:cubicBezTo>
                    <a:pt x="87" y="778"/>
                    <a:pt x="87" y="778"/>
                    <a:pt x="87" y="778"/>
                  </a:cubicBezTo>
                  <a:cubicBezTo>
                    <a:pt x="87" y="778"/>
                    <a:pt x="87" y="778"/>
                    <a:pt x="87" y="778"/>
                  </a:cubicBezTo>
                  <a:cubicBezTo>
                    <a:pt x="86" y="778"/>
                    <a:pt x="86" y="778"/>
                    <a:pt x="86" y="778"/>
                  </a:cubicBezTo>
                  <a:cubicBezTo>
                    <a:pt x="86" y="778"/>
                    <a:pt x="85" y="778"/>
                    <a:pt x="85" y="778"/>
                  </a:cubicBezTo>
                  <a:cubicBezTo>
                    <a:pt x="85" y="778"/>
                    <a:pt x="84" y="779"/>
                    <a:pt x="84" y="779"/>
                  </a:cubicBezTo>
                  <a:cubicBezTo>
                    <a:pt x="84" y="779"/>
                    <a:pt x="84" y="779"/>
                    <a:pt x="84" y="779"/>
                  </a:cubicBezTo>
                  <a:cubicBezTo>
                    <a:pt x="83" y="779"/>
                    <a:pt x="82" y="779"/>
                    <a:pt x="82" y="780"/>
                  </a:cubicBezTo>
                  <a:cubicBezTo>
                    <a:pt x="82" y="780"/>
                    <a:pt x="82" y="780"/>
                    <a:pt x="81" y="780"/>
                  </a:cubicBezTo>
                  <a:cubicBezTo>
                    <a:pt x="81" y="780"/>
                    <a:pt x="80" y="781"/>
                    <a:pt x="79" y="781"/>
                  </a:cubicBezTo>
                  <a:cubicBezTo>
                    <a:pt x="78" y="781"/>
                    <a:pt x="78" y="781"/>
                    <a:pt x="77" y="782"/>
                  </a:cubicBezTo>
                  <a:cubicBezTo>
                    <a:pt x="77" y="782"/>
                    <a:pt x="76" y="782"/>
                    <a:pt x="75" y="782"/>
                  </a:cubicBezTo>
                  <a:cubicBezTo>
                    <a:pt x="75" y="783"/>
                    <a:pt x="75" y="783"/>
                    <a:pt x="75" y="783"/>
                  </a:cubicBezTo>
                  <a:cubicBezTo>
                    <a:pt x="72" y="784"/>
                    <a:pt x="69" y="785"/>
                    <a:pt x="66" y="787"/>
                  </a:cubicBezTo>
                  <a:cubicBezTo>
                    <a:pt x="66" y="787"/>
                    <a:pt x="65" y="787"/>
                    <a:pt x="65" y="787"/>
                  </a:cubicBezTo>
                  <a:cubicBezTo>
                    <a:pt x="63" y="788"/>
                    <a:pt x="61" y="789"/>
                    <a:pt x="60" y="790"/>
                  </a:cubicBezTo>
                  <a:cubicBezTo>
                    <a:pt x="59" y="790"/>
                    <a:pt x="59" y="791"/>
                    <a:pt x="58" y="791"/>
                  </a:cubicBezTo>
                  <a:cubicBezTo>
                    <a:pt x="54" y="793"/>
                    <a:pt x="51" y="795"/>
                    <a:pt x="48" y="796"/>
                  </a:cubicBezTo>
                  <a:cubicBezTo>
                    <a:pt x="47" y="797"/>
                    <a:pt x="47" y="797"/>
                    <a:pt x="46" y="797"/>
                  </a:cubicBezTo>
                  <a:cubicBezTo>
                    <a:pt x="44" y="798"/>
                    <a:pt x="42" y="800"/>
                    <a:pt x="40" y="801"/>
                  </a:cubicBezTo>
                  <a:cubicBezTo>
                    <a:pt x="39" y="801"/>
                    <a:pt x="39" y="802"/>
                    <a:pt x="38" y="802"/>
                  </a:cubicBezTo>
                  <a:cubicBezTo>
                    <a:pt x="35" y="804"/>
                    <a:pt x="33" y="806"/>
                    <a:pt x="30" y="807"/>
                  </a:cubicBezTo>
                  <a:cubicBezTo>
                    <a:pt x="30" y="808"/>
                    <a:pt x="29" y="808"/>
                    <a:pt x="29" y="808"/>
                  </a:cubicBezTo>
                  <a:cubicBezTo>
                    <a:pt x="28" y="809"/>
                    <a:pt x="27" y="809"/>
                    <a:pt x="27" y="810"/>
                  </a:cubicBezTo>
                  <a:cubicBezTo>
                    <a:pt x="26" y="810"/>
                    <a:pt x="26" y="811"/>
                    <a:pt x="25" y="811"/>
                  </a:cubicBezTo>
                  <a:cubicBezTo>
                    <a:pt x="25" y="811"/>
                    <a:pt x="25" y="812"/>
                    <a:pt x="24" y="812"/>
                  </a:cubicBezTo>
                  <a:cubicBezTo>
                    <a:pt x="26" y="811"/>
                    <a:pt x="27" y="810"/>
                    <a:pt x="29" y="809"/>
                  </a:cubicBezTo>
                  <a:cubicBezTo>
                    <a:pt x="29" y="809"/>
                    <a:pt x="30" y="809"/>
                    <a:pt x="30" y="809"/>
                  </a:cubicBezTo>
                  <a:cubicBezTo>
                    <a:pt x="30" y="808"/>
                    <a:pt x="31" y="808"/>
                    <a:pt x="31" y="808"/>
                  </a:cubicBezTo>
                  <a:cubicBezTo>
                    <a:pt x="34" y="806"/>
                    <a:pt x="37" y="804"/>
                    <a:pt x="40" y="802"/>
                  </a:cubicBezTo>
                  <a:cubicBezTo>
                    <a:pt x="40" y="802"/>
                    <a:pt x="41" y="802"/>
                    <a:pt x="41" y="801"/>
                  </a:cubicBezTo>
                  <a:cubicBezTo>
                    <a:pt x="43" y="800"/>
                    <a:pt x="45" y="799"/>
                    <a:pt x="48" y="797"/>
                  </a:cubicBezTo>
                  <a:cubicBezTo>
                    <a:pt x="48" y="797"/>
                    <a:pt x="49" y="797"/>
                    <a:pt x="49" y="797"/>
                  </a:cubicBezTo>
                  <a:cubicBezTo>
                    <a:pt x="52" y="795"/>
                    <a:pt x="56" y="793"/>
                    <a:pt x="60" y="791"/>
                  </a:cubicBezTo>
                  <a:cubicBezTo>
                    <a:pt x="60" y="791"/>
                    <a:pt x="61" y="790"/>
                    <a:pt x="62" y="790"/>
                  </a:cubicBezTo>
                  <a:cubicBezTo>
                    <a:pt x="63" y="789"/>
                    <a:pt x="65" y="789"/>
                    <a:pt x="66" y="788"/>
                  </a:cubicBezTo>
                  <a:cubicBezTo>
                    <a:pt x="66" y="788"/>
                    <a:pt x="67" y="788"/>
                    <a:pt x="67" y="787"/>
                  </a:cubicBezTo>
                  <a:cubicBezTo>
                    <a:pt x="70" y="786"/>
                    <a:pt x="72" y="785"/>
                    <a:pt x="75" y="784"/>
                  </a:cubicBezTo>
                  <a:cubicBezTo>
                    <a:pt x="75" y="784"/>
                    <a:pt x="75" y="784"/>
                    <a:pt x="76" y="783"/>
                  </a:cubicBezTo>
                  <a:cubicBezTo>
                    <a:pt x="77" y="783"/>
                    <a:pt x="78" y="782"/>
                    <a:pt x="79" y="782"/>
                  </a:cubicBezTo>
                  <a:cubicBezTo>
                    <a:pt x="80" y="782"/>
                    <a:pt x="80" y="781"/>
                    <a:pt x="81" y="781"/>
                  </a:cubicBezTo>
                  <a:cubicBezTo>
                    <a:pt x="81" y="781"/>
                    <a:pt x="82" y="781"/>
                    <a:pt x="82" y="781"/>
                  </a:cubicBezTo>
                  <a:cubicBezTo>
                    <a:pt x="82" y="781"/>
                    <a:pt x="83" y="780"/>
                    <a:pt x="83" y="780"/>
                  </a:cubicBezTo>
                  <a:cubicBezTo>
                    <a:pt x="83" y="780"/>
                    <a:pt x="84" y="780"/>
                    <a:pt x="84" y="780"/>
                  </a:cubicBezTo>
                  <a:cubicBezTo>
                    <a:pt x="84" y="780"/>
                    <a:pt x="85" y="779"/>
                    <a:pt x="85" y="779"/>
                  </a:cubicBezTo>
                  <a:cubicBezTo>
                    <a:pt x="86" y="779"/>
                    <a:pt x="86" y="779"/>
                    <a:pt x="86" y="779"/>
                  </a:cubicBezTo>
                  <a:cubicBezTo>
                    <a:pt x="86" y="779"/>
                    <a:pt x="86" y="779"/>
                    <a:pt x="87" y="779"/>
                  </a:cubicBezTo>
                  <a:cubicBezTo>
                    <a:pt x="87" y="779"/>
                    <a:pt x="87" y="779"/>
                    <a:pt x="87" y="779"/>
                  </a:cubicBezTo>
                  <a:cubicBezTo>
                    <a:pt x="87" y="778"/>
                    <a:pt x="88" y="778"/>
                    <a:pt x="88" y="778"/>
                  </a:cubicBezTo>
                  <a:cubicBezTo>
                    <a:pt x="88" y="778"/>
                    <a:pt x="88" y="778"/>
                    <a:pt x="88" y="778"/>
                  </a:cubicBezTo>
                  <a:cubicBezTo>
                    <a:pt x="89" y="778"/>
                    <a:pt x="89" y="778"/>
                    <a:pt x="90" y="777"/>
                  </a:cubicBezTo>
                  <a:cubicBezTo>
                    <a:pt x="90" y="777"/>
                    <a:pt x="90" y="777"/>
                    <a:pt x="90" y="777"/>
                  </a:cubicBezTo>
                  <a:cubicBezTo>
                    <a:pt x="90" y="777"/>
                    <a:pt x="90" y="777"/>
                    <a:pt x="91" y="777"/>
                  </a:cubicBezTo>
                  <a:cubicBezTo>
                    <a:pt x="91" y="777"/>
                    <a:pt x="92" y="777"/>
                    <a:pt x="92" y="776"/>
                  </a:cubicBezTo>
                  <a:cubicBezTo>
                    <a:pt x="92" y="776"/>
                    <a:pt x="92" y="776"/>
                    <a:pt x="92" y="776"/>
                  </a:cubicBezTo>
                  <a:cubicBezTo>
                    <a:pt x="93" y="776"/>
                    <a:pt x="93" y="776"/>
                    <a:pt x="94" y="776"/>
                  </a:cubicBezTo>
                  <a:cubicBezTo>
                    <a:pt x="94" y="776"/>
                    <a:pt x="94" y="775"/>
                    <a:pt x="95" y="775"/>
                  </a:cubicBezTo>
                  <a:cubicBezTo>
                    <a:pt x="95" y="775"/>
                    <a:pt x="96" y="775"/>
                    <a:pt x="96" y="775"/>
                  </a:cubicBezTo>
                  <a:cubicBezTo>
                    <a:pt x="96" y="775"/>
                    <a:pt x="97" y="775"/>
                    <a:pt x="97" y="774"/>
                  </a:cubicBezTo>
                  <a:cubicBezTo>
                    <a:pt x="98" y="774"/>
                    <a:pt x="99" y="774"/>
                    <a:pt x="100" y="773"/>
                  </a:cubicBezTo>
                  <a:cubicBezTo>
                    <a:pt x="100" y="773"/>
                    <a:pt x="101" y="773"/>
                    <a:pt x="101" y="773"/>
                  </a:cubicBezTo>
                  <a:cubicBezTo>
                    <a:pt x="101" y="773"/>
                    <a:pt x="102" y="773"/>
                    <a:pt x="102" y="772"/>
                  </a:cubicBezTo>
                  <a:cubicBezTo>
                    <a:pt x="103" y="772"/>
                    <a:pt x="103" y="772"/>
                    <a:pt x="104" y="772"/>
                  </a:cubicBezTo>
                  <a:cubicBezTo>
                    <a:pt x="104" y="772"/>
                    <a:pt x="105" y="771"/>
                    <a:pt x="106" y="771"/>
                  </a:cubicBezTo>
                  <a:cubicBezTo>
                    <a:pt x="106" y="771"/>
                    <a:pt x="107" y="771"/>
                    <a:pt x="107" y="771"/>
                  </a:cubicBezTo>
                  <a:cubicBezTo>
                    <a:pt x="108" y="770"/>
                    <a:pt x="108" y="770"/>
                    <a:pt x="109" y="770"/>
                  </a:cubicBezTo>
                  <a:cubicBezTo>
                    <a:pt x="109" y="770"/>
                    <a:pt x="109" y="770"/>
                    <a:pt x="110" y="770"/>
                  </a:cubicBezTo>
                  <a:cubicBezTo>
                    <a:pt x="110" y="770"/>
                    <a:pt x="110" y="770"/>
                    <a:pt x="110" y="770"/>
                  </a:cubicBezTo>
                  <a:cubicBezTo>
                    <a:pt x="110" y="769"/>
                    <a:pt x="111" y="769"/>
                    <a:pt x="111" y="769"/>
                  </a:cubicBezTo>
                  <a:cubicBezTo>
                    <a:pt x="113" y="768"/>
                    <a:pt x="114" y="768"/>
                    <a:pt x="116" y="767"/>
                  </a:cubicBezTo>
                  <a:cubicBezTo>
                    <a:pt x="116" y="767"/>
                    <a:pt x="117" y="767"/>
                    <a:pt x="117" y="767"/>
                  </a:cubicBezTo>
                  <a:cubicBezTo>
                    <a:pt x="118" y="767"/>
                    <a:pt x="118" y="767"/>
                    <a:pt x="119" y="766"/>
                  </a:cubicBezTo>
                  <a:cubicBezTo>
                    <a:pt x="119" y="766"/>
                    <a:pt x="120" y="766"/>
                    <a:pt x="120" y="766"/>
                  </a:cubicBezTo>
                  <a:cubicBezTo>
                    <a:pt x="121" y="766"/>
                    <a:pt x="121" y="766"/>
                    <a:pt x="121" y="765"/>
                  </a:cubicBezTo>
                  <a:cubicBezTo>
                    <a:pt x="126" y="764"/>
                    <a:pt x="131" y="762"/>
                    <a:pt x="135" y="761"/>
                  </a:cubicBezTo>
                  <a:cubicBezTo>
                    <a:pt x="135" y="761"/>
                    <a:pt x="136" y="760"/>
                    <a:pt x="136" y="760"/>
                  </a:cubicBezTo>
                  <a:cubicBezTo>
                    <a:pt x="139" y="759"/>
                    <a:pt x="143" y="757"/>
                    <a:pt x="146" y="756"/>
                  </a:cubicBezTo>
                  <a:moveTo>
                    <a:pt x="25" y="813"/>
                  </a:moveTo>
                  <a:cubicBezTo>
                    <a:pt x="23" y="813"/>
                    <a:pt x="22" y="814"/>
                    <a:pt x="21" y="815"/>
                  </a:cubicBezTo>
                  <a:cubicBezTo>
                    <a:pt x="21" y="815"/>
                    <a:pt x="21" y="815"/>
                    <a:pt x="21" y="815"/>
                  </a:cubicBezTo>
                  <a:cubicBezTo>
                    <a:pt x="19" y="817"/>
                    <a:pt x="17" y="818"/>
                    <a:pt x="15" y="820"/>
                  </a:cubicBezTo>
                  <a:cubicBezTo>
                    <a:pt x="15" y="821"/>
                    <a:pt x="14" y="821"/>
                    <a:pt x="14" y="821"/>
                  </a:cubicBezTo>
                  <a:cubicBezTo>
                    <a:pt x="13" y="822"/>
                    <a:pt x="12" y="823"/>
                    <a:pt x="11" y="825"/>
                  </a:cubicBezTo>
                  <a:cubicBezTo>
                    <a:pt x="11" y="825"/>
                    <a:pt x="10" y="825"/>
                    <a:pt x="10" y="825"/>
                  </a:cubicBezTo>
                  <a:cubicBezTo>
                    <a:pt x="10" y="826"/>
                    <a:pt x="10" y="826"/>
                    <a:pt x="9" y="826"/>
                  </a:cubicBezTo>
                  <a:cubicBezTo>
                    <a:pt x="9" y="826"/>
                    <a:pt x="9" y="826"/>
                    <a:pt x="9" y="826"/>
                  </a:cubicBezTo>
                  <a:cubicBezTo>
                    <a:pt x="9" y="827"/>
                    <a:pt x="9" y="827"/>
                    <a:pt x="9" y="827"/>
                  </a:cubicBezTo>
                  <a:cubicBezTo>
                    <a:pt x="9" y="828"/>
                    <a:pt x="8" y="828"/>
                    <a:pt x="8" y="828"/>
                  </a:cubicBezTo>
                  <a:cubicBezTo>
                    <a:pt x="8" y="828"/>
                    <a:pt x="8" y="829"/>
                    <a:pt x="8" y="829"/>
                  </a:cubicBezTo>
                  <a:cubicBezTo>
                    <a:pt x="7" y="829"/>
                    <a:pt x="7" y="829"/>
                    <a:pt x="7" y="829"/>
                  </a:cubicBezTo>
                  <a:cubicBezTo>
                    <a:pt x="7" y="830"/>
                    <a:pt x="6" y="831"/>
                    <a:pt x="6" y="832"/>
                  </a:cubicBezTo>
                  <a:cubicBezTo>
                    <a:pt x="5" y="832"/>
                    <a:pt x="5" y="833"/>
                    <a:pt x="5" y="833"/>
                  </a:cubicBezTo>
                  <a:cubicBezTo>
                    <a:pt x="5" y="833"/>
                    <a:pt x="5" y="834"/>
                    <a:pt x="4" y="834"/>
                  </a:cubicBezTo>
                  <a:cubicBezTo>
                    <a:pt x="5" y="834"/>
                    <a:pt x="5" y="834"/>
                    <a:pt x="6" y="833"/>
                  </a:cubicBezTo>
                  <a:cubicBezTo>
                    <a:pt x="6" y="833"/>
                    <a:pt x="6" y="833"/>
                    <a:pt x="6" y="833"/>
                  </a:cubicBezTo>
                  <a:cubicBezTo>
                    <a:pt x="6" y="833"/>
                    <a:pt x="6" y="833"/>
                    <a:pt x="6" y="833"/>
                  </a:cubicBezTo>
                  <a:cubicBezTo>
                    <a:pt x="7" y="831"/>
                    <a:pt x="8" y="830"/>
                    <a:pt x="8" y="829"/>
                  </a:cubicBezTo>
                  <a:cubicBezTo>
                    <a:pt x="8" y="829"/>
                    <a:pt x="8" y="829"/>
                    <a:pt x="8" y="829"/>
                  </a:cubicBezTo>
                  <a:cubicBezTo>
                    <a:pt x="9" y="829"/>
                    <a:pt x="9" y="829"/>
                    <a:pt x="9" y="828"/>
                  </a:cubicBezTo>
                  <a:cubicBezTo>
                    <a:pt x="9" y="828"/>
                    <a:pt x="9" y="828"/>
                    <a:pt x="10" y="828"/>
                  </a:cubicBezTo>
                  <a:cubicBezTo>
                    <a:pt x="10" y="827"/>
                    <a:pt x="10" y="827"/>
                    <a:pt x="10" y="827"/>
                  </a:cubicBezTo>
                  <a:cubicBezTo>
                    <a:pt x="10" y="827"/>
                    <a:pt x="10" y="827"/>
                    <a:pt x="10" y="827"/>
                  </a:cubicBezTo>
                  <a:cubicBezTo>
                    <a:pt x="11" y="826"/>
                    <a:pt x="11" y="826"/>
                    <a:pt x="11" y="826"/>
                  </a:cubicBezTo>
                  <a:cubicBezTo>
                    <a:pt x="11" y="825"/>
                    <a:pt x="12" y="825"/>
                    <a:pt x="12" y="825"/>
                  </a:cubicBezTo>
                  <a:cubicBezTo>
                    <a:pt x="13" y="824"/>
                    <a:pt x="14" y="823"/>
                    <a:pt x="15" y="822"/>
                  </a:cubicBezTo>
                  <a:cubicBezTo>
                    <a:pt x="15" y="821"/>
                    <a:pt x="15" y="821"/>
                    <a:pt x="16" y="821"/>
                  </a:cubicBezTo>
                  <a:cubicBezTo>
                    <a:pt x="17" y="819"/>
                    <a:pt x="20" y="817"/>
                    <a:pt x="22" y="815"/>
                  </a:cubicBezTo>
                  <a:cubicBezTo>
                    <a:pt x="22" y="815"/>
                    <a:pt x="23" y="814"/>
                    <a:pt x="23" y="814"/>
                  </a:cubicBezTo>
                  <a:cubicBezTo>
                    <a:pt x="24" y="814"/>
                    <a:pt x="24" y="813"/>
                    <a:pt x="25" y="813"/>
                  </a:cubicBezTo>
                  <a:moveTo>
                    <a:pt x="1389" y="820"/>
                  </a:moveTo>
                  <a:cubicBezTo>
                    <a:pt x="1387" y="825"/>
                    <a:pt x="1386" y="831"/>
                    <a:pt x="1384" y="836"/>
                  </a:cubicBezTo>
                  <a:cubicBezTo>
                    <a:pt x="1380" y="847"/>
                    <a:pt x="1376" y="858"/>
                    <a:pt x="1372" y="870"/>
                  </a:cubicBezTo>
                  <a:cubicBezTo>
                    <a:pt x="1372" y="870"/>
                    <a:pt x="1372" y="871"/>
                    <a:pt x="1372" y="871"/>
                  </a:cubicBezTo>
                  <a:cubicBezTo>
                    <a:pt x="1377" y="859"/>
                    <a:pt x="1381" y="848"/>
                    <a:pt x="1385" y="836"/>
                  </a:cubicBezTo>
                  <a:cubicBezTo>
                    <a:pt x="1386" y="831"/>
                    <a:pt x="1388" y="826"/>
                    <a:pt x="1389" y="821"/>
                  </a:cubicBezTo>
                  <a:cubicBezTo>
                    <a:pt x="1389" y="821"/>
                    <a:pt x="1389" y="820"/>
                    <a:pt x="1389" y="820"/>
                  </a:cubicBezTo>
                  <a:moveTo>
                    <a:pt x="5" y="835"/>
                  </a:moveTo>
                  <a:cubicBezTo>
                    <a:pt x="4" y="835"/>
                    <a:pt x="4" y="836"/>
                    <a:pt x="4" y="836"/>
                  </a:cubicBezTo>
                  <a:cubicBezTo>
                    <a:pt x="3" y="838"/>
                    <a:pt x="2" y="840"/>
                    <a:pt x="1" y="843"/>
                  </a:cubicBezTo>
                  <a:cubicBezTo>
                    <a:pt x="1" y="843"/>
                    <a:pt x="1" y="843"/>
                    <a:pt x="1" y="844"/>
                  </a:cubicBezTo>
                  <a:cubicBezTo>
                    <a:pt x="1" y="844"/>
                    <a:pt x="1" y="845"/>
                    <a:pt x="1" y="846"/>
                  </a:cubicBezTo>
                  <a:cubicBezTo>
                    <a:pt x="1" y="845"/>
                    <a:pt x="1" y="845"/>
                    <a:pt x="2" y="845"/>
                  </a:cubicBezTo>
                  <a:cubicBezTo>
                    <a:pt x="2" y="845"/>
                    <a:pt x="2" y="845"/>
                    <a:pt x="2" y="844"/>
                  </a:cubicBezTo>
                  <a:cubicBezTo>
                    <a:pt x="2" y="844"/>
                    <a:pt x="2" y="844"/>
                    <a:pt x="2" y="843"/>
                  </a:cubicBezTo>
                  <a:cubicBezTo>
                    <a:pt x="3" y="841"/>
                    <a:pt x="3" y="838"/>
                    <a:pt x="5" y="835"/>
                  </a:cubicBezTo>
                  <a:cubicBezTo>
                    <a:pt x="5" y="835"/>
                    <a:pt x="5" y="835"/>
                    <a:pt x="5" y="835"/>
                  </a:cubicBezTo>
                  <a:moveTo>
                    <a:pt x="2" y="846"/>
                  </a:moveTo>
                  <a:cubicBezTo>
                    <a:pt x="1" y="846"/>
                    <a:pt x="1" y="847"/>
                    <a:pt x="1" y="847"/>
                  </a:cubicBezTo>
                  <a:cubicBezTo>
                    <a:pt x="0" y="848"/>
                    <a:pt x="0" y="849"/>
                    <a:pt x="0" y="849"/>
                  </a:cubicBezTo>
                  <a:cubicBezTo>
                    <a:pt x="0" y="850"/>
                    <a:pt x="0" y="851"/>
                    <a:pt x="1" y="852"/>
                  </a:cubicBezTo>
                  <a:cubicBezTo>
                    <a:pt x="1" y="852"/>
                    <a:pt x="1" y="853"/>
                    <a:pt x="1" y="854"/>
                  </a:cubicBezTo>
                  <a:cubicBezTo>
                    <a:pt x="1" y="854"/>
                    <a:pt x="1" y="853"/>
                    <a:pt x="2" y="853"/>
                  </a:cubicBezTo>
                  <a:cubicBezTo>
                    <a:pt x="1" y="852"/>
                    <a:pt x="1" y="851"/>
                    <a:pt x="1" y="849"/>
                  </a:cubicBezTo>
                  <a:cubicBezTo>
                    <a:pt x="1" y="848"/>
                    <a:pt x="1" y="847"/>
                    <a:pt x="2" y="846"/>
                  </a:cubicBezTo>
                  <a:moveTo>
                    <a:pt x="2" y="854"/>
                  </a:moveTo>
                  <a:cubicBezTo>
                    <a:pt x="1" y="854"/>
                    <a:pt x="1" y="855"/>
                    <a:pt x="1" y="855"/>
                  </a:cubicBezTo>
                  <a:cubicBezTo>
                    <a:pt x="1" y="857"/>
                    <a:pt x="2" y="859"/>
                    <a:pt x="3" y="861"/>
                  </a:cubicBezTo>
                  <a:cubicBezTo>
                    <a:pt x="3" y="861"/>
                    <a:pt x="3" y="861"/>
                    <a:pt x="4" y="861"/>
                  </a:cubicBezTo>
                  <a:cubicBezTo>
                    <a:pt x="3" y="859"/>
                    <a:pt x="2" y="857"/>
                    <a:pt x="2" y="855"/>
                  </a:cubicBezTo>
                  <a:cubicBezTo>
                    <a:pt x="2" y="855"/>
                    <a:pt x="2" y="855"/>
                    <a:pt x="2" y="854"/>
                  </a:cubicBezTo>
                  <a:moveTo>
                    <a:pt x="4" y="862"/>
                  </a:moveTo>
                  <a:cubicBezTo>
                    <a:pt x="4" y="862"/>
                    <a:pt x="4" y="862"/>
                    <a:pt x="3" y="862"/>
                  </a:cubicBezTo>
                  <a:cubicBezTo>
                    <a:pt x="4" y="864"/>
                    <a:pt x="5" y="866"/>
                    <a:pt x="6" y="868"/>
                  </a:cubicBezTo>
                  <a:cubicBezTo>
                    <a:pt x="6" y="868"/>
                    <a:pt x="7" y="867"/>
                    <a:pt x="7" y="867"/>
                  </a:cubicBezTo>
                  <a:cubicBezTo>
                    <a:pt x="6" y="865"/>
                    <a:pt x="5" y="864"/>
                    <a:pt x="4" y="862"/>
                  </a:cubicBezTo>
                  <a:moveTo>
                    <a:pt x="8" y="868"/>
                  </a:moveTo>
                  <a:cubicBezTo>
                    <a:pt x="7" y="868"/>
                    <a:pt x="7" y="868"/>
                    <a:pt x="7" y="869"/>
                  </a:cubicBezTo>
                  <a:cubicBezTo>
                    <a:pt x="7" y="870"/>
                    <a:pt x="8" y="871"/>
                    <a:pt x="9" y="872"/>
                  </a:cubicBezTo>
                  <a:cubicBezTo>
                    <a:pt x="9" y="871"/>
                    <a:pt x="9" y="870"/>
                    <a:pt x="9" y="870"/>
                  </a:cubicBezTo>
                  <a:cubicBezTo>
                    <a:pt x="8" y="869"/>
                    <a:pt x="8" y="869"/>
                    <a:pt x="8" y="868"/>
                  </a:cubicBezTo>
                  <a:moveTo>
                    <a:pt x="1371" y="871"/>
                  </a:moveTo>
                  <a:cubicBezTo>
                    <a:pt x="1366" y="885"/>
                    <a:pt x="1360" y="899"/>
                    <a:pt x="1354" y="914"/>
                  </a:cubicBezTo>
                  <a:cubicBezTo>
                    <a:pt x="1354" y="914"/>
                    <a:pt x="1354" y="914"/>
                    <a:pt x="1355" y="915"/>
                  </a:cubicBezTo>
                  <a:cubicBezTo>
                    <a:pt x="1361" y="900"/>
                    <a:pt x="1366" y="886"/>
                    <a:pt x="1372" y="872"/>
                  </a:cubicBezTo>
                  <a:cubicBezTo>
                    <a:pt x="1372" y="872"/>
                    <a:pt x="1371" y="872"/>
                    <a:pt x="1371" y="871"/>
                  </a:cubicBezTo>
                  <a:moveTo>
                    <a:pt x="10" y="871"/>
                  </a:moveTo>
                  <a:cubicBezTo>
                    <a:pt x="10" y="872"/>
                    <a:pt x="10" y="873"/>
                    <a:pt x="10" y="873"/>
                  </a:cubicBezTo>
                  <a:cubicBezTo>
                    <a:pt x="11" y="874"/>
                    <a:pt x="11" y="874"/>
                    <a:pt x="11" y="874"/>
                  </a:cubicBezTo>
                  <a:cubicBezTo>
                    <a:pt x="11" y="874"/>
                    <a:pt x="12" y="874"/>
                    <a:pt x="12" y="874"/>
                  </a:cubicBezTo>
                  <a:cubicBezTo>
                    <a:pt x="11" y="873"/>
                    <a:pt x="11" y="872"/>
                    <a:pt x="10" y="871"/>
                  </a:cubicBezTo>
                  <a:moveTo>
                    <a:pt x="13" y="874"/>
                  </a:moveTo>
                  <a:cubicBezTo>
                    <a:pt x="12" y="875"/>
                    <a:pt x="12" y="875"/>
                    <a:pt x="12" y="875"/>
                  </a:cubicBezTo>
                  <a:cubicBezTo>
                    <a:pt x="12" y="875"/>
                    <a:pt x="12" y="876"/>
                    <a:pt x="13" y="876"/>
                  </a:cubicBezTo>
                  <a:cubicBezTo>
                    <a:pt x="14" y="877"/>
                    <a:pt x="15" y="879"/>
                    <a:pt x="17" y="880"/>
                  </a:cubicBezTo>
                  <a:cubicBezTo>
                    <a:pt x="17" y="880"/>
                    <a:pt x="17" y="879"/>
                    <a:pt x="17" y="879"/>
                  </a:cubicBezTo>
                  <a:cubicBezTo>
                    <a:pt x="16" y="878"/>
                    <a:pt x="15" y="877"/>
                    <a:pt x="14" y="876"/>
                  </a:cubicBezTo>
                  <a:cubicBezTo>
                    <a:pt x="14" y="876"/>
                    <a:pt x="13" y="875"/>
                    <a:pt x="13" y="875"/>
                  </a:cubicBezTo>
                  <a:cubicBezTo>
                    <a:pt x="13" y="875"/>
                    <a:pt x="13" y="875"/>
                    <a:pt x="13" y="874"/>
                  </a:cubicBezTo>
                  <a:moveTo>
                    <a:pt x="18" y="880"/>
                  </a:moveTo>
                  <a:cubicBezTo>
                    <a:pt x="18" y="880"/>
                    <a:pt x="18" y="881"/>
                    <a:pt x="18" y="881"/>
                  </a:cubicBezTo>
                  <a:cubicBezTo>
                    <a:pt x="18" y="882"/>
                    <a:pt x="19" y="882"/>
                    <a:pt x="20" y="883"/>
                  </a:cubicBezTo>
                  <a:cubicBezTo>
                    <a:pt x="20" y="882"/>
                    <a:pt x="20" y="882"/>
                    <a:pt x="20" y="882"/>
                  </a:cubicBezTo>
                  <a:cubicBezTo>
                    <a:pt x="19" y="881"/>
                    <a:pt x="19" y="880"/>
                    <a:pt x="18" y="880"/>
                  </a:cubicBezTo>
                  <a:moveTo>
                    <a:pt x="21" y="882"/>
                  </a:moveTo>
                  <a:cubicBezTo>
                    <a:pt x="21" y="883"/>
                    <a:pt x="21" y="883"/>
                    <a:pt x="20" y="883"/>
                  </a:cubicBezTo>
                  <a:cubicBezTo>
                    <a:pt x="22" y="885"/>
                    <a:pt x="24" y="886"/>
                    <a:pt x="26" y="888"/>
                  </a:cubicBezTo>
                  <a:cubicBezTo>
                    <a:pt x="27" y="888"/>
                    <a:pt x="27" y="887"/>
                    <a:pt x="27" y="887"/>
                  </a:cubicBezTo>
                  <a:cubicBezTo>
                    <a:pt x="25" y="885"/>
                    <a:pt x="23" y="884"/>
                    <a:pt x="21" y="882"/>
                  </a:cubicBezTo>
                  <a:moveTo>
                    <a:pt x="28" y="888"/>
                  </a:moveTo>
                  <a:cubicBezTo>
                    <a:pt x="27" y="888"/>
                    <a:pt x="27" y="888"/>
                    <a:pt x="27" y="889"/>
                  </a:cubicBezTo>
                  <a:cubicBezTo>
                    <a:pt x="32" y="892"/>
                    <a:pt x="37" y="895"/>
                    <a:pt x="42" y="898"/>
                  </a:cubicBezTo>
                  <a:cubicBezTo>
                    <a:pt x="43" y="899"/>
                    <a:pt x="44" y="899"/>
                    <a:pt x="45" y="899"/>
                  </a:cubicBezTo>
                  <a:cubicBezTo>
                    <a:pt x="64" y="910"/>
                    <a:pt x="91" y="921"/>
                    <a:pt x="126" y="933"/>
                  </a:cubicBezTo>
                  <a:cubicBezTo>
                    <a:pt x="127" y="933"/>
                    <a:pt x="127" y="933"/>
                    <a:pt x="128" y="933"/>
                  </a:cubicBezTo>
                  <a:cubicBezTo>
                    <a:pt x="128" y="933"/>
                    <a:pt x="128" y="933"/>
                    <a:pt x="128" y="933"/>
                  </a:cubicBezTo>
                  <a:cubicBezTo>
                    <a:pt x="129" y="933"/>
                    <a:pt x="129" y="934"/>
                    <a:pt x="130" y="934"/>
                  </a:cubicBezTo>
                  <a:cubicBezTo>
                    <a:pt x="131" y="934"/>
                    <a:pt x="133" y="935"/>
                    <a:pt x="135" y="935"/>
                  </a:cubicBezTo>
                  <a:cubicBezTo>
                    <a:pt x="135" y="935"/>
                    <a:pt x="136" y="936"/>
                    <a:pt x="136" y="936"/>
                  </a:cubicBezTo>
                  <a:cubicBezTo>
                    <a:pt x="141" y="937"/>
                    <a:pt x="146" y="939"/>
                    <a:pt x="151" y="940"/>
                  </a:cubicBezTo>
                  <a:cubicBezTo>
                    <a:pt x="152" y="940"/>
                    <a:pt x="152" y="940"/>
                    <a:pt x="152" y="941"/>
                  </a:cubicBezTo>
                  <a:cubicBezTo>
                    <a:pt x="163" y="944"/>
                    <a:pt x="174" y="947"/>
                    <a:pt x="186" y="950"/>
                  </a:cubicBezTo>
                  <a:cubicBezTo>
                    <a:pt x="187" y="950"/>
                    <a:pt x="187" y="950"/>
                    <a:pt x="188" y="950"/>
                  </a:cubicBezTo>
                  <a:cubicBezTo>
                    <a:pt x="202" y="954"/>
                    <a:pt x="217" y="957"/>
                    <a:pt x="233" y="961"/>
                  </a:cubicBezTo>
                  <a:cubicBezTo>
                    <a:pt x="233" y="961"/>
                    <a:pt x="234" y="961"/>
                    <a:pt x="234" y="960"/>
                  </a:cubicBezTo>
                  <a:cubicBezTo>
                    <a:pt x="218" y="957"/>
                    <a:pt x="203" y="953"/>
                    <a:pt x="188" y="949"/>
                  </a:cubicBezTo>
                  <a:cubicBezTo>
                    <a:pt x="188" y="949"/>
                    <a:pt x="188" y="949"/>
                    <a:pt x="187" y="949"/>
                  </a:cubicBezTo>
                  <a:cubicBezTo>
                    <a:pt x="175" y="946"/>
                    <a:pt x="164" y="943"/>
                    <a:pt x="153" y="940"/>
                  </a:cubicBezTo>
                  <a:cubicBezTo>
                    <a:pt x="153" y="940"/>
                    <a:pt x="152" y="940"/>
                    <a:pt x="152" y="939"/>
                  </a:cubicBezTo>
                  <a:cubicBezTo>
                    <a:pt x="147" y="938"/>
                    <a:pt x="142" y="936"/>
                    <a:pt x="137" y="935"/>
                  </a:cubicBezTo>
                  <a:cubicBezTo>
                    <a:pt x="137" y="935"/>
                    <a:pt x="136" y="935"/>
                    <a:pt x="136" y="935"/>
                  </a:cubicBezTo>
                  <a:cubicBezTo>
                    <a:pt x="134" y="934"/>
                    <a:pt x="133" y="934"/>
                    <a:pt x="131" y="933"/>
                  </a:cubicBezTo>
                  <a:cubicBezTo>
                    <a:pt x="131" y="933"/>
                    <a:pt x="130" y="933"/>
                    <a:pt x="130" y="933"/>
                  </a:cubicBezTo>
                  <a:cubicBezTo>
                    <a:pt x="129" y="933"/>
                    <a:pt x="129" y="933"/>
                    <a:pt x="129" y="932"/>
                  </a:cubicBezTo>
                  <a:cubicBezTo>
                    <a:pt x="129" y="932"/>
                    <a:pt x="128" y="932"/>
                    <a:pt x="128" y="932"/>
                  </a:cubicBezTo>
                  <a:cubicBezTo>
                    <a:pt x="93" y="921"/>
                    <a:pt x="67" y="910"/>
                    <a:pt x="47" y="900"/>
                  </a:cubicBezTo>
                  <a:cubicBezTo>
                    <a:pt x="47" y="899"/>
                    <a:pt x="46" y="899"/>
                    <a:pt x="45" y="898"/>
                  </a:cubicBezTo>
                  <a:cubicBezTo>
                    <a:pt x="38" y="895"/>
                    <a:pt x="33" y="891"/>
                    <a:pt x="28" y="888"/>
                  </a:cubicBezTo>
                  <a:moveTo>
                    <a:pt x="1354" y="915"/>
                  </a:moveTo>
                  <a:cubicBezTo>
                    <a:pt x="1348" y="927"/>
                    <a:pt x="1343" y="940"/>
                    <a:pt x="1339" y="953"/>
                  </a:cubicBezTo>
                  <a:cubicBezTo>
                    <a:pt x="1339" y="953"/>
                    <a:pt x="1339" y="954"/>
                    <a:pt x="1339" y="954"/>
                  </a:cubicBezTo>
                  <a:cubicBezTo>
                    <a:pt x="1344" y="941"/>
                    <a:pt x="1349" y="928"/>
                    <a:pt x="1354" y="916"/>
                  </a:cubicBezTo>
                  <a:cubicBezTo>
                    <a:pt x="1354" y="915"/>
                    <a:pt x="1354" y="915"/>
                    <a:pt x="1354" y="915"/>
                  </a:cubicBezTo>
                  <a:moveTo>
                    <a:pt x="681" y="950"/>
                  </a:moveTo>
                  <a:cubicBezTo>
                    <a:pt x="678" y="950"/>
                    <a:pt x="676" y="950"/>
                    <a:pt x="673" y="950"/>
                  </a:cubicBezTo>
                  <a:cubicBezTo>
                    <a:pt x="673" y="950"/>
                    <a:pt x="673" y="951"/>
                    <a:pt x="674" y="951"/>
                  </a:cubicBezTo>
                  <a:cubicBezTo>
                    <a:pt x="676" y="951"/>
                    <a:pt x="678" y="951"/>
                    <a:pt x="681" y="951"/>
                  </a:cubicBezTo>
                  <a:cubicBezTo>
                    <a:pt x="683" y="951"/>
                    <a:pt x="686" y="951"/>
                    <a:pt x="689" y="951"/>
                  </a:cubicBezTo>
                  <a:cubicBezTo>
                    <a:pt x="688" y="951"/>
                    <a:pt x="688" y="950"/>
                    <a:pt x="688" y="950"/>
                  </a:cubicBezTo>
                  <a:cubicBezTo>
                    <a:pt x="686" y="950"/>
                    <a:pt x="683" y="950"/>
                    <a:pt x="681" y="950"/>
                  </a:cubicBezTo>
                  <a:moveTo>
                    <a:pt x="672" y="950"/>
                  </a:moveTo>
                  <a:cubicBezTo>
                    <a:pt x="663" y="950"/>
                    <a:pt x="654" y="951"/>
                    <a:pt x="645" y="951"/>
                  </a:cubicBezTo>
                  <a:cubicBezTo>
                    <a:pt x="644" y="952"/>
                    <a:pt x="643" y="952"/>
                    <a:pt x="641" y="952"/>
                  </a:cubicBezTo>
                  <a:cubicBezTo>
                    <a:pt x="639" y="952"/>
                    <a:pt x="636" y="953"/>
                    <a:pt x="634" y="953"/>
                  </a:cubicBezTo>
                  <a:cubicBezTo>
                    <a:pt x="634" y="953"/>
                    <a:pt x="634" y="953"/>
                    <a:pt x="634" y="953"/>
                  </a:cubicBezTo>
                  <a:cubicBezTo>
                    <a:pt x="647" y="952"/>
                    <a:pt x="660" y="951"/>
                    <a:pt x="672" y="951"/>
                  </a:cubicBezTo>
                  <a:cubicBezTo>
                    <a:pt x="672" y="951"/>
                    <a:pt x="672" y="950"/>
                    <a:pt x="672" y="950"/>
                  </a:cubicBezTo>
                  <a:moveTo>
                    <a:pt x="689" y="950"/>
                  </a:moveTo>
                  <a:cubicBezTo>
                    <a:pt x="689" y="950"/>
                    <a:pt x="690" y="951"/>
                    <a:pt x="690" y="951"/>
                  </a:cubicBezTo>
                  <a:cubicBezTo>
                    <a:pt x="695" y="951"/>
                    <a:pt x="700" y="951"/>
                    <a:pt x="705" y="952"/>
                  </a:cubicBezTo>
                  <a:cubicBezTo>
                    <a:pt x="705" y="951"/>
                    <a:pt x="705" y="951"/>
                    <a:pt x="704" y="951"/>
                  </a:cubicBezTo>
                  <a:cubicBezTo>
                    <a:pt x="700" y="950"/>
                    <a:pt x="694" y="950"/>
                    <a:pt x="689" y="950"/>
                  </a:cubicBezTo>
                  <a:moveTo>
                    <a:pt x="706" y="951"/>
                  </a:moveTo>
                  <a:cubicBezTo>
                    <a:pt x="706" y="951"/>
                    <a:pt x="706" y="952"/>
                    <a:pt x="706" y="952"/>
                  </a:cubicBezTo>
                  <a:cubicBezTo>
                    <a:pt x="711" y="952"/>
                    <a:pt x="716" y="953"/>
                    <a:pt x="721" y="954"/>
                  </a:cubicBezTo>
                  <a:cubicBezTo>
                    <a:pt x="721" y="954"/>
                    <a:pt x="721" y="953"/>
                    <a:pt x="721" y="953"/>
                  </a:cubicBezTo>
                  <a:cubicBezTo>
                    <a:pt x="716" y="952"/>
                    <a:pt x="711" y="951"/>
                    <a:pt x="706" y="951"/>
                  </a:cubicBezTo>
                  <a:moveTo>
                    <a:pt x="722" y="953"/>
                  </a:moveTo>
                  <a:cubicBezTo>
                    <a:pt x="722" y="953"/>
                    <a:pt x="722" y="954"/>
                    <a:pt x="722" y="954"/>
                  </a:cubicBezTo>
                  <a:cubicBezTo>
                    <a:pt x="729" y="955"/>
                    <a:pt x="734" y="957"/>
                    <a:pt x="740" y="958"/>
                  </a:cubicBezTo>
                  <a:cubicBezTo>
                    <a:pt x="739" y="958"/>
                    <a:pt x="739" y="958"/>
                    <a:pt x="739" y="957"/>
                  </a:cubicBezTo>
                  <a:cubicBezTo>
                    <a:pt x="734" y="955"/>
                    <a:pt x="728" y="954"/>
                    <a:pt x="722" y="953"/>
                  </a:cubicBezTo>
                  <a:moveTo>
                    <a:pt x="622" y="954"/>
                  </a:moveTo>
                  <a:cubicBezTo>
                    <a:pt x="621" y="954"/>
                    <a:pt x="621" y="954"/>
                    <a:pt x="620" y="954"/>
                  </a:cubicBezTo>
                  <a:cubicBezTo>
                    <a:pt x="618" y="954"/>
                    <a:pt x="616" y="954"/>
                    <a:pt x="615" y="954"/>
                  </a:cubicBezTo>
                  <a:cubicBezTo>
                    <a:pt x="614" y="954"/>
                    <a:pt x="613" y="955"/>
                    <a:pt x="612" y="955"/>
                  </a:cubicBezTo>
                  <a:cubicBezTo>
                    <a:pt x="612" y="955"/>
                    <a:pt x="612" y="955"/>
                    <a:pt x="611" y="955"/>
                  </a:cubicBezTo>
                  <a:cubicBezTo>
                    <a:pt x="611" y="955"/>
                    <a:pt x="611" y="955"/>
                    <a:pt x="610" y="955"/>
                  </a:cubicBezTo>
                  <a:cubicBezTo>
                    <a:pt x="606" y="955"/>
                    <a:pt x="601" y="956"/>
                    <a:pt x="596" y="957"/>
                  </a:cubicBezTo>
                  <a:cubicBezTo>
                    <a:pt x="593" y="957"/>
                    <a:pt x="590" y="958"/>
                    <a:pt x="586" y="959"/>
                  </a:cubicBezTo>
                  <a:cubicBezTo>
                    <a:pt x="589" y="959"/>
                    <a:pt x="592" y="958"/>
                    <a:pt x="594" y="958"/>
                  </a:cubicBezTo>
                  <a:cubicBezTo>
                    <a:pt x="604" y="956"/>
                    <a:pt x="613" y="955"/>
                    <a:pt x="622" y="954"/>
                  </a:cubicBezTo>
                  <a:moveTo>
                    <a:pt x="1338" y="954"/>
                  </a:moveTo>
                  <a:cubicBezTo>
                    <a:pt x="1333" y="968"/>
                    <a:pt x="1329" y="981"/>
                    <a:pt x="1325" y="995"/>
                  </a:cubicBezTo>
                  <a:cubicBezTo>
                    <a:pt x="1325" y="995"/>
                    <a:pt x="1325" y="996"/>
                    <a:pt x="1326" y="996"/>
                  </a:cubicBezTo>
                  <a:cubicBezTo>
                    <a:pt x="1329" y="982"/>
                    <a:pt x="1334" y="969"/>
                    <a:pt x="1339" y="955"/>
                  </a:cubicBezTo>
                  <a:cubicBezTo>
                    <a:pt x="1339" y="955"/>
                    <a:pt x="1338" y="954"/>
                    <a:pt x="1338" y="954"/>
                  </a:cubicBezTo>
                  <a:moveTo>
                    <a:pt x="740" y="958"/>
                  </a:moveTo>
                  <a:cubicBezTo>
                    <a:pt x="741" y="958"/>
                    <a:pt x="741" y="958"/>
                    <a:pt x="741" y="959"/>
                  </a:cubicBezTo>
                  <a:cubicBezTo>
                    <a:pt x="748" y="961"/>
                    <a:pt x="755" y="964"/>
                    <a:pt x="760" y="968"/>
                  </a:cubicBezTo>
                  <a:cubicBezTo>
                    <a:pt x="761" y="968"/>
                    <a:pt x="761" y="968"/>
                    <a:pt x="762" y="968"/>
                  </a:cubicBezTo>
                  <a:cubicBezTo>
                    <a:pt x="762" y="968"/>
                    <a:pt x="762" y="969"/>
                    <a:pt x="762" y="969"/>
                  </a:cubicBezTo>
                  <a:cubicBezTo>
                    <a:pt x="762" y="968"/>
                    <a:pt x="762" y="967"/>
                    <a:pt x="761" y="967"/>
                  </a:cubicBezTo>
                  <a:cubicBezTo>
                    <a:pt x="755" y="963"/>
                    <a:pt x="748" y="960"/>
                    <a:pt x="740" y="958"/>
                  </a:cubicBezTo>
                  <a:moveTo>
                    <a:pt x="586" y="958"/>
                  </a:moveTo>
                  <a:cubicBezTo>
                    <a:pt x="569" y="960"/>
                    <a:pt x="551" y="963"/>
                    <a:pt x="533" y="965"/>
                  </a:cubicBezTo>
                  <a:cubicBezTo>
                    <a:pt x="533" y="965"/>
                    <a:pt x="533" y="965"/>
                    <a:pt x="532" y="966"/>
                  </a:cubicBezTo>
                  <a:cubicBezTo>
                    <a:pt x="527" y="966"/>
                    <a:pt x="523" y="967"/>
                    <a:pt x="518" y="968"/>
                  </a:cubicBezTo>
                  <a:cubicBezTo>
                    <a:pt x="515" y="968"/>
                    <a:pt x="512" y="969"/>
                    <a:pt x="509" y="970"/>
                  </a:cubicBezTo>
                  <a:cubicBezTo>
                    <a:pt x="517" y="969"/>
                    <a:pt x="525" y="968"/>
                    <a:pt x="533" y="966"/>
                  </a:cubicBezTo>
                  <a:cubicBezTo>
                    <a:pt x="533" y="966"/>
                    <a:pt x="534" y="966"/>
                    <a:pt x="534" y="966"/>
                  </a:cubicBezTo>
                  <a:cubicBezTo>
                    <a:pt x="548" y="964"/>
                    <a:pt x="562" y="962"/>
                    <a:pt x="576" y="960"/>
                  </a:cubicBezTo>
                  <a:cubicBezTo>
                    <a:pt x="579" y="960"/>
                    <a:pt x="583" y="959"/>
                    <a:pt x="586" y="958"/>
                  </a:cubicBezTo>
                  <a:moveTo>
                    <a:pt x="236" y="961"/>
                  </a:moveTo>
                  <a:cubicBezTo>
                    <a:pt x="236" y="961"/>
                    <a:pt x="235" y="961"/>
                    <a:pt x="234" y="962"/>
                  </a:cubicBezTo>
                  <a:cubicBezTo>
                    <a:pt x="235" y="962"/>
                    <a:pt x="235" y="962"/>
                    <a:pt x="235" y="962"/>
                  </a:cubicBezTo>
                  <a:cubicBezTo>
                    <a:pt x="235" y="962"/>
                    <a:pt x="236" y="962"/>
                    <a:pt x="236" y="962"/>
                  </a:cubicBezTo>
                  <a:cubicBezTo>
                    <a:pt x="243" y="964"/>
                    <a:pt x="251" y="965"/>
                    <a:pt x="258" y="967"/>
                  </a:cubicBezTo>
                  <a:cubicBezTo>
                    <a:pt x="259" y="967"/>
                    <a:pt x="260" y="966"/>
                    <a:pt x="260" y="966"/>
                  </a:cubicBezTo>
                  <a:cubicBezTo>
                    <a:pt x="252" y="964"/>
                    <a:pt x="244" y="963"/>
                    <a:pt x="237" y="961"/>
                  </a:cubicBezTo>
                  <a:cubicBezTo>
                    <a:pt x="237" y="961"/>
                    <a:pt x="236" y="961"/>
                    <a:pt x="236" y="961"/>
                  </a:cubicBezTo>
                  <a:moveTo>
                    <a:pt x="262" y="967"/>
                  </a:moveTo>
                  <a:cubicBezTo>
                    <a:pt x="261" y="967"/>
                    <a:pt x="261" y="967"/>
                    <a:pt x="260" y="967"/>
                  </a:cubicBezTo>
                  <a:cubicBezTo>
                    <a:pt x="267" y="969"/>
                    <a:pt x="275" y="970"/>
                    <a:pt x="282" y="972"/>
                  </a:cubicBezTo>
                  <a:cubicBezTo>
                    <a:pt x="283" y="972"/>
                    <a:pt x="283" y="971"/>
                    <a:pt x="284" y="971"/>
                  </a:cubicBezTo>
                  <a:cubicBezTo>
                    <a:pt x="277" y="970"/>
                    <a:pt x="269" y="968"/>
                    <a:pt x="262" y="967"/>
                  </a:cubicBezTo>
                  <a:moveTo>
                    <a:pt x="763" y="968"/>
                  </a:moveTo>
                  <a:cubicBezTo>
                    <a:pt x="763" y="969"/>
                    <a:pt x="764" y="969"/>
                    <a:pt x="764" y="970"/>
                  </a:cubicBezTo>
                  <a:cubicBezTo>
                    <a:pt x="774" y="976"/>
                    <a:pt x="782" y="985"/>
                    <a:pt x="788" y="996"/>
                  </a:cubicBezTo>
                  <a:cubicBezTo>
                    <a:pt x="789" y="997"/>
                    <a:pt x="789" y="997"/>
                    <a:pt x="789" y="997"/>
                  </a:cubicBezTo>
                  <a:cubicBezTo>
                    <a:pt x="791" y="1001"/>
                    <a:pt x="793" y="1005"/>
                    <a:pt x="794" y="1009"/>
                  </a:cubicBezTo>
                  <a:cubicBezTo>
                    <a:pt x="795" y="1009"/>
                    <a:pt x="796" y="1010"/>
                    <a:pt x="797" y="1011"/>
                  </a:cubicBezTo>
                  <a:cubicBezTo>
                    <a:pt x="797" y="1010"/>
                    <a:pt x="796" y="1010"/>
                    <a:pt x="796" y="1009"/>
                  </a:cubicBezTo>
                  <a:cubicBezTo>
                    <a:pt x="796" y="1009"/>
                    <a:pt x="795" y="1008"/>
                    <a:pt x="795" y="1008"/>
                  </a:cubicBezTo>
                  <a:cubicBezTo>
                    <a:pt x="794" y="1004"/>
                    <a:pt x="792" y="1001"/>
                    <a:pt x="790" y="998"/>
                  </a:cubicBezTo>
                  <a:cubicBezTo>
                    <a:pt x="790" y="997"/>
                    <a:pt x="790" y="997"/>
                    <a:pt x="790" y="996"/>
                  </a:cubicBezTo>
                  <a:cubicBezTo>
                    <a:pt x="783" y="984"/>
                    <a:pt x="774" y="975"/>
                    <a:pt x="764" y="968"/>
                  </a:cubicBezTo>
                  <a:cubicBezTo>
                    <a:pt x="763" y="968"/>
                    <a:pt x="763" y="968"/>
                    <a:pt x="763" y="968"/>
                  </a:cubicBezTo>
                  <a:moveTo>
                    <a:pt x="509" y="969"/>
                  </a:moveTo>
                  <a:cubicBezTo>
                    <a:pt x="499" y="970"/>
                    <a:pt x="489" y="971"/>
                    <a:pt x="478" y="973"/>
                  </a:cubicBezTo>
                  <a:cubicBezTo>
                    <a:pt x="478" y="973"/>
                    <a:pt x="478" y="973"/>
                    <a:pt x="477" y="973"/>
                  </a:cubicBezTo>
                  <a:cubicBezTo>
                    <a:pt x="470" y="974"/>
                    <a:pt x="464" y="974"/>
                    <a:pt x="457" y="975"/>
                  </a:cubicBezTo>
                  <a:cubicBezTo>
                    <a:pt x="455" y="976"/>
                    <a:pt x="453" y="976"/>
                    <a:pt x="451" y="977"/>
                  </a:cubicBezTo>
                  <a:cubicBezTo>
                    <a:pt x="460" y="976"/>
                    <a:pt x="469" y="975"/>
                    <a:pt x="478" y="974"/>
                  </a:cubicBezTo>
                  <a:cubicBezTo>
                    <a:pt x="478" y="974"/>
                    <a:pt x="479" y="974"/>
                    <a:pt x="479" y="974"/>
                  </a:cubicBezTo>
                  <a:cubicBezTo>
                    <a:pt x="486" y="973"/>
                    <a:pt x="494" y="972"/>
                    <a:pt x="501" y="971"/>
                  </a:cubicBezTo>
                  <a:cubicBezTo>
                    <a:pt x="503" y="970"/>
                    <a:pt x="506" y="969"/>
                    <a:pt x="509" y="969"/>
                  </a:cubicBezTo>
                  <a:moveTo>
                    <a:pt x="286" y="972"/>
                  </a:moveTo>
                  <a:cubicBezTo>
                    <a:pt x="285" y="972"/>
                    <a:pt x="285" y="972"/>
                    <a:pt x="284" y="972"/>
                  </a:cubicBezTo>
                  <a:cubicBezTo>
                    <a:pt x="285" y="972"/>
                    <a:pt x="285" y="973"/>
                    <a:pt x="286" y="973"/>
                  </a:cubicBezTo>
                  <a:cubicBezTo>
                    <a:pt x="293" y="974"/>
                    <a:pt x="301" y="975"/>
                    <a:pt x="309" y="976"/>
                  </a:cubicBezTo>
                  <a:cubicBezTo>
                    <a:pt x="309" y="976"/>
                    <a:pt x="310" y="976"/>
                    <a:pt x="311" y="976"/>
                  </a:cubicBezTo>
                  <a:cubicBezTo>
                    <a:pt x="302" y="975"/>
                    <a:pt x="294" y="973"/>
                    <a:pt x="286" y="972"/>
                  </a:cubicBezTo>
                  <a:cubicBezTo>
                    <a:pt x="286" y="972"/>
                    <a:pt x="286" y="972"/>
                    <a:pt x="286" y="972"/>
                  </a:cubicBezTo>
                  <a:moveTo>
                    <a:pt x="450" y="976"/>
                  </a:moveTo>
                  <a:cubicBezTo>
                    <a:pt x="450" y="976"/>
                    <a:pt x="450" y="976"/>
                    <a:pt x="449" y="976"/>
                  </a:cubicBezTo>
                  <a:cubicBezTo>
                    <a:pt x="448" y="976"/>
                    <a:pt x="447" y="976"/>
                    <a:pt x="446" y="976"/>
                  </a:cubicBezTo>
                  <a:cubicBezTo>
                    <a:pt x="434" y="977"/>
                    <a:pt x="423" y="978"/>
                    <a:pt x="411" y="979"/>
                  </a:cubicBezTo>
                  <a:cubicBezTo>
                    <a:pt x="410" y="979"/>
                    <a:pt x="408" y="980"/>
                    <a:pt x="407" y="980"/>
                  </a:cubicBezTo>
                  <a:cubicBezTo>
                    <a:pt x="419" y="979"/>
                    <a:pt x="431" y="979"/>
                    <a:pt x="443" y="977"/>
                  </a:cubicBezTo>
                  <a:cubicBezTo>
                    <a:pt x="443" y="977"/>
                    <a:pt x="444" y="977"/>
                    <a:pt x="445" y="977"/>
                  </a:cubicBezTo>
                  <a:cubicBezTo>
                    <a:pt x="447" y="977"/>
                    <a:pt x="449" y="976"/>
                    <a:pt x="450" y="976"/>
                  </a:cubicBezTo>
                  <a:moveTo>
                    <a:pt x="313" y="976"/>
                  </a:moveTo>
                  <a:cubicBezTo>
                    <a:pt x="312" y="976"/>
                    <a:pt x="312" y="977"/>
                    <a:pt x="311" y="977"/>
                  </a:cubicBezTo>
                  <a:cubicBezTo>
                    <a:pt x="319" y="978"/>
                    <a:pt x="326" y="979"/>
                    <a:pt x="334" y="979"/>
                  </a:cubicBezTo>
                  <a:cubicBezTo>
                    <a:pt x="335" y="979"/>
                    <a:pt x="336" y="979"/>
                    <a:pt x="337" y="978"/>
                  </a:cubicBezTo>
                  <a:cubicBezTo>
                    <a:pt x="329" y="978"/>
                    <a:pt x="321" y="977"/>
                    <a:pt x="313" y="976"/>
                  </a:cubicBezTo>
                  <a:moveTo>
                    <a:pt x="339" y="979"/>
                  </a:moveTo>
                  <a:cubicBezTo>
                    <a:pt x="338" y="979"/>
                    <a:pt x="338" y="979"/>
                    <a:pt x="337" y="979"/>
                  </a:cubicBezTo>
                  <a:cubicBezTo>
                    <a:pt x="345" y="980"/>
                    <a:pt x="353" y="980"/>
                    <a:pt x="361" y="981"/>
                  </a:cubicBezTo>
                  <a:cubicBezTo>
                    <a:pt x="362" y="980"/>
                    <a:pt x="363" y="980"/>
                    <a:pt x="364" y="980"/>
                  </a:cubicBezTo>
                  <a:cubicBezTo>
                    <a:pt x="356" y="979"/>
                    <a:pt x="348" y="979"/>
                    <a:pt x="339" y="979"/>
                  </a:cubicBezTo>
                  <a:moveTo>
                    <a:pt x="406" y="979"/>
                  </a:moveTo>
                  <a:cubicBezTo>
                    <a:pt x="398" y="979"/>
                    <a:pt x="390" y="980"/>
                    <a:pt x="381" y="980"/>
                  </a:cubicBezTo>
                  <a:cubicBezTo>
                    <a:pt x="380" y="980"/>
                    <a:pt x="379" y="980"/>
                    <a:pt x="379" y="980"/>
                  </a:cubicBezTo>
                  <a:cubicBezTo>
                    <a:pt x="377" y="980"/>
                    <a:pt x="376" y="980"/>
                    <a:pt x="375" y="980"/>
                  </a:cubicBezTo>
                  <a:cubicBezTo>
                    <a:pt x="372" y="980"/>
                    <a:pt x="370" y="980"/>
                    <a:pt x="368" y="980"/>
                  </a:cubicBezTo>
                  <a:cubicBezTo>
                    <a:pt x="367" y="980"/>
                    <a:pt x="366" y="980"/>
                    <a:pt x="365" y="981"/>
                  </a:cubicBezTo>
                  <a:cubicBezTo>
                    <a:pt x="368" y="981"/>
                    <a:pt x="371" y="981"/>
                    <a:pt x="375" y="981"/>
                  </a:cubicBezTo>
                  <a:cubicBezTo>
                    <a:pt x="375" y="981"/>
                    <a:pt x="376" y="981"/>
                    <a:pt x="376" y="981"/>
                  </a:cubicBezTo>
                  <a:cubicBezTo>
                    <a:pt x="377" y="981"/>
                    <a:pt x="378" y="981"/>
                    <a:pt x="379" y="981"/>
                  </a:cubicBezTo>
                  <a:cubicBezTo>
                    <a:pt x="387" y="981"/>
                    <a:pt x="394" y="980"/>
                    <a:pt x="402" y="980"/>
                  </a:cubicBezTo>
                  <a:cubicBezTo>
                    <a:pt x="404" y="980"/>
                    <a:pt x="405" y="979"/>
                    <a:pt x="406" y="979"/>
                  </a:cubicBezTo>
                  <a:moveTo>
                    <a:pt x="1324" y="996"/>
                  </a:moveTo>
                  <a:cubicBezTo>
                    <a:pt x="1320" y="1011"/>
                    <a:pt x="1317" y="1025"/>
                    <a:pt x="1316" y="1039"/>
                  </a:cubicBezTo>
                  <a:cubicBezTo>
                    <a:pt x="1316" y="1040"/>
                    <a:pt x="1316" y="1040"/>
                    <a:pt x="1317" y="1040"/>
                  </a:cubicBezTo>
                  <a:cubicBezTo>
                    <a:pt x="1318" y="1026"/>
                    <a:pt x="1321" y="1012"/>
                    <a:pt x="1325" y="997"/>
                  </a:cubicBezTo>
                  <a:cubicBezTo>
                    <a:pt x="1325" y="997"/>
                    <a:pt x="1325" y="996"/>
                    <a:pt x="1324" y="996"/>
                  </a:cubicBezTo>
                  <a:moveTo>
                    <a:pt x="798" y="1010"/>
                  </a:moveTo>
                  <a:cubicBezTo>
                    <a:pt x="798" y="1011"/>
                    <a:pt x="799" y="1011"/>
                    <a:pt x="799" y="1012"/>
                  </a:cubicBezTo>
                  <a:cubicBezTo>
                    <a:pt x="805" y="1016"/>
                    <a:pt x="811" y="1020"/>
                    <a:pt x="817" y="1024"/>
                  </a:cubicBezTo>
                  <a:cubicBezTo>
                    <a:pt x="817" y="1024"/>
                    <a:pt x="818" y="1025"/>
                    <a:pt x="819" y="1025"/>
                  </a:cubicBezTo>
                  <a:cubicBezTo>
                    <a:pt x="824" y="1029"/>
                    <a:pt x="830" y="1032"/>
                    <a:pt x="835" y="1036"/>
                  </a:cubicBezTo>
                  <a:cubicBezTo>
                    <a:pt x="835" y="1035"/>
                    <a:pt x="834" y="1035"/>
                    <a:pt x="834" y="1034"/>
                  </a:cubicBezTo>
                  <a:cubicBezTo>
                    <a:pt x="830" y="1031"/>
                    <a:pt x="826" y="1028"/>
                    <a:pt x="821" y="1026"/>
                  </a:cubicBezTo>
                  <a:cubicBezTo>
                    <a:pt x="821" y="1025"/>
                    <a:pt x="820" y="1025"/>
                    <a:pt x="819" y="1024"/>
                  </a:cubicBezTo>
                  <a:cubicBezTo>
                    <a:pt x="812" y="1019"/>
                    <a:pt x="805" y="1015"/>
                    <a:pt x="798" y="1010"/>
                  </a:cubicBezTo>
                  <a:moveTo>
                    <a:pt x="836" y="1035"/>
                  </a:moveTo>
                  <a:cubicBezTo>
                    <a:pt x="837" y="1036"/>
                    <a:pt x="837" y="1037"/>
                    <a:pt x="838" y="1038"/>
                  </a:cubicBezTo>
                  <a:cubicBezTo>
                    <a:pt x="848" y="1044"/>
                    <a:pt x="859" y="1051"/>
                    <a:pt x="869" y="1058"/>
                  </a:cubicBezTo>
                  <a:cubicBezTo>
                    <a:pt x="870" y="1059"/>
                    <a:pt x="871" y="1059"/>
                    <a:pt x="872" y="1060"/>
                  </a:cubicBezTo>
                  <a:cubicBezTo>
                    <a:pt x="872" y="1060"/>
                    <a:pt x="873" y="1060"/>
                    <a:pt x="873" y="1061"/>
                  </a:cubicBezTo>
                  <a:cubicBezTo>
                    <a:pt x="874" y="1061"/>
                    <a:pt x="875" y="1062"/>
                    <a:pt x="876" y="1063"/>
                  </a:cubicBezTo>
                  <a:cubicBezTo>
                    <a:pt x="881" y="1066"/>
                    <a:pt x="886" y="1069"/>
                    <a:pt x="891" y="1072"/>
                  </a:cubicBezTo>
                  <a:cubicBezTo>
                    <a:pt x="890" y="1071"/>
                    <a:pt x="889" y="1070"/>
                    <a:pt x="888" y="1069"/>
                  </a:cubicBezTo>
                  <a:cubicBezTo>
                    <a:pt x="885" y="1067"/>
                    <a:pt x="882" y="1066"/>
                    <a:pt x="879" y="1064"/>
                  </a:cubicBezTo>
                  <a:cubicBezTo>
                    <a:pt x="878" y="1063"/>
                    <a:pt x="877" y="1062"/>
                    <a:pt x="876" y="1062"/>
                  </a:cubicBezTo>
                  <a:cubicBezTo>
                    <a:pt x="876" y="1061"/>
                    <a:pt x="875" y="1061"/>
                    <a:pt x="875" y="1061"/>
                  </a:cubicBezTo>
                  <a:cubicBezTo>
                    <a:pt x="874" y="1060"/>
                    <a:pt x="873" y="1060"/>
                    <a:pt x="872" y="1059"/>
                  </a:cubicBezTo>
                  <a:cubicBezTo>
                    <a:pt x="860" y="1051"/>
                    <a:pt x="848" y="1043"/>
                    <a:pt x="836" y="1035"/>
                  </a:cubicBezTo>
                  <a:moveTo>
                    <a:pt x="1316" y="1041"/>
                  </a:moveTo>
                  <a:cubicBezTo>
                    <a:pt x="1315" y="1047"/>
                    <a:pt x="1315" y="1054"/>
                    <a:pt x="1315" y="1061"/>
                  </a:cubicBezTo>
                  <a:cubicBezTo>
                    <a:pt x="1315" y="1071"/>
                    <a:pt x="1315" y="1081"/>
                    <a:pt x="1317" y="1091"/>
                  </a:cubicBezTo>
                  <a:cubicBezTo>
                    <a:pt x="1318" y="1091"/>
                    <a:pt x="1318" y="1092"/>
                    <a:pt x="1319" y="1092"/>
                  </a:cubicBezTo>
                  <a:cubicBezTo>
                    <a:pt x="1317" y="1082"/>
                    <a:pt x="1315" y="1072"/>
                    <a:pt x="1315" y="1061"/>
                  </a:cubicBezTo>
                  <a:cubicBezTo>
                    <a:pt x="1315" y="1054"/>
                    <a:pt x="1316" y="1048"/>
                    <a:pt x="1316" y="1042"/>
                  </a:cubicBezTo>
                  <a:cubicBezTo>
                    <a:pt x="1316" y="1041"/>
                    <a:pt x="1316" y="1041"/>
                    <a:pt x="1316" y="1041"/>
                  </a:cubicBezTo>
                  <a:moveTo>
                    <a:pt x="892" y="1072"/>
                  </a:moveTo>
                  <a:cubicBezTo>
                    <a:pt x="893" y="1072"/>
                    <a:pt x="894" y="1073"/>
                    <a:pt x="894" y="1074"/>
                  </a:cubicBezTo>
                  <a:cubicBezTo>
                    <a:pt x="897" y="1076"/>
                    <a:pt x="900" y="1078"/>
                    <a:pt x="903" y="1080"/>
                  </a:cubicBezTo>
                  <a:cubicBezTo>
                    <a:pt x="904" y="1080"/>
                    <a:pt x="905" y="1081"/>
                    <a:pt x="906" y="1082"/>
                  </a:cubicBezTo>
                  <a:cubicBezTo>
                    <a:pt x="914" y="1087"/>
                    <a:pt x="921" y="1091"/>
                    <a:pt x="928" y="1096"/>
                  </a:cubicBezTo>
                  <a:cubicBezTo>
                    <a:pt x="930" y="1097"/>
                    <a:pt x="931" y="1098"/>
                    <a:pt x="933" y="1099"/>
                  </a:cubicBezTo>
                  <a:cubicBezTo>
                    <a:pt x="938" y="1102"/>
                    <a:pt x="944" y="1105"/>
                    <a:pt x="949" y="1109"/>
                  </a:cubicBezTo>
                  <a:cubicBezTo>
                    <a:pt x="951" y="1110"/>
                    <a:pt x="954" y="1112"/>
                    <a:pt x="957" y="1114"/>
                  </a:cubicBezTo>
                  <a:cubicBezTo>
                    <a:pt x="959" y="1115"/>
                    <a:pt x="960" y="1116"/>
                    <a:pt x="962" y="1117"/>
                  </a:cubicBezTo>
                  <a:cubicBezTo>
                    <a:pt x="967" y="1120"/>
                    <a:pt x="972" y="1123"/>
                    <a:pt x="976" y="1126"/>
                  </a:cubicBezTo>
                  <a:cubicBezTo>
                    <a:pt x="975" y="1125"/>
                    <a:pt x="974" y="1123"/>
                    <a:pt x="972" y="1122"/>
                  </a:cubicBezTo>
                  <a:cubicBezTo>
                    <a:pt x="970" y="1121"/>
                    <a:pt x="968" y="1119"/>
                    <a:pt x="965" y="1118"/>
                  </a:cubicBezTo>
                  <a:cubicBezTo>
                    <a:pt x="962" y="1116"/>
                    <a:pt x="960" y="1114"/>
                    <a:pt x="957" y="1113"/>
                  </a:cubicBezTo>
                  <a:cubicBezTo>
                    <a:pt x="951" y="1109"/>
                    <a:pt x="945" y="1105"/>
                    <a:pt x="939" y="1101"/>
                  </a:cubicBezTo>
                  <a:cubicBezTo>
                    <a:pt x="937" y="1100"/>
                    <a:pt x="935" y="1099"/>
                    <a:pt x="933" y="1098"/>
                  </a:cubicBezTo>
                  <a:cubicBezTo>
                    <a:pt x="926" y="1093"/>
                    <a:pt x="918" y="1088"/>
                    <a:pt x="910" y="1084"/>
                  </a:cubicBezTo>
                  <a:cubicBezTo>
                    <a:pt x="909" y="1083"/>
                    <a:pt x="908" y="1082"/>
                    <a:pt x="907" y="1081"/>
                  </a:cubicBezTo>
                  <a:cubicBezTo>
                    <a:pt x="902" y="1078"/>
                    <a:pt x="897" y="1075"/>
                    <a:pt x="892" y="1072"/>
                  </a:cubicBezTo>
                  <a:moveTo>
                    <a:pt x="1318" y="1093"/>
                  </a:moveTo>
                  <a:cubicBezTo>
                    <a:pt x="1321" y="1106"/>
                    <a:pt x="1326" y="1119"/>
                    <a:pt x="1334" y="1132"/>
                  </a:cubicBezTo>
                  <a:cubicBezTo>
                    <a:pt x="1347" y="1152"/>
                    <a:pt x="1357" y="1170"/>
                    <a:pt x="1366" y="1186"/>
                  </a:cubicBezTo>
                  <a:cubicBezTo>
                    <a:pt x="1366" y="1187"/>
                    <a:pt x="1367" y="1187"/>
                    <a:pt x="1368" y="1188"/>
                  </a:cubicBezTo>
                  <a:cubicBezTo>
                    <a:pt x="1359" y="1171"/>
                    <a:pt x="1348" y="1153"/>
                    <a:pt x="1335" y="1131"/>
                  </a:cubicBezTo>
                  <a:cubicBezTo>
                    <a:pt x="1327" y="1120"/>
                    <a:pt x="1322" y="1107"/>
                    <a:pt x="1319" y="1094"/>
                  </a:cubicBezTo>
                  <a:cubicBezTo>
                    <a:pt x="1319" y="1094"/>
                    <a:pt x="1318" y="1093"/>
                    <a:pt x="1318" y="1093"/>
                  </a:cubicBezTo>
                  <a:moveTo>
                    <a:pt x="977" y="1125"/>
                  </a:moveTo>
                  <a:cubicBezTo>
                    <a:pt x="978" y="1126"/>
                    <a:pt x="980" y="1128"/>
                    <a:pt x="981" y="1129"/>
                  </a:cubicBezTo>
                  <a:cubicBezTo>
                    <a:pt x="993" y="1136"/>
                    <a:pt x="1005" y="1143"/>
                    <a:pt x="1017" y="1151"/>
                  </a:cubicBezTo>
                  <a:cubicBezTo>
                    <a:pt x="1011" y="1147"/>
                    <a:pt x="1005" y="1143"/>
                    <a:pt x="999" y="1139"/>
                  </a:cubicBezTo>
                  <a:cubicBezTo>
                    <a:pt x="998" y="1138"/>
                    <a:pt x="997" y="1137"/>
                    <a:pt x="996" y="1137"/>
                  </a:cubicBezTo>
                  <a:cubicBezTo>
                    <a:pt x="990" y="1133"/>
                    <a:pt x="984" y="1130"/>
                    <a:pt x="979" y="1126"/>
                  </a:cubicBezTo>
                  <a:cubicBezTo>
                    <a:pt x="978" y="1126"/>
                    <a:pt x="978" y="1125"/>
                    <a:pt x="977" y="1125"/>
                  </a:cubicBezTo>
                  <a:moveTo>
                    <a:pt x="1018" y="1150"/>
                  </a:moveTo>
                  <a:cubicBezTo>
                    <a:pt x="1023" y="1153"/>
                    <a:pt x="1028" y="1157"/>
                    <a:pt x="1034" y="1160"/>
                  </a:cubicBezTo>
                  <a:cubicBezTo>
                    <a:pt x="1031" y="1158"/>
                    <a:pt x="1028" y="1157"/>
                    <a:pt x="1026" y="1155"/>
                  </a:cubicBezTo>
                  <a:cubicBezTo>
                    <a:pt x="1023" y="1153"/>
                    <a:pt x="1020" y="1151"/>
                    <a:pt x="1018" y="1150"/>
                  </a:cubicBezTo>
                  <a:moveTo>
                    <a:pt x="1036" y="1160"/>
                  </a:moveTo>
                  <a:cubicBezTo>
                    <a:pt x="1039" y="1163"/>
                    <a:pt x="1042" y="1165"/>
                    <a:pt x="1045" y="1167"/>
                  </a:cubicBezTo>
                  <a:cubicBezTo>
                    <a:pt x="1047" y="1168"/>
                    <a:pt x="1050" y="1170"/>
                    <a:pt x="1052" y="1171"/>
                  </a:cubicBezTo>
                  <a:cubicBezTo>
                    <a:pt x="1050" y="1170"/>
                    <a:pt x="1048" y="1168"/>
                    <a:pt x="1046" y="1167"/>
                  </a:cubicBezTo>
                  <a:cubicBezTo>
                    <a:pt x="1042" y="1165"/>
                    <a:pt x="1039" y="1162"/>
                    <a:pt x="1036" y="1160"/>
                  </a:cubicBezTo>
                  <a:moveTo>
                    <a:pt x="1053" y="1171"/>
                  </a:moveTo>
                  <a:cubicBezTo>
                    <a:pt x="1055" y="1172"/>
                    <a:pt x="1057" y="1174"/>
                    <a:pt x="1059" y="1175"/>
                  </a:cubicBezTo>
                  <a:cubicBezTo>
                    <a:pt x="1183" y="1247"/>
                    <a:pt x="1296" y="1301"/>
                    <a:pt x="1353" y="1301"/>
                  </a:cubicBezTo>
                  <a:cubicBezTo>
                    <a:pt x="1379" y="1301"/>
                    <a:pt x="1394" y="1291"/>
                    <a:pt x="1394" y="1266"/>
                  </a:cubicBezTo>
                  <a:cubicBezTo>
                    <a:pt x="1394" y="1263"/>
                    <a:pt x="1393" y="1259"/>
                    <a:pt x="1393" y="1256"/>
                  </a:cubicBezTo>
                  <a:cubicBezTo>
                    <a:pt x="1392" y="1255"/>
                    <a:pt x="1392" y="1255"/>
                    <a:pt x="1392" y="1255"/>
                  </a:cubicBezTo>
                  <a:cubicBezTo>
                    <a:pt x="1392" y="1259"/>
                    <a:pt x="1393" y="1263"/>
                    <a:pt x="1393" y="1266"/>
                  </a:cubicBezTo>
                  <a:cubicBezTo>
                    <a:pt x="1393" y="1290"/>
                    <a:pt x="1379" y="1300"/>
                    <a:pt x="1353" y="1300"/>
                  </a:cubicBezTo>
                  <a:cubicBezTo>
                    <a:pt x="1353" y="1300"/>
                    <a:pt x="1353" y="1300"/>
                    <a:pt x="1353" y="1300"/>
                  </a:cubicBezTo>
                  <a:cubicBezTo>
                    <a:pt x="1295" y="1300"/>
                    <a:pt x="1180" y="1245"/>
                    <a:pt x="1053" y="1171"/>
                  </a:cubicBezTo>
                  <a:moveTo>
                    <a:pt x="1367" y="1189"/>
                  </a:moveTo>
                  <a:cubicBezTo>
                    <a:pt x="1381" y="1215"/>
                    <a:pt x="1388" y="1236"/>
                    <a:pt x="1391" y="1253"/>
                  </a:cubicBezTo>
                  <a:cubicBezTo>
                    <a:pt x="1392" y="1253"/>
                    <a:pt x="1392" y="1254"/>
                    <a:pt x="1393" y="1254"/>
                  </a:cubicBezTo>
                  <a:cubicBezTo>
                    <a:pt x="1390" y="1238"/>
                    <a:pt x="1382" y="1217"/>
                    <a:pt x="1369" y="1191"/>
                  </a:cubicBezTo>
                  <a:cubicBezTo>
                    <a:pt x="1368" y="1190"/>
                    <a:pt x="1368" y="1189"/>
                    <a:pt x="1367" y="1189"/>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63" name="Freeform 92"/>
            <p:cNvSpPr>
              <a:spLocks noEditPoints="1"/>
            </p:cNvSpPr>
            <p:nvPr userDrawn="1"/>
          </p:nvSpPr>
          <p:spPr bwMode="auto">
            <a:xfrm>
              <a:off x="2063" y="3623"/>
              <a:ext cx="3316" cy="2664"/>
            </a:xfrm>
            <a:custGeom>
              <a:avLst/>
              <a:gdLst>
                <a:gd name="T0" fmla="*/ 2147483646 w 1636"/>
                <a:gd name="T1" fmla="*/ 2147483646 h 1314"/>
                <a:gd name="T2" fmla="*/ 2147483646 w 1636"/>
                <a:gd name="T3" fmla="*/ 2147483646 h 1314"/>
                <a:gd name="T4" fmla="*/ 2147483646 w 1636"/>
                <a:gd name="T5" fmla="*/ 2147483646 h 1314"/>
                <a:gd name="T6" fmla="*/ 2147483646 w 1636"/>
                <a:gd name="T7" fmla="*/ 2147483646 h 1314"/>
                <a:gd name="T8" fmla="*/ 2147483646 w 1636"/>
                <a:gd name="T9" fmla="*/ 2147483646 h 1314"/>
                <a:gd name="T10" fmla="*/ 2147483646 w 1636"/>
                <a:gd name="T11" fmla="*/ 2147483646 h 1314"/>
                <a:gd name="T12" fmla="*/ 2147483646 w 1636"/>
                <a:gd name="T13" fmla="*/ 2147483646 h 1314"/>
                <a:gd name="T14" fmla="*/ 2147483646 w 1636"/>
                <a:gd name="T15" fmla="*/ 2147483646 h 1314"/>
                <a:gd name="T16" fmla="*/ 2147483646 w 1636"/>
                <a:gd name="T17" fmla="*/ 2147483646 h 1314"/>
                <a:gd name="T18" fmla="*/ 2147483646 w 1636"/>
                <a:gd name="T19" fmla="*/ 2147483646 h 1314"/>
                <a:gd name="T20" fmla="*/ 2147483646 w 1636"/>
                <a:gd name="T21" fmla="*/ 2147483646 h 1314"/>
                <a:gd name="T22" fmla="*/ 2147483646 w 1636"/>
                <a:gd name="T23" fmla="*/ 2147483646 h 1314"/>
                <a:gd name="T24" fmla="*/ 2147483646 w 1636"/>
                <a:gd name="T25" fmla="*/ 2147483646 h 1314"/>
                <a:gd name="T26" fmla="*/ 2147483646 w 1636"/>
                <a:gd name="T27" fmla="*/ 2147483646 h 1314"/>
                <a:gd name="T28" fmla="*/ 2147483646 w 1636"/>
                <a:gd name="T29" fmla="*/ 2147483646 h 1314"/>
                <a:gd name="T30" fmla="*/ 2147483646 w 1636"/>
                <a:gd name="T31" fmla="*/ 2147483646 h 1314"/>
                <a:gd name="T32" fmla="*/ 2147483646 w 1636"/>
                <a:gd name="T33" fmla="*/ 2147483646 h 1314"/>
                <a:gd name="T34" fmla="*/ 2147483646 w 1636"/>
                <a:gd name="T35" fmla="*/ 2147483646 h 1314"/>
                <a:gd name="T36" fmla="*/ 2147483646 w 1636"/>
                <a:gd name="T37" fmla="*/ 2147483646 h 1314"/>
                <a:gd name="T38" fmla="*/ 2147483646 w 1636"/>
                <a:gd name="T39" fmla="*/ 2147483646 h 1314"/>
                <a:gd name="T40" fmla="*/ 2147483646 w 1636"/>
                <a:gd name="T41" fmla="*/ 2147483646 h 1314"/>
                <a:gd name="T42" fmla="*/ 2147483646 w 1636"/>
                <a:gd name="T43" fmla="*/ 2147483646 h 1314"/>
                <a:gd name="T44" fmla="*/ 2147483646 w 1636"/>
                <a:gd name="T45" fmla="*/ 2147483646 h 1314"/>
                <a:gd name="T46" fmla="*/ 2147483646 w 1636"/>
                <a:gd name="T47" fmla="*/ 2147483646 h 1314"/>
                <a:gd name="T48" fmla="*/ 2147483646 w 1636"/>
                <a:gd name="T49" fmla="*/ 2147483646 h 1314"/>
                <a:gd name="T50" fmla="*/ 2147483646 w 1636"/>
                <a:gd name="T51" fmla="*/ 2147483646 h 1314"/>
                <a:gd name="T52" fmla="*/ 2147483646 w 1636"/>
                <a:gd name="T53" fmla="*/ 2147483646 h 1314"/>
                <a:gd name="T54" fmla="*/ 2147483646 w 1636"/>
                <a:gd name="T55" fmla="*/ 2147483646 h 1314"/>
                <a:gd name="T56" fmla="*/ 2147483646 w 1636"/>
                <a:gd name="T57" fmla="*/ 2147483646 h 1314"/>
                <a:gd name="T58" fmla="*/ 2147483646 w 1636"/>
                <a:gd name="T59" fmla="*/ 2147483646 h 1314"/>
                <a:gd name="T60" fmla="*/ 2147483646 w 1636"/>
                <a:gd name="T61" fmla="*/ 2147483646 h 1314"/>
                <a:gd name="T62" fmla="*/ 2147483646 w 1636"/>
                <a:gd name="T63" fmla="*/ 2147483646 h 1314"/>
                <a:gd name="T64" fmla="*/ 2147483646 w 1636"/>
                <a:gd name="T65" fmla="*/ 2147483646 h 1314"/>
                <a:gd name="T66" fmla="*/ 2147483646 w 1636"/>
                <a:gd name="T67" fmla="*/ 2147483646 h 1314"/>
                <a:gd name="T68" fmla="*/ 2147483646 w 1636"/>
                <a:gd name="T69" fmla="*/ 2147483646 h 1314"/>
                <a:gd name="T70" fmla="*/ 2147483646 w 1636"/>
                <a:gd name="T71" fmla="*/ 2147483646 h 1314"/>
                <a:gd name="T72" fmla="*/ 2147483646 w 1636"/>
                <a:gd name="T73" fmla="*/ 2147483646 h 1314"/>
                <a:gd name="T74" fmla="*/ 2147483646 w 1636"/>
                <a:gd name="T75" fmla="*/ 2147483646 h 1314"/>
                <a:gd name="T76" fmla="*/ 2147483646 w 1636"/>
                <a:gd name="T77" fmla="*/ 2147483646 h 1314"/>
                <a:gd name="T78" fmla="*/ 2147483646 w 1636"/>
                <a:gd name="T79" fmla="*/ 2147483646 h 1314"/>
                <a:gd name="T80" fmla="*/ 2147483646 w 1636"/>
                <a:gd name="T81" fmla="*/ 2147483646 h 1314"/>
                <a:gd name="T82" fmla="*/ 2147483646 w 1636"/>
                <a:gd name="T83" fmla="*/ 2147483646 h 1314"/>
                <a:gd name="T84" fmla="*/ 2147483646 w 1636"/>
                <a:gd name="T85" fmla="*/ 2147483646 h 1314"/>
                <a:gd name="T86" fmla="*/ 2147483646 w 1636"/>
                <a:gd name="T87" fmla="*/ 2147483646 h 1314"/>
                <a:gd name="T88" fmla="*/ 2147483646 w 1636"/>
                <a:gd name="T89" fmla="*/ 2147483646 h 1314"/>
                <a:gd name="T90" fmla="*/ 2147483646 w 1636"/>
                <a:gd name="T91" fmla="*/ 2147483646 h 1314"/>
                <a:gd name="T92" fmla="*/ 2147483646 w 1636"/>
                <a:gd name="T93" fmla="*/ 2147483646 h 1314"/>
                <a:gd name="T94" fmla="*/ 2147483646 w 1636"/>
                <a:gd name="T95" fmla="*/ 2147483646 h 1314"/>
                <a:gd name="T96" fmla="*/ 2147483646 w 1636"/>
                <a:gd name="T97" fmla="*/ 2147483646 h 1314"/>
                <a:gd name="T98" fmla="*/ 2147483646 w 1636"/>
                <a:gd name="T99" fmla="*/ 2147483646 h 1314"/>
                <a:gd name="T100" fmla="*/ 2147483646 w 1636"/>
                <a:gd name="T101" fmla="*/ 2147483646 h 1314"/>
                <a:gd name="T102" fmla="*/ 2147483646 w 1636"/>
                <a:gd name="T103" fmla="*/ 2147483646 h 1314"/>
                <a:gd name="T104" fmla="*/ 2147483646 w 1636"/>
                <a:gd name="T105" fmla="*/ 2147483646 h 1314"/>
                <a:gd name="T106" fmla="*/ 2147483646 w 1636"/>
                <a:gd name="T107" fmla="*/ 2147483646 h 1314"/>
                <a:gd name="T108" fmla="*/ 2147483646 w 1636"/>
                <a:gd name="T109" fmla="*/ 2147483646 h 1314"/>
                <a:gd name="T110" fmla="*/ 2147483646 w 1636"/>
                <a:gd name="T111" fmla="*/ 2147483646 h 1314"/>
                <a:gd name="T112" fmla="*/ 2147483646 w 1636"/>
                <a:gd name="T113" fmla="*/ 2147483646 h 1314"/>
                <a:gd name="T114" fmla="*/ 2147483646 w 1636"/>
                <a:gd name="T115" fmla="*/ 2147483646 h 1314"/>
                <a:gd name="T116" fmla="*/ 2147483646 w 1636"/>
                <a:gd name="T117" fmla="*/ 2147483646 h 1314"/>
                <a:gd name="T118" fmla="*/ 2147483646 w 1636"/>
                <a:gd name="T119" fmla="*/ 2147483646 h 1314"/>
                <a:gd name="T120" fmla="*/ 2147483646 w 1636"/>
                <a:gd name="T121" fmla="*/ 2147483646 h 1314"/>
                <a:gd name="T122" fmla="*/ 2147483646 w 1636"/>
                <a:gd name="T123" fmla="*/ 2147483646 h 1314"/>
                <a:gd name="T124" fmla="*/ 2147483646 w 1636"/>
                <a:gd name="T125" fmla="*/ 2147483646 h 13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636" h="1314">
                  <a:moveTo>
                    <a:pt x="1372" y="0"/>
                  </a:moveTo>
                  <a:cubicBezTo>
                    <a:pt x="1369" y="0"/>
                    <a:pt x="1366" y="0"/>
                    <a:pt x="1363" y="0"/>
                  </a:cubicBezTo>
                  <a:cubicBezTo>
                    <a:pt x="1362" y="0"/>
                    <a:pt x="1362" y="0"/>
                    <a:pt x="1362" y="0"/>
                  </a:cubicBezTo>
                  <a:cubicBezTo>
                    <a:pt x="1327" y="2"/>
                    <a:pt x="1296" y="11"/>
                    <a:pt x="1268" y="26"/>
                  </a:cubicBezTo>
                  <a:cubicBezTo>
                    <a:pt x="1268" y="26"/>
                    <a:pt x="1267" y="27"/>
                    <a:pt x="1266" y="27"/>
                  </a:cubicBezTo>
                  <a:cubicBezTo>
                    <a:pt x="1266" y="27"/>
                    <a:pt x="1266" y="27"/>
                    <a:pt x="1266" y="28"/>
                  </a:cubicBezTo>
                  <a:cubicBezTo>
                    <a:pt x="1265" y="28"/>
                    <a:pt x="1264" y="28"/>
                    <a:pt x="1264" y="29"/>
                  </a:cubicBezTo>
                  <a:cubicBezTo>
                    <a:pt x="1262" y="29"/>
                    <a:pt x="1261" y="30"/>
                    <a:pt x="1259" y="31"/>
                  </a:cubicBezTo>
                  <a:cubicBezTo>
                    <a:pt x="1259" y="32"/>
                    <a:pt x="1258" y="32"/>
                    <a:pt x="1257" y="32"/>
                  </a:cubicBezTo>
                  <a:cubicBezTo>
                    <a:pt x="1256" y="33"/>
                    <a:pt x="1254" y="34"/>
                    <a:pt x="1253" y="35"/>
                  </a:cubicBezTo>
                  <a:cubicBezTo>
                    <a:pt x="1253" y="35"/>
                    <a:pt x="1253" y="35"/>
                    <a:pt x="1253" y="35"/>
                  </a:cubicBezTo>
                  <a:cubicBezTo>
                    <a:pt x="1252" y="36"/>
                    <a:pt x="1251" y="36"/>
                    <a:pt x="1251" y="36"/>
                  </a:cubicBezTo>
                  <a:cubicBezTo>
                    <a:pt x="1251" y="37"/>
                    <a:pt x="1251" y="37"/>
                    <a:pt x="1251" y="37"/>
                  </a:cubicBezTo>
                  <a:cubicBezTo>
                    <a:pt x="1250" y="37"/>
                    <a:pt x="1249" y="38"/>
                    <a:pt x="1248" y="38"/>
                  </a:cubicBezTo>
                  <a:cubicBezTo>
                    <a:pt x="1248" y="38"/>
                    <a:pt x="1247" y="39"/>
                    <a:pt x="1247" y="39"/>
                  </a:cubicBezTo>
                  <a:cubicBezTo>
                    <a:pt x="1245" y="40"/>
                    <a:pt x="1242" y="42"/>
                    <a:pt x="1240" y="44"/>
                  </a:cubicBezTo>
                  <a:cubicBezTo>
                    <a:pt x="1239" y="45"/>
                    <a:pt x="1238" y="45"/>
                    <a:pt x="1237" y="46"/>
                  </a:cubicBezTo>
                  <a:cubicBezTo>
                    <a:pt x="1234" y="48"/>
                    <a:pt x="1232" y="50"/>
                    <a:pt x="1230" y="52"/>
                  </a:cubicBezTo>
                  <a:cubicBezTo>
                    <a:pt x="1228" y="53"/>
                    <a:pt x="1226" y="55"/>
                    <a:pt x="1224" y="57"/>
                  </a:cubicBezTo>
                  <a:cubicBezTo>
                    <a:pt x="1215" y="64"/>
                    <a:pt x="1207" y="71"/>
                    <a:pt x="1199" y="80"/>
                  </a:cubicBezTo>
                  <a:cubicBezTo>
                    <a:pt x="1198" y="81"/>
                    <a:pt x="1197" y="83"/>
                    <a:pt x="1195" y="84"/>
                  </a:cubicBezTo>
                  <a:cubicBezTo>
                    <a:pt x="1195" y="84"/>
                    <a:pt x="1195" y="84"/>
                    <a:pt x="1195" y="84"/>
                  </a:cubicBezTo>
                  <a:cubicBezTo>
                    <a:pt x="1197" y="83"/>
                    <a:pt x="1198" y="82"/>
                    <a:pt x="1200" y="80"/>
                  </a:cubicBezTo>
                  <a:cubicBezTo>
                    <a:pt x="1206" y="74"/>
                    <a:pt x="1212" y="68"/>
                    <a:pt x="1218" y="63"/>
                  </a:cubicBezTo>
                  <a:cubicBezTo>
                    <a:pt x="1220" y="61"/>
                    <a:pt x="1223" y="59"/>
                    <a:pt x="1225" y="57"/>
                  </a:cubicBezTo>
                  <a:cubicBezTo>
                    <a:pt x="1228" y="55"/>
                    <a:pt x="1231" y="52"/>
                    <a:pt x="1234" y="50"/>
                  </a:cubicBezTo>
                  <a:cubicBezTo>
                    <a:pt x="1235" y="49"/>
                    <a:pt x="1236" y="48"/>
                    <a:pt x="1237" y="47"/>
                  </a:cubicBezTo>
                  <a:cubicBezTo>
                    <a:pt x="1240" y="45"/>
                    <a:pt x="1243" y="43"/>
                    <a:pt x="1246" y="41"/>
                  </a:cubicBezTo>
                  <a:cubicBezTo>
                    <a:pt x="1246" y="41"/>
                    <a:pt x="1246" y="41"/>
                    <a:pt x="1246" y="41"/>
                  </a:cubicBezTo>
                  <a:cubicBezTo>
                    <a:pt x="1247" y="40"/>
                    <a:pt x="1248" y="40"/>
                    <a:pt x="1249" y="39"/>
                  </a:cubicBezTo>
                  <a:cubicBezTo>
                    <a:pt x="1249" y="39"/>
                    <a:pt x="1249" y="39"/>
                    <a:pt x="1249" y="39"/>
                  </a:cubicBezTo>
                  <a:cubicBezTo>
                    <a:pt x="1250" y="38"/>
                    <a:pt x="1251" y="38"/>
                    <a:pt x="1252" y="37"/>
                  </a:cubicBezTo>
                  <a:cubicBezTo>
                    <a:pt x="1252" y="37"/>
                    <a:pt x="1252" y="37"/>
                    <a:pt x="1252" y="37"/>
                  </a:cubicBezTo>
                  <a:cubicBezTo>
                    <a:pt x="1253" y="36"/>
                    <a:pt x="1254" y="35"/>
                    <a:pt x="1256" y="35"/>
                  </a:cubicBezTo>
                  <a:cubicBezTo>
                    <a:pt x="1256" y="34"/>
                    <a:pt x="1257" y="34"/>
                    <a:pt x="1258" y="33"/>
                  </a:cubicBezTo>
                  <a:cubicBezTo>
                    <a:pt x="1259" y="32"/>
                    <a:pt x="1261" y="31"/>
                    <a:pt x="1262" y="31"/>
                  </a:cubicBezTo>
                  <a:cubicBezTo>
                    <a:pt x="1263" y="30"/>
                    <a:pt x="1264" y="30"/>
                    <a:pt x="1264" y="29"/>
                  </a:cubicBezTo>
                  <a:cubicBezTo>
                    <a:pt x="1265" y="29"/>
                    <a:pt x="1265" y="29"/>
                    <a:pt x="1265" y="29"/>
                  </a:cubicBezTo>
                  <a:cubicBezTo>
                    <a:pt x="1266" y="28"/>
                    <a:pt x="1267" y="28"/>
                    <a:pt x="1267" y="28"/>
                  </a:cubicBezTo>
                  <a:cubicBezTo>
                    <a:pt x="1296" y="12"/>
                    <a:pt x="1327" y="3"/>
                    <a:pt x="1362" y="1"/>
                  </a:cubicBezTo>
                  <a:cubicBezTo>
                    <a:pt x="1362" y="1"/>
                    <a:pt x="1363" y="1"/>
                    <a:pt x="1363" y="1"/>
                  </a:cubicBezTo>
                  <a:cubicBezTo>
                    <a:pt x="1366" y="1"/>
                    <a:pt x="1369" y="1"/>
                    <a:pt x="1372" y="1"/>
                  </a:cubicBezTo>
                  <a:cubicBezTo>
                    <a:pt x="1394" y="1"/>
                    <a:pt x="1419" y="4"/>
                    <a:pt x="1444" y="12"/>
                  </a:cubicBezTo>
                  <a:cubicBezTo>
                    <a:pt x="1456" y="15"/>
                    <a:pt x="1468" y="19"/>
                    <a:pt x="1479" y="22"/>
                  </a:cubicBezTo>
                  <a:cubicBezTo>
                    <a:pt x="1479" y="23"/>
                    <a:pt x="1479" y="23"/>
                    <a:pt x="1480" y="23"/>
                  </a:cubicBezTo>
                  <a:cubicBezTo>
                    <a:pt x="1516" y="35"/>
                    <a:pt x="1545" y="50"/>
                    <a:pt x="1568" y="65"/>
                  </a:cubicBezTo>
                  <a:cubicBezTo>
                    <a:pt x="1568" y="65"/>
                    <a:pt x="1568" y="65"/>
                    <a:pt x="1569" y="66"/>
                  </a:cubicBezTo>
                  <a:cubicBezTo>
                    <a:pt x="1593" y="82"/>
                    <a:pt x="1610" y="100"/>
                    <a:pt x="1620" y="119"/>
                  </a:cubicBezTo>
                  <a:cubicBezTo>
                    <a:pt x="1620" y="119"/>
                    <a:pt x="1621" y="120"/>
                    <a:pt x="1621" y="120"/>
                  </a:cubicBezTo>
                  <a:cubicBezTo>
                    <a:pt x="1630" y="137"/>
                    <a:pt x="1635" y="155"/>
                    <a:pt x="1635" y="174"/>
                  </a:cubicBezTo>
                  <a:cubicBezTo>
                    <a:pt x="1635" y="177"/>
                    <a:pt x="1634" y="180"/>
                    <a:pt x="1634" y="183"/>
                  </a:cubicBezTo>
                  <a:cubicBezTo>
                    <a:pt x="1634" y="183"/>
                    <a:pt x="1634" y="184"/>
                    <a:pt x="1634" y="184"/>
                  </a:cubicBezTo>
                  <a:cubicBezTo>
                    <a:pt x="1634" y="188"/>
                    <a:pt x="1633" y="192"/>
                    <a:pt x="1633" y="196"/>
                  </a:cubicBezTo>
                  <a:cubicBezTo>
                    <a:pt x="1632" y="197"/>
                    <a:pt x="1632" y="198"/>
                    <a:pt x="1632" y="198"/>
                  </a:cubicBezTo>
                  <a:cubicBezTo>
                    <a:pt x="1632" y="202"/>
                    <a:pt x="1631" y="205"/>
                    <a:pt x="1630" y="208"/>
                  </a:cubicBezTo>
                  <a:cubicBezTo>
                    <a:pt x="1630" y="209"/>
                    <a:pt x="1630" y="210"/>
                    <a:pt x="1630" y="210"/>
                  </a:cubicBezTo>
                  <a:cubicBezTo>
                    <a:pt x="1626" y="224"/>
                    <a:pt x="1621" y="237"/>
                    <a:pt x="1614" y="251"/>
                  </a:cubicBezTo>
                  <a:cubicBezTo>
                    <a:pt x="1613" y="252"/>
                    <a:pt x="1612" y="253"/>
                    <a:pt x="1612" y="254"/>
                  </a:cubicBezTo>
                  <a:cubicBezTo>
                    <a:pt x="1609" y="260"/>
                    <a:pt x="1606" y="266"/>
                    <a:pt x="1602" y="271"/>
                  </a:cubicBezTo>
                  <a:cubicBezTo>
                    <a:pt x="1601" y="273"/>
                    <a:pt x="1600" y="274"/>
                    <a:pt x="1599" y="276"/>
                  </a:cubicBezTo>
                  <a:cubicBezTo>
                    <a:pt x="1596" y="280"/>
                    <a:pt x="1593" y="285"/>
                    <a:pt x="1590" y="289"/>
                  </a:cubicBezTo>
                  <a:cubicBezTo>
                    <a:pt x="1589" y="291"/>
                    <a:pt x="1588" y="293"/>
                    <a:pt x="1586" y="295"/>
                  </a:cubicBezTo>
                  <a:cubicBezTo>
                    <a:pt x="1584" y="298"/>
                    <a:pt x="1581" y="301"/>
                    <a:pt x="1579" y="305"/>
                  </a:cubicBezTo>
                  <a:cubicBezTo>
                    <a:pt x="1577" y="307"/>
                    <a:pt x="1575" y="310"/>
                    <a:pt x="1573" y="312"/>
                  </a:cubicBezTo>
                  <a:cubicBezTo>
                    <a:pt x="1571" y="314"/>
                    <a:pt x="1570" y="316"/>
                    <a:pt x="1568" y="318"/>
                  </a:cubicBezTo>
                  <a:cubicBezTo>
                    <a:pt x="1565" y="322"/>
                    <a:pt x="1562" y="326"/>
                    <a:pt x="1558" y="330"/>
                  </a:cubicBezTo>
                  <a:cubicBezTo>
                    <a:pt x="1558" y="330"/>
                    <a:pt x="1558" y="330"/>
                    <a:pt x="1558" y="330"/>
                  </a:cubicBezTo>
                  <a:cubicBezTo>
                    <a:pt x="1557" y="331"/>
                    <a:pt x="1556" y="332"/>
                    <a:pt x="1556" y="333"/>
                  </a:cubicBezTo>
                  <a:cubicBezTo>
                    <a:pt x="1550" y="339"/>
                    <a:pt x="1545" y="345"/>
                    <a:pt x="1539" y="351"/>
                  </a:cubicBezTo>
                  <a:cubicBezTo>
                    <a:pt x="1546" y="344"/>
                    <a:pt x="1553" y="337"/>
                    <a:pt x="1559" y="330"/>
                  </a:cubicBezTo>
                  <a:cubicBezTo>
                    <a:pt x="1565" y="324"/>
                    <a:pt x="1570" y="317"/>
                    <a:pt x="1576" y="310"/>
                  </a:cubicBezTo>
                  <a:cubicBezTo>
                    <a:pt x="1576" y="310"/>
                    <a:pt x="1577" y="309"/>
                    <a:pt x="1578" y="308"/>
                  </a:cubicBezTo>
                  <a:cubicBezTo>
                    <a:pt x="1578" y="307"/>
                    <a:pt x="1579" y="306"/>
                    <a:pt x="1580" y="305"/>
                  </a:cubicBezTo>
                  <a:cubicBezTo>
                    <a:pt x="1581" y="303"/>
                    <a:pt x="1583" y="301"/>
                    <a:pt x="1585" y="298"/>
                  </a:cubicBezTo>
                  <a:cubicBezTo>
                    <a:pt x="1587" y="295"/>
                    <a:pt x="1589" y="293"/>
                    <a:pt x="1591" y="290"/>
                  </a:cubicBezTo>
                  <a:cubicBezTo>
                    <a:pt x="1592" y="288"/>
                    <a:pt x="1593" y="286"/>
                    <a:pt x="1594" y="285"/>
                  </a:cubicBezTo>
                  <a:cubicBezTo>
                    <a:pt x="1597" y="281"/>
                    <a:pt x="1600" y="276"/>
                    <a:pt x="1603" y="272"/>
                  </a:cubicBezTo>
                  <a:cubicBezTo>
                    <a:pt x="1604" y="271"/>
                    <a:pt x="1604" y="269"/>
                    <a:pt x="1605" y="268"/>
                  </a:cubicBezTo>
                  <a:cubicBezTo>
                    <a:pt x="1609" y="262"/>
                    <a:pt x="1612" y="257"/>
                    <a:pt x="1614" y="251"/>
                  </a:cubicBezTo>
                  <a:cubicBezTo>
                    <a:pt x="1615" y="250"/>
                    <a:pt x="1615" y="249"/>
                    <a:pt x="1616" y="248"/>
                  </a:cubicBezTo>
                  <a:cubicBezTo>
                    <a:pt x="1623" y="235"/>
                    <a:pt x="1628" y="222"/>
                    <a:pt x="1631" y="209"/>
                  </a:cubicBezTo>
                  <a:cubicBezTo>
                    <a:pt x="1631" y="208"/>
                    <a:pt x="1631" y="207"/>
                    <a:pt x="1631" y="207"/>
                  </a:cubicBezTo>
                  <a:cubicBezTo>
                    <a:pt x="1632" y="203"/>
                    <a:pt x="1633" y="200"/>
                    <a:pt x="1634" y="197"/>
                  </a:cubicBezTo>
                  <a:cubicBezTo>
                    <a:pt x="1634" y="196"/>
                    <a:pt x="1634" y="196"/>
                    <a:pt x="1634" y="195"/>
                  </a:cubicBezTo>
                  <a:cubicBezTo>
                    <a:pt x="1634" y="191"/>
                    <a:pt x="1635" y="187"/>
                    <a:pt x="1635" y="183"/>
                  </a:cubicBezTo>
                  <a:cubicBezTo>
                    <a:pt x="1635" y="183"/>
                    <a:pt x="1635" y="182"/>
                    <a:pt x="1635" y="182"/>
                  </a:cubicBezTo>
                  <a:cubicBezTo>
                    <a:pt x="1635" y="179"/>
                    <a:pt x="1636" y="177"/>
                    <a:pt x="1636" y="174"/>
                  </a:cubicBezTo>
                  <a:cubicBezTo>
                    <a:pt x="1636" y="155"/>
                    <a:pt x="1631" y="137"/>
                    <a:pt x="1621" y="119"/>
                  </a:cubicBezTo>
                  <a:cubicBezTo>
                    <a:pt x="1621" y="119"/>
                    <a:pt x="1621" y="118"/>
                    <a:pt x="1621" y="118"/>
                  </a:cubicBezTo>
                  <a:cubicBezTo>
                    <a:pt x="1610" y="99"/>
                    <a:pt x="1593" y="81"/>
                    <a:pt x="1569" y="65"/>
                  </a:cubicBezTo>
                  <a:cubicBezTo>
                    <a:pt x="1569" y="65"/>
                    <a:pt x="1569" y="64"/>
                    <a:pt x="1568" y="64"/>
                  </a:cubicBezTo>
                  <a:cubicBezTo>
                    <a:pt x="1545" y="49"/>
                    <a:pt x="1516" y="34"/>
                    <a:pt x="1480" y="22"/>
                  </a:cubicBezTo>
                  <a:cubicBezTo>
                    <a:pt x="1479" y="22"/>
                    <a:pt x="1479" y="22"/>
                    <a:pt x="1479" y="21"/>
                  </a:cubicBezTo>
                  <a:cubicBezTo>
                    <a:pt x="1468" y="18"/>
                    <a:pt x="1457" y="14"/>
                    <a:pt x="1445" y="11"/>
                  </a:cubicBezTo>
                  <a:cubicBezTo>
                    <a:pt x="1419" y="3"/>
                    <a:pt x="1395" y="0"/>
                    <a:pt x="1372" y="0"/>
                  </a:cubicBezTo>
                  <a:moveTo>
                    <a:pt x="1196" y="85"/>
                  </a:moveTo>
                  <a:cubicBezTo>
                    <a:pt x="1194" y="87"/>
                    <a:pt x="1192" y="88"/>
                    <a:pt x="1190" y="90"/>
                  </a:cubicBezTo>
                  <a:cubicBezTo>
                    <a:pt x="1186" y="94"/>
                    <a:pt x="1183" y="98"/>
                    <a:pt x="1179" y="102"/>
                  </a:cubicBezTo>
                  <a:cubicBezTo>
                    <a:pt x="1180" y="101"/>
                    <a:pt x="1181" y="101"/>
                    <a:pt x="1182" y="100"/>
                  </a:cubicBezTo>
                  <a:cubicBezTo>
                    <a:pt x="1185" y="97"/>
                    <a:pt x="1188" y="93"/>
                    <a:pt x="1191" y="90"/>
                  </a:cubicBezTo>
                  <a:cubicBezTo>
                    <a:pt x="1193" y="88"/>
                    <a:pt x="1194" y="87"/>
                    <a:pt x="1196" y="85"/>
                  </a:cubicBezTo>
                  <a:moveTo>
                    <a:pt x="1180" y="103"/>
                  </a:moveTo>
                  <a:cubicBezTo>
                    <a:pt x="1179" y="103"/>
                    <a:pt x="1178" y="104"/>
                    <a:pt x="1177" y="105"/>
                  </a:cubicBezTo>
                  <a:cubicBezTo>
                    <a:pt x="1177" y="105"/>
                    <a:pt x="1176" y="106"/>
                    <a:pt x="1176" y="107"/>
                  </a:cubicBezTo>
                  <a:cubicBezTo>
                    <a:pt x="1176" y="107"/>
                    <a:pt x="1177" y="106"/>
                    <a:pt x="1177" y="106"/>
                  </a:cubicBezTo>
                  <a:cubicBezTo>
                    <a:pt x="1178" y="105"/>
                    <a:pt x="1179" y="104"/>
                    <a:pt x="1180" y="103"/>
                  </a:cubicBezTo>
                  <a:moveTo>
                    <a:pt x="1176" y="108"/>
                  </a:moveTo>
                  <a:cubicBezTo>
                    <a:pt x="1176" y="108"/>
                    <a:pt x="1175" y="108"/>
                    <a:pt x="1175" y="108"/>
                  </a:cubicBezTo>
                  <a:cubicBezTo>
                    <a:pt x="1169" y="115"/>
                    <a:pt x="1164" y="122"/>
                    <a:pt x="1159" y="129"/>
                  </a:cubicBezTo>
                  <a:cubicBezTo>
                    <a:pt x="1160" y="129"/>
                    <a:pt x="1160" y="129"/>
                    <a:pt x="1161" y="129"/>
                  </a:cubicBezTo>
                  <a:cubicBezTo>
                    <a:pt x="1166" y="122"/>
                    <a:pt x="1171" y="114"/>
                    <a:pt x="1176" y="108"/>
                  </a:cubicBezTo>
                  <a:moveTo>
                    <a:pt x="1160" y="130"/>
                  </a:moveTo>
                  <a:cubicBezTo>
                    <a:pt x="1159" y="130"/>
                    <a:pt x="1159" y="130"/>
                    <a:pt x="1158" y="130"/>
                  </a:cubicBezTo>
                  <a:cubicBezTo>
                    <a:pt x="1153" y="138"/>
                    <a:pt x="1147" y="147"/>
                    <a:pt x="1142" y="155"/>
                  </a:cubicBezTo>
                  <a:cubicBezTo>
                    <a:pt x="1141" y="156"/>
                    <a:pt x="1141" y="157"/>
                    <a:pt x="1140" y="158"/>
                  </a:cubicBezTo>
                  <a:cubicBezTo>
                    <a:pt x="1140" y="159"/>
                    <a:pt x="1139" y="160"/>
                    <a:pt x="1138" y="161"/>
                  </a:cubicBezTo>
                  <a:cubicBezTo>
                    <a:pt x="1139" y="161"/>
                    <a:pt x="1139" y="161"/>
                    <a:pt x="1139" y="161"/>
                  </a:cubicBezTo>
                  <a:cubicBezTo>
                    <a:pt x="1140" y="161"/>
                    <a:pt x="1140" y="160"/>
                    <a:pt x="1140" y="160"/>
                  </a:cubicBezTo>
                  <a:cubicBezTo>
                    <a:pt x="1140" y="159"/>
                    <a:pt x="1141" y="159"/>
                    <a:pt x="1141" y="158"/>
                  </a:cubicBezTo>
                  <a:cubicBezTo>
                    <a:pt x="1147" y="148"/>
                    <a:pt x="1153" y="139"/>
                    <a:pt x="1160" y="130"/>
                  </a:cubicBezTo>
                  <a:moveTo>
                    <a:pt x="1138" y="162"/>
                  </a:moveTo>
                  <a:cubicBezTo>
                    <a:pt x="1131" y="173"/>
                    <a:pt x="1125" y="185"/>
                    <a:pt x="1119" y="196"/>
                  </a:cubicBezTo>
                  <a:cubicBezTo>
                    <a:pt x="1119" y="196"/>
                    <a:pt x="1119" y="196"/>
                    <a:pt x="1120" y="196"/>
                  </a:cubicBezTo>
                  <a:cubicBezTo>
                    <a:pt x="1120" y="196"/>
                    <a:pt x="1120" y="195"/>
                    <a:pt x="1121" y="194"/>
                  </a:cubicBezTo>
                  <a:cubicBezTo>
                    <a:pt x="1127" y="183"/>
                    <a:pt x="1133" y="172"/>
                    <a:pt x="1139" y="162"/>
                  </a:cubicBezTo>
                  <a:cubicBezTo>
                    <a:pt x="1139" y="162"/>
                    <a:pt x="1138" y="162"/>
                    <a:pt x="1138" y="162"/>
                  </a:cubicBezTo>
                  <a:moveTo>
                    <a:pt x="1118" y="197"/>
                  </a:moveTo>
                  <a:cubicBezTo>
                    <a:pt x="1117" y="198"/>
                    <a:pt x="1117" y="199"/>
                    <a:pt x="1116" y="200"/>
                  </a:cubicBezTo>
                  <a:cubicBezTo>
                    <a:pt x="1115" y="202"/>
                    <a:pt x="1114" y="205"/>
                    <a:pt x="1113" y="207"/>
                  </a:cubicBezTo>
                  <a:cubicBezTo>
                    <a:pt x="1111" y="212"/>
                    <a:pt x="1108" y="217"/>
                    <a:pt x="1106" y="222"/>
                  </a:cubicBezTo>
                  <a:cubicBezTo>
                    <a:pt x="1106" y="222"/>
                    <a:pt x="1107" y="222"/>
                    <a:pt x="1107" y="222"/>
                  </a:cubicBezTo>
                  <a:cubicBezTo>
                    <a:pt x="1110" y="215"/>
                    <a:pt x="1114" y="208"/>
                    <a:pt x="1117" y="201"/>
                  </a:cubicBezTo>
                  <a:cubicBezTo>
                    <a:pt x="1118" y="200"/>
                    <a:pt x="1119" y="198"/>
                    <a:pt x="1119" y="197"/>
                  </a:cubicBezTo>
                  <a:cubicBezTo>
                    <a:pt x="1119" y="197"/>
                    <a:pt x="1118" y="197"/>
                    <a:pt x="1118" y="197"/>
                  </a:cubicBezTo>
                  <a:moveTo>
                    <a:pt x="1105" y="222"/>
                  </a:moveTo>
                  <a:cubicBezTo>
                    <a:pt x="1100" y="233"/>
                    <a:pt x="1095" y="244"/>
                    <a:pt x="1091" y="255"/>
                  </a:cubicBezTo>
                  <a:cubicBezTo>
                    <a:pt x="1091" y="255"/>
                    <a:pt x="1090" y="256"/>
                    <a:pt x="1090" y="256"/>
                  </a:cubicBezTo>
                  <a:cubicBezTo>
                    <a:pt x="1090" y="257"/>
                    <a:pt x="1090" y="257"/>
                    <a:pt x="1090" y="257"/>
                  </a:cubicBezTo>
                  <a:cubicBezTo>
                    <a:pt x="1090" y="257"/>
                    <a:pt x="1090" y="257"/>
                    <a:pt x="1091" y="257"/>
                  </a:cubicBezTo>
                  <a:cubicBezTo>
                    <a:pt x="1091" y="257"/>
                    <a:pt x="1091" y="256"/>
                    <a:pt x="1092" y="255"/>
                  </a:cubicBezTo>
                  <a:cubicBezTo>
                    <a:pt x="1092" y="255"/>
                    <a:pt x="1092" y="254"/>
                    <a:pt x="1092" y="254"/>
                  </a:cubicBezTo>
                  <a:cubicBezTo>
                    <a:pt x="1097" y="243"/>
                    <a:pt x="1102" y="233"/>
                    <a:pt x="1107" y="223"/>
                  </a:cubicBezTo>
                  <a:cubicBezTo>
                    <a:pt x="1106" y="223"/>
                    <a:pt x="1106" y="222"/>
                    <a:pt x="1105" y="222"/>
                  </a:cubicBezTo>
                  <a:moveTo>
                    <a:pt x="1089" y="258"/>
                  </a:moveTo>
                  <a:cubicBezTo>
                    <a:pt x="1086" y="266"/>
                    <a:pt x="1082" y="274"/>
                    <a:pt x="1079" y="283"/>
                  </a:cubicBezTo>
                  <a:cubicBezTo>
                    <a:pt x="1079" y="283"/>
                    <a:pt x="1079" y="284"/>
                    <a:pt x="1079" y="284"/>
                  </a:cubicBezTo>
                  <a:cubicBezTo>
                    <a:pt x="1077" y="288"/>
                    <a:pt x="1075" y="293"/>
                    <a:pt x="1074" y="297"/>
                  </a:cubicBezTo>
                  <a:cubicBezTo>
                    <a:pt x="1074" y="297"/>
                    <a:pt x="1074" y="297"/>
                    <a:pt x="1075" y="297"/>
                  </a:cubicBezTo>
                  <a:cubicBezTo>
                    <a:pt x="1076" y="293"/>
                    <a:pt x="1078" y="288"/>
                    <a:pt x="1080" y="283"/>
                  </a:cubicBezTo>
                  <a:cubicBezTo>
                    <a:pt x="1080" y="283"/>
                    <a:pt x="1080" y="282"/>
                    <a:pt x="1081" y="282"/>
                  </a:cubicBezTo>
                  <a:cubicBezTo>
                    <a:pt x="1084" y="274"/>
                    <a:pt x="1087" y="266"/>
                    <a:pt x="1090" y="258"/>
                  </a:cubicBezTo>
                  <a:cubicBezTo>
                    <a:pt x="1090" y="258"/>
                    <a:pt x="1090" y="258"/>
                    <a:pt x="1089" y="258"/>
                  </a:cubicBezTo>
                  <a:moveTo>
                    <a:pt x="1073" y="298"/>
                  </a:moveTo>
                  <a:cubicBezTo>
                    <a:pt x="1072" y="301"/>
                    <a:pt x="1071" y="305"/>
                    <a:pt x="1069" y="308"/>
                  </a:cubicBezTo>
                  <a:cubicBezTo>
                    <a:pt x="1069" y="308"/>
                    <a:pt x="1069" y="309"/>
                    <a:pt x="1069" y="309"/>
                  </a:cubicBezTo>
                  <a:cubicBezTo>
                    <a:pt x="1064" y="323"/>
                    <a:pt x="1059" y="336"/>
                    <a:pt x="1055" y="348"/>
                  </a:cubicBezTo>
                  <a:cubicBezTo>
                    <a:pt x="1055" y="348"/>
                    <a:pt x="1056" y="349"/>
                    <a:pt x="1056" y="349"/>
                  </a:cubicBezTo>
                  <a:cubicBezTo>
                    <a:pt x="1060" y="336"/>
                    <a:pt x="1065" y="322"/>
                    <a:pt x="1070" y="309"/>
                  </a:cubicBezTo>
                  <a:cubicBezTo>
                    <a:pt x="1070" y="308"/>
                    <a:pt x="1071" y="308"/>
                    <a:pt x="1071" y="307"/>
                  </a:cubicBezTo>
                  <a:cubicBezTo>
                    <a:pt x="1072" y="304"/>
                    <a:pt x="1073" y="301"/>
                    <a:pt x="1074" y="298"/>
                  </a:cubicBezTo>
                  <a:cubicBezTo>
                    <a:pt x="1074" y="298"/>
                    <a:pt x="1074" y="298"/>
                    <a:pt x="1073" y="298"/>
                  </a:cubicBezTo>
                  <a:moveTo>
                    <a:pt x="1055" y="349"/>
                  </a:moveTo>
                  <a:cubicBezTo>
                    <a:pt x="1054" y="350"/>
                    <a:pt x="1054" y="352"/>
                    <a:pt x="1053" y="353"/>
                  </a:cubicBezTo>
                  <a:cubicBezTo>
                    <a:pt x="1053" y="353"/>
                    <a:pt x="1053" y="354"/>
                    <a:pt x="1053" y="354"/>
                  </a:cubicBezTo>
                  <a:cubicBezTo>
                    <a:pt x="1051" y="360"/>
                    <a:pt x="1049" y="366"/>
                    <a:pt x="1047" y="372"/>
                  </a:cubicBezTo>
                  <a:cubicBezTo>
                    <a:pt x="1047" y="373"/>
                    <a:pt x="1046" y="374"/>
                    <a:pt x="1046" y="375"/>
                  </a:cubicBezTo>
                  <a:cubicBezTo>
                    <a:pt x="1046" y="376"/>
                    <a:pt x="1046" y="376"/>
                    <a:pt x="1045" y="377"/>
                  </a:cubicBezTo>
                  <a:cubicBezTo>
                    <a:pt x="1045" y="377"/>
                    <a:pt x="1045" y="378"/>
                    <a:pt x="1045" y="378"/>
                  </a:cubicBezTo>
                  <a:cubicBezTo>
                    <a:pt x="1043" y="385"/>
                    <a:pt x="1041" y="391"/>
                    <a:pt x="1039" y="397"/>
                  </a:cubicBezTo>
                  <a:cubicBezTo>
                    <a:pt x="1038" y="398"/>
                    <a:pt x="1038" y="398"/>
                    <a:pt x="1038" y="399"/>
                  </a:cubicBezTo>
                  <a:cubicBezTo>
                    <a:pt x="1038" y="401"/>
                    <a:pt x="1037" y="403"/>
                    <a:pt x="1036" y="404"/>
                  </a:cubicBezTo>
                  <a:cubicBezTo>
                    <a:pt x="1037" y="405"/>
                    <a:pt x="1037" y="405"/>
                    <a:pt x="1037" y="405"/>
                  </a:cubicBezTo>
                  <a:cubicBezTo>
                    <a:pt x="1038" y="403"/>
                    <a:pt x="1039" y="401"/>
                    <a:pt x="1039" y="398"/>
                  </a:cubicBezTo>
                  <a:cubicBezTo>
                    <a:pt x="1040" y="398"/>
                    <a:pt x="1040" y="397"/>
                    <a:pt x="1040" y="397"/>
                  </a:cubicBezTo>
                  <a:cubicBezTo>
                    <a:pt x="1042" y="391"/>
                    <a:pt x="1044" y="384"/>
                    <a:pt x="1046" y="378"/>
                  </a:cubicBezTo>
                  <a:cubicBezTo>
                    <a:pt x="1046" y="377"/>
                    <a:pt x="1046" y="377"/>
                    <a:pt x="1047" y="376"/>
                  </a:cubicBezTo>
                  <a:cubicBezTo>
                    <a:pt x="1047" y="375"/>
                    <a:pt x="1047" y="374"/>
                    <a:pt x="1048" y="373"/>
                  </a:cubicBezTo>
                  <a:cubicBezTo>
                    <a:pt x="1048" y="372"/>
                    <a:pt x="1048" y="371"/>
                    <a:pt x="1049" y="370"/>
                  </a:cubicBezTo>
                  <a:cubicBezTo>
                    <a:pt x="1051" y="364"/>
                    <a:pt x="1052" y="359"/>
                    <a:pt x="1054" y="354"/>
                  </a:cubicBezTo>
                  <a:cubicBezTo>
                    <a:pt x="1054" y="353"/>
                    <a:pt x="1054" y="353"/>
                    <a:pt x="1055" y="352"/>
                  </a:cubicBezTo>
                  <a:cubicBezTo>
                    <a:pt x="1055" y="351"/>
                    <a:pt x="1055" y="351"/>
                    <a:pt x="1056" y="350"/>
                  </a:cubicBezTo>
                  <a:cubicBezTo>
                    <a:pt x="1055" y="350"/>
                    <a:pt x="1055" y="349"/>
                    <a:pt x="1055" y="349"/>
                  </a:cubicBezTo>
                  <a:moveTo>
                    <a:pt x="1539" y="351"/>
                  </a:moveTo>
                  <a:cubicBezTo>
                    <a:pt x="1538" y="351"/>
                    <a:pt x="1538" y="352"/>
                    <a:pt x="1537" y="352"/>
                  </a:cubicBezTo>
                  <a:cubicBezTo>
                    <a:pt x="1537" y="352"/>
                    <a:pt x="1537" y="353"/>
                    <a:pt x="1537" y="353"/>
                  </a:cubicBezTo>
                  <a:cubicBezTo>
                    <a:pt x="1537" y="352"/>
                    <a:pt x="1538" y="351"/>
                    <a:pt x="1539" y="351"/>
                  </a:cubicBezTo>
                  <a:moveTo>
                    <a:pt x="1529" y="361"/>
                  </a:moveTo>
                  <a:cubicBezTo>
                    <a:pt x="1528" y="361"/>
                    <a:pt x="1528" y="361"/>
                    <a:pt x="1528" y="362"/>
                  </a:cubicBezTo>
                  <a:cubicBezTo>
                    <a:pt x="1526" y="363"/>
                    <a:pt x="1524" y="365"/>
                    <a:pt x="1522" y="367"/>
                  </a:cubicBezTo>
                  <a:cubicBezTo>
                    <a:pt x="1522" y="367"/>
                    <a:pt x="1522" y="367"/>
                    <a:pt x="1522" y="368"/>
                  </a:cubicBezTo>
                  <a:cubicBezTo>
                    <a:pt x="1522" y="368"/>
                    <a:pt x="1522" y="368"/>
                    <a:pt x="1522" y="368"/>
                  </a:cubicBezTo>
                  <a:cubicBezTo>
                    <a:pt x="1520" y="370"/>
                    <a:pt x="1518" y="372"/>
                    <a:pt x="1516" y="374"/>
                  </a:cubicBezTo>
                  <a:cubicBezTo>
                    <a:pt x="1516" y="374"/>
                    <a:pt x="1516" y="374"/>
                    <a:pt x="1515" y="374"/>
                  </a:cubicBezTo>
                  <a:cubicBezTo>
                    <a:pt x="1513" y="376"/>
                    <a:pt x="1510" y="379"/>
                    <a:pt x="1507" y="382"/>
                  </a:cubicBezTo>
                  <a:cubicBezTo>
                    <a:pt x="1507" y="382"/>
                    <a:pt x="1506" y="382"/>
                    <a:pt x="1506" y="382"/>
                  </a:cubicBezTo>
                  <a:cubicBezTo>
                    <a:pt x="1506" y="383"/>
                    <a:pt x="1506" y="383"/>
                    <a:pt x="1506" y="383"/>
                  </a:cubicBezTo>
                  <a:cubicBezTo>
                    <a:pt x="1499" y="389"/>
                    <a:pt x="1494" y="395"/>
                    <a:pt x="1488" y="401"/>
                  </a:cubicBezTo>
                  <a:cubicBezTo>
                    <a:pt x="1491" y="398"/>
                    <a:pt x="1494" y="396"/>
                    <a:pt x="1496" y="394"/>
                  </a:cubicBezTo>
                  <a:cubicBezTo>
                    <a:pt x="1498" y="392"/>
                    <a:pt x="1499" y="391"/>
                    <a:pt x="1501" y="389"/>
                  </a:cubicBezTo>
                  <a:cubicBezTo>
                    <a:pt x="1501" y="389"/>
                    <a:pt x="1501" y="389"/>
                    <a:pt x="1501" y="389"/>
                  </a:cubicBezTo>
                  <a:cubicBezTo>
                    <a:pt x="1503" y="387"/>
                    <a:pt x="1505" y="385"/>
                    <a:pt x="1507" y="383"/>
                  </a:cubicBezTo>
                  <a:cubicBezTo>
                    <a:pt x="1507" y="383"/>
                    <a:pt x="1507" y="383"/>
                    <a:pt x="1507" y="383"/>
                  </a:cubicBezTo>
                  <a:cubicBezTo>
                    <a:pt x="1509" y="381"/>
                    <a:pt x="1510" y="380"/>
                    <a:pt x="1511" y="379"/>
                  </a:cubicBezTo>
                  <a:cubicBezTo>
                    <a:pt x="1513" y="378"/>
                    <a:pt x="1514" y="376"/>
                    <a:pt x="1516" y="375"/>
                  </a:cubicBezTo>
                  <a:cubicBezTo>
                    <a:pt x="1517" y="373"/>
                    <a:pt x="1519" y="372"/>
                    <a:pt x="1521" y="370"/>
                  </a:cubicBezTo>
                  <a:cubicBezTo>
                    <a:pt x="1523" y="367"/>
                    <a:pt x="1526" y="364"/>
                    <a:pt x="1529" y="361"/>
                  </a:cubicBezTo>
                  <a:moveTo>
                    <a:pt x="894" y="367"/>
                  </a:moveTo>
                  <a:cubicBezTo>
                    <a:pt x="884" y="367"/>
                    <a:pt x="874" y="369"/>
                    <a:pt x="864" y="372"/>
                  </a:cubicBezTo>
                  <a:cubicBezTo>
                    <a:pt x="864" y="373"/>
                    <a:pt x="864" y="373"/>
                    <a:pt x="864" y="374"/>
                  </a:cubicBezTo>
                  <a:cubicBezTo>
                    <a:pt x="874" y="370"/>
                    <a:pt x="884" y="368"/>
                    <a:pt x="894" y="368"/>
                  </a:cubicBezTo>
                  <a:cubicBezTo>
                    <a:pt x="894" y="368"/>
                    <a:pt x="894" y="368"/>
                    <a:pt x="895" y="368"/>
                  </a:cubicBezTo>
                  <a:cubicBezTo>
                    <a:pt x="895" y="368"/>
                    <a:pt x="896" y="368"/>
                    <a:pt x="896" y="368"/>
                  </a:cubicBezTo>
                  <a:cubicBezTo>
                    <a:pt x="897" y="369"/>
                    <a:pt x="898" y="369"/>
                    <a:pt x="899" y="369"/>
                  </a:cubicBezTo>
                  <a:cubicBezTo>
                    <a:pt x="900" y="369"/>
                    <a:pt x="900" y="369"/>
                    <a:pt x="901" y="369"/>
                  </a:cubicBezTo>
                  <a:cubicBezTo>
                    <a:pt x="902" y="369"/>
                    <a:pt x="903" y="369"/>
                    <a:pt x="905" y="369"/>
                  </a:cubicBezTo>
                  <a:cubicBezTo>
                    <a:pt x="905" y="369"/>
                    <a:pt x="905" y="370"/>
                    <a:pt x="906" y="370"/>
                  </a:cubicBezTo>
                  <a:cubicBezTo>
                    <a:pt x="912" y="371"/>
                    <a:pt x="917" y="374"/>
                    <a:pt x="921" y="377"/>
                  </a:cubicBezTo>
                  <a:cubicBezTo>
                    <a:pt x="922" y="377"/>
                    <a:pt x="922" y="377"/>
                    <a:pt x="922" y="376"/>
                  </a:cubicBezTo>
                  <a:cubicBezTo>
                    <a:pt x="917" y="373"/>
                    <a:pt x="912" y="370"/>
                    <a:pt x="906" y="369"/>
                  </a:cubicBezTo>
                  <a:cubicBezTo>
                    <a:pt x="906" y="369"/>
                    <a:pt x="905" y="369"/>
                    <a:pt x="905" y="369"/>
                  </a:cubicBezTo>
                  <a:cubicBezTo>
                    <a:pt x="904" y="368"/>
                    <a:pt x="902" y="368"/>
                    <a:pt x="901" y="368"/>
                  </a:cubicBezTo>
                  <a:cubicBezTo>
                    <a:pt x="901" y="368"/>
                    <a:pt x="900" y="368"/>
                    <a:pt x="900" y="368"/>
                  </a:cubicBezTo>
                  <a:cubicBezTo>
                    <a:pt x="899" y="368"/>
                    <a:pt x="898" y="368"/>
                    <a:pt x="897" y="368"/>
                  </a:cubicBezTo>
                  <a:cubicBezTo>
                    <a:pt x="897" y="367"/>
                    <a:pt x="896" y="367"/>
                    <a:pt x="896" y="367"/>
                  </a:cubicBezTo>
                  <a:cubicBezTo>
                    <a:pt x="895" y="367"/>
                    <a:pt x="894" y="367"/>
                    <a:pt x="894" y="367"/>
                  </a:cubicBezTo>
                  <a:moveTo>
                    <a:pt x="863" y="373"/>
                  </a:moveTo>
                  <a:cubicBezTo>
                    <a:pt x="858" y="374"/>
                    <a:pt x="854" y="376"/>
                    <a:pt x="849" y="378"/>
                  </a:cubicBezTo>
                  <a:cubicBezTo>
                    <a:pt x="850" y="378"/>
                    <a:pt x="850" y="378"/>
                    <a:pt x="851" y="378"/>
                  </a:cubicBezTo>
                  <a:cubicBezTo>
                    <a:pt x="855" y="377"/>
                    <a:pt x="859" y="375"/>
                    <a:pt x="863" y="374"/>
                  </a:cubicBezTo>
                  <a:cubicBezTo>
                    <a:pt x="863" y="374"/>
                    <a:pt x="863" y="373"/>
                    <a:pt x="863" y="373"/>
                  </a:cubicBezTo>
                  <a:moveTo>
                    <a:pt x="923" y="377"/>
                  </a:moveTo>
                  <a:cubicBezTo>
                    <a:pt x="922" y="377"/>
                    <a:pt x="922" y="378"/>
                    <a:pt x="922" y="378"/>
                  </a:cubicBezTo>
                  <a:cubicBezTo>
                    <a:pt x="927" y="383"/>
                    <a:pt x="931" y="390"/>
                    <a:pt x="931" y="400"/>
                  </a:cubicBezTo>
                  <a:cubicBezTo>
                    <a:pt x="932" y="400"/>
                    <a:pt x="932" y="400"/>
                    <a:pt x="932" y="400"/>
                  </a:cubicBezTo>
                  <a:cubicBezTo>
                    <a:pt x="932" y="390"/>
                    <a:pt x="928" y="382"/>
                    <a:pt x="923" y="377"/>
                  </a:cubicBezTo>
                  <a:moveTo>
                    <a:pt x="847" y="379"/>
                  </a:moveTo>
                  <a:cubicBezTo>
                    <a:pt x="846" y="379"/>
                    <a:pt x="844" y="380"/>
                    <a:pt x="842" y="381"/>
                  </a:cubicBezTo>
                  <a:cubicBezTo>
                    <a:pt x="839" y="383"/>
                    <a:pt x="836" y="384"/>
                    <a:pt x="833" y="386"/>
                  </a:cubicBezTo>
                  <a:cubicBezTo>
                    <a:pt x="832" y="387"/>
                    <a:pt x="830" y="388"/>
                    <a:pt x="828" y="389"/>
                  </a:cubicBezTo>
                  <a:cubicBezTo>
                    <a:pt x="826" y="390"/>
                    <a:pt x="823" y="392"/>
                    <a:pt x="820" y="394"/>
                  </a:cubicBezTo>
                  <a:cubicBezTo>
                    <a:pt x="819" y="395"/>
                    <a:pt x="817" y="396"/>
                    <a:pt x="815" y="398"/>
                  </a:cubicBezTo>
                  <a:cubicBezTo>
                    <a:pt x="813" y="399"/>
                    <a:pt x="811" y="400"/>
                    <a:pt x="810" y="402"/>
                  </a:cubicBezTo>
                  <a:cubicBezTo>
                    <a:pt x="808" y="404"/>
                    <a:pt x="806" y="405"/>
                    <a:pt x="804" y="407"/>
                  </a:cubicBezTo>
                  <a:cubicBezTo>
                    <a:pt x="803" y="408"/>
                    <a:pt x="802" y="408"/>
                    <a:pt x="801" y="409"/>
                  </a:cubicBezTo>
                  <a:cubicBezTo>
                    <a:pt x="801" y="409"/>
                    <a:pt x="801" y="410"/>
                    <a:pt x="801" y="410"/>
                  </a:cubicBezTo>
                  <a:cubicBezTo>
                    <a:pt x="800" y="410"/>
                    <a:pt x="799" y="411"/>
                    <a:pt x="799" y="412"/>
                  </a:cubicBezTo>
                  <a:cubicBezTo>
                    <a:pt x="798" y="412"/>
                    <a:pt x="797" y="413"/>
                    <a:pt x="797" y="414"/>
                  </a:cubicBezTo>
                  <a:cubicBezTo>
                    <a:pt x="797" y="414"/>
                    <a:pt x="797" y="415"/>
                    <a:pt x="796" y="415"/>
                  </a:cubicBezTo>
                  <a:cubicBezTo>
                    <a:pt x="797" y="415"/>
                    <a:pt x="797" y="415"/>
                    <a:pt x="797" y="415"/>
                  </a:cubicBezTo>
                  <a:cubicBezTo>
                    <a:pt x="797" y="414"/>
                    <a:pt x="797" y="414"/>
                    <a:pt x="798" y="414"/>
                  </a:cubicBezTo>
                  <a:cubicBezTo>
                    <a:pt x="798" y="414"/>
                    <a:pt x="799" y="413"/>
                    <a:pt x="800" y="412"/>
                  </a:cubicBezTo>
                  <a:cubicBezTo>
                    <a:pt x="800" y="412"/>
                    <a:pt x="800" y="412"/>
                    <a:pt x="800" y="412"/>
                  </a:cubicBezTo>
                  <a:cubicBezTo>
                    <a:pt x="801" y="411"/>
                    <a:pt x="801" y="411"/>
                    <a:pt x="802" y="410"/>
                  </a:cubicBezTo>
                  <a:cubicBezTo>
                    <a:pt x="805" y="407"/>
                    <a:pt x="807" y="405"/>
                    <a:pt x="810" y="403"/>
                  </a:cubicBezTo>
                  <a:cubicBezTo>
                    <a:pt x="816" y="398"/>
                    <a:pt x="823" y="393"/>
                    <a:pt x="830" y="389"/>
                  </a:cubicBezTo>
                  <a:cubicBezTo>
                    <a:pt x="831" y="388"/>
                    <a:pt x="832" y="388"/>
                    <a:pt x="833" y="387"/>
                  </a:cubicBezTo>
                  <a:cubicBezTo>
                    <a:pt x="838" y="384"/>
                    <a:pt x="844" y="381"/>
                    <a:pt x="849" y="379"/>
                  </a:cubicBezTo>
                  <a:cubicBezTo>
                    <a:pt x="849" y="379"/>
                    <a:pt x="848" y="379"/>
                    <a:pt x="847" y="379"/>
                  </a:cubicBezTo>
                  <a:moveTo>
                    <a:pt x="931" y="401"/>
                  </a:moveTo>
                  <a:cubicBezTo>
                    <a:pt x="931" y="402"/>
                    <a:pt x="931" y="403"/>
                    <a:pt x="931" y="403"/>
                  </a:cubicBezTo>
                  <a:cubicBezTo>
                    <a:pt x="931" y="407"/>
                    <a:pt x="931" y="410"/>
                    <a:pt x="930" y="414"/>
                  </a:cubicBezTo>
                  <a:cubicBezTo>
                    <a:pt x="930" y="414"/>
                    <a:pt x="930" y="414"/>
                    <a:pt x="930" y="415"/>
                  </a:cubicBezTo>
                  <a:cubicBezTo>
                    <a:pt x="930" y="415"/>
                    <a:pt x="930" y="416"/>
                    <a:pt x="930" y="417"/>
                  </a:cubicBezTo>
                  <a:cubicBezTo>
                    <a:pt x="930" y="418"/>
                    <a:pt x="930" y="419"/>
                    <a:pt x="930" y="421"/>
                  </a:cubicBezTo>
                  <a:cubicBezTo>
                    <a:pt x="930" y="422"/>
                    <a:pt x="930" y="423"/>
                    <a:pt x="930" y="423"/>
                  </a:cubicBezTo>
                  <a:cubicBezTo>
                    <a:pt x="931" y="448"/>
                    <a:pt x="938" y="464"/>
                    <a:pt x="948" y="474"/>
                  </a:cubicBezTo>
                  <a:cubicBezTo>
                    <a:pt x="949" y="474"/>
                    <a:pt x="949" y="474"/>
                    <a:pt x="949" y="474"/>
                  </a:cubicBezTo>
                  <a:cubicBezTo>
                    <a:pt x="952" y="477"/>
                    <a:pt x="956" y="479"/>
                    <a:pt x="960" y="480"/>
                  </a:cubicBezTo>
                  <a:cubicBezTo>
                    <a:pt x="960" y="480"/>
                    <a:pt x="960" y="480"/>
                    <a:pt x="960" y="479"/>
                  </a:cubicBezTo>
                  <a:cubicBezTo>
                    <a:pt x="956" y="478"/>
                    <a:pt x="953" y="476"/>
                    <a:pt x="950" y="474"/>
                  </a:cubicBezTo>
                  <a:cubicBezTo>
                    <a:pt x="950" y="473"/>
                    <a:pt x="949" y="473"/>
                    <a:pt x="949" y="473"/>
                  </a:cubicBezTo>
                  <a:cubicBezTo>
                    <a:pt x="939" y="464"/>
                    <a:pt x="932" y="448"/>
                    <a:pt x="931" y="423"/>
                  </a:cubicBezTo>
                  <a:cubicBezTo>
                    <a:pt x="931" y="423"/>
                    <a:pt x="931" y="422"/>
                    <a:pt x="931" y="421"/>
                  </a:cubicBezTo>
                  <a:cubicBezTo>
                    <a:pt x="931" y="419"/>
                    <a:pt x="931" y="417"/>
                    <a:pt x="931" y="415"/>
                  </a:cubicBezTo>
                  <a:cubicBezTo>
                    <a:pt x="931" y="415"/>
                    <a:pt x="931" y="415"/>
                    <a:pt x="931" y="414"/>
                  </a:cubicBezTo>
                  <a:cubicBezTo>
                    <a:pt x="932" y="414"/>
                    <a:pt x="932" y="413"/>
                    <a:pt x="932" y="413"/>
                  </a:cubicBezTo>
                  <a:cubicBezTo>
                    <a:pt x="932" y="410"/>
                    <a:pt x="932" y="406"/>
                    <a:pt x="932" y="403"/>
                  </a:cubicBezTo>
                  <a:cubicBezTo>
                    <a:pt x="932" y="403"/>
                    <a:pt x="932" y="402"/>
                    <a:pt x="932" y="401"/>
                  </a:cubicBezTo>
                  <a:cubicBezTo>
                    <a:pt x="932" y="401"/>
                    <a:pt x="932" y="401"/>
                    <a:pt x="931" y="401"/>
                  </a:cubicBezTo>
                  <a:moveTo>
                    <a:pt x="1489" y="402"/>
                  </a:moveTo>
                  <a:cubicBezTo>
                    <a:pt x="1488" y="402"/>
                    <a:pt x="1488" y="403"/>
                    <a:pt x="1487" y="404"/>
                  </a:cubicBezTo>
                  <a:cubicBezTo>
                    <a:pt x="1486" y="405"/>
                    <a:pt x="1485" y="406"/>
                    <a:pt x="1484" y="407"/>
                  </a:cubicBezTo>
                  <a:cubicBezTo>
                    <a:pt x="1483" y="407"/>
                    <a:pt x="1482" y="408"/>
                    <a:pt x="1482" y="409"/>
                  </a:cubicBezTo>
                  <a:cubicBezTo>
                    <a:pt x="1483" y="407"/>
                    <a:pt x="1485" y="406"/>
                    <a:pt x="1487" y="404"/>
                  </a:cubicBezTo>
                  <a:cubicBezTo>
                    <a:pt x="1488" y="403"/>
                    <a:pt x="1488" y="402"/>
                    <a:pt x="1489" y="402"/>
                  </a:cubicBezTo>
                  <a:moveTo>
                    <a:pt x="1036" y="406"/>
                  </a:moveTo>
                  <a:cubicBezTo>
                    <a:pt x="1035" y="409"/>
                    <a:pt x="1034" y="412"/>
                    <a:pt x="1033" y="415"/>
                  </a:cubicBezTo>
                  <a:cubicBezTo>
                    <a:pt x="1033" y="415"/>
                    <a:pt x="1033" y="416"/>
                    <a:pt x="1032" y="416"/>
                  </a:cubicBezTo>
                  <a:cubicBezTo>
                    <a:pt x="1031" y="421"/>
                    <a:pt x="1029" y="425"/>
                    <a:pt x="1028" y="429"/>
                  </a:cubicBezTo>
                  <a:cubicBezTo>
                    <a:pt x="1028" y="429"/>
                    <a:pt x="1028" y="429"/>
                    <a:pt x="1028" y="429"/>
                  </a:cubicBezTo>
                  <a:cubicBezTo>
                    <a:pt x="1028" y="430"/>
                    <a:pt x="1028" y="431"/>
                    <a:pt x="1027" y="431"/>
                  </a:cubicBezTo>
                  <a:cubicBezTo>
                    <a:pt x="1026" y="435"/>
                    <a:pt x="1025" y="438"/>
                    <a:pt x="1023" y="442"/>
                  </a:cubicBezTo>
                  <a:cubicBezTo>
                    <a:pt x="1022" y="443"/>
                    <a:pt x="1022" y="444"/>
                    <a:pt x="1021" y="445"/>
                  </a:cubicBezTo>
                  <a:cubicBezTo>
                    <a:pt x="1018" y="451"/>
                    <a:pt x="1015" y="456"/>
                    <a:pt x="1011" y="460"/>
                  </a:cubicBezTo>
                  <a:cubicBezTo>
                    <a:pt x="1010" y="461"/>
                    <a:pt x="1010" y="462"/>
                    <a:pt x="1009" y="463"/>
                  </a:cubicBezTo>
                  <a:cubicBezTo>
                    <a:pt x="1015" y="457"/>
                    <a:pt x="1020" y="450"/>
                    <a:pt x="1024" y="442"/>
                  </a:cubicBezTo>
                  <a:cubicBezTo>
                    <a:pt x="1024" y="441"/>
                    <a:pt x="1025" y="440"/>
                    <a:pt x="1025" y="439"/>
                  </a:cubicBezTo>
                  <a:cubicBezTo>
                    <a:pt x="1027" y="436"/>
                    <a:pt x="1028" y="433"/>
                    <a:pt x="1029" y="430"/>
                  </a:cubicBezTo>
                  <a:cubicBezTo>
                    <a:pt x="1029" y="430"/>
                    <a:pt x="1029" y="430"/>
                    <a:pt x="1029" y="430"/>
                  </a:cubicBezTo>
                  <a:cubicBezTo>
                    <a:pt x="1029" y="429"/>
                    <a:pt x="1029" y="429"/>
                    <a:pt x="1030" y="428"/>
                  </a:cubicBezTo>
                  <a:cubicBezTo>
                    <a:pt x="1031" y="424"/>
                    <a:pt x="1032" y="420"/>
                    <a:pt x="1034" y="415"/>
                  </a:cubicBezTo>
                  <a:cubicBezTo>
                    <a:pt x="1034" y="415"/>
                    <a:pt x="1034" y="414"/>
                    <a:pt x="1034" y="414"/>
                  </a:cubicBezTo>
                  <a:cubicBezTo>
                    <a:pt x="1035" y="411"/>
                    <a:pt x="1036" y="409"/>
                    <a:pt x="1037" y="406"/>
                  </a:cubicBezTo>
                  <a:cubicBezTo>
                    <a:pt x="1036" y="406"/>
                    <a:pt x="1036" y="406"/>
                    <a:pt x="1036" y="406"/>
                  </a:cubicBezTo>
                  <a:moveTo>
                    <a:pt x="1482" y="410"/>
                  </a:moveTo>
                  <a:cubicBezTo>
                    <a:pt x="1481" y="411"/>
                    <a:pt x="1480" y="412"/>
                    <a:pt x="1478" y="414"/>
                  </a:cubicBezTo>
                  <a:cubicBezTo>
                    <a:pt x="1472" y="421"/>
                    <a:pt x="1467" y="430"/>
                    <a:pt x="1462" y="438"/>
                  </a:cubicBezTo>
                  <a:cubicBezTo>
                    <a:pt x="1461" y="440"/>
                    <a:pt x="1460" y="442"/>
                    <a:pt x="1459" y="444"/>
                  </a:cubicBezTo>
                  <a:cubicBezTo>
                    <a:pt x="1452" y="457"/>
                    <a:pt x="1446" y="471"/>
                    <a:pt x="1441" y="485"/>
                  </a:cubicBezTo>
                  <a:cubicBezTo>
                    <a:pt x="1441" y="486"/>
                    <a:pt x="1440" y="488"/>
                    <a:pt x="1440" y="489"/>
                  </a:cubicBezTo>
                  <a:cubicBezTo>
                    <a:pt x="1436" y="499"/>
                    <a:pt x="1434" y="509"/>
                    <a:pt x="1431" y="520"/>
                  </a:cubicBezTo>
                  <a:cubicBezTo>
                    <a:pt x="1431" y="521"/>
                    <a:pt x="1430" y="523"/>
                    <a:pt x="1430" y="524"/>
                  </a:cubicBezTo>
                  <a:cubicBezTo>
                    <a:pt x="1428" y="533"/>
                    <a:pt x="1426" y="541"/>
                    <a:pt x="1425" y="550"/>
                  </a:cubicBezTo>
                  <a:cubicBezTo>
                    <a:pt x="1425" y="552"/>
                    <a:pt x="1424" y="554"/>
                    <a:pt x="1424" y="556"/>
                  </a:cubicBezTo>
                  <a:cubicBezTo>
                    <a:pt x="1423" y="563"/>
                    <a:pt x="1422" y="570"/>
                    <a:pt x="1421" y="578"/>
                  </a:cubicBezTo>
                  <a:cubicBezTo>
                    <a:pt x="1421" y="581"/>
                    <a:pt x="1420" y="585"/>
                    <a:pt x="1420" y="588"/>
                  </a:cubicBezTo>
                  <a:cubicBezTo>
                    <a:pt x="1419" y="599"/>
                    <a:pt x="1418" y="609"/>
                    <a:pt x="1417" y="619"/>
                  </a:cubicBezTo>
                  <a:cubicBezTo>
                    <a:pt x="1417" y="623"/>
                    <a:pt x="1417" y="626"/>
                    <a:pt x="1417" y="630"/>
                  </a:cubicBezTo>
                  <a:cubicBezTo>
                    <a:pt x="1418" y="612"/>
                    <a:pt x="1420" y="595"/>
                    <a:pt x="1422" y="578"/>
                  </a:cubicBezTo>
                  <a:cubicBezTo>
                    <a:pt x="1422" y="574"/>
                    <a:pt x="1423" y="570"/>
                    <a:pt x="1423" y="567"/>
                  </a:cubicBezTo>
                  <a:cubicBezTo>
                    <a:pt x="1424" y="561"/>
                    <a:pt x="1425" y="556"/>
                    <a:pt x="1426" y="550"/>
                  </a:cubicBezTo>
                  <a:cubicBezTo>
                    <a:pt x="1426" y="548"/>
                    <a:pt x="1427" y="546"/>
                    <a:pt x="1427" y="544"/>
                  </a:cubicBezTo>
                  <a:cubicBezTo>
                    <a:pt x="1429" y="536"/>
                    <a:pt x="1430" y="528"/>
                    <a:pt x="1432" y="520"/>
                  </a:cubicBezTo>
                  <a:cubicBezTo>
                    <a:pt x="1432" y="518"/>
                    <a:pt x="1433" y="517"/>
                    <a:pt x="1433" y="515"/>
                  </a:cubicBezTo>
                  <a:cubicBezTo>
                    <a:pt x="1436" y="505"/>
                    <a:pt x="1439" y="495"/>
                    <a:pt x="1442" y="485"/>
                  </a:cubicBezTo>
                  <a:cubicBezTo>
                    <a:pt x="1443" y="484"/>
                    <a:pt x="1443" y="483"/>
                    <a:pt x="1444" y="481"/>
                  </a:cubicBezTo>
                  <a:cubicBezTo>
                    <a:pt x="1449" y="466"/>
                    <a:pt x="1455" y="452"/>
                    <a:pt x="1463" y="439"/>
                  </a:cubicBezTo>
                  <a:cubicBezTo>
                    <a:pt x="1464" y="436"/>
                    <a:pt x="1466" y="434"/>
                    <a:pt x="1467" y="432"/>
                  </a:cubicBezTo>
                  <a:cubicBezTo>
                    <a:pt x="1472" y="424"/>
                    <a:pt x="1477" y="417"/>
                    <a:pt x="1482" y="410"/>
                  </a:cubicBezTo>
                  <a:moveTo>
                    <a:pt x="796" y="415"/>
                  </a:moveTo>
                  <a:cubicBezTo>
                    <a:pt x="795" y="415"/>
                    <a:pt x="795" y="416"/>
                    <a:pt x="794" y="416"/>
                  </a:cubicBezTo>
                  <a:cubicBezTo>
                    <a:pt x="794" y="417"/>
                    <a:pt x="793" y="417"/>
                    <a:pt x="793" y="418"/>
                  </a:cubicBezTo>
                  <a:cubicBezTo>
                    <a:pt x="791" y="419"/>
                    <a:pt x="790" y="421"/>
                    <a:pt x="789" y="422"/>
                  </a:cubicBezTo>
                  <a:cubicBezTo>
                    <a:pt x="788" y="423"/>
                    <a:pt x="788" y="424"/>
                    <a:pt x="787" y="425"/>
                  </a:cubicBezTo>
                  <a:cubicBezTo>
                    <a:pt x="786" y="426"/>
                    <a:pt x="785" y="427"/>
                    <a:pt x="785" y="428"/>
                  </a:cubicBezTo>
                  <a:cubicBezTo>
                    <a:pt x="784" y="428"/>
                    <a:pt x="784" y="428"/>
                    <a:pt x="784" y="429"/>
                  </a:cubicBezTo>
                  <a:cubicBezTo>
                    <a:pt x="784" y="429"/>
                    <a:pt x="783" y="430"/>
                    <a:pt x="783" y="431"/>
                  </a:cubicBezTo>
                  <a:cubicBezTo>
                    <a:pt x="782" y="432"/>
                    <a:pt x="781" y="433"/>
                    <a:pt x="781" y="434"/>
                  </a:cubicBezTo>
                  <a:cubicBezTo>
                    <a:pt x="780" y="435"/>
                    <a:pt x="780" y="436"/>
                    <a:pt x="779" y="436"/>
                  </a:cubicBezTo>
                  <a:cubicBezTo>
                    <a:pt x="778" y="438"/>
                    <a:pt x="778" y="439"/>
                    <a:pt x="777" y="441"/>
                  </a:cubicBezTo>
                  <a:cubicBezTo>
                    <a:pt x="777" y="441"/>
                    <a:pt x="777" y="441"/>
                    <a:pt x="776" y="441"/>
                  </a:cubicBezTo>
                  <a:cubicBezTo>
                    <a:pt x="776" y="442"/>
                    <a:pt x="776" y="442"/>
                    <a:pt x="776" y="442"/>
                  </a:cubicBezTo>
                  <a:cubicBezTo>
                    <a:pt x="775" y="444"/>
                    <a:pt x="775" y="445"/>
                    <a:pt x="774" y="446"/>
                  </a:cubicBezTo>
                  <a:cubicBezTo>
                    <a:pt x="774" y="447"/>
                    <a:pt x="773" y="448"/>
                    <a:pt x="773" y="449"/>
                  </a:cubicBezTo>
                  <a:cubicBezTo>
                    <a:pt x="773" y="450"/>
                    <a:pt x="772" y="450"/>
                    <a:pt x="772" y="450"/>
                  </a:cubicBezTo>
                  <a:cubicBezTo>
                    <a:pt x="772" y="450"/>
                    <a:pt x="772" y="450"/>
                    <a:pt x="772" y="451"/>
                  </a:cubicBezTo>
                  <a:cubicBezTo>
                    <a:pt x="772" y="451"/>
                    <a:pt x="772" y="451"/>
                    <a:pt x="772" y="451"/>
                  </a:cubicBezTo>
                  <a:cubicBezTo>
                    <a:pt x="773" y="450"/>
                    <a:pt x="774" y="449"/>
                    <a:pt x="774" y="448"/>
                  </a:cubicBezTo>
                  <a:cubicBezTo>
                    <a:pt x="775" y="447"/>
                    <a:pt x="775" y="447"/>
                    <a:pt x="775" y="446"/>
                  </a:cubicBezTo>
                  <a:cubicBezTo>
                    <a:pt x="777" y="443"/>
                    <a:pt x="778" y="440"/>
                    <a:pt x="780" y="437"/>
                  </a:cubicBezTo>
                  <a:cubicBezTo>
                    <a:pt x="781" y="435"/>
                    <a:pt x="782" y="433"/>
                    <a:pt x="784" y="431"/>
                  </a:cubicBezTo>
                  <a:cubicBezTo>
                    <a:pt x="784" y="430"/>
                    <a:pt x="785" y="429"/>
                    <a:pt x="786" y="428"/>
                  </a:cubicBezTo>
                  <a:cubicBezTo>
                    <a:pt x="786" y="428"/>
                    <a:pt x="786" y="428"/>
                    <a:pt x="786" y="428"/>
                  </a:cubicBezTo>
                  <a:cubicBezTo>
                    <a:pt x="786" y="427"/>
                    <a:pt x="786" y="427"/>
                    <a:pt x="787" y="427"/>
                  </a:cubicBezTo>
                  <a:cubicBezTo>
                    <a:pt x="788" y="425"/>
                    <a:pt x="789" y="424"/>
                    <a:pt x="790" y="423"/>
                  </a:cubicBezTo>
                  <a:cubicBezTo>
                    <a:pt x="790" y="422"/>
                    <a:pt x="791" y="422"/>
                    <a:pt x="791" y="421"/>
                  </a:cubicBezTo>
                  <a:cubicBezTo>
                    <a:pt x="791" y="421"/>
                    <a:pt x="792" y="421"/>
                    <a:pt x="792" y="421"/>
                  </a:cubicBezTo>
                  <a:cubicBezTo>
                    <a:pt x="792" y="420"/>
                    <a:pt x="793" y="419"/>
                    <a:pt x="793" y="419"/>
                  </a:cubicBezTo>
                  <a:cubicBezTo>
                    <a:pt x="794" y="418"/>
                    <a:pt x="795" y="417"/>
                    <a:pt x="795" y="417"/>
                  </a:cubicBezTo>
                  <a:cubicBezTo>
                    <a:pt x="795" y="416"/>
                    <a:pt x="795" y="415"/>
                    <a:pt x="796" y="415"/>
                  </a:cubicBezTo>
                  <a:moveTo>
                    <a:pt x="773" y="451"/>
                  </a:moveTo>
                  <a:cubicBezTo>
                    <a:pt x="772" y="452"/>
                    <a:pt x="772" y="453"/>
                    <a:pt x="771" y="454"/>
                  </a:cubicBezTo>
                  <a:cubicBezTo>
                    <a:pt x="770" y="455"/>
                    <a:pt x="770" y="456"/>
                    <a:pt x="769" y="458"/>
                  </a:cubicBezTo>
                  <a:cubicBezTo>
                    <a:pt x="770" y="457"/>
                    <a:pt x="770" y="457"/>
                    <a:pt x="771" y="457"/>
                  </a:cubicBezTo>
                  <a:cubicBezTo>
                    <a:pt x="771" y="457"/>
                    <a:pt x="771" y="456"/>
                    <a:pt x="771" y="456"/>
                  </a:cubicBezTo>
                  <a:cubicBezTo>
                    <a:pt x="772" y="454"/>
                    <a:pt x="773" y="453"/>
                    <a:pt x="773" y="451"/>
                  </a:cubicBezTo>
                  <a:cubicBezTo>
                    <a:pt x="773" y="451"/>
                    <a:pt x="773" y="451"/>
                    <a:pt x="773" y="451"/>
                  </a:cubicBezTo>
                  <a:moveTo>
                    <a:pt x="770" y="458"/>
                  </a:moveTo>
                  <a:cubicBezTo>
                    <a:pt x="770" y="459"/>
                    <a:pt x="769" y="459"/>
                    <a:pt x="769" y="459"/>
                  </a:cubicBezTo>
                  <a:cubicBezTo>
                    <a:pt x="768" y="460"/>
                    <a:pt x="767" y="462"/>
                    <a:pt x="767" y="463"/>
                  </a:cubicBezTo>
                  <a:cubicBezTo>
                    <a:pt x="767" y="463"/>
                    <a:pt x="767" y="463"/>
                    <a:pt x="767" y="463"/>
                  </a:cubicBezTo>
                  <a:cubicBezTo>
                    <a:pt x="766" y="464"/>
                    <a:pt x="766" y="465"/>
                    <a:pt x="765" y="466"/>
                  </a:cubicBezTo>
                  <a:cubicBezTo>
                    <a:pt x="765" y="466"/>
                    <a:pt x="765" y="466"/>
                    <a:pt x="765" y="466"/>
                  </a:cubicBezTo>
                  <a:cubicBezTo>
                    <a:pt x="765" y="467"/>
                    <a:pt x="764" y="467"/>
                    <a:pt x="764" y="468"/>
                  </a:cubicBezTo>
                  <a:cubicBezTo>
                    <a:pt x="765" y="467"/>
                    <a:pt x="766" y="466"/>
                    <a:pt x="767" y="465"/>
                  </a:cubicBezTo>
                  <a:cubicBezTo>
                    <a:pt x="767" y="464"/>
                    <a:pt x="767" y="464"/>
                    <a:pt x="768" y="463"/>
                  </a:cubicBezTo>
                  <a:cubicBezTo>
                    <a:pt x="768" y="462"/>
                    <a:pt x="768" y="462"/>
                    <a:pt x="769" y="461"/>
                  </a:cubicBezTo>
                  <a:cubicBezTo>
                    <a:pt x="769" y="461"/>
                    <a:pt x="769" y="460"/>
                    <a:pt x="769" y="459"/>
                  </a:cubicBezTo>
                  <a:cubicBezTo>
                    <a:pt x="770" y="459"/>
                    <a:pt x="770" y="459"/>
                    <a:pt x="770" y="458"/>
                  </a:cubicBezTo>
                  <a:moveTo>
                    <a:pt x="1008" y="463"/>
                  </a:moveTo>
                  <a:cubicBezTo>
                    <a:pt x="1006" y="466"/>
                    <a:pt x="1003" y="468"/>
                    <a:pt x="1000" y="470"/>
                  </a:cubicBezTo>
                  <a:cubicBezTo>
                    <a:pt x="1000" y="471"/>
                    <a:pt x="1000" y="471"/>
                    <a:pt x="1000" y="472"/>
                  </a:cubicBezTo>
                  <a:cubicBezTo>
                    <a:pt x="1002" y="470"/>
                    <a:pt x="1005" y="468"/>
                    <a:pt x="1007" y="466"/>
                  </a:cubicBezTo>
                  <a:cubicBezTo>
                    <a:pt x="1007" y="465"/>
                    <a:pt x="1008" y="464"/>
                    <a:pt x="1008" y="463"/>
                  </a:cubicBezTo>
                  <a:moveTo>
                    <a:pt x="764" y="469"/>
                  </a:moveTo>
                  <a:cubicBezTo>
                    <a:pt x="764" y="469"/>
                    <a:pt x="764" y="469"/>
                    <a:pt x="764" y="469"/>
                  </a:cubicBezTo>
                  <a:cubicBezTo>
                    <a:pt x="763" y="470"/>
                    <a:pt x="762" y="472"/>
                    <a:pt x="760" y="474"/>
                  </a:cubicBezTo>
                  <a:cubicBezTo>
                    <a:pt x="760" y="474"/>
                    <a:pt x="760" y="474"/>
                    <a:pt x="759" y="475"/>
                  </a:cubicBezTo>
                  <a:cubicBezTo>
                    <a:pt x="758" y="478"/>
                    <a:pt x="756" y="481"/>
                    <a:pt x="754" y="484"/>
                  </a:cubicBezTo>
                  <a:cubicBezTo>
                    <a:pt x="757" y="480"/>
                    <a:pt x="759" y="477"/>
                    <a:pt x="762" y="473"/>
                  </a:cubicBezTo>
                  <a:cubicBezTo>
                    <a:pt x="763" y="472"/>
                    <a:pt x="764" y="470"/>
                    <a:pt x="764" y="469"/>
                  </a:cubicBezTo>
                  <a:moveTo>
                    <a:pt x="999" y="471"/>
                  </a:moveTo>
                  <a:cubicBezTo>
                    <a:pt x="997" y="473"/>
                    <a:pt x="995" y="474"/>
                    <a:pt x="993" y="475"/>
                  </a:cubicBezTo>
                  <a:cubicBezTo>
                    <a:pt x="993" y="475"/>
                    <a:pt x="993" y="475"/>
                    <a:pt x="993" y="476"/>
                  </a:cubicBezTo>
                  <a:cubicBezTo>
                    <a:pt x="993" y="476"/>
                    <a:pt x="993" y="476"/>
                    <a:pt x="993" y="476"/>
                  </a:cubicBezTo>
                  <a:cubicBezTo>
                    <a:pt x="995" y="475"/>
                    <a:pt x="997" y="474"/>
                    <a:pt x="998" y="473"/>
                  </a:cubicBezTo>
                  <a:cubicBezTo>
                    <a:pt x="998" y="472"/>
                    <a:pt x="999" y="472"/>
                    <a:pt x="999" y="471"/>
                  </a:cubicBezTo>
                  <a:moveTo>
                    <a:pt x="992" y="475"/>
                  </a:moveTo>
                  <a:cubicBezTo>
                    <a:pt x="985" y="479"/>
                    <a:pt x="978" y="481"/>
                    <a:pt x="971" y="481"/>
                  </a:cubicBezTo>
                  <a:cubicBezTo>
                    <a:pt x="968" y="481"/>
                    <a:pt x="964" y="481"/>
                    <a:pt x="961" y="480"/>
                  </a:cubicBezTo>
                  <a:cubicBezTo>
                    <a:pt x="961" y="480"/>
                    <a:pt x="961" y="480"/>
                    <a:pt x="961" y="481"/>
                  </a:cubicBezTo>
                  <a:cubicBezTo>
                    <a:pt x="964" y="482"/>
                    <a:pt x="968" y="482"/>
                    <a:pt x="971" y="482"/>
                  </a:cubicBezTo>
                  <a:cubicBezTo>
                    <a:pt x="971" y="482"/>
                    <a:pt x="971" y="482"/>
                    <a:pt x="971" y="482"/>
                  </a:cubicBezTo>
                  <a:cubicBezTo>
                    <a:pt x="978" y="482"/>
                    <a:pt x="985" y="480"/>
                    <a:pt x="992" y="477"/>
                  </a:cubicBezTo>
                  <a:cubicBezTo>
                    <a:pt x="992" y="476"/>
                    <a:pt x="992" y="476"/>
                    <a:pt x="992" y="476"/>
                  </a:cubicBezTo>
                  <a:cubicBezTo>
                    <a:pt x="992" y="475"/>
                    <a:pt x="992" y="475"/>
                    <a:pt x="992" y="475"/>
                  </a:cubicBezTo>
                  <a:moveTo>
                    <a:pt x="753" y="483"/>
                  </a:moveTo>
                  <a:cubicBezTo>
                    <a:pt x="753" y="484"/>
                    <a:pt x="753" y="484"/>
                    <a:pt x="753" y="484"/>
                  </a:cubicBezTo>
                  <a:cubicBezTo>
                    <a:pt x="753" y="484"/>
                    <a:pt x="753" y="484"/>
                    <a:pt x="752" y="485"/>
                  </a:cubicBezTo>
                  <a:cubicBezTo>
                    <a:pt x="753" y="484"/>
                    <a:pt x="753" y="484"/>
                    <a:pt x="753" y="483"/>
                  </a:cubicBezTo>
                  <a:moveTo>
                    <a:pt x="749" y="489"/>
                  </a:moveTo>
                  <a:cubicBezTo>
                    <a:pt x="748" y="490"/>
                    <a:pt x="747" y="492"/>
                    <a:pt x="746" y="493"/>
                  </a:cubicBezTo>
                  <a:cubicBezTo>
                    <a:pt x="745" y="494"/>
                    <a:pt x="744" y="495"/>
                    <a:pt x="743" y="497"/>
                  </a:cubicBezTo>
                  <a:cubicBezTo>
                    <a:pt x="743" y="497"/>
                    <a:pt x="742" y="497"/>
                    <a:pt x="742" y="497"/>
                  </a:cubicBezTo>
                  <a:cubicBezTo>
                    <a:pt x="743" y="497"/>
                    <a:pt x="743" y="497"/>
                    <a:pt x="743" y="497"/>
                  </a:cubicBezTo>
                  <a:cubicBezTo>
                    <a:pt x="743" y="497"/>
                    <a:pt x="743" y="497"/>
                    <a:pt x="743" y="497"/>
                  </a:cubicBezTo>
                  <a:cubicBezTo>
                    <a:pt x="744" y="497"/>
                    <a:pt x="744" y="496"/>
                    <a:pt x="745" y="495"/>
                  </a:cubicBezTo>
                  <a:cubicBezTo>
                    <a:pt x="745" y="495"/>
                    <a:pt x="746" y="494"/>
                    <a:pt x="746" y="494"/>
                  </a:cubicBezTo>
                  <a:cubicBezTo>
                    <a:pt x="747" y="492"/>
                    <a:pt x="748" y="491"/>
                    <a:pt x="749" y="489"/>
                  </a:cubicBezTo>
                  <a:moveTo>
                    <a:pt x="742" y="498"/>
                  </a:moveTo>
                  <a:cubicBezTo>
                    <a:pt x="741" y="499"/>
                    <a:pt x="740" y="499"/>
                    <a:pt x="739" y="500"/>
                  </a:cubicBezTo>
                  <a:cubicBezTo>
                    <a:pt x="738" y="501"/>
                    <a:pt x="737" y="502"/>
                    <a:pt x="737" y="503"/>
                  </a:cubicBezTo>
                  <a:cubicBezTo>
                    <a:pt x="737" y="504"/>
                    <a:pt x="737" y="504"/>
                    <a:pt x="737" y="505"/>
                  </a:cubicBezTo>
                  <a:cubicBezTo>
                    <a:pt x="737" y="504"/>
                    <a:pt x="738" y="503"/>
                    <a:pt x="738" y="503"/>
                  </a:cubicBezTo>
                  <a:cubicBezTo>
                    <a:pt x="740" y="501"/>
                    <a:pt x="741" y="500"/>
                    <a:pt x="743" y="498"/>
                  </a:cubicBezTo>
                  <a:cubicBezTo>
                    <a:pt x="742" y="498"/>
                    <a:pt x="742" y="498"/>
                    <a:pt x="742" y="498"/>
                  </a:cubicBezTo>
                  <a:moveTo>
                    <a:pt x="736" y="504"/>
                  </a:moveTo>
                  <a:cubicBezTo>
                    <a:pt x="735" y="504"/>
                    <a:pt x="735" y="505"/>
                    <a:pt x="735" y="505"/>
                  </a:cubicBezTo>
                  <a:cubicBezTo>
                    <a:pt x="734" y="506"/>
                    <a:pt x="733" y="507"/>
                    <a:pt x="732" y="508"/>
                  </a:cubicBezTo>
                  <a:cubicBezTo>
                    <a:pt x="729" y="511"/>
                    <a:pt x="727" y="513"/>
                    <a:pt x="724" y="516"/>
                  </a:cubicBezTo>
                  <a:cubicBezTo>
                    <a:pt x="723" y="517"/>
                    <a:pt x="723" y="517"/>
                    <a:pt x="722" y="518"/>
                  </a:cubicBezTo>
                  <a:cubicBezTo>
                    <a:pt x="720" y="520"/>
                    <a:pt x="718" y="521"/>
                    <a:pt x="716" y="523"/>
                  </a:cubicBezTo>
                  <a:cubicBezTo>
                    <a:pt x="714" y="525"/>
                    <a:pt x="712" y="526"/>
                    <a:pt x="711" y="528"/>
                  </a:cubicBezTo>
                  <a:cubicBezTo>
                    <a:pt x="711" y="528"/>
                    <a:pt x="711" y="528"/>
                    <a:pt x="710" y="528"/>
                  </a:cubicBezTo>
                  <a:cubicBezTo>
                    <a:pt x="710" y="528"/>
                    <a:pt x="710" y="529"/>
                    <a:pt x="710" y="529"/>
                  </a:cubicBezTo>
                  <a:cubicBezTo>
                    <a:pt x="709" y="529"/>
                    <a:pt x="708" y="530"/>
                    <a:pt x="708" y="530"/>
                  </a:cubicBezTo>
                  <a:cubicBezTo>
                    <a:pt x="708" y="531"/>
                    <a:pt x="707" y="531"/>
                    <a:pt x="707" y="531"/>
                  </a:cubicBezTo>
                  <a:cubicBezTo>
                    <a:pt x="706" y="532"/>
                    <a:pt x="706" y="532"/>
                    <a:pt x="705" y="533"/>
                  </a:cubicBezTo>
                  <a:cubicBezTo>
                    <a:pt x="705" y="533"/>
                    <a:pt x="706" y="533"/>
                    <a:pt x="706" y="534"/>
                  </a:cubicBezTo>
                  <a:cubicBezTo>
                    <a:pt x="707" y="533"/>
                    <a:pt x="707" y="532"/>
                    <a:pt x="708" y="532"/>
                  </a:cubicBezTo>
                  <a:cubicBezTo>
                    <a:pt x="708" y="531"/>
                    <a:pt x="709" y="531"/>
                    <a:pt x="709" y="531"/>
                  </a:cubicBezTo>
                  <a:cubicBezTo>
                    <a:pt x="709" y="531"/>
                    <a:pt x="710" y="530"/>
                    <a:pt x="710" y="530"/>
                  </a:cubicBezTo>
                  <a:cubicBezTo>
                    <a:pt x="710" y="530"/>
                    <a:pt x="710" y="530"/>
                    <a:pt x="711" y="529"/>
                  </a:cubicBezTo>
                  <a:cubicBezTo>
                    <a:pt x="714" y="527"/>
                    <a:pt x="717" y="524"/>
                    <a:pt x="720" y="521"/>
                  </a:cubicBezTo>
                  <a:cubicBezTo>
                    <a:pt x="721" y="520"/>
                    <a:pt x="721" y="520"/>
                    <a:pt x="721" y="520"/>
                  </a:cubicBezTo>
                  <a:cubicBezTo>
                    <a:pt x="722" y="519"/>
                    <a:pt x="722" y="519"/>
                    <a:pt x="723" y="518"/>
                  </a:cubicBezTo>
                  <a:cubicBezTo>
                    <a:pt x="724" y="517"/>
                    <a:pt x="726" y="515"/>
                    <a:pt x="728" y="514"/>
                  </a:cubicBezTo>
                  <a:cubicBezTo>
                    <a:pt x="730" y="511"/>
                    <a:pt x="733" y="508"/>
                    <a:pt x="736" y="506"/>
                  </a:cubicBezTo>
                  <a:cubicBezTo>
                    <a:pt x="736" y="506"/>
                    <a:pt x="736" y="506"/>
                    <a:pt x="736" y="505"/>
                  </a:cubicBezTo>
                  <a:cubicBezTo>
                    <a:pt x="736" y="505"/>
                    <a:pt x="736" y="505"/>
                    <a:pt x="736" y="504"/>
                  </a:cubicBezTo>
                  <a:moveTo>
                    <a:pt x="704" y="533"/>
                  </a:moveTo>
                  <a:cubicBezTo>
                    <a:pt x="698" y="539"/>
                    <a:pt x="690" y="545"/>
                    <a:pt x="683" y="550"/>
                  </a:cubicBezTo>
                  <a:cubicBezTo>
                    <a:pt x="683" y="551"/>
                    <a:pt x="683" y="551"/>
                    <a:pt x="683" y="551"/>
                  </a:cubicBezTo>
                  <a:cubicBezTo>
                    <a:pt x="691" y="546"/>
                    <a:pt x="698" y="540"/>
                    <a:pt x="705" y="534"/>
                  </a:cubicBezTo>
                  <a:cubicBezTo>
                    <a:pt x="705" y="534"/>
                    <a:pt x="705" y="534"/>
                    <a:pt x="704" y="533"/>
                  </a:cubicBezTo>
                  <a:moveTo>
                    <a:pt x="682" y="551"/>
                  </a:moveTo>
                  <a:cubicBezTo>
                    <a:pt x="676" y="556"/>
                    <a:pt x="669" y="561"/>
                    <a:pt x="662" y="565"/>
                  </a:cubicBezTo>
                  <a:cubicBezTo>
                    <a:pt x="662" y="565"/>
                    <a:pt x="662" y="565"/>
                    <a:pt x="662" y="566"/>
                  </a:cubicBezTo>
                  <a:cubicBezTo>
                    <a:pt x="662" y="566"/>
                    <a:pt x="662" y="566"/>
                    <a:pt x="662" y="566"/>
                  </a:cubicBezTo>
                  <a:cubicBezTo>
                    <a:pt x="669" y="562"/>
                    <a:pt x="676" y="557"/>
                    <a:pt x="682" y="552"/>
                  </a:cubicBezTo>
                  <a:cubicBezTo>
                    <a:pt x="682" y="552"/>
                    <a:pt x="682" y="551"/>
                    <a:pt x="682" y="551"/>
                  </a:cubicBezTo>
                  <a:moveTo>
                    <a:pt x="661" y="566"/>
                  </a:moveTo>
                  <a:cubicBezTo>
                    <a:pt x="660" y="567"/>
                    <a:pt x="659" y="567"/>
                    <a:pt x="659" y="568"/>
                  </a:cubicBezTo>
                  <a:cubicBezTo>
                    <a:pt x="658" y="568"/>
                    <a:pt x="658" y="568"/>
                    <a:pt x="658" y="568"/>
                  </a:cubicBezTo>
                  <a:cubicBezTo>
                    <a:pt x="657" y="568"/>
                    <a:pt x="657" y="569"/>
                    <a:pt x="657" y="569"/>
                  </a:cubicBezTo>
                  <a:cubicBezTo>
                    <a:pt x="655" y="570"/>
                    <a:pt x="654" y="571"/>
                    <a:pt x="652" y="572"/>
                  </a:cubicBezTo>
                  <a:cubicBezTo>
                    <a:pt x="649" y="574"/>
                    <a:pt x="646" y="576"/>
                    <a:pt x="642" y="578"/>
                  </a:cubicBezTo>
                  <a:cubicBezTo>
                    <a:pt x="639" y="580"/>
                    <a:pt x="635" y="583"/>
                    <a:pt x="632" y="585"/>
                  </a:cubicBezTo>
                  <a:cubicBezTo>
                    <a:pt x="631" y="585"/>
                    <a:pt x="631" y="585"/>
                    <a:pt x="631" y="585"/>
                  </a:cubicBezTo>
                  <a:cubicBezTo>
                    <a:pt x="631" y="586"/>
                    <a:pt x="631" y="586"/>
                    <a:pt x="631" y="586"/>
                  </a:cubicBezTo>
                  <a:cubicBezTo>
                    <a:pt x="631" y="586"/>
                    <a:pt x="632" y="586"/>
                    <a:pt x="632" y="586"/>
                  </a:cubicBezTo>
                  <a:cubicBezTo>
                    <a:pt x="636" y="584"/>
                    <a:pt x="639" y="581"/>
                    <a:pt x="643" y="579"/>
                  </a:cubicBezTo>
                  <a:cubicBezTo>
                    <a:pt x="645" y="578"/>
                    <a:pt x="647" y="576"/>
                    <a:pt x="649" y="575"/>
                  </a:cubicBezTo>
                  <a:cubicBezTo>
                    <a:pt x="650" y="574"/>
                    <a:pt x="652" y="573"/>
                    <a:pt x="653" y="573"/>
                  </a:cubicBezTo>
                  <a:cubicBezTo>
                    <a:pt x="654" y="572"/>
                    <a:pt x="655" y="571"/>
                    <a:pt x="656" y="571"/>
                  </a:cubicBezTo>
                  <a:cubicBezTo>
                    <a:pt x="657" y="570"/>
                    <a:pt x="658" y="569"/>
                    <a:pt x="659" y="569"/>
                  </a:cubicBezTo>
                  <a:cubicBezTo>
                    <a:pt x="659" y="569"/>
                    <a:pt x="659" y="568"/>
                    <a:pt x="660" y="568"/>
                  </a:cubicBezTo>
                  <a:cubicBezTo>
                    <a:pt x="660" y="568"/>
                    <a:pt x="661" y="567"/>
                    <a:pt x="662" y="567"/>
                  </a:cubicBezTo>
                  <a:cubicBezTo>
                    <a:pt x="661" y="567"/>
                    <a:pt x="661" y="566"/>
                    <a:pt x="661" y="566"/>
                  </a:cubicBezTo>
                  <a:moveTo>
                    <a:pt x="630" y="586"/>
                  </a:moveTo>
                  <a:cubicBezTo>
                    <a:pt x="630" y="586"/>
                    <a:pt x="630" y="586"/>
                    <a:pt x="629" y="586"/>
                  </a:cubicBezTo>
                  <a:cubicBezTo>
                    <a:pt x="625" y="589"/>
                    <a:pt x="621" y="591"/>
                    <a:pt x="617" y="593"/>
                  </a:cubicBezTo>
                  <a:cubicBezTo>
                    <a:pt x="617" y="593"/>
                    <a:pt x="617" y="593"/>
                    <a:pt x="617" y="593"/>
                  </a:cubicBezTo>
                  <a:cubicBezTo>
                    <a:pt x="617" y="594"/>
                    <a:pt x="617" y="594"/>
                    <a:pt x="618" y="594"/>
                  </a:cubicBezTo>
                  <a:cubicBezTo>
                    <a:pt x="621" y="592"/>
                    <a:pt x="625" y="590"/>
                    <a:pt x="628" y="588"/>
                  </a:cubicBezTo>
                  <a:cubicBezTo>
                    <a:pt x="629" y="587"/>
                    <a:pt x="630" y="587"/>
                    <a:pt x="630" y="587"/>
                  </a:cubicBezTo>
                  <a:cubicBezTo>
                    <a:pt x="630" y="587"/>
                    <a:pt x="630" y="587"/>
                    <a:pt x="630" y="587"/>
                  </a:cubicBezTo>
                  <a:cubicBezTo>
                    <a:pt x="630" y="586"/>
                    <a:pt x="630" y="586"/>
                    <a:pt x="630" y="586"/>
                  </a:cubicBezTo>
                  <a:moveTo>
                    <a:pt x="616" y="594"/>
                  </a:moveTo>
                  <a:cubicBezTo>
                    <a:pt x="615" y="595"/>
                    <a:pt x="614" y="595"/>
                    <a:pt x="613" y="596"/>
                  </a:cubicBezTo>
                  <a:cubicBezTo>
                    <a:pt x="607" y="599"/>
                    <a:pt x="600" y="603"/>
                    <a:pt x="593" y="606"/>
                  </a:cubicBezTo>
                  <a:cubicBezTo>
                    <a:pt x="589" y="609"/>
                    <a:pt x="584" y="611"/>
                    <a:pt x="580" y="614"/>
                  </a:cubicBezTo>
                  <a:cubicBezTo>
                    <a:pt x="580" y="614"/>
                    <a:pt x="580" y="614"/>
                    <a:pt x="580" y="614"/>
                  </a:cubicBezTo>
                  <a:cubicBezTo>
                    <a:pt x="590" y="609"/>
                    <a:pt x="600" y="604"/>
                    <a:pt x="610" y="598"/>
                  </a:cubicBezTo>
                  <a:cubicBezTo>
                    <a:pt x="611" y="598"/>
                    <a:pt x="612" y="597"/>
                    <a:pt x="614" y="596"/>
                  </a:cubicBezTo>
                  <a:cubicBezTo>
                    <a:pt x="615" y="596"/>
                    <a:pt x="616" y="595"/>
                    <a:pt x="617" y="595"/>
                  </a:cubicBezTo>
                  <a:cubicBezTo>
                    <a:pt x="616" y="594"/>
                    <a:pt x="616" y="594"/>
                    <a:pt x="616" y="594"/>
                  </a:cubicBezTo>
                  <a:moveTo>
                    <a:pt x="578" y="614"/>
                  </a:moveTo>
                  <a:cubicBezTo>
                    <a:pt x="577" y="614"/>
                    <a:pt x="577" y="615"/>
                    <a:pt x="576" y="615"/>
                  </a:cubicBezTo>
                  <a:cubicBezTo>
                    <a:pt x="574" y="616"/>
                    <a:pt x="572" y="617"/>
                    <a:pt x="570" y="618"/>
                  </a:cubicBezTo>
                  <a:cubicBezTo>
                    <a:pt x="571" y="618"/>
                    <a:pt x="571" y="618"/>
                    <a:pt x="571" y="618"/>
                  </a:cubicBezTo>
                  <a:cubicBezTo>
                    <a:pt x="573" y="617"/>
                    <a:pt x="575" y="615"/>
                    <a:pt x="578" y="614"/>
                  </a:cubicBezTo>
                  <a:moveTo>
                    <a:pt x="579" y="614"/>
                  </a:moveTo>
                  <a:cubicBezTo>
                    <a:pt x="579" y="615"/>
                    <a:pt x="578" y="615"/>
                    <a:pt x="578" y="615"/>
                  </a:cubicBezTo>
                  <a:cubicBezTo>
                    <a:pt x="578" y="615"/>
                    <a:pt x="579" y="615"/>
                    <a:pt x="579" y="614"/>
                  </a:cubicBezTo>
                  <a:cubicBezTo>
                    <a:pt x="579" y="614"/>
                    <a:pt x="579" y="614"/>
                    <a:pt x="579" y="614"/>
                  </a:cubicBezTo>
                  <a:moveTo>
                    <a:pt x="569" y="618"/>
                  </a:moveTo>
                  <a:cubicBezTo>
                    <a:pt x="569" y="618"/>
                    <a:pt x="568" y="618"/>
                    <a:pt x="568" y="619"/>
                  </a:cubicBezTo>
                  <a:cubicBezTo>
                    <a:pt x="560" y="622"/>
                    <a:pt x="553" y="626"/>
                    <a:pt x="545" y="629"/>
                  </a:cubicBezTo>
                  <a:cubicBezTo>
                    <a:pt x="544" y="629"/>
                    <a:pt x="544" y="630"/>
                    <a:pt x="543" y="630"/>
                  </a:cubicBezTo>
                  <a:cubicBezTo>
                    <a:pt x="539" y="631"/>
                    <a:pt x="536" y="633"/>
                    <a:pt x="533" y="634"/>
                  </a:cubicBezTo>
                  <a:cubicBezTo>
                    <a:pt x="531" y="635"/>
                    <a:pt x="530" y="635"/>
                    <a:pt x="529" y="635"/>
                  </a:cubicBezTo>
                  <a:cubicBezTo>
                    <a:pt x="529" y="636"/>
                    <a:pt x="528" y="636"/>
                    <a:pt x="528" y="636"/>
                  </a:cubicBezTo>
                  <a:cubicBezTo>
                    <a:pt x="528" y="636"/>
                    <a:pt x="528" y="637"/>
                    <a:pt x="528" y="637"/>
                  </a:cubicBezTo>
                  <a:cubicBezTo>
                    <a:pt x="529" y="637"/>
                    <a:pt x="529" y="637"/>
                    <a:pt x="530" y="636"/>
                  </a:cubicBezTo>
                  <a:cubicBezTo>
                    <a:pt x="534" y="635"/>
                    <a:pt x="537" y="633"/>
                    <a:pt x="541" y="632"/>
                  </a:cubicBezTo>
                  <a:cubicBezTo>
                    <a:pt x="542" y="631"/>
                    <a:pt x="543" y="631"/>
                    <a:pt x="543" y="631"/>
                  </a:cubicBezTo>
                  <a:cubicBezTo>
                    <a:pt x="549" y="628"/>
                    <a:pt x="554" y="626"/>
                    <a:pt x="560" y="624"/>
                  </a:cubicBezTo>
                  <a:cubicBezTo>
                    <a:pt x="561" y="623"/>
                    <a:pt x="562" y="623"/>
                    <a:pt x="563" y="622"/>
                  </a:cubicBezTo>
                  <a:cubicBezTo>
                    <a:pt x="565" y="621"/>
                    <a:pt x="568" y="620"/>
                    <a:pt x="570" y="618"/>
                  </a:cubicBezTo>
                  <a:cubicBezTo>
                    <a:pt x="570" y="618"/>
                    <a:pt x="569" y="618"/>
                    <a:pt x="569" y="618"/>
                  </a:cubicBezTo>
                  <a:moveTo>
                    <a:pt x="1416" y="630"/>
                  </a:moveTo>
                  <a:cubicBezTo>
                    <a:pt x="1416" y="636"/>
                    <a:pt x="1416" y="643"/>
                    <a:pt x="1415" y="650"/>
                  </a:cubicBezTo>
                  <a:cubicBezTo>
                    <a:pt x="1416" y="651"/>
                    <a:pt x="1416" y="653"/>
                    <a:pt x="1416" y="655"/>
                  </a:cubicBezTo>
                  <a:cubicBezTo>
                    <a:pt x="1416" y="650"/>
                    <a:pt x="1417" y="645"/>
                    <a:pt x="1417" y="640"/>
                  </a:cubicBezTo>
                  <a:cubicBezTo>
                    <a:pt x="1417" y="637"/>
                    <a:pt x="1416" y="633"/>
                    <a:pt x="1416" y="630"/>
                  </a:cubicBezTo>
                  <a:moveTo>
                    <a:pt x="527" y="636"/>
                  </a:moveTo>
                  <a:cubicBezTo>
                    <a:pt x="526" y="637"/>
                    <a:pt x="525" y="637"/>
                    <a:pt x="524" y="637"/>
                  </a:cubicBezTo>
                  <a:cubicBezTo>
                    <a:pt x="523" y="638"/>
                    <a:pt x="523" y="638"/>
                    <a:pt x="522" y="638"/>
                  </a:cubicBezTo>
                  <a:cubicBezTo>
                    <a:pt x="523" y="638"/>
                    <a:pt x="523" y="638"/>
                    <a:pt x="524" y="639"/>
                  </a:cubicBezTo>
                  <a:cubicBezTo>
                    <a:pt x="525" y="638"/>
                    <a:pt x="526" y="638"/>
                    <a:pt x="526" y="638"/>
                  </a:cubicBezTo>
                  <a:cubicBezTo>
                    <a:pt x="527" y="637"/>
                    <a:pt x="527" y="637"/>
                    <a:pt x="527" y="637"/>
                  </a:cubicBezTo>
                  <a:cubicBezTo>
                    <a:pt x="527" y="637"/>
                    <a:pt x="527" y="637"/>
                    <a:pt x="527" y="636"/>
                  </a:cubicBezTo>
                  <a:moveTo>
                    <a:pt x="521" y="639"/>
                  </a:moveTo>
                  <a:cubicBezTo>
                    <a:pt x="505" y="644"/>
                    <a:pt x="490" y="650"/>
                    <a:pt x="474" y="654"/>
                  </a:cubicBezTo>
                  <a:cubicBezTo>
                    <a:pt x="474" y="654"/>
                    <a:pt x="474" y="655"/>
                    <a:pt x="475" y="655"/>
                  </a:cubicBezTo>
                  <a:cubicBezTo>
                    <a:pt x="490" y="651"/>
                    <a:pt x="505" y="646"/>
                    <a:pt x="520" y="640"/>
                  </a:cubicBezTo>
                  <a:cubicBezTo>
                    <a:pt x="521" y="640"/>
                    <a:pt x="522" y="639"/>
                    <a:pt x="522" y="639"/>
                  </a:cubicBezTo>
                  <a:cubicBezTo>
                    <a:pt x="522" y="639"/>
                    <a:pt x="522" y="639"/>
                    <a:pt x="522" y="639"/>
                  </a:cubicBezTo>
                  <a:cubicBezTo>
                    <a:pt x="522" y="639"/>
                    <a:pt x="522" y="639"/>
                    <a:pt x="521" y="639"/>
                  </a:cubicBezTo>
                  <a:moveTo>
                    <a:pt x="473" y="654"/>
                  </a:moveTo>
                  <a:cubicBezTo>
                    <a:pt x="471" y="655"/>
                    <a:pt x="468" y="656"/>
                    <a:pt x="466" y="656"/>
                  </a:cubicBezTo>
                  <a:cubicBezTo>
                    <a:pt x="466" y="656"/>
                    <a:pt x="467" y="657"/>
                    <a:pt x="467" y="657"/>
                  </a:cubicBezTo>
                  <a:cubicBezTo>
                    <a:pt x="469" y="656"/>
                    <a:pt x="472" y="656"/>
                    <a:pt x="474" y="655"/>
                  </a:cubicBezTo>
                  <a:cubicBezTo>
                    <a:pt x="473" y="655"/>
                    <a:pt x="473" y="655"/>
                    <a:pt x="473" y="654"/>
                  </a:cubicBezTo>
                  <a:moveTo>
                    <a:pt x="1415" y="655"/>
                  </a:moveTo>
                  <a:cubicBezTo>
                    <a:pt x="1414" y="689"/>
                    <a:pt x="1413" y="723"/>
                    <a:pt x="1411" y="756"/>
                  </a:cubicBezTo>
                  <a:cubicBezTo>
                    <a:pt x="1412" y="757"/>
                    <a:pt x="1412" y="758"/>
                    <a:pt x="1412" y="759"/>
                  </a:cubicBezTo>
                  <a:cubicBezTo>
                    <a:pt x="1414" y="727"/>
                    <a:pt x="1414" y="693"/>
                    <a:pt x="1416" y="660"/>
                  </a:cubicBezTo>
                  <a:cubicBezTo>
                    <a:pt x="1416" y="658"/>
                    <a:pt x="1415" y="656"/>
                    <a:pt x="1415" y="655"/>
                  </a:cubicBezTo>
                  <a:moveTo>
                    <a:pt x="464" y="657"/>
                  </a:moveTo>
                  <a:cubicBezTo>
                    <a:pt x="464" y="657"/>
                    <a:pt x="464" y="657"/>
                    <a:pt x="464" y="657"/>
                  </a:cubicBezTo>
                  <a:cubicBezTo>
                    <a:pt x="462" y="658"/>
                    <a:pt x="460" y="658"/>
                    <a:pt x="458" y="659"/>
                  </a:cubicBezTo>
                  <a:cubicBezTo>
                    <a:pt x="461" y="659"/>
                    <a:pt x="463" y="658"/>
                    <a:pt x="466" y="657"/>
                  </a:cubicBezTo>
                  <a:cubicBezTo>
                    <a:pt x="465" y="657"/>
                    <a:pt x="465" y="657"/>
                    <a:pt x="464" y="657"/>
                  </a:cubicBezTo>
                  <a:moveTo>
                    <a:pt x="458" y="658"/>
                  </a:moveTo>
                  <a:cubicBezTo>
                    <a:pt x="451" y="660"/>
                    <a:pt x="445" y="661"/>
                    <a:pt x="438" y="662"/>
                  </a:cubicBezTo>
                  <a:cubicBezTo>
                    <a:pt x="429" y="664"/>
                    <a:pt x="419" y="666"/>
                    <a:pt x="408" y="668"/>
                  </a:cubicBezTo>
                  <a:cubicBezTo>
                    <a:pt x="407" y="669"/>
                    <a:pt x="406" y="669"/>
                    <a:pt x="404" y="670"/>
                  </a:cubicBezTo>
                  <a:cubicBezTo>
                    <a:pt x="405" y="670"/>
                    <a:pt x="406" y="670"/>
                    <a:pt x="406" y="670"/>
                  </a:cubicBezTo>
                  <a:cubicBezTo>
                    <a:pt x="418" y="667"/>
                    <a:pt x="428" y="665"/>
                    <a:pt x="438" y="663"/>
                  </a:cubicBezTo>
                  <a:cubicBezTo>
                    <a:pt x="443" y="663"/>
                    <a:pt x="448" y="661"/>
                    <a:pt x="453" y="660"/>
                  </a:cubicBezTo>
                  <a:cubicBezTo>
                    <a:pt x="455" y="660"/>
                    <a:pt x="456" y="659"/>
                    <a:pt x="458" y="658"/>
                  </a:cubicBezTo>
                  <a:moveTo>
                    <a:pt x="404" y="669"/>
                  </a:moveTo>
                  <a:cubicBezTo>
                    <a:pt x="400" y="670"/>
                    <a:pt x="397" y="671"/>
                    <a:pt x="394" y="671"/>
                  </a:cubicBezTo>
                  <a:cubicBezTo>
                    <a:pt x="394" y="671"/>
                    <a:pt x="395" y="672"/>
                    <a:pt x="396" y="672"/>
                  </a:cubicBezTo>
                  <a:cubicBezTo>
                    <a:pt x="397" y="672"/>
                    <a:pt x="398" y="671"/>
                    <a:pt x="399" y="671"/>
                  </a:cubicBezTo>
                  <a:cubicBezTo>
                    <a:pt x="401" y="670"/>
                    <a:pt x="402" y="670"/>
                    <a:pt x="404" y="669"/>
                  </a:cubicBezTo>
                  <a:moveTo>
                    <a:pt x="391" y="672"/>
                  </a:moveTo>
                  <a:cubicBezTo>
                    <a:pt x="388" y="672"/>
                    <a:pt x="384" y="673"/>
                    <a:pt x="380" y="674"/>
                  </a:cubicBezTo>
                  <a:cubicBezTo>
                    <a:pt x="377" y="675"/>
                    <a:pt x="374" y="675"/>
                    <a:pt x="370" y="676"/>
                  </a:cubicBezTo>
                  <a:cubicBezTo>
                    <a:pt x="370" y="676"/>
                    <a:pt x="369" y="676"/>
                    <a:pt x="368" y="677"/>
                  </a:cubicBezTo>
                  <a:cubicBezTo>
                    <a:pt x="367" y="677"/>
                    <a:pt x="366" y="677"/>
                    <a:pt x="365" y="677"/>
                  </a:cubicBezTo>
                  <a:cubicBezTo>
                    <a:pt x="363" y="678"/>
                    <a:pt x="362" y="678"/>
                    <a:pt x="360" y="678"/>
                  </a:cubicBezTo>
                  <a:cubicBezTo>
                    <a:pt x="358" y="679"/>
                    <a:pt x="357" y="679"/>
                    <a:pt x="356" y="679"/>
                  </a:cubicBezTo>
                  <a:cubicBezTo>
                    <a:pt x="355" y="680"/>
                    <a:pt x="353" y="680"/>
                    <a:pt x="352" y="680"/>
                  </a:cubicBezTo>
                  <a:cubicBezTo>
                    <a:pt x="352" y="680"/>
                    <a:pt x="352" y="680"/>
                    <a:pt x="352" y="680"/>
                  </a:cubicBezTo>
                  <a:cubicBezTo>
                    <a:pt x="350" y="681"/>
                    <a:pt x="349" y="681"/>
                    <a:pt x="347" y="682"/>
                  </a:cubicBezTo>
                  <a:cubicBezTo>
                    <a:pt x="348" y="682"/>
                    <a:pt x="349" y="682"/>
                    <a:pt x="349" y="682"/>
                  </a:cubicBezTo>
                  <a:cubicBezTo>
                    <a:pt x="350" y="682"/>
                    <a:pt x="350" y="682"/>
                    <a:pt x="350" y="681"/>
                  </a:cubicBezTo>
                  <a:cubicBezTo>
                    <a:pt x="352" y="681"/>
                    <a:pt x="354" y="681"/>
                    <a:pt x="356" y="680"/>
                  </a:cubicBezTo>
                  <a:cubicBezTo>
                    <a:pt x="357" y="680"/>
                    <a:pt x="358" y="680"/>
                    <a:pt x="360" y="679"/>
                  </a:cubicBezTo>
                  <a:cubicBezTo>
                    <a:pt x="361" y="679"/>
                    <a:pt x="363" y="679"/>
                    <a:pt x="365" y="678"/>
                  </a:cubicBezTo>
                  <a:cubicBezTo>
                    <a:pt x="367" y="678"/>
                    <a:pt x="368" y="677"/>
                    <a:pt x="370" y="677"/>
                  </a:cubicBezTo>
                  <a:cubicBezTo>
                    <a:pt x="371" y="677"/>
                    <a:pt x="371" y="677"/>
                    <a:pt x="372" y="677"/>
                  </a:cubicBezTo>
                  <a:cubicBezTo>
                    <a:pt x="379" y="675"/>
                    <a:pt x="385" y="674"/>
                    <a:pt x="391" y="673"/>
                  </a:cubicBezTo>
                  <a:cubicBezTo>
                    <a:pt x="392" y="673"/>
                    <a:pt x="393" y="672"/>
                    <a:pt x="393" y="672"/>
                  </a:cubicBezTo>
                  <a:cubicBezTo>
                    <a:pt x="393" y="672"/>
                    <a:pt x="392" y="672"/>
                    <a:pt x="391" y="672"/>
                  </a:cubicBezTo>
                  <a:moveTo>
                    <a:pt x="347" y="681"/>
                  </a:moveTo>
                  <a:cubicBezTo>
                    <a:pt x="327" y="686"/>
                    <a:pt x="307" y="690"/>
                    <a:pt x="286" y="696"/>
                  </a:cubicBezTo>
                  <a:cubicBezTo>
                    <a:pt x="284" y="696"/>
                    <a:pt x="281" y="697"/>
                    <a:pt x="279" y="698"/>
                  </a:cubicBezTo>
                  <a:cubicBezTo>
                    <a:pt x="301" y="693"/>
                    <a:pt x="322" y="688"/>
                    <a:pt x="342" y="683"/>
                  </a:cubicBezTo>
                  <a:cubicBezTo>
                    <a:pt x="343" y="683"/>
                    <a:pt x="345" y="682"/>
                    <a:pt x="347" y="681"/>
                  </a:cubicBezTo>
                  <a:moveTo>
                    <a:pt x="279" y="697"/>
                  </a:moveTo>
                  <a:cubicBezTo>
                    <a:pt x="278" y="697"/>
                    <a:pt x="278" y="698"/>
                    <a:pt x="277" y="698"/>
                  </a:cubicBezTo>
                  <a:cubicBezTo>
                    <a:pt x="277" y="698"/>
                    <a:pt x="276" y="698"/>
                    <a:pt x="276" y="698"/>
                  </a:cubicBezTo>
                  <a:cubicBezTo>
                    <a:pt x="272" y="699"/>
                    <a:pt x="268" y="700"/>
                    <a:pt x="264" y="701"/>
                  </a:cubicBezTo>
                  <a:cubicBezTo>
                    <a:pt x="263" y="701"/>
                    <a:pt x="261" y="702"/>
                    <a:pt x="260" y="702"/>
                  </a:cubicBezTo>
                  <a:cubicBezTo>
                    <a:pt x="249" y="705"/>
                    <a:pt x="237" y="708"/>
                    <a:pt x="226" y="711"/>
                  </a:cubicBezTo>
                  <a:cubicBezTo>
                    <a:pt x="226" y="711"/>
                    <a:pt x="225" y="711"/>
                    <a:pt x="225" y="711"/>
                  </a:cubicBezTo>
                  <a:cubicBezTo>
                    <a:pt x="225" y="712"/>
                    <a:pt x="225" y="712"/>
                    <a:pt x="224" y="712"/>
                  </a:cubicBezTo>
                  <a:cubicBezTo>
                    <a:pt x="224" y="712"/>
                    <a:pt x="224" y="712"/>
                    <a:pt x="223" y="712"/>
                  </a:cubicBezTo>
                  <a:cubicBezTo>
                    <a:pt x="223" y="712"/>
                    <a:pt x="222" y="712"/>
                    <a:pt x="222" y="712"/>
                  </a:cubicBezTo>
                  <a:cubicBezTo>
                    <a:pt x="221" y="713"/>
                    <a:pt x="221" y="713"/>
                    <a:pt x="221" y="713"/>
                  </a:cubicBezTo>
                  <a:cubicBezTo>
                    <a:pt x="219" y="713"/>
                    <a:pt x="217" y="714"/>
                    <a:pt x="215" y="714"/>
                  </a:cubicBezTo>
                  <a:cubicBezTo>
                    <a:pt x="212" y="716"/>
                    <a:pt x="209" y="717"/>
                    <a:pt x="206" y="718"/>
                  </a:cubicBezTo>
                  <a:cubicBezTo>
                    <a:pt x="208" y="717"/>
                    <a:pt x="210" y="717"/>
                    <a:pt x="212" y="716"/>
                  </a:cubicBezTo>
                  <a:cubicBezTo>
                    <a:pt x="213" y="716"/>
                    <a:pt x="213" y="716"/>
                    <a:pt x="214" y="716"/>
                  </a:cubicBezTo>
                  <a:cubicBezTo>
                    <a:pt x="216" y="715"/>
                    <a:pt x="218" y="715"/>
                    <a:pt x="220" y="714"/>
                  </a:cubicBezTo>
                  <a:cubicBezTo>
                    <a:pt x="221" y="714"/>
                    <a:pt x="221" y="714"/>
                    <a:pt x="221" y="714"/>
                  </a:cubicBezTo>
                  <a:cubicBezTo>
                    <a:pt x="222" y="713"/>
                    <a:pt x="223" y="713"/>
                    <a:pt x="224" y="713"/>
                  </a:cubicBezTo>
                  <a:cubicBezTo>
                    <a:pt x="225" y="713"/>
                    <a:pt x="225" y="713"/>
                    <a:pt x="226" y="712"/>
                  </a:cubicBezTo>
                  <a:cubicBezTo>
                    <a:pt x="226" y="712"/>
                    <a:pt x="226" y="712"/>
                    <a:pt x="226" y="712"/>
                  </a:cubicBezTo>
                  <a:cubicBezTo>
                    <a:pt x="239" y="709"/>
                    <a:pt x="251" y="705"/>
                    <a:pt x="264" y="702"/>
                  </a:cubicBezTo>
                  <a:cubicBezTo>
                    <a:pt x="265" y="702"/>
                    <a:pt x="267" y="701"/>
                    <a:pt x="268" y="701"/>
                  </a:cubicBezTo>
                  <a:cubicBezTo>
                    <a:pt x="269" y="701"/>
                    <a:pt x="271" y="700"/>
                    <a:pt x="272" y="700"/>
                  </a:cubicBezTo>
                  <a:cubicBezTo>
                    <a:pt x="274" y="699"/>
                    <a:pt x="277" y="698"/>
                    <a:pt x="279" y="697"/>
                  </a:cubicBezTo>
                  <a:moveTo>
                    <a:pt x="206" y="717"/>
                  </a:moveTo>
                  <a:cubicBezTo>
                    <a:pt x="204" y="717"/>
                    <a:pt x="203" y="718"/>
                    <a:pt x="201" y="718"/>
                  </a:cubicBezTo>
                  <a:cubicBezTo>
                    <a:pt x="201" y="718"/>
                    <a:pt x="200" y="719"/>
                    <a:pt x="200" y="719"/>
                  </a:cubicBezTo>
                  <a:cubicBezTo>
                    <a:pt x="198" y="719"/>
                    <a:pt x="197" y="720"/>
                    <a:pt x="195" y="720"/>
                  </a:cubicBezTo>
                  <a:cubicBezTo>
                    <a:pt x="194" y="720"/>
                    <a:pt x="193" y="721"/>
                    <a:pt x="191" y="721"/>
                  </a:cubicBezTo>
                  <a:cubicBezTo>
                    <a:pt x="191" y="721"/>
                    <a:pt x="190" y="722"/>
                    <a:pt x="190" y="722"/>
                  </a:cubicBezTo>
                  <a:cubicBezTo>
                    <a:pt x="190" y="722"/>
                    <a:pt x="189" y="722"/>
                    <a:pt x="189" y="722"/>
                  </a:cubicBezTo>
                  <a:cubicBezTo>
                    <a:pt x="186" y="723"/>
                    <a:pt x="183" y="724"/>
                    <a:pt x="180" y="725"/>
                  </a:cubicBezTo>
                  <a:cubicBezTo>
                    <a:pt x="179" y="725"/>
                    <a:pt x="179" y="725"/>
                    <a:pt x="179" y="725"/>
                  </a:cubicBezTo>
                  <a:cubicBezTo>
                    <a:pt x="176" y="726"/>
                    <a:pt x="173" y="727"/>
                    <a:pt x="170" y="728"/>
                  </a:cubicBezTo>
                  <a:cubicBezTo>
                    <a:pt x="169" y="728"/>
                    <a:pt x="168" y="728"/>
                    <a:pt x="167" y="729"/>
                  </a:cubicBezTo>
                  <a:cubicBezTo>
                    <a:pt x="166" y="729"/>
                    <a:pt x="166" y="729"/>
                    <a:pt x="165" y="730"/>
                  </a:cubicBezTo>
                  <a:cubicBezTo>
                    <a:pt x="163" y="730"/>
                    <a:pt x="161" y="731"/>
                    <a:pt x="159" y="732"/>
                  </a:cubicBezTo>
                  <a:cubicBezTo>
                    <a:pt x="151" y="734"/>
                    <a:pt x="144" y="737"/>
                    <a:pt x="136" y="739"/>
                  </a:cubicBezTo>
                  <a:cubicBezTo>
                    <a:pt x="136" y="739"/>
                    <a:pt x="136" y="739"/>
                    <a:pt x="135" y="740"/>
                  </a:cubicBezTo>
                  <a:cubicBezTo>
                    <a:pt x="134" y="740"/>
                    <a:pt x="132" y="741"/>
                    <a:pt x="130" y="742"/>
                  </a:cubicBezTo>
                  <a:cubicBezTo>
                    <a:pt x="129" y="742"/>
                    <a:pt x="129" y="742"/>
                    <a:pt x="128" y="742"/>
                  </a:cubicBezTo>
                  <a:cubicBezTo>
                    <a:pt x="126" y="743"/>
                    <a:pt x="124" y="744"/>
                    <a:pt x="121" y="745"/>
                  </a:cubicBezTo>
                  <a:cubicBezTo>
                    <a:pt x="121" y="745"/>
                    <a:pt x="121" y="745"/>
                    <a:pt x="120" y="745"/>
                  </a:cubicBezTo>
                  <a:cubicBezTo>
                    <a:pt x="119" y="746"/>
                    <a:pt x="118" y="746"/>
                    <a:pt x="117" y="746"/>
                  </a:cubicBezTo>
                  <a:cubicBezTo>
                    <a:pt x="117" y="746"/>
                    <a:pt x="117" y="746"/>
                    <a:pt x="116" y="747"/>
                  </a:cubicBezTo>
                  <a:cubicBezTo>
                    <a:pt x="116" y="747"/>
                    <a:pt x="116" y="747"/>
                    <a:pt x="116" y="747"/>
                  </a:cubicBezTo>
                  <a:cubicBezTo>
                    <a:pt x="116" y="747"/>
                    <a:pt x="115" y="747"/>
                    <a:pt x="115" y="747"/>
                  </a:cubicBezTo>
                  <a:cubicBezTo>
                    <a:pt x="115" y="747"/>
                    <a:pt x="114" y="747"/>
                    <a:pt x="114" y="747"/>
                  </a:cubicBezTo>
                  <a:cubicBezTo>
                    <a:pt x="114" y="748"/>
                    <a:pt x="113" y="748"/>
                    <a:pt x="113" y="748"/>
                  </a:cubicBezTo>
                  <a:cubicBezTo>
                    <a:pt x="113" y="748"/>
                    <a:pt x="112" y="748"/>
                    <a:pt x="112" y="748"/>
                  </a:cubicBezTo>
                  <a:cubicBezTo>
                    <a:pt x="112" y="749"/>
                    <a:pt x="111" y="749"/>
                    <a:pt x="110" y="749"/>
                  </a:cubicBezTo>
                  <a:cubicBezTo>
                    <a:pt x="110" y="749"/>
                    <a:pt x="110" y="749"/>
                    <a:pt x="109" y="749"/>
                  </a:cubicBezTo>
                  <a:cubicBezTo>
                    <a:pt x="109" y="750"/>
                    <a:pt x="109" y="750"/>
                    <a:pt x="109" y="750"/>
                  </a:cubicBezTo>
                  <a:cubicBezTo>
                    <a:pt x="108" y="750"/>
                    <a:pt x="108" y="750"/>
                    <a:pt x="107" y="750"/>
                  </a:cubicBezTo>
                  <a:cubicBezTo>
                    <a:pt x="107" y="750"/>
                    <a:pt x="106" y="751"/>
                    <a:pt x="105" y="751"/>
                  </a:cubicBezTo>
                  <a:cubicBezTo>
                    <a:pt x="105" y="751"/>
                    <a:pt x="105" y="751"/>
                    <a:pt x="105" y="751"/>
                  </a:cubicBezTo>
                  <a:cubicBezTo>
                    <a:pt x="105" y="751"/>
                    <a:pt x="105" y="751"/>
                    <a:pt x="105" y="751"/>
                  </a:cubicBezTo>
                  <a:cubicBezTo>
                    <a:pt x="104" y="751"/>
                    <a:pt x="104" y="752"/>
                    <a:pt x="103" y="752"/>
                  </a:cubicBezTo>
                  <a:cubicBezTo>
                    <a:pt x="103" y="752"/>
                    <a:pt x="103" y="752"/>
                    <a:pt x="103" y="752"/>
                  </a:cubicBezTo>
                  <a:cubicBezTo>
                    <a:pt x="103" y="752"/>
                    <a:pt x="102" y="752"/>
                    <a:pt x="102" y="752"/>
                  </a:cubicBezTo>
                  <a:cubicBezTo>
                    <a:pt x="102" y="752"/>
                    <a:pt x="101" y="753"/>
                    <a:pt x="101" y="753"/>
                  </a:cubicBezTo>
                  <a:cubicBezTo>
                    <a:pt x="101" y="753"/>
                    <a:pt x="101" y="753"/>
                    <a:pt x="101" y="753"/>
                  </a:cubicBezTo>
                  <a:cubicBezTo>
                    <a:pt x="100" y="753"/>
                    <a:pt x="98" y="754"/>
                    <a:pt x="97" y="754"/>
                  </a:cubicBezTo>
                  <a:cubicBezTo>
                    <a:pt x="97" y="754"/>
                    <a:pt x="96" y="755"/>
                    <a:pt x="96" y="755"/>
                  </a:cubicBezTo>
                  <a:cubicBezTo>
                    <a:pt x="94" y="755"/>
                    <a:pt x="93" y="756"/>
                    <a:pt x="91" y="757"/>
                  </a:cubicBezTo>
                  <a:cubicBezTo>
                    <a:pt x="91" y="757"/>
                    <a:pt x="90" y="757"/>
                    <a:pt x="90" y="757"/>
                  </a:cubicBezTo>
                  <a:cubicBezTo>
                    <a:pt x="89" y="758"/>
                    <a:pt x="87" y="759"/>
                    <a:pt x="86" y="759"/>
                  </a:cubicBezTo>
                  <a:cubicBezTo>
                    <a:pt x="85" y="760"/>
                    <a:pt x="84" y="760"/>
                    <a:pt x="84" y="760"/>
                  </a:cubicBezTo>
                  <a:cubicBezTo>
                    <a:pt x="83" y="760"/>
                    <a:pt x="83" y="760"/>
                    <a:pt x="83" y="760"/>
                  </a:cubicBezTo>
                  <a:cubicBezTo>
                    <a:pt x="83" y="761"/>
                    <a:pt x="82" y="761"/>
                    <a:pt x="82" y="761"/>
                  </a:cubicBezTo>
                  <a:cubicBezTo>
                    <a:pt x="82" y="761"/>
                    <a:pt x="81" y="761"/>
                    <a:pt x="81" y="761"/>
                  </a:cubicBezTo>
                  <a:cubicBezTo>
                    <a:pt x="80" y="762"/>
                    <a:pt x="78" y="763"/>
                    <a:pt x="77" y="763"/>
                  </a:cubicBezTo>
                  <a:cubicBezTo>
                    <a:pt x="77" y="763"/>
                    <a:pt x="76" y="764"/>
                    <a:pt x="76" y="764"/>
                  </a:cubicBezTo>
                  <a:cubicBezTo>
                    <a:pt x="76" y="764"/>
                    <a:pt x="75" y="764"/>
                    <a:pt x="75" y="764"/>
                  </a:cubicBezTo>
                  <a:cubicBezTo>
                    <a:pt x="73" y="765"/>
                    <a:pt x="72" y="766"/>
                    <a:pt x="70" y="766"/>
                  </a:cubicBezTo>
                  <a:cubicBezTo>
                    <a:pt x="70" y="767"/>
                    <a:pt x="70" y="767"/>
                    <a:pt x="69" y="767"/>
                  </a:cubicBezTo>
                  <a:cubicBezTo>
                    <a:pt x="68" y="767"/>
                    <a:pt x="68" y="768"/>
                    <a:pt x="67" y="768"/>
                  </a:cubicBezTo>
                  <a:cubicBezTo>
                    <a:pt x="67" y="768"/>
                    <a:pt x="66" y="768"/>
                    <a:pt x="66" y="769"/>
                  </a:cubicBezTo>
                  <a:cubicBezTo>
                    <a:pt x="65" y="769"/>
                    <a:pt x="65" y="769"/>
                    <a:pt x="65" y="769"/>
                  </a:cubicBezTo>
                  <a:cubicBezTo>
                    <a:pt x="64" y="769"/>
                    <a:pt x="64" y="770"/>
                    <a:pt x="63" y="770"/>
                  </a:cubicBezTo>
                  <a:cubicBezTo>
                    <a:pt x="60" y="771"/>
                    <a:pt x="58" y="773"/>
                    <a:pt x="56" y="774"/>
                  </a:cubicBezTo>
                  <a:cubicBezTo>
                    <a:pt x="55" y="774"/>
                    <a:pt x="54" y="775"/>
                    <a:pt x="53" y="775"/>
                  </a:cubicBezTo>
                  <a:cubicBezTo>
                    <a:pt x="48" y="778"/>
                    <a:pt x="43" y="781"/>
                    <a:pt x="39" y="784"/>
                  </a:cubicBezTo>
                  <a:cubicBezTo>
                    <a:pt x="39" y="784"/>
                    <a:pt x="38" y="784"/>
                    <a:pt x="38" y="784"/>
                  </a:cubicBezTo>
                  <a:cubicBezTo>
                    <a:pt x="37" y="785"/>
                    <a:pt x="37" y="785"/>
                    <a:pt x="36" y="785"/>
                  </a:cubicBezTo>
                  <a:cubicBezTo>
                    <a:pt x="35" y="786"/>
                    <a:pt x="35" y="787"/>
                    <a:pt x="34" y="787"/>
                  </a:cubicBezTo>
                  <a:cubicBezTo>
                    <a:pt x="30" y="790"/>
                    <a:pt x="26" y="793"/>
                    <a:pt x="23" y="796"/>
                  </a:cubicBezTo>
                  <a:cubicBezTo>
                    <a:pt x="22" y="796"/>
                    <a:pt x="22" y="796"/>
                    <a:pt x="22" y="797"/>
                  </a:cubicBezTo>
                  <a:cubicBezTo>
                    <a:pt x="22" y="797"/>
                    <a:pt x="22" y="797"/>
                    <a:pt x="22" y="797"/>
                  </a:cubicBezTo>
                  <a:cubicBezTo>
                    <a:pt x="21" y="797"/>
                    <a:pt x="21" y="797"/>
                    <a:pt x="21" y="797"/>
                  </a:cubicBezTo>
                  <a:cubicBezTo>
                    <a:pt x="21" y="797"/>
                    <a:pt x="21" y="797"/>
                    <a:pt x="21" y="797"/>
                  </a:cubicBezTo>
                  <a:cubicBezTo>
                    <a:pt x="21" y="797"/>
                    <a:pt x="21" y="797"/>
                    <a:pt x="21" y="797"/>
                  </a:cubicBezTo>
                  <a:cubicBezTo>
                    <a:pt x="22" y="797"/>
                    <a:pt x="23" y="796"/>
                    <a:pt x="24" y="796"/>
                  </a:cubicBezTo>
                  <a:cubicBezTo>
                    <a:pt x="28" y="793"/>
                    <a:pt x="32" y="790"/>
                    <a:pt x="36" y="787"/>
                  </a:cubicBezTo>
                  <a:cubicBezTo>
                    <a:pt x="37" y="786"/>
                    <a:pt x="38" y="786"/>
                    <a:pt x="39" y="785"/>
                  </a:cubicBezTo>
                  <a:cubicBezTo>
                    <a:pt x="39" y="785"/>
                    <a:pt x="40" y="785"/>
                    <a:pt x="40" y="784"/>
                  </a:cubicBezTo>
                  <a:cubicBezTo>
                    <a:pt x="45" y="781"/>
                    <a:pt x="50" y="778"/>
                    <a:pt x="56" y="775"/>
                  </a:cubicBezTo>
                  <a:cubicBezTo>
                    <a:pt x="57" y="775"/>
                    <a:pt x="57" y="774"/>
                    <a:pt x="58" y="774"/>
                  </a:cubicBezTo>
                  <a:cubicBezTo>
                    <a:pt x="60" y="772"/>
                    <a:pt x="63" y="771"/>
                    <a:pt x="65" y="770"/>
                  </a:cubicBezTo>
                  <a:cubicBezTo>
                    <a:pt x="66" y="770"/>
                    <a:pt x="67" y="769"/>
                    <a:pt x="67" y="769"/>
                  </a:cubicBezTo>
                  <a:cubicBezTo>
                    <a:pt x="67" y="769"/>
                    <a:pt x="67" y="769"/>
                    <a:pt x="67" y="769"/>
                  </a:cubicBezTo>
                  <a:cubicBezTo>
                    <a:pt x="68" y="769"/>
                    <a:pt x="69" y="768"/>
                    <a:pt x="70" y="768"/>
                  </a:cubicBezTo>
                  <a:cubicBezTo>
                    <a:pt x="70" y="768"/>
                    <a:pt x="70" y="768"/>
                    <a:pt x="71" y="767"/>
                  </a:cubicBezTo>
                  <a:cubicBezTo>
                    <a:pt x="71" y="767"/>
                    <a:pt x="72" y="767"/>
                    <a:pt x="73" y="766"/>
                  </a:cubicBezTo>
                  <a:cubicBezTo>
                    <a:pt x="74" y="766"/>
                    <a:pt x="75" y="765"/>
                    <a:pt x="76" y="765"/>
                  </a:cubicBezTo>
                  <a:cubicBezTo>
                    <a:pt x="76" y="765"/>
                    <a:pt x="77" y="765"/>
                    <a:pt x="77" y="764"/>
                  </a:cubicBezTo>
                  <a:cubicBezTo>
                    <a:pt x="77" y="764"/>
                    <a:pt x="78" y="764"/>
                    <a:pt x="78" y="764"/>
                  </a:cubicBezTo>
                  <a:cubicBezTo>
                    <a:pt x="79" y="763"/>
                    <a:pt x="80" y="763"/>
                    <a:pt x="82" y="762"/>
                  </a:cubicBezTo>
                  <a:cubicBezTo>
                    <a:pt x="82" y="762"/>
                    <a:pt x="82" y="762"/>
                    <a:pt x="82" y="762"/>
                  </a:cubicBezTo>
                  <a:cubicBezTo>
                    <a:pt x="83" y="762"/>
                    <a:pt x="83" y="762"/>
                    <a:pt x="83" y="762"/>
                  </a:cubicBezTo>
                  <a:cubicBezTo>
                    <a:pt x="83" y="762"/>
                    <a:pt x="84" y="761"/>
                    <a:pt x="84" y="761"/>
                  </a:cubicBezTo>
                  <a:cubicBezTo>
                    <a:pt x="85" y="761"/>
                    <a:pt x="85" y="761"/>
                    <a:pt x="86" y="760"/>
                  </a:cubicBezTo>
                  <a:cubicBezTo>
                    <a:pt x="87" y="760"/>
                    <a:pt x="88" y="759"/>
                    <a:pt x="89" y="759"/>
                  </a:cubicBezTo>
                  <a:cubicBezTo>
                    <a:pt x="89" y="759"/>
                    <a:pt x="90" y="759"/>
                    <a:pt x="90" y="758"/>
                  </a:cubicBezTo>
                  <a:cubicBezTo>
                    <a:pt x="90" y="758"/>
                    <a:pt x="91" y="758"/>
                    <a:pt x="91" y="758"/>
                  </a:cubicBezTo>
                  <a:cubicBezTo>
                    <a:pt x="93" y="757"/>
                    <a:pt x="95" y="756"/>
                    <a:pt x="97" y="756"/>
                  </a:cubicBezTo>
                  <a:cubicBezTo>
                    <a:pt x="97" y="755"/>
                    <a:pt x="98" y="755"/>
                    <a:pt x="98" y="755"/>
                  </a:cubicBezTo>
                  <a:cubicBezTo>
                    <a:pt x="99" y="755"/>
                    <a:pt x="100" y="754"/>
                    <a:pt x="101" y="754"/>
                  </a:cubicBezTo>
                  <a:cubicBezTo>
                    <a:pt x="101" y="754"/>
                    <a:pt x="102" y="754"/>
                    <a:pt x="102" y="753"/>
                  </a:cubicBezTo>
                  <a:cubicBezTo>
                    <a:pt x="102" y="753"/>
                    <a:pt x="102" y="753"/>
                    <a:pt x="102" y="753"/>
                  </a:cubicBezTo>
                  <a:cubicBezTo>
                    <a:pt x="103" y="753"/>
                    <a:pt x="103" y="753"/>
                    <a:pt x="103" y="753"/>
                  </a:cubicBezTo>
                  <a:cubicBezTo>
                    <a:pt x="103" y="753"/>
                    <a:pt x="103" y="753"/>
                    <a:pt x="103" y="753"/>
                  </a:cubicBezTo>
                  <a:cubicBezTo>
                    <a:pt x="104" y="753"/>
                    <a:pt x="104" y="753"/>
                    <a:pt x="105" y="752"/>
                  </a:cubicBezTo>
                  <a:cubicBezTo>
                    <a:pt x="105" y="752"/>
                    <a:pt x="105" y="752"/>
                    <a:pt x="105" y="752"/>
                  </a:cubicBezTo>
                  <a:cubicBezTo>
                    <a:pt x="105" y="752"/>
                    <a:pt x="106" y="752"/>
                    <a:pt x="106" y="752"/>
                  </a:cubicBezTo>
                  <a:cubicBezTo>
                    <a:pt x="106" y="752"/>
                    <a:pt x="106" y="752"/>
                    <a:pt x="107" y="752"/>
                  </a:cubicBezTo>
                  <a:cubicBezTo>
                    <a:pt x="107" y="751"/>
                    <a:pt x="107" y="751"/>
                    <a:pt x="107" y="751"/>
                  </a:cubicBezTo>
                  <a:cubicBezTo>
                    <a:pt x="108" y="751"/>
                    <a:pt x="108" y="751"/>
                    <a:pt x="109" y="751"/>
                  </a:cubicBezTo>
                  <a:cubicBezTo>
                    <a:pt x="109" y="751"/>
                    <a:pt x="110" y="750"/>
                    <a:pt x="110" y="750"/>
                  </a:cubicBezTo>
                  <a:cubicBezTo>
                    <a:pt x="111" y="750"/>
                    <a:pt x="111" y="750"/>
                    <a:pt x="112" y="750"/>
                  </a:cubicBezTo>
                  <a:cubicBezTo>
                    <a:pt x="112" y="749"/>
                    <a:pt x="112" y="749"/>
                    <a:pt x="112" y="749"/>
                  </a:cubicBezTo>
                  <a:cubicBezTo>
                    <a:pt x="113" y="749"/>
                    <a:pt x="113" y="749"/>
                    <a:pt x="114" y="749"/>
                  </a:cubicBezTo>
                  <a:cubicBezTo>
                    <a:pt x="114" y="749"/>
                    <a:pt x="114" y="749"/>
                    <a:pt x="114" y="749"/>
                  </a:cubicBezTo>
                  <a:cubicBezTo>
                    <a:pt x="115" y="748"/>
                    <a:pt x="115" y="748"/>
                    <a:pt x="116" y="748"/>
                  </a:cubicBezTo>
                  <a:cubicBezTo>
                    <a:pt x="116" y="748"/>
                    <a:pt x="116" y="748"/>
                    <a:pt x="117" y="748"/>
                  </a:cubicBezTo>
                  <a:cubicBezTo>
                    <a:pt x="117" y="748"/>
                    <a:pt x="117" y="747"/>
                    <a:pt x="118" y="747"/>
                  </a:cubicBezTo>
                  <a:cubicBezTo>
                    <a:pt x="118" y="747"/>
                    <a:pt x="118" y="747"/>
                    <a:pt x="118" y="747"/>
                  </a:cubicBezTo>
                  <a:cubicBezTo>
                    <a:pt x="119" y="747"/>
                    <a:pt x="120" y="746"/>
                    <a:pt x="121" y="746"/>
                  </a:cubicBezTo>
                  <a:cubicBezTo>
                    <a:pt x="122" y="746"/>
                    <a:pt x="122" y="745"/>
                    <a:pt x="123" y="745"/>
                  </a:cubicBezTo>
                  <a:cubicBezTo>
                    <a:pt x="125" y="744"/>
                    <a:pt x="127" y="744"/>
                    <a:pt x="130" y="743"/>
                  </a:cubicBezTo>
                  <a:cubicBezTo>
                    <a:pt x="130" y="743"/>
                    <a:pt x="131" y="742"/>
                    <a:pt x="131" y="742"/>
                  </a:cubicBezTo>
                  <a:cubicBezTo>
                    <a:pt x="133" y="742"/>
                    <a:pt x="134" y="741"/>
                    <a:pt x="136" y="741"/>
                  </a:cubicBezTo>
                  <a:cubicBezTo>
                    <a:pt x="136" y="740"/>
                    <a:pt x="136" y="740"/>
                    <a:pt x="137" y="740"/>
                  </a:cubicBezTo>
                  <a:cubicBezTo>
                    <a:pt x="142" y="738"/>
                    <a:pt x="148" y="736"/>
                    <a:pt x="153" y="735"/>
                  </a:cubicBezTo>
                  <a:cubicBezTo>
                    <a:pt x="155" y="734"/>
                    <a:pt x="157" y="733"/>
                    <a:pt x="159" y="733"/>
                  </a:cubicBezTo>
                  <a:cubicBezTo>
                    <a:pt x="163" y="731"/>
                    <a:pt x="166" y="730"/>
                    <a:pt x="170" y="729"/>
                  </a:cubicBezTo>
                  <a:cubicBezTo>
                    <a:pt x="171" y="729"/>
                    <a:pt x="172" y="728"/>
                    <a:pt x="172" y="728"/>
                  </a:cubicBezTo>
                  <a:cubicBezTo>
                    <a:pt x="175" y="727"/>
                    <a:pt x="177" y="727"/>
                    <a:pt x="180" y="726"/>
                  </a:cubicBezTo>
                  <a:cubicBezTo>
                    <a:pt x="180" y="726"/>
                    <a:pt x="180" y="726"/>
                    <a:pt x="181" y="726"/>
                  </a:cubicBezTo>
                  <a:cubicBezTo>
                    <a:pt x="183" y="725"/>
                    <a:pt x="185" y="724"/>
                    <a:pt x="187" y="724"/>
                  </a:cubicBezTo>
                  <a:cubicBezTo>
                    <a:pt x="188" y="724"/>
                    <a:pt x="188" y="724"/>
                    <a:pt x="188" y="724"/>
                  </a:cubicBezTo>
                  <a:cubicBezTo>
                    <a:pt x="188" y="723"/>
                    <a:pt x="188" y="723"/>
                    <a:pt x="188" y="723"/>
                  </a:cubicBezTo>
                  <a:cubicBezTo>
                    <a:pt x="189" y="723"/>
                    <a:pt x="190" y="723"/>
                    <a:pt x="192" y="722"/>
                  </a:cubicBezTo>
                  <a:cubicBezTo>
                    <a:pt x="193" y="722"/>
                    <a:pt x="194" y="722"/>
                    <a:pt x="195" y="721"/>
                  </a:cubicBezTo>
                  <a:cubicBezTo>
                    <a:pt x="198" y="720"/>
                    <a:pt x="202" y="718"/>
                    <a:pt x="206" y="717"/>
                  </a:cubicBezTo>
                  <a:moveTo>
                    <a:pt x="1411" y="759"/>
                  </a:moveTo>
                  <a:cubicBezTo>
                    <a:pt x="1410" y="785"/>
                    <a:pt x="1408" y="810"/>
                    <a:pt x="1404" y="834"/>
                  </a:cubicBezTo>
                  <a:cubicBezTo>
                    <a:pt x="1404" y="836"/>
                    <a:pt x="1404" y="837"/>
                    <a:pt x="1404" y="839"/>
                  </a:cubicBezTo>
                  <a:cubicBezTo>
                    <a:pt x="1404" y="839"/>
                    <a:pt x="1404" y="840"/>
                    <a:pt x="1404" y="840"/>
                  </a:cubicBezTo>
                  <a:cubicBezTo>
                    <a:pt x="1405" y="838"/>
                    <a:pt x="1405" y="836"/>
                    <a:pt x="1405" y="834"/>
                  </a:cubicBezTo>
                  <a:cubicBezTo>
                    <a:pt x="1409" y="811"/>
                    <a:pt x="1411" y="787"/>
                    <a:pt x="1412" y="762"/>
                  </a:cubicBezTo>
                  <a:cubicBezTo>
                    <a:pt x="1412" y="761"/>
                    <a:pt x="1412" y="760"/>
                    <a:pt x="1411" y="759"/>
                  </a:cubicBezTo>
                  <a:moveTo>
                    <a:pt x="21" y="798"/>
                  </a:moveTo>
                  <a:cubicBezTo>
                    <a:pt x="20" y="799"/>
                    <a:pt x="19" y="799"/>
                    <a:pt x="18" y="800"/>
                  </a:cubicBezTo>
                  <a:cubicBezTo>
                    <a:pt x="16" y="801"/>
                    <a:pt x="15" y="803"/>
                    <a:pt x="14" y="804"/>
                  </a:cubicBezTo>
                  <a:cubicBezTo>
                    <a:pt x="13" y="804"/>
                    <a:pt x="13" y="805"/>
                    <a:pt x="13" y="805"/>
                  </a:cubicBezTo>
                  <a:cubicBezTo>
                    <a:pt x="12" y="806"/>
                    <a:pt x="11" y="807"/>
                    <a:pt x="10" y="808"/>
                  </a:cubicBezTo>
                  <a:cubicBezTo>
                    <a:pt x="10" y="808"/>
                    <a:pt x="10" y="809"/>
                    <a:pt x="9" y="809"/>
                  </a:cubicBezTo>
                  <a:cubicBezTo>
                    <a:pt x="8" y="810"/>
                    <a:pt x="8" y="811"/>
                    <a:pt x="7" y="812"/>
                  </a:cubicBezTo>
                  <a:cubicBezTo>
                    <a:pt x="7" y="812"/>
                    <a:pt x="8" y="812"/>
                    <a:pt x="9" y="812"/>
                  </a:cubicBezTo>
                  <a:cubicBezTo>
                    <a:pt x="9" y="811"/>
                    <a:pt x="10" y="810"/>
                    <a:pt x="10" y="809"/>
                  </a:cubicBezTo>
                  <a:cubicBezTo>
                    <a:pt x="10" y="809"/>
                    <a:pt x="11" y="809"/>
                    <a:pt x="11" y="809"/>
                  </a:cubicBezTo>
                  <a:cubicBezTo>
                    <a:pt x="12" y="807"/>
                    <a:pt x="13" y="806"/>
                    <a:pt x="14" y="805"/>
                  </a:cubicBezTo>
                  <a:cubicBezTo>
                    <a:pt x="14" y="805"/>
                    <a:pt x="15" y="804"/>
                    <a:pt x="15" y="804"/>
                  </a:cubicBezTo>
                  <a:cubicBezTo>
                    <a:pt x="16" y="803"/>
                    <a:pt x="18" y="801"/>
                    <a:pt x="20" y="799"/>
                  </a:cubicBezTo>
                  <a:cubicBezTo>
                    <a:pt x="20" y="799"/>
                    <a:pt x="20" y="799"/>
                    <a:pt x="21" y="799"/>
                  </a:cubicBezTo>
                  <a:cubicBezTo>
                    <a:pt x="21" y="799"/>
                    <a:pt x="21" y="799"/>
                    <a:pt x="21" y="798"/>
                  </a:cubicBezTo>
                  <a:cubicBezTo>
                    <a:pt x="21" y="798"/>
                    <a:pt x="21" y="798"/>
                    <a:pt x="21" y="798"/>
                  </a:cubicBezTo>
                  <a:cubicBezTo>
                    <a:pt x="21" y="798"/>
                    <a:pt x="21" y="798"/>
                    <a:pt x="21" y="798"/>
                  </a:cubicBezTo>
                  <a:moveTo>
                    <a:pt x="7" y="813"/>
                  </a:moveTo>
                  <a:cubicBezTo>
                    <a:pt x="7" y="814"/>
                    <a:pt x="6" y="814"/>
                    <a:pt x="6" y="814"/>
                  </a:cubicBezTo>
                  <a:cubicBezTo>
                    <a:pt x="5" y="816"/>
                    <a:pt x="4" y="817"/>
                    <a:pt x="3" y="819"/>
                  </a:cubicBezTo>
                  <a:cubicBezTo>
                    <a:pt x="3" y="819"/>
                    <a:pt x="3" y="819"/>
                    <a:pt x="3" y="820"/>
                  </a:cubicBezTo>
                  <a:cubicBezTo>
                    <a:pt x="2" y="820"/>
                    <a:pt x="2" y="821"/>
                    <a:pt x="2" y="822"/>
                  </a:cubicBezTo>
                  <a:cubicBezTo>
                    <a:pt x="2" y="822"/>
                    <a:pt x="2" y="823"/>
                    <a:pt x="1" y="823"/>
                  </a:cubicBezTo>
                  <a:cubicBezTo>
                    <a:pt x="1" y="823"/>
                    <a:pt x="1" y="824"/>
                    <a:pt x="1" y="824"/>
                  </a:cubicBezTo>
                  <a:cubicBezTo>
                    <a:pt x="1" y="824"/>
                    <a:pt x="2" y="824"/>
                    <a:pt x="2" y="823"/>
                  </a:cubicBezTo>
                  <a:cubicBezTo>
                    <a:pt x="2" y="823"/>
                    <a:pt x="2" y="823"/>
                    <a:pt x="2" y="823"/>
                  </a:cubicBezTo>
                  <a:cubicBezTo>
                    <a:pt x="2" y="823"/>
                    <a:pt x="3" y="822"/>
                    <a:pt x="3" y="822"/>
                  </a:cubicBezTo>
                  <a:cubicBezTo>
                    <a:pt x="3" y="822"/>
                    <a:pt x="3" y="821"/>
                    <a:pt x="3" y="820"/>
                  </a:cubicBezTo>
                  <a:cubicBezTo>
                    <a:pt x="4" y="820"/>
                    <a:pt x="4" y="820"/>
                    <a:pt x="4" y="819"/>
                  </a:cubicBezTo>
                  <a:cubicBezTo>
                    <a:pt x="5" y="817"/>
                    <a:pt x="6" y="815"/>
                    <a:pt x="7" y="813"/>
                  </a:cubicBezTo>
                  <a:moveTo>
                    <a:pt x="2" y="825"/>
                  </a:moveTo>
                  <a:cubicBezTo>
                    <a:pt x="1" y="825"/>
                    <a:pt x="1" y="825"/>
                    <a:pt x="1" y="826"/>
                  </a:cubicBezTo>
                  <a:cubicBezTo>
                    <a:pt x="0" y="826"/>
                    <a:pt x="0" y="827"/>
                    <a:pt x="0" y="828"/>
                  </a:cubicBezTo>
                  <a:cubicBezTo>
                    <a:pt x="0" y="829"/>
                    <a:pt x="0" y="829"/>
                    <a:pt x="0" y="830"/>
                  </a:cubicBezTo>
                  <a:cubicBezTo>
                    <a:pt x="0" y="831"/>
                    <a:pt x="0" y="832"/>
                    <a:pt x="0" y="833"/>
                  </a:cubicBezTo>
                  <a:cubicBezTo>
                    <a:pt x="0" y="833"/>
                    <a:pt x="0" y="833"/>
                    <a:pt x="1" y="833"/>
                  </a:cubicBezTo>
                  <a:cubicBezTo>
                    <a:pt x="1" y="832"/>
                    <a:pt x="1" y="831"/>
                    <a:pt x="1" y="830"/>
                  </a:cubicBezTo>
                  <a:cubicBezTo>
                    <a:pt x="1" y="830"/>
                    <a:pt x="1" y="830"/>
                    <a:pt x="1" y="829"/>
                  </a:cubicBezTo>
                  <a:cubicBezTo>
                    <a:pt x="1" y="828"/>
                    <a:pt x="1" y="826"/>
                    <a:pt x="2" y="825"/>
                  </a:cubicBezTo>
                  <a:moveTo>
                    <a:pt x="1" y="834"/>
                  </a:moveTo>
                  <a:cubicBezTo>
                    <a:pt x="0" y="834"/>
                    <a:pt x="0" y="834"/>
                    <a:pt x="0" y="834"/>
                  </a:cubicBezTo>
                  <a:cubicBezTo>
                    <a:pt x="0" y="835"/>
                    <a:pt x="0" y="836"/>
                    <a:pt x="0" y="837"/>
                  </a:cubicBezTo>
                  <a:cubicBezTo>
                    <a:pt x="0" y="837"/>
                    <a:pt x="0" y="838"/>
                    <a:pt x="0" y="839"/>
                  </a:cubicBezTo>
                  <a:cubicBezTo>
                    <a:pt x="0" y="840"/>
                    <a:pt x="1" y="841"/>
                    <a:pt x="1" y="842"/>
                  </a:cubicBezTo>
                  <a:cubicBezTo>
                    <a:pt x="1" y="842"/>
                    <a:pt x="1" y="842"/>
                    <a:pt x="1" y="842"/>
                  </a:cubicBezTo>
                  <a:cubicBezTo>
                    <a:pt x="1" y="842"/>
                    <a:pt x="1" y="842"/>
                    <a:pt x="2" y="842"/>
                  </a:cubicBezTo>
                  <a:cubicBezTo>
                    <a:pt x="2" y="841"/>
                    <a:pt x="2" y="841"/>
                    <a:pt x="1" y="840"/>
                  </a:cubicBezTo>
                  <a:cubicBezTo>
                    <a:pt x="1" y="840"/>
                    <a:pt x="1" y="839"/>
                    <a:pt x="1" y="838"/>
                  </a:cubicBezTo>
                  <a:cubicBezTo>
                    <a:pt x="1" y="837"/>
                    <a:pt x="1" y="835"/>
                    <a:pt x="1" y="834"/>
                  </a:cubicBezTo>
                  <a:moveTo>
                    <a:pt x="1403" y="840"/>
                  </a:moveTo>
                  <a:cubicBezTo>
                    <a:pt x="1401" y="857"/>
                    <a:pt x="1397" y="874"/>
                    <a:pt x="1392" y="892"/>
                  </a:cubicBezTo>
                  <a:cubicBezTo>
                    <a:pt x="1393" y="892"/>
                    <a:pt x="1393" y="893"/>
                    <a:pt x="1393" y="893"/>
                  </a:cubicBezTo>
                  <a:cubicBezTo>
                    <a:pt x="1397" y="876"/>
                    <a:pt x="1401" y="859"/>
                    <a:pt x="1404" y="842"/>
                  </a:cubicBezTo>
                  <a:cubicBezTo>
                    <a:pt x="1404" y="841"/>
                    <a:pt x="1404" y="841"/>
                    <a:pt x="1403" y="840"/>
                  </a:cubicBezTo>
                  <a:moveTo>
                    <a:pt x="2" y="843"/>
                  </a:moveTo>
                  <a:cubicBezTo>
                    <a:pt x="2" y="843"/>
                    <a:pt x="2" y="843"/>
                    <a:pt x="1" y="843"/>
                  </a:cubicBezTo>
                  <a:cubicBezTo>
                    <a:pt x="3" y="847"/>
                    <a:pt x="4" y="850"/>
                    <a:pt x="7" y="854"/>
                  </a:cubicBezTo>
                  <a:cubicBezTo>
                    <a:pt x="7" y="854"/>
                    <a:pt x="8" y="854"/>
                    <a:pt x="8" y="853"/>
                  </a:cubicBezTo>
                  <a:cubicBezTo>
                    <a:pt x="5" y="850"/>
                    <a:pt x="3" y="846"/>
                    <a:pt x="2" y="843"/>
                  </a:cubicBezTo>
                  <a:cubicBezTo>
                    <a:pt x="2" y="843"/>
                    <a:pt x="2" y="843"/>
                    <a:pt x="2" y="843"/>
                  </a:cubicBezTo>
                  <a:moveTo>
                    <a:pt x="8" y="854"/>
                  </a:moveTo>
                  <a:cubicBezTo>
                    <a:pt x="8" y="854"/>
                    <a:pt x="8" y="855"/>
                    <a:pt x="8" y="855"/>
                  </a:cubicBezTo>
                  <a:cubicBezTo>
                    <a:pt x="8" y="855"/>
                    <a:pt x="8" y="856"/>
                    <a:pt x="8" y="856"/>
                  </a:cubicBezTo>
                  <a:cubicBezTo>
                    <a:pt x="8" y="855"/>
                    <a:pt x="8" y="855"/>
                    <a:pt x="8" y="854"/>
                  </a:cubicBezTo>
                  <a:moveTo>
                    <a:pt x="9" y="855"/>
                  </a:moveTo>
                  <a:cubicBezTo>
                    <a:pt x="10" y="856"/>
                    <a:pt x="10" y="857"/>
                    <a:pt x="10" y="858"/>
                  </a:cubicBezTo>
                  <a:cubicBezTo>
                    <a:pt x="11" y="859"/>
                    <a:pt x="13" y="861"/>
                    <a:pt x="15" y="863"/>
                  </a:cubicBezTo>
                  <a:cubicBezTo>
                    <a:pt x="15" y="863"/>
                    <a:pt x="16" y="864"/>
                    <a:pt x="16" y="864"/>
                  </a:cubicBezTo>
                  <a:cubicBezTo>
                    <a:pt x="16" y="863"/>
                    <a:pt x="16" y="863"/>
                    <a:pt x="16" y="862"/>
                  </a:cubicBezTo>
                  <a:cubicBezTo>
                    <a:pt x="13" y="860"/>
                    <a:pt x="11" y="858"/>
                    <a:pt x="9" y="855"/>
                  </a:cubicBezTo>
                  <a:moveTo>
                    <a:pt x="17" y="863"/>
                  </a:moveTo>
                  <a:cubicBezTo>
                    <a:pt x="17" y="864"/>
                    <a:pt x="17" y="864"/>
                    <a:pt x="17" y="865"/>
                  </a:cubicBezTo>
                  <a:cubicBezTo>
                    <a:pt x="33" y="879"/>
                    <a:pt x="61" y="893"/>
                    <a:pt x="103" y="907"/>
                  </a:cubicBezTo>
                  <a:cubicBezTo>
                    <a:pt x="103" y="907"/>
                    <a:pt x="103" y="907"/>
                    <a:pt x="104" y="907"/>
                  </a:cubicBezTo>
                  <a:cubicBezTo>
                    <a:pt x="104" y="907"/>
                    <a:pt x="105" y="908"/>
                    <a:pt x="105" y="908"/>
                  </a:cubicBezTo>
                  <a:cubicBezTo>
                    <a:pt x="108" y="909"/>
                    <a:pt x="111" y="910"/>
                    <a:pt x="114" y="911"/>
                  </a:cubicBezTo>
                  <a:cubicBezTo>
                    <a:pt x="115" y="911"/>
                    <a:pt x="115" y="911"/>
                    <a:pt x="115" y="911"/>
                  </a:cubicBezTo>
                  <a:cubicBezTo>
                    <a:pt x="121" y="913"/>
                    <a:pt x="126" y="914"/>
                    <a:pt x="132" y="916"/>
                  </a:cubicBezTo>
                  <a:cubicBezTo>
                    <a:pt x="133" y="916"/>
                    <a:pt x="133" y="916"/>
                    <a:pt x="133" y="916"/>
                  </a:cubicBezTo>
                  <a:cubicBezTo>
                    <a:pt x="145" y="920"/>
                    <a:pt x="156" y="923"/>
                    <a:pt x="169" y="926"/>
                  </a:cubicBezTo>
                  <a:cubicBezTo>
                    <a:pt x="170" y="926"/>
                    <a:pt x="170" y="926"/>
                    <a:pt x="170" y="926"/>
                  </a:cubicBezTo>
                  <a:cubicBezTo>
                    <a:pt x="181" y="929"/>
                    <a:pt x="193" y="932"/>
                    <a:pt x="205" y="934"/>
                  </a:cubicBezTo>
                  <a:cubicBezTo>
                    <a:pt x="206" y="934"/>
                    <a:pt x="206" y="934"/>
                    <a:pt x="207" y="934"/>
                  </a:cubicBezTo>
                  <a:cubicBezTo>
                    <a:pt x="194" y="931"/>
                    <a:pt x="182" y="928"/>
                    <a:pt x="171" y="925"/>
                  </a:cubicBezTo>
                  <a:cubicBezTo>
                    <a:pt x="171" y="925"/>
                    <a:pt x="170" y="925"/>
                    <a:pt x="170" y="925"/>
                  </a:cubicBezTo>
                  <a:cubicBezTo>
                    <a:pt x="157" y="922"/>
                    <a:pt x="145" y="919"/>
                    <a:pt x="134" y="916"/>
                  </a:cubicBezTo>
                  <a:cubicBezTo>
                    <a:pt x="134" y="916"/>
                    <a:pt x="133" y="915"/>
                    <a:pt x="133" y="915"/>
                  </a:cubicBezTo>
                  <a:cubicBezTo>
                    <a:pt x="127" y="914"/>
                    <a:pt x="122" y="912"/>
                    <a:pt x="116" y="910"/>
                  </a:cubicBezTo>
                  <a:cubicBezTo>
                    <a:pt x="116" y="910"/>
                    <a:pt x="116" y="910"/>
                    <a:pt x="115" y="910"/>
                  </a:cubicBezTo>
                  <a:cubicBezTo>
                    <a:pt x="112" y="909"/>
                    <a:pt x="109" y="908"/>
                    <a:pt x="106" y="907"/>
                  </a:cubicBezTo>
                  <a:cubicBezTo>
                    <a:pt x="106" y="907"/>
                    <a:pt x="105" y="907"/>
                    <a:pt x="105" y="907"/>
                  </a:cubicBezTo>
                  <a:cubicBezTo>
                    <a:pt x="105" y="907"/>
                    <a:pt x="104" y="906"/>
                    <a:pt x="104" y="906"/>
                  </a:cubicBezTo>
                  <a:cubicBezTo>
                    <a:pt x="62" y="892"/>
                    <a:pt x="34" y="878"/>
                    <a:pt x="18" y="864"/>
                  </a:cubicBezTo>
                  <a:cubicBezTo>
                    <a:pt x="18" y="864"/>
                    <a:pt x="17" y="864"/>
                    <a:pt x="17" y="863"/>
                  </a:cubicBezTo>
                  <a:moveTo>
                    <a:pt x="1392" y="893"/>
                  </a:moveTo>
                  <a:cubicBezTo>
                    <a:pt x="1388" y="908"/>
                    <a:pt x="1385" y="922"/>
                    <a:pt x="1381" y="937"/>
                  </a:cubicBezTo>
                  <a:cubicBezTo>
                    <a:pt x="1381" y="937"/>
                    <a:pt x="1381" y="938"/>
                    <a:pt x="1382" y="938"/>
                  </a:cubicBezTo>
                  <a:cubicBezTo>
                    <a:pt x="1385" y="923"/>
                    <a:pt x="1389" y="909"/>
                    <a:pt x="1393" y="895"/>
                  </a:cubicBezTo>
                  <a:cubicBezTo>
                    <a:pt x="1392" y="894"/>
                    <a:pt x="1392" y="894"/>
                    <a:pt x="1392" y="893"/>
                  </a:cubicBezTo>
                  <a:moveTo>
                    <a:pt x="697" y="913"/>
                  </a:moveTo>
                  <a:cubicBezTo>
                    <a:pt x="697" y="913"/>
                    <a:pt x="697" y="913"/>
                    <a:pt x="697" y="913"/>
                  </a:cubicBezTo>
                  <a:cubicBezTo>
                    <a:pt x="696" y="913"/>
                    <a:pt x="695" y="913"/>
                    <a:pt x="694" y="913"/>
                  </a:cubicBezTo>
                  <a:cubicBezTo>
                    <a:pt x="694" y="913"/>
                    <a:pt x="695" y="914"/>
                    <a:pt x="695" y="914"/>
                  </a:cubicBezTo>
                  <a:cubicBezTo>
                    <a:pt x="695" y="914"/>
                    <a:pt x="696" y="914"/>
                    <a:pt x="697" y="914"/>
                  </a:cubicBezTo>
                  <a:cubicBezTo>
                    <a:pt x="701" y="914"/>
                    <a:pt x="705" y="914"/>
                    <a:pt x="708" y="914"/>
                  </a:cubicBezTo>
                  <a:cubicBezTo>
                    <a:pt x="708" y="914"/>
                    <a:pt x="708" y="913"/>
                    <a:pt x="708" y="913"/>
                  </a:cubicBezTo>
                  <a:cubicBezTo>
                    <a:pt x="704" y="913"/>
                    <a:pt x="701" y="913"/>
                    <a:pt x="697" y="913"/>
                  </a:cubicBezTo>
                  <a:moveTo>
                    <a:pt x="693" y="913"/>
                  </a:moveTo>
                  <a:cubicBezTo>
                    <a:pt x="688" y="913"/>
                    <a:pt x="684" y="913"/>
                    <a:pt x="679" y="913"/>
                  </a:cubicBezTo>
                  <a:cubicBezTo>
                    <a:pt x="679" y="914"/>
                    <a:pt x="679" y="914"/>
                    <a:pt x="679" y="914"/>
                  </a:cubicBezTo>
                  <a:cubicBezTo>
                    <a:pt x="684" y="914"/>
                    <a:pt x="689" y="914"/>
                    <a:pt x="694" y="914"/>
                  </a:cubicBezTo>
                  <a:cubicBezTo>
                    <a:pt x="693" y="914"/>
                    <a:pt x="693" y="913"/>
                    <a:pt x="693" y="913"/>
                  </a:cubicBezTo>
                  <a:moveTo>
                    <a:pt x="709" y="913"/>
                  </a:moveTo>
                  <a:cubicBezTo>
                    <a:pt x="709" y="914"/>
                    <a:pt x="709" y="914"/>
                    <a:pt x="709" y="914"/>
                  </a:cubicBezTo>
                  <a:cubicBezTo>
                    <a:pt x="715" y="914"/>
                    <a:pt x="719" y="915"/>
                    <a:pt x="724" y="915"/>
                  </a:cubicBezTo>
                  <a:cubicBezTo>
                    <a:pt x="724" y="915"/>
                    <a:pt x="724" y="915"/>
                    <a:pt x="723" y="914"/>
                  </a:cubicBezTo>
                  <a:cubicBezTo>
                    <a:pt x="719" y="914"/>
                    <a:pt x="714" y="913"/>
                    <a:pt x="709" y="913"/>
                  </a:cubicBezTo>
                  <a:moveTo>
                    <a:pt x="678" y="913"/>
                  </a:moveTo>
                  <a:cubicBezTo>
                    <a:pt x="673" y="914"/>
                    <a:pt x="668" y="914"/>
                    <a:pt x="663" y="914"/>
                  </a:cubicBezTo>
                  <a:cubicBezTo>
                    <a:pt x="664" y="915"/>
                    <a:pt x="664" y="915"/>
                    <a:pt x="664" y="915"/>
                  </a:cubicBezTo>
                  <a:cubicBezTo>
                    <a:pt x="669" y="915"/>
                    <a:pt x="673" y="915"/>
                    <a:pt x="678" y="914"/>
                  </a:cubicBezTo>
                  <a:cubicBezTo>
                    <a:pt x="678" y="914"/>
                    <a:pt x="678" y="914"/>
                    <a:pt x="678" y="913"/>
                  </a:cubicBezTo>
                  <a:moveTo>
                    <a:pt x="725" y="914"/>
                  </a:moveTo>
                  <a:cubicBezTo>
                    <a:pt x="725" y="915"/>
                    <a:pt x="725" y="915"/>
                    <a:pt x="726" y="916"/>
                  </a:cubicBezTo>
                  <a:cubicBezTo>
                    <a:pt x="731" y="916"/>
                    <a:pt x="737" y="917"/>
                    <a:pt x="742" y="918"/>
                  </a:cubicBezTo>
                  <a:cubicBezTo>
                    <a:pt x="741" y="918"/>
                    <a:pt x="741" y="917"/>
                    <a:pt x="741" y="917"/>
                  </a:cubicBezTo>
                  <a:cubicBezTo>
                    <a:pt x="736" y="916"/>
                    <a:pt x="730" y="915"/>
                    <a:pt x="725" y="914"/>
                  </a:cubicBezTo>
                  <a:moveTo>
                    <a:pt x="662" y="915"/>
                  </a:moveTo>
                  <a:cubicBezTo>
                    <a:pt x="659" y="915"/>
                    <a:pt x="655" y="915"/>
                    <a:pt x="651" y="916"/>
                  </a:cubicBezTo>
                  <a:cubicBezTo>
                    <a:pt x="647" y="916"/>
                    <a:pt x="644" y="917"/>
                    <a:pt x="640" y="917"/>
                  </a:cubicBezTo>
                  <a:cubicBezTo>
                    <a:pt x="637" y="918"/>
                    <a:pt x="635" y="918"/>
                    <a:pt x="632" y="919"/>
                  </a:cubicBezTo>
                  <a:cubicBezTo>
                    <a:pt x="634" y="919"/>
                    <a:pt x="635" y="919"/>
                    <a:pt x="636" y="918"/>
                  </a:cubicBezTo>
                  <a:cubicBezTo>
                    <a:pt x="645" y="917"/>
                    <a:pt x="654" y="916"/>
                    <a:pt x="663" y="916"/>
                  </a:cubicBezTo>
                  <a:cubicBezTo>
                    <a:pt x="663" y="915"/>
                    <a:pt x="663" y="915"/>
                    <a:pt x="662" y="915"/>
                  </a:cubicBezTo>
                  <a:moveTo>
                    <a:pt x="742" y="917"/>
                  </a:moveTo>
                  <a:cubicBezTo>
                    <a:pt x="743" y="918"/>
                    <a:pt x="743" y="918"/>
                    <a:pt x="743" y="919"/>
                  </a:cubicBezTo>
                  <a:cubicBezTo>
                    <a:pt x="755" y="921"/>
                    <a:pt x="765" y="925"/>
                    <a:pt x="774" y="931"/>
                  </a:cubicBezTo>
                  <a:cubicBezTo>
                    <a:pt x="774" y="931"/>
                    <a:pt x="774" y="931"/>
                    <a:pt x="775" y="932"/>
                  </a:cubicBezTo>
                  <a:cubicBezTo>
                    <a:pt x="774" y="931"/>
                    <a:pt x="774" y="931"/>
                    <a:pt x="774" y="930"/>
                  </a:cubicBezTo>
                  <a:cubicBezTo>
                    <a:pt x="765" y="924"/>
                    <a:pt x="754" y="920"/>
                    <a:pt x="742" y="917"/>
                  </a:cubicBezTo>
                  <a:moveTo>
                    <a:pt x="626" y="919"/>
                  </a:moveTo>
                  <a:cubicBezTo>
                    <a:pt x="624" y="919"/>
                    <a:pt x="622" y="919"/>
                    <a:pt x="621" y="919"/>
                  </a:cubicBezTo>
                  <a:cubicBezTo>
                    <a:pt x="620" y="920"/>
                    <a:pt x="619" y="920"/>
                    <a:pt x="618" y="920"/>
                  </a:cubicBezTo>
                  <a:cubicBezTo>
                    <a:pt x="617" y="920"/>
                    <a:pt x="615" y="920"/>
                    <a:pt x="613" y="920"/>
                  </a:cubicBezTo>
                  <a:cubicBezTo>
                    <a:pt x="613" y="920"/>
                    <a:pt x="613" y="921"/>
                    <a:pt x="613" y="921"/>
                  </a:cubicBezTo>
                  <a:cubicBezTo>
                    <a:pt x="604" y="922"/>
                    <a:pt x="595" y="923"/>
                    <a:pt x="585" y="925"/>
                  </a:cubicBezTo>
                  <a:cubicBezTo>
                    <a:pt x="581" y="926"/>
                    <a:pt x="577" y="926"/>
                    <a:pt x="573" y="927"/>
                  </a:cubicBezTo>
                  <a:cubicBezTo>
                    <a:pt x="568" y="928"/>
                    <a:pt x="563" y="929"/>
                    <a:pt x="558" y="930"/>
                  </a:cubicBezTo>
                  <a:cubicBezTo>
                    <a:pt x="568" y="929"/>
                    <a:pt x="577" y="927"/>
                    <a:pt x="586" y="926"/>
                  </a:cubicBezTo>
                  <a:cubicBezTo>
                    <a:pt x="586" y="926"/>
                    <a:pt x="586" y="926"/>
                    <a:pt x="586" y="926"/>
                  </a:cubicBezTo>
                  <a:cubicBezTo>
                    <a:pt x="588" y="925"/>
                    <a:pt x="589" y="925"/>
                    <a:pt x="591" y="925"/>
                  </a:cubicBezTo>
                  <a:cubicBezTo>
                    <a:pt x="592" y="925"/>
                    <a:pt x="593" y="925"/>
                    <a:pt x="594" y="924"/>
                  </a:cubicBezTo>
                  <a:cubicBezTo>
                    <a:pt x="594" y="924"/>
                    <a:pt x="594" y="924"/>
                    <a:pt x="595" y="924"/>
                  </a:cubicBezTo>
                  <a:cubicBezTo>
                    <a:pt x="605" y="922"/>
                    <a:pt x="615" y="920"/>
                    <a:pt x="626" y="919"/>
                  </a:cubicBezTo>
                  <a:moveTo>
                    <a:pt x="558" y="929"/>
                  </a:moveTo>
                  <a:cubicBezTo>
                    <a:pt x="548" y="931"/>
                    <a:pt x="537" y="933"/>
                    <a:pt x="527" y="935"/>
                  </a:cubicBezTo>
                  <a:cubicBezTo>
                    <a:pt x="526" y="935"/>
                    <a:pt x="526" y="935"/>
                    <a:pt x="525" y="935"/>
                  </a:cubicBezTo>
                  <a:cubicBezTo>
                    <a:pt x="509" y="938"/>
                    <a:pt x="492" y="941"/>
                    <a:pt x="475" y="943"/>
                  </a:cubicBezTo>
                  <a:cubicBezTo>
                    <a:pt x="472" y="944"/>
                    <a:pt x="469" y="945"/>
                    <a:pt x="466" y="945"/>
                  </a:cubicBezTo>
                  <a:cubicBezTo>
                    <a:pt x="468" y="945"/>
                    <a:pt x="470" y="945"/>
                    <a:pt x="472" y="945"/>
                  </a:cubicBezTo>
                  <a:cubicBezTo>
                    <a:pt x="472" y="944"/>
                    <a:pt x="473" y="944"/>
                    <a:pt x="473" y="944"/>
                  </a:cubicBezTo>
                  <a:cubicBezTo>
                    <a:pt x="491" y="942"/>
                    <a:pt x="509" y="939"/>
                    <a:pt x="526" y="936"/>
                  </a:cubicBezTo>
                  <a:cubicBezTo>
                    <a:pt x="527" y="936"/>
                    <a:pt x="527" y="936"/>
                    <a:pt x="527" y="936"/>
                  </a:cubicBezTo>
                  <a:cubicBezTo>
                    <a:pt x="533" y="935"/>
                    <a:pt x="538" y="934"/>
                    <a:pt x="543" y="933"/>
                  </a:cubicBezTo>
                  <a:cubicBezTo>
                    <a:pt x="548" y="932"/>
                    <a:pt x="553" y="931"/>
                    <a:pt x="558" y="929"/>
                  </a:cubicBezTo>
                  <a:moveTo>
                    <a:pt x="775" y="931"/>
                  </a:moveTo>
                  <a:cubicBezTo>
                    <a:pt x="776" y="932"/>
                    <a:pt x="776" y="932"/>
                    <a:pt x="776" y="933"/>
                  </a:cubicBezTo>
                  <a:cubicBezTo>
                    <a:pt x="788" y="941"/>
                    <a:pt x="797" y="952"/>
                    <a:pt x="803" y="966"/>
                  </a:cubicBezTo>
                  <a:cubicBezTo>
                    <a:pt x="803" y="966"/>
                    <a:pt x="803" y="967"/>
                    <a:pt x="803" y="967"/>
                  </a:cubicBezTo>
                  <a:cubicBezTo>
                    <a:pt x="803" y="967"/>
                    <a:pt x="804" y="967"/>
                    <a:pt x="804" y="967"/>
                  </a:cubicBezTo>
                  <a:cubicBezTo>
                    <a:pt x="803" y="966"/>
                    <a:pt x="803" y="965"/>
                    <a:pt x="803" y="963"/>
                  </a:cubicBezTo>
                  <a:cubicBezTo>
                    <a:pt x="796" y="949"/>
                    <a:pt x="787" y="939"/>
                    <a:pt x="776" y="931"/>
                  </a:cubicBezTo>
                  <a:cubicBezTo>
                    <a:pt x="776" y="931"/>
                    <a:pt x="776" y="931"/>
                    <a:pt x="775" y="931"/>
                  </a:cubicBezTo>
                  <a:moveTo>
                    <a:pt x="209" y="934"/>
                  </a:moveTo>
                  <a:cubicBezTo>
                    <a:pt x="208" y="934"/>
                    <a:pt x="208" y="935"/>
                    <a:pt x="207" y="935"/>
                  </a:cubicBezTo>
                  <a:cubicBezTo>
                    <a:pt x="211" y="936"/>
                    <a:pt x="216" y="937"/>
                    <a:pt x="221" y="938"/>
                  </a:cubicBezTo>
                  <a:cubicBezTo>
                    <a:pt x="221" y="938"/>
                    <a:pt x="221" y="938"/>
                    <a:pt x="222" y="938"/>
                  </a:cubicBezTo>
                  <a:cubicBezTo>
                    <a:pt x="225" y="939"/>
                    <a:pt x="228" y="939"/>
                    <a:pt x="231" y="940"/>
                  </a:cubicBezTo>
                  <a:cubicBezTo>
                    <a:pt x="232" y="940"/>
                    <a:pt x="232" y="940"/>
                    <a:pt x="233" y="939"/>
                  </a:cubicBezTo>
                  <a:cubicBezTo>
                    <a:pt x="229" y="939"/>
                    <a:pt x="226" y="938"/>
                    <a:pt x="222" y="937"/>
                  </a:cubicBezTo>
                  <a:cubicBezTo>
                    <a:pt x="222" y="937"/>
                    <a:pt x="221" y="937"/>
                    <a:pt x="221" y="937"/>
                  </a:cubicBezTo>
                  <a:cubicBezTo>
                    <a:pt x="217" y="936"/>
                    <a:pt x="213" y="935"/>
                    <a:pt x="209" y="934"/>
                  </a:cubicBezTo>
                  <a:moveTo>
                    <a:pt x="1380" y="938"/>
                  </a:moveTo>
                  <a:cubicBezTo>
                    <a:pt x="1377" y="951"/>
                    <a:pt x="1374" y="964"/>
                    <a:pt x="1371" y="978"/>
                  </a:cubicBezTo>
                  <a:cubicBezTo>
                    <a:pt x="1372" y="978"/>
                    <a:pt x="1372" y="978"/>
                    <a:pt x="1372" y="979"/>
                  </a:cubicBezTo>
                  <a:cubicBezTo>
                    <a:pt x="1375" y="966"/>
                    <a:pt x="1378" y="952"/>
                    <a:pt x="1381" y="939"/>
                  </a:cubicBezTo>
                  <a:cubicBezTo>
                    <a:pt x="1381" y="939"/>
                    <a:pt x="1381" y="939"/>
                    <a:pt x="1380" y="938"/>
                  </a:cubicBezTo>
                  <a:moveTo>
                    <a:pt x="235" y="940"/>
                  </a:moveTo>
                  <a:cubicBezTo>
                    <a:pt x="234" y="940"/>
                    <a:pt x="234" y="940"/>
                    <a:pt x="233" y="940"/>
                  </a:cubicBezTo>
                  <a:cubicBezTo>
                    <a:pt x="240" y="942"/>
                    <a:pt x="247" y="943"/>
                    <a:pt x="255" y="945"/>
                  </a:cubicBezTo>
                  <a:cubicBezTo>
                    <a:pt x="256" y="945"/>
                    <a:pt x="256" y="944"/>
                    <a:pt x="257" y="944"/>
                  </a:cubicBezTo>
                  <a:cubicBezTo>
                    <a:pt x="249" y="943"/>
                    <a:pt x="242" y="941"/>
                    <a:pt x="235" y="940"/>
                  </a:cubicBezTo>
                  <a:moveTo>
                    <a:pt x="466" y="944"/>
                  </a:moveTo>
                  <a:cubicBezTo>
                    <a:pt x="452" y="946"/>
                    <a:pt x="438" y="948"/>
                    <a:pt x="424" y="950"/>
                  </a:cubicBezTo>
                  <a:cubicBezTo>
                    <a:pt x="422" y="950"/>
                    <a:pt x="421" y="950"/>
                    <a:pt x="420" y="950"/>
                  </a:cubicBezTo>
                  <a:cubicBezTo>
                    <a:pt x="419" y="950"/>
                    <a:pt x="418" y="950"/>
                    <a:pt x="416" y="950"/>
                  </a:cubicBezTo>
                  <a:cubicBezTo>
                    <a:pt x="414" y="951"/>
                    <a:pt x="412" y="951"/>
                    <a:pt x="410" y="952"/>
                  </a:cubicBezTo>
                  <a:cubicBezTo>
                    <a:pt x="413" y="952"/>
                    <a:pt x="415" y="952"/>
                    <a:pt x="417" y="951"/>
                  </a:cubicBezTo>
                  <a:cubicBezTo>
                    <a:pt x="418" y="951"/>
                    <a:pt x="419" y="951"/>
                    <a:pt x="420" y="951"/>
                  </a:cubicBezTo>
                  <a:cubicBezTo>
                    <a:pt x="432" y="950"/>
                    <a:pt x="444" y="948"/>
                    <a:pt x="456" y="947"/>
                  </a:cubicBezTo>
                  <a:cubicBezTo>
                    <a:pt x="459" y="946"/>
                    <a:pt x="463" y="945"/>
                    <a:pt x="466" y="944"/>
                  </a:cubicBezTo>
                  <a:moveTo>
                    <a:pt x="259" y="945"/>
                  </a:moveTo>
                  <a:cubicBezTo>
                    <a:pt x="258" y="945"/>
                    <a:pt x="258" y="945"/>
                    <a:pt x="257" y="945"/>
                  </a:cubicBezTo>
                  <a:cubicBezTo>
                    <a:pt x="262" y="946"/>
                    <a:pt x="266" y="947"/>
                    <a:pt x="271" y="948"/>
                  </a:cubicBezTo>
                  <a:cubicBezTo>
                    <a:pt x="274" y="949"/>
                    <a:pt x="277" y="949"/>
                    <a:pt x="281" y="950"/>
                  </a:cubicBezTo>
                  <a:cubicBezTo>
                    <a:pt x="281" y="949"/>
                    <a:pt x="282" y="949"/>
                    <a:pt x="283" y="949"/>
                  </a:cubicBezTo>
                  <a:cubicBezTo>
                    <a:pt x="279" y="948"/>
                    <a:pt x="275" y="948"/>
                    <a:pt x="271" y="947"/>
                  </a:cubicBezTo>
                  <a:cubicBezTo>
                    <a:pt x="267" y="946"/>
                    <a:pt x="263" y="945"/>
                    <a:pt x="259" y="945"/>
                  </a:cubicBezTo>
                  <a:moveTo>
                    <a:pt x="285" y="949"/>
                  </a:moveTo>
                  <a:cubicBezTo>
                    <a:pt x="284" y="949"/>
                    <a:pt x="284" y="950"/>
                    <a:pt x="283" y="950"/>
                  </a:cubicBezTo>
                  <a:cubicBezTo>
                    <a:pt x="290" y="951"/>
                    <a:pt x="297" y="952"/>
                    <a:pt x="304" y="953"/>
                  </a:cubicBezTo>
                  <a:cubicBezTo>
                    <a:pt x="305" y="952"/>
                    <a:pt x="306" y="952"/>
                    <a:pt x="307" y="952"/>
                  </a:cubicBezTo>
                  <a:cubicBezTo>
                    <a:pt x="299" y="951"/>
                    <a:pt x="292" y="950"/>
                    <a:pt x="285" y="949"/>
                  </a:cubicBezTo>
                  <a:moveTo>
                    <a:pt x="410" y="951"/>
                  </a:moveTo>
                  <a:cubicBezTo>
                    <a:pt x="398" y="952"/>
                    <a:pt x="387" y="953"/>
                    <a:pt x="375" y="953"/>
                  </a:cubicBezTo>
                  <a:cubicBezTo>
                    <a:pt x="373" y="954"/>
                    <a:pt x="372" y="954"/>
                    <a:pt x="371" y="954"/>
                  </a:cubicBezTo>
                  <a:cubicBezTo>
                    <a:pt x="382" y="954"/>
                    <a:pt x="393" y="953"/>
                    <a:pt x="404" y="952"/>
                  </a:cubicBezTo>
                  <a:cubicBezTo>
                    <a:pt x="406" y="952"/>
                    <a:pt x="408" y="951"/>
                    <a:pt x="410" y="951"/>
                  </a:cubicBezTo>
                  <a:moveTo>
                    <a:pt x="310" y="952"/>
                  </a:moveTo>
                  <a:cubicBezTo>
                    <a:pt x="309" y="952"/>
                    <a:pt x="308" y="953"/>
                    <a:pt x="307" y="953"/>
                  </a:cubicBezTo>
                  <a:cubicBezTo>
                    <a:pt x="314" y="954"/>
                    <a:pt x="322" y="954"/>
                    <a:pt x="329" y="954"/>
                  </a:cubicBezTo>
                  <a:cubicBezTo>
                    <a:pt x="330" y="954"/>
                    <a:pt x="331" y="954"/>
                    <a:pt x="332" y="953"/>
                  </a:cubicBezTo>
                  <a:cubicBezTo>
                    <a:pt x="325" y="953"/>
                    <a:pt x="317" y="953"/>
                    <a:pt x="310" y="952"/>
                  </a:cubicBezTo>
                  <a:moveTo>
                    <a:pt x="370" y="953"/>
                  </a:moveTo>
                  <a:cubicBezTo>
                    <a:pt x="365" y="954"/>
                    <a:pt x="360" y="954"/>
                    <a:pt x="355" y="954"/>
                  </a:cubicBezTo>
                  <a:cubicBezTo>
                    <a:pt x="354" y="954"/>
                    <a:pt x="354" y="954"/>
                    <a:pt x="353" y="954"/>
                  </a:cubicBezTo>
                  <a:cubicBezTo>
                    <a:pt x="352" y="954"/>
                    <a:pt x="351" y="954"/>
                    <a:pt x="350" y="954"/>
                  </a:cubicBezTo>
                  <a:cubicBezTo>
                    <a:pt x="346" y="954"/>
                    <a:pt x="341" y="954"/>
                    <a:pt x="336" y="954"/>
                  </a:cubicBezTo>
                  <a:cubicBezTo>
                    <a:pt x="335" y="954"/>
                    <a:pt x="334" y="954"/>
                    <a:pt x="333" y="954"/>
                  </a:cubicBezTo>
                  <a:cubicBezTo>
                    <a:pt x="338" y="955"/>
                    <a:pt x="344" y="955"/>
                    <a:pt x="350" y="955"/>
                  </a:cubicBezTo>
                  <a:cubicBezTo>
                    <a:pt x="350" y="955"/>
                    <a:pt x="350" y="955"/>
                    <a:pt x="350" y="955"/>
                  </a:cubicBezTo>
                  <a:cubicBezTo>
                    <a:pt x="351" y="955"/>
                    <a:pt x="352" y="955"/>
                    <a:pt x="353" y="955"/>
                  </a:cubicBezTo>
                  <a:cubicBezTo>
                    <a:pt x="357" y="955"/>
                    <a:pt x="362" y="955"/>
                    <a:pt x="366" y="955"/>
                  </a:cubicBezTo>
                  <a:cubicBezTo>
                    <a:pt x="368" y="954"/>
                    <a:pt x="369" y="954"/>
                    <a:pt x="370" y="953"/>
                  </a:cubicBezTo>
                  <a:moveTo>
                    <a:pt x="804" y="967"/>
                  </a:moveTo>
                  <a:cubicBezTo>
                    <a:pt x="805" y="968"/>
                    <a:pt x="805" y="970"/>
                    <a:pt x="805" y="971"/>
                  </a:cubicBezTo>
                  <a:cubicBezTo>
                    <a:pt x="805" y="972"/>
                    <a:pt x="806" y="973"/>
                    <a:pt x="806" y="974"/>
                  </a:cubicBezTo>
                  <a:cubicBezTo>
                    <a:pt x="807" y="975"/>
                    <a:pt x="807" y="976"/>
                    <a:pt x="808" y="977"/>
                  </a:cubicBezTo>
                  <a:cubicBezTo>
                    <a:pt x="817" y="983"/>
                    <a:pt x="826" y="990"/>
                    <a:pt x="834" y="996"/>
                  </a:cubicBezTo>
                  <a:cubicBezTo>
                    <a:pt x="835" y="997"/>
                    <a:pt x="836" y="997"/>
                    <a:pt x="836" y="998"/>
                  </a:cubicBezTo>
                  <a:cubicBezTo>
                    <a:pt x="843" y="1003"/>
                    <a:pt x="851" y="1008"/>
                    <a:pt x="858" y="1013"/>
                  </a:cubicBezTo>
                  <a:cubicBezTo>
                    <a:pt x="857" y="1012"/>
                    <a:pt x="856" y="1011"/>
                    <a:pt x="855" y="1010"/>
                  </a:cubicBezTo>
                  <a:cubicBezTo>
                    <a:pt x="849" y="1006"/>
                    <a:pt x="844" y="1002"/>
                    <a:pt x="838" y="998"/>
                  </a:cubicBezTo>
                  <a:cubicBezTo>
                    <a:pt x="838" y="998"/>
                    <a:pt x="837" y="997"/>
                    <a:pt x="836" y="997"/>
                  </a:cubicBezTo>
                  <a:cubicBezTo>
                    <a:pt x="827" y="990"/>
                    <a:pt x="817" y="982"/>
                    <a:pt x="807" y="975"/>
                  </a:cubicBezTo>
                  <a:cubicBezTo>
                    <a:pt x="807" y="972"/>
                    <a:pt x="806" y="970"/>
                    <a:pt x="805" y="967"/>
                  </a:cubicBezTo>
                  <a:cubicBezTo>
                    <a:pt x="805" y="967"/>
                    <a:pt x="804" y="967"/>
                    <a:pt x="804" y="967"/>
                  </a:cubicBezTo>
                  <a:moveTo>
                    <a:pt x="1371" y="979"/>
                  </a:moveTo>
                  <a:cubicBezTo>
                    <a:pt x="1368" y="993"/>
                    <a:pt x="1366" y="1008"/>
                    <a:pt x="1364" y="1022"/>
                  </a:cubicBezTo>
                  <a:cubicBezTo>
                    <a:pt x="1365" y="1022"/>
                    <a:pt x="1365" y="1023"/>
                    <a:pt x="1365" y="1023"/>
                  </a:cubicBezTo>
                  <a:cubicBezTo>
                    <a:pt x="1367" y="1009"/>
                    <a:pt x="1369" y="995"/>
                    <a:pt x="1372" y="980"/>
                  </a:cubicBezTo>
                  <a:cubicBezTo>
                    <a:pt x="1372" y="980"/>
                    <a:pt x="1371" y="979"/>
                    <a:pt x="1371" y="979"/>
                  </a:cubicBezTo>
                  <a:moveTo>
                    <a:pt x="858" y="1013"/>
                  </a:moveTo>
                  <a:cubicBezTo>
                    <a:pt x="859" y="1014"/>
                    <a:pt x="860" y="1015"/>
                    <a:pt x="861" y="1016"/>
                  </a:cubicBezTo>
                  <a:cubicBezTo>
                    <a:pt x="868" y="1021"/>
                    <a:pt x="875" y="1026"/>
                    <a:pt x="882" y="1031"/>
                  </a:cubicBezTo>
                  <a:cubicBezTo>
                    <a:pt x="883" y="1031"/>
                    <a:pt x="883" y="1032"/>
                    <a:pt x="884" y="1032"/>
                  </a:cubicBezTo>
                  <a:cubicBezTo>
                    <a:pt x="885" y="1033"/>
                    <a:pt x="886" y="1034"/>
                    <a:pt x="887" y="1035"/>
                  </a:cubicBezTo>
                  <a:cubicBezTo>
                    <a:pt x="888" y="1035"/>
                    <a:pt x="889" y="1036"/>
                    <a:pt x="890" y="1036"/>
                  </a:cubicBezTo>
                  <a:cubicBezTo>
                    <a:pt x="898" y="1042"/>
                    <a:pt x="907" y="1048"/>
                    <a:pt x="915" y="1054"/>
                  </a:cubicBezTo>
                  <a:cubicBezTo>
                    <a:pt x="916" y="1055"/>
                    <a:pt x="917" y="1056"/>
                    <a:pt x="918" y="1057"/>
                  </a:cubicBezTo>
                  <a:cubicBezTo>
                    <a:pt x="926" y="1062"/>
                    <a:pt x="933" y="1067"/>
                    <a:pt x="940" y="1072"/>
                  </a:cubicBezTo>
                  <a:cubicBezTo>
                    <a:pt x="942" y="1073"/>
                    <a:pt x="943" y="1074"/>
                    <a:pt x="944" y="1074"/>
                  </a:cubicBezTo>
                  <a:cubicBezTo>
                    <a:pt x="947" y="1077"/>
                    <a:pt x="951" y="1079"/>
                    <a:pt x="954" y="1081"/>
                  </a:cubicBezTo>
                  <a:cubicBezTo>
                    <a:pt x="952" y="1080"/>
                    <a:pt x="950" y="1078"/>
                    <a:pt x="948" y="1076"/>
                  </a:cubicBezTo>
                  <a:cubicBezTo>
                    <a:pt x="948" y="1076"/>
                    <a:pt x="948" y="1076"/>
                    <a:pt x="948" y="1076"/>
                  </a:cubicBezTo>
                  <a:cubicBezTo>
                    <a:pt x="947" y="1075"/>
                    <a:pt x="946" y="1074"/>
                    <a:pt x="944" y="1073"/>
                  </a:cubicBezTo>
                  <a:cubicBezTo>
                    <a:pt x="937" y="1068"/>
                    <a:pt x="929" y="1063"/>
                    <a:pt x="922" y="1058"/>
                  </a:cubicBezTo>
                  <a:cubicBezTo>
                    <a:pt x="921" y="1057"/>
                    <a:pt x="920" y="1056"/>
                    <a:pt x="919" y="1056"/>
                  </a:cubicBezTo>
                  <a:cubicBezTo>
                    <a:pt x="910" y="1049"/>
                    <a:pt x="901" y="1043"/>
                    <a:pt x="892" y="1037"/>
                  </a:cubicBezTo>
                  <a:cubicBezTo>
                    <a:pt x="891" y="1036"/>
                    <a:pt x="891" y="1036"/>
                    <a:pt x="890" y="1035"/>
                  </a:cubicBezTo>
                  <a:cubicBezTo>
                    <a:pt x="889" y="1035"/>
                    <a:pt x="888" y="1034"/>
                    <a:pt x="887" y="1033"/>
                  </a:cubicBezTo>
                  <a:cubicBezTo>
                    <a:pt x="886" y="1032"/>
                    <a:pt x="885" y="1032"/>
                    <a:pt x="884" y="1031"/>
                  </a:cubicBezTo>
                  <a:cubicBezTo>
                    <a:pt x="876" y="1025"/>
                    <a:pt x="867" y="1019"/>
                    <a:pt x="858" y="1013"/>
                  </a:cubicBezTo>
                  <a:moveTo>
                    <a:pt x="1364" y="1023"/>
                  </a:moveTo>
                  <a:cubicBezTo>
                    <a:pt x="1363" y="1033"/>
                    <a:pt x="1363" y="1042"/>
                    <a:pt x="1363" y="1051"/>
                  </a:cubicBezTo>
                  <a:cubicBezTo>
                    <a:pt x="1363" y="1058"/>
                    <a:pt x="1363" y="1064"/>
                    <a:pt x="1364" y="1071"/>
                  </a:cubicBezTo>
                  <a:cubicBezTo>
                    <a:pt x="1364" y="1071"/>
                    <a:pt x="1364" y="1072"/>
                    <a:pt x="1365" y="1072"/>
                  </a:cubicBezTo>
                  <a:cubicBezTo>
                    <a:pt x="1364" y="1065"/>
                    <a:pt x="1364" y="1058"/>
                    <a:pt x="1364" y="1051"/>
                  </a:cubicBezTo>
                  <a:cubicBezTo>
                    <a:pt x="1364" y="1042"/>
                    <a:pt x="1364" y="1033"/>
                    <a:pt x="1365" y="1025"/>
                  </a:cubicBezTo>
                  <a:cubicBezTo>
                    <a:pt x="1365" y="1024"/>
                    <a:pt x="1364" y="1024"/>
                    <a:pt x="1364" y="1023"/>
                  </a:cubicBezTo>
                  <a:moveTo>
                    <a:pt x="1364" y="1073"/>
                  </a:moveTo>
                  <a:cubicBezTo>
                    <a:pt x="1366" y="1095"/>
                    <a:pt x="1372" y="1117"/>
                    <a:pt x="1385" y="1137"/>
                  </a:cubicBezTo>
                  <a:cubicBezTo>
                    <a:pt x="1386" y="1138"/>
                    <a:pt x="1386" y="1139"/>
                    <a:pt x="1387" y="1141"/>
                  </a:cubicBezTo>
                  <a:cubicBezTo>
                    <a:pt x="1388" y="1142"/>
                    <a:pt x="1389" y="1143"/>
                    <a:pt x="1390" y="1144"/>
                  </a:cubicBezTo>
                  <a:cubicBezTo>
                    <a:pt x="1389" y="1142"/>
                    <a:pt x="1387" y="1139"/>
                    <a:pt x="1385" y="1136"/>
                  </a:cubicBezTo>
                  <a:cubicBezTo>
                    <a:pt x="1374" y="1117"/>
                    <a:pt x="1367" y="1096"/>
                    <a:pt x="1365" y="1074"/>
                  </a:cubicBezTo>
                  <a:cubicBezTo>
                    <a:pt x="1364" y="1073"/>
                    <a:pt x="1364" y="1073"/>
                    <a:pt x="1364" y="1073"/>
                  </a:cubicBezTo>
                  <a:moveTo>
                    <a:pt x="955" y="1081"/>
                  </a:moveTo>
                  <a:cubicBezTo>
                    <a:pt x="957" y="1082"/>
                    <a:pt x="959" y="1084"/>
                    <a:pt x="960" y="1086"/>
                  </a:cubicBezTo>
                  <a:cubicBezTo>
                    <a:pt x="961" y="1086"/>
                    <a:pt x="961" y="1086"/>
                    <a:pt x="962" y="1086"/>
                  </a:cubicBezTo>
                  <a:cubicBezTo>
                    <a:pt x="964" y="1088"/>
                    <a:pt x="965" y="1089"/>
                    <a:pt x="967" y="1090"/>
                  </a:cubicBezTo>
                  <a:cubicBezTo>
                    <a:pt x="971" y="1093"/>
                    <a:pt x="976" y="1096"/>
                    <a:pt x="980" y="1099"/>
                  </a:cubicBezTo>
                  <a:cubicBezTo>
                    <a:pt x="983" y="1101"/>
                    <a:pt x="986" y="1103"/>
                    <a:pt x="989" y="1105"/>
                  </a:cubicBezTo>
                  <a:cubicBezTo>
                    <a:pt x="989" y="1105"/>
                    <a:pt x="990" y="1105"/>
                    <a:pt x="990" y="1106"/>
                  </a:cubicBezTo>
                  <a:cubicBezTo>
                    <a:pt x="996" y="1110"/>
                    <a:pt x="1002" y="1114"/>
                    <a:pt x="1008" y="1118"/>
                  </a:cubicBezTo>
                  <a:cubicBezTo>
                    <a:pt x="1020" y="1125"/>
                    <a:pt x="1032" y="1133"/>
                    <a:pt x="1044" y="1141"/>
                  </a:cubicBezTo>
                  <a:cubicBezTo>
                    <a:pt x="1038" y="1136"/>
                    <a:pt x="1031" y="1132"/>
                    <a:pt x="1025" y="1127"/>
                  </a:cubicBezTo>
                  <a:cubicBezTo>
                    <a:pt x="1019" y="1124"/>
                    <a:pt x="1014" y="1120"/>
                    <a:pt x="1009" y="1117"/>
                  </a:cubicBezTo>
                  <a:cubicBezTo>
                    <a:pt x="1005" y="1114"/>
                    <a:pt x="1001" y="1112"/>
                    <a:pt x="997" y="1109"/>
                  </a:cubicBezTo>
                  <a:cubicBezTo>
                    <a:pt x="995" y="1107"/>
                    <a:pt x="992" y="1106"/>
                    <a:pt x="989" y="1104"/>
                  </a:cubicBezTo>
                  <a:cubicBezTo>
                    <a:pt x="984" y="1100"/>
                    <a:pt x="978" y="1097"/>
                    <a:pt x="973" y="1093"/>
                  </a:cubicBezTo>
                  <a:cubicBezTo>
                    <a:pt x="971" y="1092"/>
                    <a:pt x="969" y="1090"/>
                    <a:pt x="967" y="1089"/>
                  </a:cubicBezTo>
                  <a:cubicBezTo>
                    <a:pt x="963" y="1086"/>
                    <a:pt x="959" y="1083"/>
                    <a:pt x="955" y="1081"/>
                  </a:cubicBezTo>
                  <a:moveTo>
                    <a:pt x="1045" y="1141"/>
                  </a:moveTo>
                  <a:cubicBezTo>
                    <a:pt x="1050" y="1144"/>
                    <a:pt x="1054" y="1147"/>
                    <a:pt x="1059" y="1150"/>
                  </a:cubicBezTo>
                  <a:cubicBezTo>
                    <a:pt x="1056" y="1148"/>
                    <a:pt x="1054" y="1147"/>
                    <a:pt x="1052" y="1145"/>
                  </a:cubicBezTo>
                  <a:cubicBezTo>
                    <a:pt x="1050" y="1143"/>
                    <a:pt x="1047" y="1142"/>
                    <a:pt x="1045" y="1141"/>
                  </a:cubicBezTo>
                  <a:moveTo>
                    <a:pt x="1390" y="1145"/>
                  </a:moveTo>
                  <a:cubicBezTo>
                    <a:pt x="1410" y="1179"/>
                    <a:pt x="1424" y="1207"/>
                    <a:pt x="1433" y="1229"/>
                  </a:cubicBezTo>
                  <a:cubicBezTo>
                    <a:pt x="1434" y="1230"/>
                    <a:pt x="1434" y="1231"/>
                    <a:pt x="1435" y="1231"/>
                  </a:cubicBezTo>
                  <a:cubicBezTo>
                    <a:pt x="1426" y="1209"/>
                    <a:pt x="1413" y="1181"/>
                    <a:pt x="1393" y="1148"/>
                  </a:cubicBezTo>
                  <a:cubicBezTo>
                    <a:pt x="1392" y="1147"/>
                    <a:pt x="1391" y="1146"/>
                    <a:pt x="1390" y="1145"/>
                  </a:cubicBezTo>
                  <a:moveTo>
                    <a:pt x="1062" y="1152"/>
                  </a:moveTo>
                  <a:cubicBezTo>
                    <a:pt x="1066" y="1154"/>
                    <a:pt x="1069" y="1157"/>
                    <a:pt x="1072" y="1159"/>
                  </a:cubicBezTo>
                  <a:cubicBezTo>
                    <a:pt x="1209" y="1245"/>
                    <a:pt x="1340" y="1314"/>
                    <a:pt x="1404" y="1314"/>
                  </a:cubicBezTo>
                  <a:cubicBezTo>
                    <a:pt x="1429" y="1314"/>
                    <a:pt x="1444" y="1304"/>
                    <a:pt x="1445" y="1280"/>
                  </a:cubicBezTo>
                  <a:cubicBezTo>
                    <a:pt x="1445" y="1280"/>
                    <a:pt x="1444" y="1280"/>
                    <a:pt x="1444" y="1279"/>
                  </a:cubicBezTo>
                  <a:cubicBezTo>
                    <a:pt x="1443" y="1303"/>
                    <a:pt x="1429" y="1313"/>
                    <a:pt x="1404" y="1313"/>
                  </a:cubicBezTo>
                  <a:cubicBezTo>
                    <a:pt x="1404" y="1313"/>
                    <a:pt x="1404" y="1313"/>
                    <a:pt x="1404" y="1313"/>
                  </a:cubicBezTo>
                  <a:cubicBezTo>
                    <a:pt x="1339" y="1313"/>
                    <a:pt x="1203" y="1241"/>
                    <a:pt x="1062" y="1152"/>
                  </a:cubicBezTo>
                  <a:moveTo>
                    <a:pt x="1434" y="1232"/>
                  </a:moveTo>
                  <a:cubicBezTo>
                    <a:pt x="1441" y="1250"/>
                    <a:pt x="1444" y="1265"/>
                    <a:pt x="1444" y="1277"/>
                  </a:cubicBezTo>
                  <a:cubicBezTo>
                    <a:pt x="1444" y="1277"/>
                    <a:pt x="1444" y="1278"/>
                    <a:pt x="1444" y="1278"/>
                  </a:cubicBezTo>
                  <a:cubicBezTo>
                    <a:pt x="1444" y="1278"/>
                    <a:pt x="1445" y="1279"/>
                    <a:pt x="1445" y="1279"/>
                  </a:cubicBezTo>
                  <a:cubicBezTo>
                    <a:pt x="1445" y="1278"/>
                    <a:pt x="1445" y="1278"/>
                    <a:pt x="1445" y="1277"/>
                  </a:cubicBezTo>
                  <a:cubicBezTo>
                    <a:pt x="1445" y="1266"/>
                    <a:pt x="1442" y="1251"/>
                    <a:pt x="1436" y="1234"/>
                  </a:cubicBezTo>
                  <a:cubicBezTo>
                    <a:pt x="1435" y="1233"/>
                    <a:pt x="1434" y="1232"/>
                    <a:pt x="1434" y="1232"/>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64" name="Freeform 93"/>
            <p:cNvSpPr>
              <a:spLocks noEditPoints="1"/>
            </p:cNvSpPr>
            <p:nvPr userDrawn="1"/>
          </p:nvSpPr>
          <p:spPr bwMode="auto">
            <a:xfrm>
              <a:off x="2080" y="3689"/>
              <a:ext cx="3254" cy="2690"/>
            </a:xfrm>
            <a:custGeom>
              <a:avLst/>
              <a:gdLst>
                <a:gd name="T0" fmla="*/ 2147483646 w 1606"/>
                <a:gd name="T1" fmla="*/ 2147483646 h 1327"/>
                <a:gd name="T2" fmla="*/ 2147483646 w 1606"/>
                <a:gd name="T3" fmla="*/ 2147483646 h 1327"/>
                <a:gd name="T4" fmla="*/ 2147483646 w 1606"/>
                <a:gd name="T5" fmla="*/ 2147483646 h 1327"/>
                <a:gd name="T6" fmla="*/ 2147483646 w 1606"/>
                <a:gd name="T7" fmla="*/ 2147483646 h 1327"/>
                <a:gd name="T8" fmla="*/ 2147483646 w 1606"/>
                <a:gd name="T9" fmla="*/ 2147483646 h 1327"/>
                <a:gd name="T10" fmla="*/ 2147483646 w 1606"/>
                <a:gd name="T11" fmla="*/ 2147483646 h 1327"/>
                <a:gd name="T12" fmla="*/ 2147483646 w 1606"/>
                <a:gd name="T13" fmla="*/ 2147483646 h 1327"/>
                <a:gd name="T14" fmla="*/ 2147483646 w 1606"/>
                <a:gd name="T15" fmla="*/ 2147483646 h 1327"/>
                <a:gd name="T16" fmla="*/ 2147483646 w 1606"/>
                <a:gd name="T17" fmla="*/ 2147483646 h 1327"/>
                <a:gd name="T18" fmla="*/ 2147483646 w 1606"/>
                <a:gd name="T19" fmla="*/ 2147483646 h 1327"/>
                <a:gd name="T20" fmla="*/ 2147483646 w 1606"/>
                <a:gd name="T21" fmla="*/ 2147483646 h 1327"/>
                <a:gd name="T22" fmla="*/ 2147483646 w 1606"/>
                <a:gd name="T23" fmla="*/ 2147483646 h 1327"/>
                <a:gd name="T24" fmla="*/ 2147483646 w 1606"/>
                <a:gd name="T25" fmla="*/ 2147483646 h 1327"/>
                <a:gd name="T26" fmla="*/ 2147483646 w 1606"/>
                <a:gd name="T27" fmla="*/ 2147483646 h 1327"/>
                <a:gd name="T28" fmla="*/ 2147483646 w 1606"/>
                <a:gd name="T29" fmla="*/ 2147483646 h 1327"/>
                <a:gd name="T30" fmla="*/ 2147483646 w 1606"/>
                <a:gd name="T31" fmla="*/ 2147483646 h 1327"/>
                <a:gd name="T32" fmla="*/ 2147483646 w 1606"/>
                <a:gd name="T33" fmla="*/ 2147483646 h 1327"/>
                <a:gd name="T34" fmla="*/ 2147483646 w 1606"/>
                <a:gd name="T35" fmla="*/ 2147483646 h 1327"/>
                <a:gd name="T36" fmla="*/ 2147483646 w 1606"/>
                <a:gd name="T37" fmla="*/ 2147483646 h 1327"/>
                <a:gd name="T38" fmla="*/ 2147483646 w 1606"/>
                <a:gd name="T39" fmla="*/ 2147483646 h 1327"/>
                <a:gd name="T40" fmla="*/ 2147483646 w 1606"/>
                <a:gd name="T41" fmla="*/ 2147483646 h 1327"/>
                <a:gd name="T42" fmla="*/ 2147483646 w 1606"/>
                <a:gd name="T43" fmla="*/ 2147483646 h 1327"/>
                <a:gd name="T44" fmla="*/ 2147483646 w 1606"/>
                <a:gd name="T45" fmla="*/ 2147483646 h 1327"/>
                <a:gd name="T46" fmla="*/ 2147483646 w 1606"/>
                <a:gd name="T47" fmla="*/ 2147483646 h 1327"/>
                <a:gd name="T48" fmla="*/ 2147483646 w 1606"/>
                <a:gd name="T49" fmla="*/ 2147483646 h 1327"/>
                <a:gd name="T50" fmla="*/ 2147483646 w 1606"/>
                <a:gd name="T51" fmla="*/ 2147483646 h 1327"/>
                <a:gd name="T52" fmla="*/ 2147483646 w 1606"/>
                <a:gd name="T53" fmla="*/ 2147483646 h 1327"/>
                <a:gd name="T54" fmla="*/ 2147483646 w 1606"/>
                <a:gd name="T55" fmla="*/ 2147483646 h 1327"/>
                <a:gd name="T56" fmla="*/ 2147483646 w 1606"/>
                <a:gd name="T57" fmla="*/ 2147483646 h 1327"/>
                <a:gd name="T58" fmla="*/ 2147483646 w 1606"/>
                <a:gd name="T59" fmla="*/ 2147483646 h 1327"/>
                <a:gd name="T60" fmla="*/ 2147483646 w 1606"/>
                <a:gd name="T61" fmla="*/ 2147483646 h 1327"/>
                <a:gd name="T62" fmla="*/ 2147483646 w 1606"/>
                <a:gd name="T63" fmla="*/ 2147483646 h 1327"/>
                <a:gd name="T64" fmla="*/ 2147483646 w 1606"/>
                <a:gd name="T65" fmla="*/ 2147483646 h 1327"/>
                <a:gd name="T66" fmla="*/ 2147483646 w 1606"/>
                <a:gd name="T67" fmla="*/ 2147483646 h 1327"/>
                <a:gd name="T68" fmla="*/ 2147483646 w 1606"/>
                <a:gd name="T69" fmla="*/ 2147483646 h 1327"/>
                <a:gd name="T70" fmla="*/ 2147483646 w 1606"/>
                <a:gd name="T71" fmla="*/ 2147483646 h 1327"/>
                <a:gd name="T72" fmla="*/ 2147483646 w 1606"/>
                <a:gd name="T73" fmla="*/ 2147483646 h 1327"/>
                <a:gd name="T74" fmla="*/ 2147483646 w 1606"/>
                <a:gd name="T75" fmla="*/ 2147483646 h 1327"/>
                <a:gd name="T76" fmla="*/ 2147483646 w 1606"/>
                <a:gd name="T77" fmla="*/ 2147483646 h 1327"/>
                <a:gd name="T78" fmla="*/ 2147483646 w 1606"/>
                <a:gd name="T79" fmla="*/ 2147483646 h 1327"/>
                <a:gd name="T80" fmla="*/ 2147483646 w 1606"/>
                <a:gd name="T81" fmla="*/ 2147483646 h 1327"/>
                <a:gd name="T82" fmla="*/ 2147483646 w 1606"/>
                <a:gd name="T83" fmla="*/ 2147483646 h 1327"/>
                <a:gd name="T84" fmla="*/ 2147483646 w 1606"/>
                <a:gd name="T85" fmla="*/ 2147483646 h 1327"/>
                <a:gd name="T86" fmla="*/ 2147483646 w 1606"/>
                <a:gd name="T87" fmla="*/ 2147483646 h 1327"/>
                <a:gd name="T88" fmla="*/ 2147483646 w 1606"/>
                <a:gd name="T89" fmla="*/ 2147483646 h 1327"/>
                <a:gd name="T90" fmla="*/ 2147483646 w 1606"/>
                <a:gd name="T91" fmla="*/ 2147483646 h 1327"/>
                <a:gd name="T92" fmla="*/ 2147483646 w 1606"/>
                <a:gd name="T93" fmla="*/ 2147483646 h 1327"/>
                <a:gd name="T94" fmla="*/ 2147483646 w 1606"/>
                <a:gd name="T95" fmla="*/ 2147483646 h 1327"/>
                <a:gd name="T96" fmla="*/ 2147483646 w 1606"/>
                <a:gd name="T97" fmla="*/ 2147483646 h 1327"/>
                <a:gd name="T98" fmla="*/ 2147483646 w 1606"/>
                <a:gd name="T99" fmla="*/ 2147483646 h 1327"/>
                <a:gd name="T100" fmla="*/ 2147483646 w 1606"/>
                <a:gd name="T101" fmla="*/ 2147483646 h 1327"/>
                <a:gd name="T102" fmla="*/ 2147483646 w 1606"/>
                <a:gd name="T103" fmla="*/ 2147483646 h 1327"/>
                <a:gd name="T104" fmla="*/ 2147483646 w 1606"/>
                <a:gd name="T105" fmla="*/ 2147483646 h 1327"/>
                <a:gd name="T106" fmla="*/ 2147483646 w 1606"/>
                <a:gd name="T107" fmla="*/ 2147483646 h 1327"/>
                <a:gd name="T108" fmla="*/ 2147483646 w 1606"/>
                <a:gd name="T109" fmla="*/ 2147483646 h 1327"/>
                <a:gd name="T110" fmla="*/ 2147483646 w 1606"/>
                <a:gd name="T111" fmla="*/ 2147483646 h 1327"/>
                <a:gd name="T112" fmla="*/ 2147483646 w 1606"/>
                <a:gd name="T113" fmla="*/ 2147483646 h 1327"/>
                <a:gd name="T114" fmla="*/ 2147483646 w 1606"/>
                <a:gd name="T115" fmla="*/ 2147483646 h 1327"/>
                <a:gd name="T116" fmla="*/ 2147483646 w 1606"/>
                <a:gd name="T117" fmla="*/ 2147483646 h 1327"/>
                <a:gd name="T118" fmla="*/ 2147483646 w 1606"/>
                <a:gd name="T119" fmla="*/ 2147483646 h 1327"/>
                <a:gd name="T120" fmla="*/ 2147483646 w 1606"/>
                <a:gd name="T121" fmla="*/ 2147483646 h 1327"/>
                <a:gd name="T122" fmla="*/ 2147483646 w 1606"/>
                <a:gd name="T123" fmla="*/ 2147483646 h 132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06" h="1327">
                  <a:moveTo>
                    <a:pt x="1331" y="0"/>
                  </a:moveTo>
                  <a:cubicBezTo>
                    <a:pt x="1299" y="0"/>
                    <a:pt x="1271" y="6"/>
                    <a:pt x="1245" y="16"/>
                  </a:cubicBezTo>
                  <a:cubicBezTo>
                    <a:pt x="1245" y="17"/>
                    <a:pt x="1244" y="17"/>
                    <a:pt x="1243" y="17"/>
                  </a:cubicBezTo>
                  <a:cubicBezTo>
                    <a:pt x="1243" y="17"/>
                    <a:pt x="1243" y="17"/>
                    <a:pt x="1242" y="18"/>
                  </a:cubicBezTo>
                  <a:cubicBezTo>
                    <a:pt x="1241" y="18"/>
                    <a:pt x="1241" y="18"/>
                    <a:pt x="1240" y="18"/>
                  </a:cubicBezTo>
                  <a:cubicBezTo>
                    <a:pt x="1239" y="19"/>
                    <a:pt x="1237" y="20"/>
                    <a:pt x="1236" y="21"/>
                  </a:cubicBezTo>
                  <a:cubicBezTo>
                    <a:pt x="1235" y="21"/>
                    <a:pt x="1234" y="21"/>
                    <a:pt x="1234" y="21"/>
                  </a:cubicBezTo>
                  <a:cubicBezTo>
                    <a:pt x="1233" y="22"/>
                    <a:pt x="1233" y="22"/>
                    <a:pt x="1232" y="22"/>
                  </a:cubicBezTo>
                  <a:cubicBezTo>
                    <a:pt x="1232" y="22"/>
                    <a:pt x="1232" y="22"/>
                    <a:pt x="1232" y="22"/>
                  </a:cubicBezTo>
                  <a:cubicBezTo>
                    <a:pt x="1232" y="22"/>
                    <a:pt x="1231" y="23"/>
                    <a:pt x="1230" y="23"/>
                  </a:cubicBezTo>
                  <a:cubicBezTo>
                    <a:pt x="1230" y="23"/>
                    <a:pt x="1229" y="24"/>
                    <a:pt x="1229" y="24"/>
                  </a:cubicBezTo>
                  <a:cubicBezTo>
                    <a:pt x="1228" y="24"/>
                    <a:pt x="1228" y="25"/>
                    <a:pt x="1227" y="25"/>
                  </a:cubicBezTo>
                  <a:cubicBezTo>
                    <a:pt x="1227" y="25"/>
                    <a:pt x="1227" y="25"/>
                    <a:pt x="1227" y="25"/>
                  </a:cubicBezTo>
                  <a:cubicBezTo>
                    <a:pt x="1226" y="25"/>
                    <a:pt x="1225" y="26"/>
                    <a:pt x="1225" y="26"/>
                  </a:cubicBezTo>
                  <a:cubicBezTo>
                    <a:pt x="1222" y="28"/>
                    <a:pt x="1219" y="29"/>
                    <a:pt x="1216" y="31"/>
                  </a:cubicBezTo>
                  <a:cubicBezTo>
                    <a:pt x="1215" y="31"/>
                    <a:pt x="1214" y="32"/>
                    <a:pt x="1214" y="32"/>
                  </a:cubicBezTo>
                  <a:cubicBezTo>
                    <a:pt x="1210" y="34"/>
                    <a:pt x="1207" y="37"/>
                    <a:pt x="1204" y="39"/>
                  </a:cubicBezTo>
                  <a:cubicBezTo>
                    <a:pt x="1203" y="39"/>
                    <a:pt x="1202" y="40"/>
                    <a:pt x="1201" y="41"/>
                  </a:cubicBezTo>
                  <a:cubicBezTo>
                    <a:pt x="1198" y="43"/>
                    <a:pt x="1195" y="45"/>
                    <a:pt x="1192" y="47"/>
                  </a:cubicBezTo>
                  <a:cubicBezTo>
                    <a:pt x="1190" y="49"/>
                    <a:pt x="1189" y="50"/>
                    <a:pt x="1187" y="51"/>
                  </a:cubicBezTo>
                  <a:cubicBezTo>
                    <a:pt x="1177" y="59"/>
                    <a:pt x="1168" y="67"/>
                    <a:pt x="1160" y="76"/>
                  </a:cubicBezTo>
                  <a:cubicBezTo>
                    <a:pt x="1161" y="76"/>
                    <a:pt x="1161" y="76"/>
                    <a:pt x="1162" y="76"/>
                  </a:cubicBezTo>
                  <a:cubicBezTo>
                    <a:pt x="1168" y="69"/>
                    <a:pt x="1175" y="63"/>
                    <a:pt x="1182" y="57"/>
                  </a:cubicBezTo>
                  <a:cubicBezTo>
                    <a:pt x="1184" y="55"/>
                    <a:pt x="1186" y="54"/>
                    <a:pt x="1188" y="52"/>
                  </a:cubicBezTo>
                  <a:cubicBezTo>
                    <a:pt x="1188" y="52"/>
                    <a:pt x="1188" y="52"/>
                    <a:pt x="1188" y="52"/>
                  </a:cubicBezTo>
                  <a:cubicBezTo>
                    <a:pt x="1191" y="49"/>
                    <a:pt x="1195" y="46"/>
                    <a:pt x="1198" y="44"/>
                  </a:cubicBezTo>
                  <a:cubicBezTo>
                    <a:pt x="1199" y="43"/>
                    <a:pt x="1201" y="42"/>
                    <a:pt x="1202" y="41"/>
                  </a:cubicBezTo>
                  <a:cubicBezTo>
                    <a:pt x="1205" y="39"/>
                    <a:pt x="1208" y="37"/>
                    <a:pt x="1212" y="35"/>
                  </a:cubicBezTo>
                  <a:cubicBezTo>
                    <a:pt x="1213" y="34"/>
                    <a:pt x="1214" y="34"/>
                    <a:pt x="1214" y="33"/>
                  </a:cubicBezTo>
                  <a:cubicBezTo>
                    <a:pt x="1217" y="31"/>
                    <a:pt x="1220" y="30"/>
                    <a:pt x="1223" y="28"/>
                  </a:cubicBezTo>
                  <a:cubicBezTo>
                    <a:pt x="1224" y="27"/>
                    <a:pt x="1225" y="27"/>
                    <a:pt x="1226" y="27"/>
                  </a:cubicBezTo>
                  <a:cubicBezTo>
                    <a:pt x="1226" y="27"/>
                    <a:pt x="1226" y="27"/>
                    <a:pt x="1226" y="27"/>
                  </a:cubicBezTo>
                  <a:cubicBezTo>
                    <a:pt x="1226" y="26"/>
                    <a:pt x="1227" y="26"/>
                    <a:pt x="1228" y="26"/>
                  </a:cubicBezTo>
                  <a:cubicBezTo>
                    <a:pt x="1228" y="25"/>
                    <a:pt x="1229" y="25"/>
                    <a:pt x="1229" y="25"/>
                  </a:cubicBezTo>
                  <a:cubicBezTo>
                    <a:pt x="1230" y="24"/>
                    <a:pt x="1231" y="24"/>
                    <a:pt x="1231" y="24"/>
                  </a:cubicBezTo>
                  <a:cubicBezTo>
                    <a:pt x="1231" y="24"/>
                    <a:pt x="1231" y="24"/>
                    <a:pt x="1231" y="24"/>
                  </a:cubicBezTo>
                  <a:cubicBezTo>
                    <a:pt x="1232" y="23"/>
                    <a:pt x="1232" y="23"/>
                    <a:pt x="1233" y="23"/>
                  </a:cubicBezTo>
                  <a:cubicBezTo>
                    <a:pt x="1233" y="23"/>
                    <a:pt x="1234" y="22"/>
                    <a:pt x="1235" y="22"/>
                  </a:cubicBezTo>
                  <a:cubicBezTo>
                    <a:pt x="1236" y="21"/>
                    <a:pt x="1238" y="21"/>
                    <a:pt x="1239" y="20"/>
                  </a:cubicBezTo>
                  <a:cubicBezTo>
                    <a:pt x="1240" y="20"/>
                    <a:pt x="1241" y="19"/>
                    <a:pt x="1241" y="19"/>
                  </a:cubicBezTo>
                  <a:cubicBezTo>
                    <a:pt x="1242" y="19"/>
                    <a:pt x="1242" y="19"/>
                    <a:pt x="1243" y="19"/>
                  </a:cubicBezTo>
                  <a:cubicBezTo>
                    <a:pt x="1243" y="18"/>
                    <a:pt x="1244" y="18"/>
                    <a:pt x="1244" y="18"/>
                  </a:cubicBezTo>
                  <a:cubicBezTo>
                    <a:pt x="1244" y="18"/>
                    <a:pt x="1245" y="18"/>
                    <a:pt x="1245" y="17"/>
                  </a:cubicBezTo>
                  <a:cubicBezTo>
                    <a:pt x="1271" y="7"/>
                    <a:pt x="1299" y="1"/>
                    <a:pt x="1331" y="1"/>
                  </a:cubicBezTo>
                  <a:cubicBezTo>
                    <a:pt x="1340" y="1"/>
                    <a:pt x="1349" y="1"/>
                    <a:pt x="1358" y="2"/>
                  </a:cubicBezTo>
                  <a:cubicBezTo>
                    <a:pt x="1358" y="2"/>
                    <a:pt x="1358" y="2"/>
                    <a:pt x="1359" y="2"/>
                  </a:cubicBezTo>
                  <a:cubicBezTo>
                    <a:pt x="1372" y="3"/>
                    <a:pt x="1385" y="6"/>
                    <a:pt x="1399" y="9"/>
                  </a:cubicBezTo>
                  <a:cubicBezTo>
                    <a:pt x="1423" y="15"/>
                    <a:pt x="1445" y="21"/>
                    <a:pt x="1464" y="28"/>
                  </a:cubicBezTo>
                  <a:cubicBezTo>
                    <a:pt x="1465" y="28"/>
                    <a:pt x="1465" y="29"/>
                    <a:pt x="1465" y="29"/>
                  </a:cubicBezTo>
                  <a:cubicBezTo>
                    <a:pt x="1497" y="40"/>
                    <a:pt x="1523" y="53"/>
                    <a:pt x="1544" y="67"/>
                  </a:cubicBezTo>
                  <a:cubicBezTo>
                    <a:pt x="1544" y="67"/>
                    <a:pt x="1544" y="67"/>
                    <a:pt x="1544" y="67"/>
                  </a:cubicBezTo>
                  <a:cubicBezTo>
                    <a:pt x="1566" y="82"/>
                    <a:pt x="1581" y="98"/>
                    <a:pt x="1591" y="115"/>
                  </a:cubicBezTo>
                  <a:cubicBezTo>
                    <a:pt x="1591" y="115"/>
                    <a:pt x="1591" y="115"/>
                    <a:pt x="1591" y="116"/>
                  </a:cubicBezTo>
                  <a:cubicBezTo>
                    <a:pt x="1601" y="132"/>
                    <a:pt x="1605" y="150"/>
                    <a:pt x="1605" y="169"/>
                  </a:cubicBezTo>
                  <a:cubicBezTo>
                    <a:pt x="1605" y="169"/>
                    <a:pt x="1605" y="170"/>
                    <a:pt x="1605" y="170"/>
                  </a:cubicBezTo>
                  <a:cubicBezTo>
                    <a:pt x="1605" y="171"/>
                    <a:pt x="1605" y="171"/>
                    <a:pt x="1605" y="172"/>
                  </a:cubicBezTo>
                  <a:cubicBezTo>
                    <a:pt x="1605" y="176"/>
                    <a:pt x="1605" y="180"/>
                    <a:pt x="1604" y="185"/>
                  </a:cubicBezTo>
                  <a:cubicBezTo>
                    <a:pt x="1604" y="185"/>
                    <a:pt x="1604" y="186"/>
                    <a:pt x="1604" y="186"/>
                  </a:cubicBezTo>
                  <a:cubicBezTo>
                    <a:pt x="1604" y="190"/>
                    <a:pt x="1603" y="193"/>
                    <a:pt x="1602" y="197"/>
                  </a:cubicBezTo>
                  <a:cubicBezTo>
                    <a:pt x="1602" y="197"/>
                    <a:pt x="1602" y="198"/>
                    <a:pt x="1602" y="198"/>
                  </a:cubicBezTo>
                  <a:cubicBezTo>
                    <a:pt x="1599" y="211"/>
                    <a:pt x="1594" y="224"/>
                    <a:pt x="1587" y="238"/>
                  </a:cubicBezTo>
                  <a:cubicBezTo>
                    <a:pt x="1587" y="239"/>
                    <a:pt x="1586" y="240"/>
                    <a:pt x="1586" y="241"/>
                  </a:cubicBezTo>
                  <a:cubicBezTo>
                    <a:pt x="1583" y="246"/>
                    <a:pt x="1580" y="251"/>
                    <a:pt x="1577" y="257"/>
                  </a:cubicBezTo>
                  <a:cubicBezTo>
                    <a:pt x="1576" y="258"/>
                    <a:pt x="1575" y="260"/>
                    <a:pt x="1574" y="261"/>
                  </a:cubicBezTo>
                  <a:cubicBezTo>
                    <a:pt x="1572" y="265"/>
                    <a:pt x="1569" y="268"/>
                    <a:pt x="1567" y="272"/>
                  </a:cubicBezTo>
                  <a:cubicBezTo>
                    <a:pt x="1566" y="274"/>
                    <a:pt x="1564" y="276"/>
                    <a:pt x="1563" y="278"/>
                  </a:cubicBezTo>
                  <a:cubicBezTo>
                    <a:pt x="1561" y="280"/>
                    <a:pt x="1559" y="283"/>
                    <a:pt x="1558" y="285"/>
                  </a:cubicBezTo>
                  <a:cubicBezTo>
                    <a:pt x="1556" y="287"/>
                    <a:pt x="1554" y="289"/>
                    <a:pt x="1553" y="291"/>
                  </a:cubicBezTo>
                  <a:cubicBezTo>
                    <a:pt x="1551" y="293"/>
                    <a:pt x="1550" y="295"/>
                    <a:pt x="1548" y="297"/>
                  </a:cubicBezTo>
                  <a:cubicBezTo>
                    <a:pt x="1546" y="300"/>
                    <a:pt x="1544" y="302"/>
                    <a:pt x="1542" y="305"/>
                  </a:cubicBezTo>
                  <a:cubicBezTo>
                    <a:pt x="1541" y="306"/>
                    <a:pt x="1540" y="307"/>
                    <a:pt x="1539" y="308"/>
                  </a:cubicBezTo>
                  <a:cubicBezTo>
                    <a:pt x="1537" y="311"/>
                    <a:pt x="1534" y="314"/>
                    <a:pt x="1531" y="318"/>
                  </a:cubicBezTo>
                  <a:cubicBezTo>
                    <a:pt x="1530" y="318"/>
                    <a:pt x="1529" y="319"/>
                    <a:pt x="1529" y="320"/>
                  </a:cubicBezTo>
                  <a:cubicBezTo>
                    <a:pt x="1524" y="326"/>
                    <a:pt x="1519" y="332"/>
                    <a:pt x="1513" y="338"/>
                  </a:cubicBezTo>
                  <a:cubicBezTo>
                    <a:pt x="1520" y="331"/>
                    <a:pt x="1526" y="325"/>
                    <a:pt x="1531" y="318"/>
                  </a:cubicBezTo>
                  <a:cubicBezTo>
                    <a:pt x="1537" y="312"/>
                    <a:pt x="1542" y="306"/>
                    <a:pt x="1548" y="300"/>
                  </a:cubicBezTo>
                  <a:cubicBezTo>
                    <a:pt x="1548" y="299"/>
                    <a:pt x="1548" y="299"/>
                    <a:pt x="1549" y="298"/>
                  </a:cubicBezTo>
                  <a:cubicBezTo>
                    <a:pt x="1549" y="298"/>
                    <a:pt x="1549" y="298"/>
                    <a:pt x="1549" y="298"/>
                  </a:cubicBezTo>
                  <a:cubicBezTo>
                    <a:pt x="1551" y="295"/>
                    <a:pt x="1553" y="293"/>
                    <a:pt x="1555" y="291"/>
                  </a:cubicBezTo>
                  <a:cubicBezTo>
                    <a:pt x="1556" y="289"/>
                    <a:pt x="1557" y="287"/>
                    <a:pt x="1558" y="286"/>
                  </a:cubicBezTo>
                  <a:cubicBezTo>
                    <a:pt x="1560" y="284"/>
                    <a:pt x="1561" y="282"/>
                    <a:pt x="1562" y="280"/>
                  </a:cubicBezTo>
                  <a:cubicBezTo>
                    <a:pt x="1564" y="278"/>
                    <a:pt x="1566" y="275"/>
                    <a:pt x="1568" y="273"/>
                  </a:cubicBezTo>
                  <a:cubicBezTo>
                    <a:pt x="1569" y="271"/>
                    <a:pt x="1570" y="269"/>
                    <a:pt x="1571" y="268"/>
                  </a:cubicBezTo>
                  <a:cubicBezTo>
                    <a:pt x="1573" y="264"/>
                    <a:pt x="1575" y="261"/>
                    <a:pt x="1578" y="257"/>
                  </a:cubicBezTo>
                  <a:cubicBezTo>
                    <a:pt x="1578" y="256"/>
                    <a:pt x="1579" y="255"/>
                    <a:pt x="1580" y="253"/>
                  </a:cubicBezTo>
                  <a:cubicBezTo>
                    <a:pt x="1583" y="248"/>
                    <a:pt x="1586" y="243"/>
                    <a:pt x="1588" y="238"/>
                  </a:cubicBezTo>
                  <a:cubicBezTo>
                    <a:pt x="1589" y="237"/>
                    <a:pt x="1589" y="236"/>
                    <a:pt x="1590" y="235"/>
                  </a:cubicBezTo>
                  <a:cubicBezTo>
                    <a:pt x="1596" y="222"/>
                    <a:pt x="1600" y="210"/>
                    <a:pt x="1603" y="197"/>
                  </a:cubicBezTo>
                  <a:cubicBezTo>
                    <a:pt x="1603" y="196"/>
                    <a:pt x="1603" y="196"/>
                    <a:pt x="1604" y="195"/>
                  </a:cubicBezTo>
                  <a:cubicBezTo>
                    <a:pt x="1604" y="192"/>
                    <a:pt x="1605" y="188"/>
                    <a:pt x="1605" y="185"/>
                  </a:cubicBezTo>
                  <a:cubicBezTo>
                    <a:pt x="1605" y="184"/>
                    <a:pt x="1605" y="184"/>
                    <a:pt x="1606" y="183"/>
                  </a:cubicBezTo>
                  <a:cubicBezTo>
                    <a:pt x="1606" y="179"/>
                    <a:pt x="1606" y="175"/>
                    <a:pt x="1606" y="171"/>
                  </a:cubicBezTo>
                  <a:cubicBezTo>
                    <a:pt x="1606" y="170"/>
                    <a:pt x="1606" y="170"/>
                    <a:pt x="1606" y="169"/>
                  </a:cubicBezTo>
                  <a:cubicBezTo>
                    <a:pt x="1606" y="169"/>
                    <a:pt x="1606" y="169"/>
                    <a:pt x="1606" y="169"/>
                  </a:cubicBezTo>
                  <a:cubicBezTo>
                    <a:pt x="1606" y="150"/>
                    <a:pt x="1602" y="132"/>
                    <a:pt x="1592" y="115"/>
                  </a:cubicBezTo>
                  <a:cubicBezTo>
                    <a:pt x="1592" y="114"/>
                    <a:pt x="1592" y="114"/>
                    <a:pt x="1591" y="114"/>
                  </a:cubicBezTo>
                  <a:cubicBezTo>
                    <a:pt x="1581" y="97"/>
                    <a:pt x="1566" y="81"/>
                    <a:pt x="1545" y="67"/>
                  </a:cubicBezTo>
                  <a:cubicBezTo>
                    <a:pt x="1545" y="66"/>
                    <a:pt x="1544" y="66"/>
                    <a:pt x="1544" y="66"/>
                  </a:cubicBezTo>
                  <a:cubicBezTo>
                    <a:pt x="1524" y="52"/>
                    <a:pt x="1498" y="39"/>
                    <a:pt x="1466" y="28"/>
                  </a:cubicBezTo>
                  <a:cubicBezTo>
                    <a:pt x="1465" y="28"/>
                    <a:pt x="1465" y="27"/>
                    <a:pt x="1465" y="27"/>
                  </a:cubicBezTo>
                  <a:cubicBezTo>
                    <a:pt x="1445" y="20"/>
                    <a:pt x="1424" y="14"/>
                    <a:pt x="1400" y="8"/>
                  </a:cubicBezTo>
                  <a:cubicBezTo>
                    <a:pt x="1386" y="5"/>
                    <a:pt x="1372" y="2"/>
                    <a:pt x="1359" y="1"/>
                  </a:cubicBezTo>
                  <a:cubicBezTo>
                    <a:pt x="1358" y="1"/>
                    <a:pt x="1358" y="1"/>
                    <a:pt x="1358" y="1"/>
                  </a:cubicBezTo>
                  <a:cubicBezTo>
                    <a:pt x="1349" y="0"/>
                    <a:pt x="1340" y="0"/>
                    <a:pt x="1331" y="0"/>
                  </a:cubicBezTo>
                  <a:moveTo>
                    <a:pt x="1160" y="77"/>
                  </a:moveTo>
                  <a:cubicBezTo>
                    <a:pt x="1159" y="77"/>
                    <a:pt x="1159" y="78"/>
                    <a:pt x="1159" y="78"/>
                  </a:cubicBezTo>
                  <a:cubicBezTo>
                    <a:pt x="1158" y="78"/>
                    <a:pt x="1157" y="79"/>
                    <a:pt x="1157" y="80"/>
                  </a:cubicBezTo>
                  <a:cubicBezTo>
                    <a:pt x="1158" y="79"/>
                    <a:pt x="1159" y="78"/>
                    <a:pt x="1160" y="77"/>
                  </a:cubicBezTo>
                  <a:moveTo>
                    <a:pt x="1157" y="80"/>
                  </a:moveTo>
                  <a:cubicBezTo>
                    <a:pt x="1156" y="82"/>
                    <a:pt x="1154" y="83"/>
                    <a:pt x="1152" y="84"/>
                  </a:cubicBezTo>
                  <a:cubicBezTo>
                    <a:pt x="1149" y="88"/>
                    <a:pt x="1145" y="92"/>
                    <a:pt x="1142" y="96"/>
                  </a:cubicBezTo>
                  <a:cubicBezTo>
                    <a:pt x="1143" y="96"/>
                    <a:pt x="1143" y="96"/>
                    <a:pt x="1144" y="96"/>
                  </a:cubicBezTo>
                  <a:cubicBezTo>
                    <a:pt x="1148" y="91"/>
                    <a:pt x="1153" y="86"/>
                    <a:pt x="1157" y="80"/>
                  </a:cubicBezTo>
                  <a:moveTo>
                    <a:pt x="1143" y="97"/>
                  </a:moveTo>
                  <a:cubicBezTo>
                    <a:pt x="1142" y="97"/>
                    <a:pt x="1142" y="97"/>
                    <a:pt x="1141" y="98"/>
                  </a:cubicBezTo>
                  <a:cubicBezTo>
                    <a:pt x="1139" y="100"/>
                    <a:pt x="1138" y="102"/>
                    <a:pt x="1136" y="104"/>
                  </a:cubicBezTo>
                  <a:cubicBezTo>
                    <a:pt x="1136" y="105"/>
                    <a:pt x="1135" y="105"/>
                    <a:pt x="1135" y="106"/>
                  </a:cubicBezTo>
                  <a:cubicBezTo>
                    <a:pt x="1130" y="113"/>
                    <a:pt x="1124" y="120"/>
                    <a:pt x="1119" y="127"/>
                  </a:cubicBezTo>
                  <a:cubicBezTo>
                    <a:pt x="1120" y="127"/>
                    <a:pt x="1120" y="127"/>
                    <a:pt x="1121" y="127"/>
                  </a:cubicBezTo>
                  <a:cubicBezTo>
                    <a:pt x="1125" y="121"/>
                    <a:pt x="1130" y="114"/>
                    <a:pt x="1135" y="108"/>
                  </a:cubicBezTo>
                  <a:cubicBezTo>
                    <a:pt x="1135" y="107"/>
                    <a:pt x="1135" y="107"/>
                    <a:pt x="1136" y="106"/>
                  </a:cubicBezTo>
                  <a:cubicBezTo>
                    <a:pt x="1138" y="103"/>
                    <a:pt x="1140" y="100"/>
                    <a:pt x="1143" y="97"/>
                  </a:cubicBezTo>
                  <a:moveTo>
                    <a:pt x="1119" y="128"/>
                  </a:moveTo>
                  <a:cubicBezTo>
                    <a:pt x="1112" y="139"/>
                    <a:pt x="1105" y="150"/>
                    <a:pt x="1098" y="162"/>
                  </a:cubicBezTo>
                  <a:cubicBezTo>
                    <a:pt x="1099" y="162"/>
                    <a:pt x="1099" y="162"/>
                    <a:pt x="1099" y="162"/>
                  </a:cubicBezTo>
                  <a:cubicBezTo>
                    <a:pt x="1106" y="150"/>
                    <a:pt x="1113" y="139"/>
                    <a:pt x="1120" y="128"/>
                  </a:cubicBezTo>
                  <a:cubicBezTo>
                    <a:pt x="1120" y="128"/>
                    <a:pt x="1119" y="128"/>
                    <a:pt x="1119" y="128"/>
                  </a:cubicBezTo>
                  <a:moveTo>
                    <a:pt x="1098" y="163"/>
                  </a:moveTo>
                  <a:cubicBezTo>
                    <a:pt x="1093" y="171"/>
                    <a:pt x="1089" y="179"/>
                    <a:pt x="1085" y="188"/>
                  </a:cubicBezTo>
                  <a:cubicBezTo>
                    <a:pt x="1085" y="188"/>
                    <a:pt x="1086" y="188"/>
                    <a:pt x="1086" y="188"/>
                  </a:cubicBezTo>
                  <a:cubicBezTo>
                    <a:pt x="1090" y="179"/>
                    <a:pt x="1094" y="171"/>
                    <a:pt x="1099" y="163"/>
                  </a:cubicBezTo>
                  <a:cubicBezTo>
                    <a:pt x="1099" y="163"/>
                    <a:pt x="1098" y="163"/>
                    <a:pt x="1098" y="163"/>
                  </a:cubicBezTo>
                  <a:moveTo>
                    <a:pt x="1084" y="189"/>
                  </a:moveTo>
                  <a:cubicBezTo>
                    <a:pt x="1080" y="198"/>
                    <a:pt x="1076" y="207"/>
                    <a:pt x="1072" y="216"/>
                  </a:cubicBezTo>
                  <a:cubicBezTo>
                    <a:pt x="1071" y="217"/>
                    <a:pt x="1071" y="218"/>
                    <a:pt x="1070" y="219"/>
                  </a:cubicBezTo>
                  <a:cubicBezTo>
                    <a:pt x="1070" y="220"/>
                    <a:pt x="1069" y="221"/>
                    <a:pt x="1069" y="222"/>
                  </a:cubicBezTo>
                  <a:cubicBezTo>
                    <a:pt x="1069" y="222"/>
                    <a:pt x="1070" y="222"/>
                    <a:pt x="1070" y="223"/>
                  </a:cubicBezTo>
                  <a:cubicBezTo>
                    <a:pt x="1071" y="221"/>
                    <a:pt x="1072" y="219"/>
                    <a:pt x="1072" y="217"/>
                  </a:cubicBezTo>
                  <a:cubicBezTo>
                    <a:pt x="1073" y="216"/>
                    <a:pt x="1073" y="215"/>
                    <a:pt x="1074" y="214"/>
                  </a:cubicBezTo>
                  <a:cubicBezTo>
                    <a:pt x="1077" y="205"/>
                    <a:pt x="1081" y="197"/>
                    <a:pt x="1085" y="189"/>
                  </a:cubicBezTo>
                  <a:cubicBezTo>
                    <a:pt x="1085" y="189"/>
                    <a:pt x="1085" y="189"/>
                    <a:pt x="1084" y="189"/>
                  </a:cubicBezTo>
                  <a:moveTo>
                    <a:pt x="1068" y="223"/>
                  </a:moveTo>
                  <a:cubicBezTo>
                    <a:pt x="1067" y="226"/>
                    <a:pt x="1066" y="228"/>
                    <a:pt x="1065" y="231"/>
                  </a:cubicBezTo>
                  <a:cubicBezTo>
                    <a:pt x="1065" y="231"/>
                    <a:pt x="1065" y="232"/>
                    <a:pt x="1065" y="232"/>
                  </a:cubicBezTo>
                  <a:cubicBezTo>
                    <a:pt x="1061" y="240"/>
                    <a:pt x="1058" y="249"/>
                    <a:pt x="1055" y="257"/>
                  </a:cubicBezTo>
                  <a:cubicBezTo>
                    <a:pt x="1055" y="258"/>
                    <a:pt x="1054" y="258"/>
                    <a:pt x="1054" y="259"/>
                  </a:cubicBezTo>
                  <a:cubicBezTo>
                    <a:pt x="1054" y="259"/>
                    <a:pt x="1054" y="260"/>
                    <a:pt x="1054" y="261"/>
                  </a:cubicBezTo>
                  <a:cubicBezTo>
                    <a:pt x="1054" y="261"/>
                    <a:pt x="1054" y="261"/>
                    <a:pt x="1055" y="261"/>
                  </a:cubicBezTo>
                  <a:cubicBezTo>
                    <a:pt x="1055" y="260"/>
                    <a:pt x="1055" y="259"/>
                    <a:pt x="1056" y="258"/>
                  </a:cubicBezTo>
                  <a:cubicBezTo>
                    <a:pt x="1056" y="258"/>
                    <a:pt x="1056" y="257"/>
                    <a:pt x="1056" y="257"/>
                  </a:cubicBezTo>
                  <a:cubicBezTo>
                    <a:pt x="1059" y="248"/>
                    <a:pt x="1063" y="240"/>
                    <a:pt x="1066" y="231"/>
                  </a:cubicBezTo>
                  <a:cubicBezTo>
                    <a:pt x="1066" y="231"/>
                    <a:pt x="1067" y="231"/>
                    <a:pt x="1067" y="230"/>
                  </a:cubicBezTo>
                  <a:cubicBezTo>
                    <a:pt x="1068" y="228"/>
                    <a:pt x="1069" y="226"/>
                    <a:pt x="1070" y="223"/>
                  </a:cubicBezTo>
                  <a:cubicBezTo>
                    <a:pt x="1069" y="223"/>
                    <a:pt x="1069" y="223"/>
                    <a:pt x="1068" y="223"/>
                  </a:cubicBezTo>
                  <a:moveTo>
                    <a:pt x="1053" y="262"/>
                  </a:moveTo>
                  <a:cubicBezTo>
                    <a:pt x="1051" y="269"/>
                    <a:pt x="1048" y="275"/>
                    <a:pt x="1046" y="282"/>
                  </a:cubicBezTo>
                  <a:cubicBezTo>
                    <a:pt x="1046" y="283"/>
                    <a:pt x="1046" y="283"/>
                    <a:pt x="1045" y="283"/>
                  </a:cubicBezTo>
                  <a:cubicBezTo>
                    <a:pt x="1042" y="293"/>
                    <a:pt x="1039" y="302"/>
                    <a:pt x="1036" y="311"/>
                  </a:cubicBezTo>
                  <a:cubicBezTo>
                    <a:pt x="1037" y="311"/>
                    <a:pt x="1037" y="311"/>
                    <a:pt x="1037" y="311"/>
                  </a:cubicBezTo>
                  <a:cubicBezTo>
                    <a:pt x="1040" y="302"/>
                    <a:pt x="1043" y="292"/>
                    <a:pt x="1047" y="283"/>
                  </a:cubicBezTo>
                  <a:cubicBezTo>
                    <a:pt x="1047" y="283"/>
                    <a:pt x="1047" y="282"/>
                    <a:pt x="1047" y="282"/>
                  </a:cubicBezTo>
                  <a:cubicBezTo>
                    <a:pt x="1049" y="275"/>
                    <a:pt x="1052" y="269"/>
                    <a:pt x="1054" y="262"/>
                  </a:cubicBezTo>
                  <a:cubicBezTo>
                    <a:pt x="1054" y="262"/>
                    <a:pt x="1054" y="262"/>
                    <a:pt x="1053" y="262"/>
                  </a:cubicBezTo>
                  <a:moveTo>
                    <a:pt x="1036" y="312"/>
                  </a:moveTo>
                  <a:cubicBezTo>
                    <a:pt x="1035" y="316"/>
                    <a:pt x="1033" y="321"/>
                    <a:pt x="1032" y="325"/>
                  </a:cubicBezTo>
                  <a:cubicBezTo>
                    <a:pt x="1032" y="325"/>
                    <a:pt x="1032" y="326"/>
                    <a:pt x="1032" y="326"/>
                  </a:cubicBezTo>
                  <a:cubicBezTo>
                    <a:pt x="1029" y="334"/>
                    <a:pt x="1027" y="342"/>
                    <a:pt x="1025" y="349"/>
                  </a:cubicBezTo>
                  <a:cubicBezTo>
                    <a:pt x="1025" y="350"/>
                    <a:pt x="1024" y="350"/>
                    <a:pt x="1024" y="350"/>
                  </a:cubicBezTo>
                  <a:cubicBezTo>
                    <a:pt x="1023" y="354"/>
                    <a:pt x="1022" y="358"/>
                    <a:pt x="1021" y="361"/>
                  </a:cubicBezTo>
                  <a:cubicBezTo>
                    <a:pt x="1021" y="362"/>
                    <a:pt x="1021" y="363"/>
                    <a:pt x="1021" y="364"/>
                  </a:cubicBezTo>
                  <a:cubicBezTo>
                    <a:pt x="1021" y="364"/>
                    <a:pt x="1021" y="364"/>
                    <a:pt x="1021" y="364"/>
                  </a:cubicBezTo>
                  <a:cubicBezTo>
                    <a:pt x="1022" y="364"/>
                    <a:pt x="1022" y="363"/>
                    <a:pt x="1022" y="362"/>
                  </a:cubicBezTo>
                  <a:cubicBezTo>
                    <a:pt x="1022" y="361"/>
                    <a:pt x="1023" y="360"/>
                    <a:pt x="1023" y="359"/>
                  </a:cubicBezTo>
                  <a:cubicBezTo>
                    <a:pt x="1024" y="356"/>
                    <a:pt x="1025" y="353"/>
                    <a:pt x="1025" y="350"/>
                  </a:cubicBezTo>
                  <a:cubicBezTo>
                    <a:pt x="1026" y="350"/>
                    <a:pt x="1026" y="349"/>
                    <a:pt x="1026" y="349"/>
                  </a:cubicBezTo>
                  <a:cubicBezTo>
                    <a:pt x="1028" y="341"/>
                    <a:pt x="1030" y="334"/>
                    <a:pt x="1033" y="326"/>
                  </a:cubicBezTo>
                  <a:cubicBezTo>
                    <a:pt x="1033" y="326"/>
                    <a:pt x="1033" y="325"/>
                    <a:pt x="1033" y="325"/>
                  </a:cubicBezTo>
                  <a:cubicBezTo>
                    <a:pt x="1034" y="321"/>
                    <a:pt x="1036" y="316"/>
                    <a:pt x="1037" y="312"/>
                  </a:cubicBezTo>
                  <a:cubicBezTo>
                    <a:pt x="1037" y="312"/>
                    <a:pt x="1036" y="312"/>
                    <a:pt x="1036" y="312"/>
                  </a:cubicBezTo>
                  <a:moveTo>
                    <a:pt x="1513" y="337"/>
                  </a:moveTo>
                  <a:cubicBezTo>
                    <a:pt x="1511" y="339"/>
                    <a:pt x="1509" y="340"/>
                    <a:pt x="1508" y="342"/>
                  </a:cubicBezTo>
                  <a:cubicBezTo>
                    <a:pt x="1506" y="343"/>
                    <a:pt x="1504" y="345"/>
                    <a:pt x="1503" y="347"/>
                  </a:cubicBezTo>
                  <a:cubicBezTo>
                    <a:pt x="1501" y="349"/>
                    <a:pt x="1499" y="350"/>
                    <a:pt x="1497" y="352"/>
                  </a:cubicBezTo>
                  <a:cubicBezTo>
                    <a:pt x="1496" y="354"/>
                    <a:pt x="1494" y="356"/>
                    <a:pt x="1492" y="357"/>
                  </a:cubicBezTo>
                  <a:cubicBezTo>
                    <a:pt x="1492" y="357"/>
                    <a:pt x="1492" y="358"/>
                    <a:pt x="1491" y="358"/>
                  </a:cubicBezTo>
                  <a:cubicBezTo>
                    <a:pt x="1490" y="359"/>
                    <a:pt x="1489" y="360"/>
                    <a:pt x="1488" y="361"/>
                  </a:cubicBezTo>
                  <a:cubicBezTo>
                    <a:pt x="1486" y="363"/>
                    <a:pt x="1483" y="365"/>
                    <a:pt x="1480" y="368"/>
                  </a:cubicBezTo>
                  <a:cubicBezTo>
                    <a:pt x="1480" y="369"/>
                    <a:pt x="1479" y="369"/>
                    <a:pt x="1478" y="370"/>
                  </a:cubicBezTo>
                  <a:cubicBezTo>
                    <a:pt x="1472" y="375"/>
                    <a:pt x="1466" y="381"/>
                    <a:pt x="1461" y="387"/>
                  </a:cubicBezTo>
                  <a:cubicBezTo>
                    <a:pt x="1463" y="385"/>
                    <a:pt x="1466" y="383"/>
                    <a:pt x="1468" y="381"/>
                  </a:cubicBezTo>
                  <a:cubicBezTo>
                    <a:pt x="1470" y="379"/>
                    <a:pt x="1473" y="376"/>
                    <a:pt x="1476" y="374"/>
                  </a:cubicBezTo>
                  <a:cubicBezTo>
                    <a:pt x="1477" y="373"/>
                    <a:pt x="1478" y="372"/>
                    <a:pt x="1479" y="371"/>
                  </a:cubicBezTo>
                  <a:cubicBezTo>
                    <a:pt x="1480" y="370"/>
                    <a:pt x="1480" y="369"/>
                    <a:pt x="1481" y="369"/>
                  </a:cubicBezTo>
                  <a:cubicBezTo>
                    <a:pt x="1483" y="367"/>
                    <a:pt x="1485" y="365"/>
                    <a:pt x="1487" y="363"/>
                  </a:cubicBezTo>
                  <a:cubicBezTo>
                    <a:pt x="1487" y="363"/>
                    <a:pt x="1488" y="363"/>
                    <a:pt x="1488" y="362"/>
                  </a:cubicBezTo>
                  <a:cubicBezTo>
                    <a:pt x="1489" y="361"/>
                    <a:pt x="1490" y="360"/>
                    <a:pt x="1491" y="359"/>
                  </a:cubicBezTo>
                  <a:cubicBezTo>
                    <a:pt x="1499" y="352"/>
                    <a:pt x="1506" y="344"/>
                    <a:pt x="1513" y="337"/>
                  </a:cubicBezTo>
                  <a:moveTo>
                    <a:pt x="872" y="360"/>
                  </a:moveTo>
                  <a:cubicBezTo>
                    <a:pt x="871" y="360"/>
                    <a:pt x="870" y="360"/>
                    <a:pt x="869" y="360"/>
                  </a:cubicBezTo>
                  <a:cubicBezTo>
                    <a:pt x="868" y="360"/>
                    <a:pt x="868" y="360"/>
                    <a:pt x="867" y="360"/>
                  </a:cubicBezTo>
                  <a:cubicBezTo>
                    <a:pt x="862" y="360"/>
                    <a:pt x="857" y="361"/>
                    <a:pt x="852" y="362"/>
                  </a:cubicBezTo>
                  <a:cubicBezTo>
                    <a:pt x="852" y="362"/>
                    <a:pt x="852" y="363"/>
                    <a:pt x="852" y="363"/>
                  </a:cubicBezTo>
                  <a:cubicBezTo>
                    <a:pt x="857" y="362"/>
                    <a:pt x="862" y="361"/>
                    <a:pt x="867" y="361"/>
                  </a:cubicBezTo>
                  <a:cubicBezTo>
                    <a:pt x="867" y="361"/>
                    <a:pt x="867" y="361"/>
                    <a:pt x="868" y="361"/>
                  </a:cubicBezTo>
                  <a:cubicBezTo>
                    <a:pt x="869" y="361"/>
                    <a:pt x="871" y="361"/>
                    <a:pt x="872" y="361"/>
                  </a:cubicBezTo>
                  <a:cubicBezTo>
                    <a:pt x="873" y="361"/>
                    <a:pt x="874" y="361"/>
                    <a:pt x="876" y="361"/>
                  </a:cubicBezTo>
                  <a:cubicBezTo>
                    <a:pt x="876" y="361"/>
                    <a:pt x="876" y="361"/>
                    <a:pt x="877" y="361"/>
                  </a:cubicBezTo>
                  <a:cubicBezTo>
                    <a:pt x="879" y="361"/>
                    <a:pt x="881" y="361"/>
                    <a:pt x="883" y="362"/>
                  </a:cubicBezTo>
                  <a:cubicBezTo>
                    <a:pt x="884" y="362"/>
                    <a:pt x="884" y="362"/>
                    <a:pt x="884" y="362"/>
                  </a:cubicBezTo>
                  <a:cubicBezTo>
                    <a:pt x="895" y="364"/>
                    <a:pt x="903" y="369"/>
                    <a:pt x="907" y="379"/>
                  </a:cubicBezTo>
                  <a:cubicBezTo>
                    <a:pt x="907" y="378"/>
                    <a:pt x="907" y="378"/>
                    <a:pt x="908" y="377"/>
                  </a:cubicBezTo>
                  <a:cubicBezTo>
                    <a:pt x="903" y="368"/>
                    <a:pt x="895" y="363"/>
                    <a:pt x="885" y="361"/>
                  </a:cubicBezTo>
                  <a:cubicBezTo>
                    <a:pt x="884" y="361"/>
                    <a:pt x="884" y="361"/>
                    <a:pt x="884" y="361"/>
                  </a:cubicBezTo>
                  <a:cubicBezTo>
                    <a:pt x="882" y="360"/>
                    <a:pt x="879" y="360"/>
                    <a:pt x="877" y="360"/>
                  </a:cubicBezTo>
                  <a:cubicBezTo>
                    <a:pt x="877" y="360"/>
                    <a:pt x="877" y="360"/>
                    <a:pt x="876" y="360"/>
                  </a:cubicBezTo>
                  <a:cubicBezTo>
                    <a:pt x="875" y="360"/>
                    <a:pt x="873" y="360"/>
                    <a:pt x="872" y="360"/>
                  </a:cubicBezTo>
                  <a:moveTo>
                    <a:pt x="851" y="362"/>
                  </a:moveTo>
                  <a:cubicBezTo>
                    <a:pt x="830" y="367"/>
                    <a:pt x="807" y="378"/>
                    <a:pt x="788" y="394"/>
                  </a:cubicBezTo>
                  <a:cubicBezTo>
                    <a:pt x="788" y="394"/>
                    <a:pt x="788" y="395"/>
                    <a:pt x="787" y="395"/>
                  </a:cubicBezTo>
                  <a:cubicBezTo>
                    <a:pt x="807" y="380"/>
                    <a:pt x="830" y="368"/>
                    <a:pt x="851" y="363"/>
                  </a:cubicBezTo>
                  <a:cubicBezTo>
                    <a:pt x="851" y="363"/>
                    <a:pt x="851" y="363"/>
                    <a:pt x="851" y="362"/>
                  </a:cubicBezTo>
                  <a:moveTo>
                    <a:pt x="1020" y="365"/>
                  </a:moveTo>
                  <a:cubicBezTo>
                    <a:pt x="1020" y="366"/>
                    <a:pt x="1019" y="368"/>
                    <a:pt x="1019" y="370"/>
                  </a:cubicBezTo>
                  <a:cubicBezTo>
                    <a:pt x="1019" y="370"/>
                    <a:pt x="1018" y="371"/>
                    <a:pt x="1018" y="371"/>
                  </a:cubicBezTo>
                  <a:cubicBezTo>
                    <a:pt x="1017" y="377"/>
                    <a:pt x="1015" y="383"/>
                    <a:pt x="1014" y="388"/>
                  </a:cubicBezTo>
                  <a:cubicBezTo>
                    <a:pt x="1014" y="389"/>
                    <a:pt x="1013" y="389"/>
                    <a:pt x="1013" y="389"/>
                  </a:cubicBezTo>
                  <a:cubicBezTo>
                    <a:pt x="1012" y="395"/>
                    <a:pt x="1011" y="399"/>
                    <a:pt x="1009" y="404"/>
                  </a:cubicBezTo>
                  <a:cubicBezTo>
                    <a:pt x="1009" y="405"/>
                    <a:pt x="1009" y="405"/>
                    <a:pt x="1009" y="405"/>
                  </a:cubicBezTo>
                  <a:cubicBezTo>
                    <a:pt x="1008" y="409"/>
                    <a:pt x="1007" y="412"/>
                    <a:pt x="1006" y="415"/>
                  </a:cubicBezTo>
                  <a:cubicBezTo>
                    <a:pt x="1006" y="416"/>
                    <a:pt x="1006" y="417"/>
                    <a:pt x="1005" y="418"/>
                  </a:cubicBezTo>
                  <a:cubicBezTo>
                    <a:pt x="1005" y="418"/>
                    <a:pt x="1005" y="419"/>
                    <a:pt x="1005" y="419"/>
                  </a:cubicBezTo>
                  <a:cubicBezTo>
                    <a:pt x="1003" y="423"/>
                    <a:pt x="1002" y="427"/>
                    <a:pt x="1000" y="430"/>
                  </a:cubicBezTo>
                  <a:cubicBezTo>
                    <a:pt x="1000" y="431"/>
                    <a:pt x="999" y="432"/>
                    <a:pt x="999" y="433"/>
                  </a:cubicBezTo>
                  <a:cubicBezTo>
                    <a:pt x="996" y="439"/>
                    <a:pt x="992" y="444"/>
                    <a:pt x="988" y="448"/>
                  </a:cubicBezTo>
                  <a:cubicBezTo>
                    <a:pt x="988" y="449"/>
                    <a:pt x="988" y="450"/>
                    <a:pt x="987" y="451"/>
                  </a:cubicBezTo>
                  <a:cubicBezTo>
                    <a:pt x="988" y="450"/>
                    <a:pt x="988" y="450"/>
                    <a:pt x="989" y="449"/>
                  </a:cubicBezTo>
                  <a:cubicBezTo>
                    <a:pt x="989" y="448"/>
                    <a:pt x="990" y="447"/>
                    <a:pt x="991" y="446"/>
                  </a:cubicBezTo>
                  <a:cubicBezTo>
                    <a:pt x="995" y="442"/>
                    <a:pt x="998" y="436"/>
                    <a:pt x="1001" y="430"/>
                  </a:cubicBezTo>
                  <a:cubicBezTo>
                    <a:pt x="1002" y="429"/>
                    <a:pt x="1002" y="428"/>
                    <a:pt x="1003" y="427"/>
                  </a:cubicBezTo>
                  <a:cubicBezTo>
                    <a:pt x="1004" y="424"/>
                    <a:pt x="1005" y="421"/>
                    <a:pt x="1006" y="418"/>
                  </a:cubicBezTo>
                  <a:cubicBezTo>
                    <a:pt x="1006" y="418"/>
                    <a:pt x="1006" y="417"/>
                    <a:pt x="1007" y="417"/>
                  </a:cubicBezTo>
                  <a:cubicBezTo>
                    <a:pt x="1007" y="416"/>
                    <a:pt x="1007" y="416"/>
                    <a:pt x="1007" y="415"/>
                  </a:cubicBezTo>
                  <a:cubicBezTo>
                    <a:pt x="1008" y="412"/>
                    <a:pt x="1009" y="408"/>
                    <a:pt x="1010" y="405"/>
                  </a:cubicBezTo>
                  <a:cubicBezTo>
                    <a:pt x="1010" y="404"/>
                    <a:pt x="1010" y="404"/>
                    <a:pt x="1010" y="403"/>
                  </a:cubicBezTo>
                  <a:cubicBezTo>
                    <a:pt x="1012" y="399"/>
                    <a:pt x="1013" y="394"/>
                    <a:pt x="1014" y="389"/>
                  </a:cubicBezTo>
                  <a:cubicBezTo>
                    <a:pt x="1015" y="388"/>
                    <a:pt x="1015" y="388"/>
                    <a:pt x="1015" y="388"/>
                  </a:cubicBezTo>
                  <a:cubicBezTo>
                    <a:pt x="1016" y="382"/>
                    <a:pt x="1018" y="377"/>
                    <a:pt x="1020" y="371"/>
                  </a:cubicBezTo>
                  <a:cubicBezTo>
                    <a:pt x="1020" y="370"/>
                    <a:pt x="1020" y="370"/>
                    <a:pt x="1020" y="370"/>
                  </a:cubicBezTo>
                  <a:cubicBezTo>
                    <a:pt x="1020" y="368"/>
                    <a:pt x="1021" y="367"/>
                    <a:pt x="1021" y="365"/>
                  </a:cubicBezTo>
                  <a:cubicBezTo>
                    <a:pt x="1021" y="365"/>
                    <a:pt x="1020" y="365"/>
                    <a:pt x="1020" y="365"/>
                  </a:cubicBezTo>
                  <a:moveTo>
                    <a:pt x="908" y="379"/>
                  </a:moveTo>
                  <a:cubicBezTo>
                    <a:pt x="908" y="379"/>
                    <a:pt x="908" y="380"/>
                    <a:pt x="908" y="380"/>
                  </a:cubicBezTo>
                  <a:cubicBezTo>
                    <a:pt x="910" y="385"/>
                    <a:pt x="911" y="390"/>
                    <a:pt x="911" y="396"/>
                  </a:cubicBezTo>
                  <a:cubicBezTo>
                    <a:pt x="911" y="397"/>
                    <a:pt x="911" y="397"/>
                    <a:pt x="911" y="397"/>
                  </a:cubicBezTo>
                  <a:cubicBezTo>
                    <a:pt x="911" y="397"/>
                    <a:pt x="911" y="398"/>
                    <a:pt x="911" y="398"/>
                  </a:cubicBezTo>
                  <a:cubicBezTo>
                    <a:pt x="911" y="400"/>
                    <a:pt x="911" y="401"/>
                    <a:pt x="911" y="403"/>
                  </a:cubicBezTo>
                  <a:cubicBezTo>
                    <a:pt x="911" y="404"/>
                    <a:pt x="911" y="405"/>
                    <a:pt x="911" y="406"/>
                  </a:cubicBezTo>
                  <a:cubicBezTo>
                    <a:pt x="911" y="408"/>
                    <a:pt x="911" y="410"/>
                    <a:pt x="911" y="412"/>
                  </a:cubicBezTo>
                  <a:cubicBezTo>
                    <a:pt x="913" y="430"/>
                    <a:pt x="919" y="443"/>
                    <a:pt x="926" y="452"/>
                  </a:cubicBezTo>
                  <a:cubicBezTo>
                    <a:pt x="926" y="452"/>
                    <a:pt x="926" y="453"/>
                    <a:pt x="926" y="453"/>
                  </a:cubicBezTo>
                  <a:cubicBezTo>
                    <a:pt x="932" y="460"/>
                    <a:pt x="939" y="464"/>
                    <a:pt x="947" y="466"/>
                  </a:cubicBezTo>
                  <a:cubicBezTo>
                    <a:pt x="947" y="466"/>
                    <a:pt x="947" y="465"/>
                    <a:pt x="947" y="465"/>
                  </a:cubicBezTo>
                  <a:cubicBezTo>
                    <a:pt x="940" y="464"/>
                    <a:pt x="933" y="459"/>
                    <a:pt x="927" y="452"/>
                  </a:cubicBezTo>
                  <a:cubicBezTo>
                    <a:pt x="927" y="452"/>
                    <a:pt x="927" y="452"/>
                    <a:pt x="926" y="452"/>
                  </a:cubicBezTo>
                  <a:cubicBezTo>
                    <a:pt x="919" y="443"/>
                    <a:pt x="914" y="430"/>
                    <a:pt x="912" y="411"/>
                  </a:cubicBezTo>
                  <a:cubicBezTo>
                    <a:pt x="912" y="410"/>
                    <a:pt x="912" y="408"/>
                    <a:pt x="912" y="406"/>
                  </a:cubicBezTo>
                  <a:cubicBezTo>
                    <a:pt x="912" y="405"/>
                    <a:pt x="912" y="404"/>
                    <a:pt x="912" y="403"/>
                  </a:cubicBezTo>
                  <a:cubicBezTo>
                    <a:pt x="912" y="401"/>
                    <a:pt x="912" y="399"/>
                    <a:pt x="912" y="397"/>
                  </a:cubicBezTo>
                  <a:cubicBezTo>
                    <a:pt x="912" y="397"/>
                    <a:pt x="912" y="397"/>
                    <a:pt x="912" y="397"/>
                  </a:cubicBezTo>
                  <a:cubicBezTo>
                    <a:pt x="912" y="396"/>
                    <a:pt x="912" y="396"/>
                    <a:pt x="912" y="395"/>
                  </a:cubicBezTo>
                  <a:cubicBezTo>
                    <a:pt x="912" y="389"/>
                    <a:pt x="910" y="383"/>
                    <a:pt x="908" y="379"/>
                  </a:cubicBezTo>
                  <a:moveTo>
                    <a:pt x="1462" y="388"/>
                  </a:moveTo>
                  <a:cubicBezTo>
                    <a:pt x="1461" y="389"/>
                    <a:pt x="1460" y="390"/>
                    <a:pt x="1459" y="391"/>
                  </a:cubicBezTo>
                  <a:cubicBezTo>
                    <a:pt x="1458" y="391"/>
                    <a:pt x="1458" y="392"/>
                    <a:pt x="1457" y="392"/>
                  </a:cubicBezTo>
                  <a:cubicBezTo>
                    <a:pt x="1447" y="405"/>
                    <a:pt x="1439" y="419"/>
                    <a:pt x="1432" y="434"/>
                  </a:cubicBezTo>
                  <a:cubicBezTo>
                    <a:pt x="1431" y="435"/>
                    <a:pt x="1431" y="436"/>
                    <a:pt x="1430" y="437"/>
                  </a:cubicBezTo>
                  <a:cubicBezTo>
                    <a:pt x="1425" y="450"/>
                    <a:pt x="1421" y="463"/>
                    <a:pt x="1417" y="477"/>
                  </a:cubicBezTo>
                  <a:cubicBezTo>
                    <a:pt x="1417" y="478"/>
                    <a:pt x="1417" y="479"/>
                    <a:pt x="1417" y="480"/>
                  </a:cubicBezTo>
                  <a:cubicBezTo>
                    <a:pt x="1414" y="490"/>
                    <a:pt x="1413" y="500"/>
                    <a:pt x="1411" y="511"/>
                  </a:cubicBezTo>
                  <a:cubicBezTo>
                    <a:pt x="1411" y="512"/>
                    <a:pt x="1411" y="513"/>
                    <a:pt x="1411" y="514"/>
                  </a:cubicBezTo>
                  <a:cubicBezTo>
                    <a:pt x="1410" y="523"/>
                    <a:pt x="1409" y="532"/>
                    <a:pt x="1409" y="541"/>
                  </a:cubicBezTo>
                  <a:cubicBezTo>
                    <a:pt x="1409" y="543"/>
                    <a:pt x="1408" y="544"/>
                    <a:pt x="1408" y="545"/>
                  </a:cubicBezTo>
                  <a:cubicBezTo>
                    <a:pt x="1408" y="553"/>
                    <a:pt x="1408" y="562"/>
                    <a:pt x="1408" y="570"/>
                  </a:cubicBezTo>
                  <a:cubicBezTo>
                    <a:pt x="1408" y="570"/>
                    <a:pt x="1408" y="570"/>
                    <a:pt x="1408" y="571"/>
                  </a:cubicBezTo>
                  <a:cubicBezTo>
                    <a:pt x="1408" y="572"/>
                    <a:pt x="1408" y="574"/>
                    <a:pt x="1408" y="575"/>
                  </a:cubicBezTo>
                  <a:cubicBezTo>
                    <a:pt x="1408" y="582"/>
                    <a:pt x="1408" y="590"/>
                    <a:pt x="1408" y="597"/>
                  </a:cubicBezTo>
                  <a:cubicBezTo>
                    <a:pt x="1408" y="600"/>
                    <a:pt x="1409" y="604"/>
                    <a:pt x="1409" y="607"/>
                  </a:cubicBezTo>
                  <a:cubicBezTo>
                    <a:pt x="1409" y="617"/>
                    <a:pt x="1410" y="628"/>
                    <a:pt x="1411" y="638"/>
                  </a:cubicBezTo>
                  <a:cubicBezTo>
                    <a:pt x="1411" y="642"/>
                    <a:pt x="1412" y="645"/>
                    <a:pt x="1413" y="649"/>
                  </a:cubicBezTo>
                  <a:cubicBezTo>
                    <a:pt x="1411" y="631"/>
                    <a:pt x="1410" y="614"/>
                    <a:pt x="1409" y="597"/>
                  </a:cubicBezTo>
                  <a:cubicBezTo>
                    <a:pt x="1409" y="593"/>
                    <a:pt x="1409" y="590"/>
                    <a:pt x="1409" y="586"/>
                  </a:cubicBezTo>
                  <a:cubicBezTo>
                    <a:pt x="1409" y="581"/>
                    <a:pt x="1409" y="576"/>
                    <a:pt x="1409" y="571"/>
                  </a:cubicBezTo>
                  <a:cubicBezTo>
                    <a:pt x="1409" y="570"/>
                    <a:pt x="1409" y="570"/>
                    <a:pt x="1409" y="570"/>
                  </a:cubicBezTo>
                  <a:cubicBezTo>
                    <a:pt x="1409" y="568"/>
                    <a:pt x="1409" y="566"/>
                    <a:pt x="1409" y="565"/>
                  </a:cubicBezTo>
                  <a:cubicBezTo>
                    <a:pt x="1409" y="557"/>
                    <a:pt x="1409" y="549"/>
                    <a:pt x="1410" y="542"/>
                  </a:cubicBezTo>
                  <a:cubicBezTo>
                    <a:pt x="1410" y="540"/>
                    <a:pt x="1410" y="539"/>
                    <a:pt x="1410" y="538"/>
                  </a:cubicBezTo>
                  <a:cubicBezTo>
                    <a:pt x="1410" y="529"/>
                    <a:pt x="1411" y="520"/>
                    <a:pt x="1412" y="511"/>
                  </a:cubicBezTo>
                  <a:cubicBezTo>
                    <a:pt x="1412" y="510"/>
                    <a:pt x="1413" y="509"/>
                    <a:pt x="1413" y="508"/>
                  </a:cubicBezTo>
                  <a:cubicBezTo>
                    <a:pt x="1414" y="498"/>
                    <a:pt x="1416" y="487"/>
                    <a:pt x="1418" y="477"/>
                  </a:cubicBezTo>
                  <a:cubicBezTo>
                    <a:pt x="1419" y="476"/>
                    <a:pt x="1419" y="475"/>
                    <a:pt x="1419" y="474"/>
                  </a:cubicBezTo>
                  <a:cubicBezTo>
                    <a:pt x="1423" y="460"/>
                    <a:pt x="1427" y="447"/>
                    <a:pt x="1433" y="434"/>
                  </a:cubicBezTo>
                  <a:cubicBezTo>
                    <a:pt x="1433" y="433"/>
                    <a:pt x="1434" y="432"/>
                    <a:pt x="1435" y="430"/>
                  </a:cubicBezTo>
                  <a:cubicBezTo>
                    <a:pt x="1442" y="415"/>
                    <a:pt x="1451" y="401"/>
                    <a:pt x="1462" y="388"/>
                  </a:cubicBezTo>
                  <a:moveTo>
                    <a:pt x="787" y="395"/>
                  </a:moveTo>
                  <a:cubicBezTo>
                    <a:pt x="785" y="396"/>
                    <a:pt x="783" y="398"/>
                    <a:pt x="781" y="400"/>
                  </a:cubicBezTo>
                  <a:cubicBezTo>
                    <a:pt x="780" y="400"/>
                    <a:pt x="779" y="401"/>
                    <a:pt x="779" y="402"/>
                  </a:cubicBezTo>
                  <a:cubicBezTo>
                    <a:pt x="778" y="402"/>
                    <a:pt x="777" y="403"/>
                    <a:pt x="776" y="404"/>
                  </a:cubicBezTo>
                  <a:cubicBezTo>
                    <a:pt x="775" y="405"/>
                    <a:pt x="774" y="406"/>
                    <a:pt x="773" y="407"/>
                  </a:cubicBezTo>
                  <a:cubicBezTo>
                    <a:pt x="773" y="408"/>
                    <a:pt x="772" y="408"/>
                    <a:pt x="771" y="409"/>
                  </a:cubicBezTo>
                  <a:cubicBezTo>
                    <a:pt x="771" y="409"/>
                    <a:pt x="771" y="410"/>
                    <a:pt x="770" y="410"/>
                  </a:cubicBezTo>
                  <a:cubicBezTo>
                    <a:pt x="770" y="410"/>
                    <a:pt x="770" y="411"/>
                    <a:pt x="769" y="411"/>
                  </a:cubicBezTo>
                  <a:cubicBezTo>
                    <a:pt x="769" y="412"/>
                    <a:pt x="769" y="412"/>
                    <a:pt x="768" y="412"/>
                  </a:cubicBezTo>
                  <a:cubicBezTo>
                    <a:pt x="768" y="413"/>
                    <a:pt x="767" y="414"/>
                    <a:pt x="766" y="415"/>
                  </a:cubicBezTo>
                  <a:cubicBezTo>
                    <a:pt x="766" y="416"/>
                    <a:pt x="765" y="417"/>
                    <a:pt x="764" y="418"/>
                  </a:cubicBezTo>
                  <a:cubicBezTo>
                    <a:pt x="762" y="420"/>
                    <a:pt x="761" y="422"/>
                    <a:pt x="759" y="425"/>
                  </a:cubicBezTo>
                  <a:cubicBezTo>
                    <a:pt x="759" y="425"/>
                    <a:pt x="759" y="425"/>
                    <a:pt x="759" y="425"/>
                  </a:cubicBezTo>
                  <a:cubicBezTo>
                    <a:pt x="759" y="425"/>
                    <a:pt x="759" y="426"/>
                    <a:pt x="759" y="426"/>
                  </a:cubicBezTo>
                  <a:cubicBezTo>
                    <a:pt x="759" y="426"/>
                    <a:pt x="760" y="425"/>
                    <a:pt x="760" y="425"/>
                  </a:cubicBezTo>
                  <a:cubicBezTo>
                    <a:pt x="761" y="424"/>
                    <a:pt x="762" y="423"/>
                    <a:pt x="763" y="421"/>
                  </a:cubicBezTo>
                  <a:cubicBezTo>
                    <a:pt x="764" y="420"/>
                    <a:pt x="764" y="419"/>
                    <a:pt x="765" y="418"/>
                  </a:cubicBezTo>
                  <a:cubicBezTo>
                    <a:pt x="767" y="416"/>
                    <a:pt x="768" y="414"/>
                    <a:pt x="770" y="412"/>
                  </a:cubicBezTo>
                  <a:cubicBezTo>
                    <a:pt x="771" y="411"/>
                    <a:pt x="772" y="410"/>
                    <a:pt x="772" y="410"/>
                  </a:cubicBezTo>
                  <a:cubicBezTo>
                    <a:pt x="773" y="409"/>
                    <a:pt x="774" y="408"/>
                    <a:pt x="775" y="407"/>
                  </a:cubicBezTo>
                  <a:cubicBezTo>
                    <a:pt x="775" y="406"/>
                    <a:pt x="776" y="405"/>
                    <a:pt x="777" y="404"/>
                  </a:cubicBezTo>
                  <a:cubicBezTo>
                    <a:pt x="778" y="404"/>
                    <a:pt x="778" y="403"/>
                    <a:pt x="779" y="403"/>
                  </a:cubicBezTo>
                  <a:cubicBezTo>
                    <a:pt x="779" y="403"/>
                    <a:pt x="779" y="403"/>
                    <a:pt x="779" y="403"/>
                  </a:cubicBezTo>
                  <a:cubicBezTo>
                    <a:pt x="779" y="403"/>
                    <a:pt x="779" y="402"/>
                    <a:pt x="780" y="402"/>
                  </a:cubicBezTo>
                  <a:cubicBezTo>
                    <a:pt x="780" y="402"/>
                    <a:pt x="780" y="402"/>
                    <a:pt x="780" y="402"/>
                  </a:cubicBezTo>
                  <a:cubicBezTo>
                    <a:pt x="780" y="402"/>
                    <a:pt x="780" y="402"/>
                    <a:pt x="781" y="401"/>
                  </a:cubicBezTo>
                  <a:cubicBezTo>
                    <a:pt x="782" y="400"/>
                    <a:pt x="784" y="398"/>
                    <a:pt x="786" y="396"/>
                  </a:cubicBezTo>
                  <a:cubicBezTo>
                    <a:pt x="786" y="396"/>
                    <a:pt x="786" y="395"/>
                    <a:pt x="787" y="395"/>
                  </a:cubicBezTo>
                  <a:moveTo>
                    <a:pt x="759" y="427"/>
                  </a:moveTo>
                  <a:cubicBezTo>
                    <a:pt x="759" y="427"/>
                    <a:pt x="758" y="427"/>
                    <a:pt x="758" y="428"/>
                  </a:cubicBezTo>
                  <a:cubicBezTo>
                    <a:pt x="756" y="429"/>
                    <a:pt x="755" y="431"/>
                    <a:pt x="755" y="433"/>
                  </a:cubicBezTo>
                  <a:cubicBezTo>
                    <a:pt x="754" y="434"/>
                    <a:pt x="754" y="434"/>
                    <a:pt x="754" y="435"/>
                  </a:cubicBezTo>
                  <a:cubicBezTo>
                    <a:pt x="754" y="435"/>
                    <a:pt x="754" y="435"/>
                    <a:pt x="755" y="435"/>
                  </a:cubicBezTo>
                  <a:cubicBezTo>
                    <a:pt x="755" y="435"/>
                    <a:pt x="755" y="434"/>
                    <a:pt x="755" y="434"/>
                  </a:cubicBezTo>
                  <a:cubicBezTo>
                    <a:pt x="756" y="432"/>
                    <a:pt x="757" y="431"/>
                    <a:pt x="757" y="430"/>
                  </a:cubicBezTo>
                  <a:cubicBezTo>
                    <a:pt x="757" y="430"/>
                    <a:pt x="758" y="430"/>
                    <a:pt x="758" y="429"/>
                  </a:cubicBezTo>
                  <a:cubicBezTo>
                    <a:pt x="758" y="429"/>
                    <a:pt x="758" y="428"/>
                    <a:pt x="759" y="427"/>
                  </a:cubicBezTo>
                  <a:cubicBezTo>
                    <a:pt x="759" y="427"/>
                    <a:pt x="759" y="427"/>
                    <a:pt x="759" y="427"/>
                  </a:cubicBezTo>
                  <a:moveTo>
                    <a:pt x="754" y="436"/>
                  </a:moveTo>
                  <a:cubicBezTo>
                    <a:pt x="754" y="436"/>
                    <a:pt x="753" y="436"/>
                    <a:pt x="753" y="436"/>
                  </a:cubicBezTo>
                  <a:cubicBezTo>
                    <a:pt x="753" y="436"/>
                    <a:pt x="753" y="436"/>
                    <a:pt x="753" y="436"/>
                  </a:cubicBezTo>
                  <a:cubicBezTo>
                    <a:pt x="753" y="436"/>
                    <a:pt x="753" y="436"/>
                    <a:pt x="753" y="436"/>
                  </a:cubicBezTo>
                  <a:cubicBezTo>
                    <a:pt x="753" y="437"/>
                    <a:pt x="752" y="439"/>
                    <a:pt x="751" y="440"/>
                  </a:cubicBezTo>
                  <a:cubicBezTo>
                    <a:pt x="751" y="440"/>
                    <a:pt x="751" y="440"/>
                    <a:pt x="751" y="441"/>
                  </a:cubicBezTo>
                  <a:cubicBezTo>
                    <a:pt x="752" y="440"/>
                    <a:pt x="753" y="439"/>
                    <a:pt x="754" y="437"/>
                  </a:cubicBezTo>
                  <a:cubicBezTo>
                    <a:pt x="754" y="437"/>
                    <a:pt x="754" y="437"/>
                    <a:pt x="754" y="437"/>
                  </a:cubicBezTo>
                  <a:cubicBezTo>
                    <a:pt x="754" y="437"/>
                    <a:pt x="754" y="437"/>
                    <a:pt x="754" y="437"/>
                  </a:cubicBezTo>
                  <a:cubicBezTo>
                    <a:pt x="754" y="436"/>
                    <a:pt x="754" y="436"/>
                    <a:pt x="754" y="436"/>
                  </a:cubicBezTo>
                  <a:moveTo>
                    <a:pt x="752" y="441"/>
                  </a:moveTo>
                  <a:cubicBezTo>
                    <a:pt x="750" y="444"/>
                    <a:pt x="748" y="446"/>
                    <a:pt x="747" y="448"/>
                  </a:cubicBezTo>
                  <a:cubicBezTo>
                    <a:pt x="746" y="449"/>
                    <a:pt x="746" y="450"/>
                    <a:pt x="745" y="450"/>
                  </a:cubicBezTo>
                  <a:cubicBezTo>
                    <a:pt x="745" y="451"/>
                    <a:pt x="745" y="451"/>
                    <a:pt x="744" y="452"/>
                  </a:cubicBezTo>
                  <a:cubicBezTo>
                    <a:pt x="744" y="453"/>
                    <a:pt x="743" y="454"/>
                    <a:pt x="742" y="455"/>
                  </a:cubicBezTo>
                  <a:cubicBezTo>
                    <a:pt x="741" y="457"/>
                    <a:pt x="740" y="459"/>
                    <a:pt x="739" y="461"/>
                  </a:cubicBezTo>
                  <a:cubicBezTo>
                    <a:pt x="740" y="460"/>
                    <a:pt x="740" y="460"/>
                    <a:pt x="741" y="459"/>
                  </a:cubicBezTo>
                  <a:cubicBezTo>
                    <a:pt x="741" y="459"/>
                    <a:pt x="741" y="459"/>
                    <a:pt x="741" y="459"/>
                  </a:cubicBezTo>
                  <a:cubicBezTo>
                    <a:pt x="742" y="457"/>
                    <a:pt x="743" y="456"/>
                    <a:pt x="744" y="455"/>
                  </a:cubicBezTo>
                  <a:cubicBezTo>
                    <a:pt x="744" y="454"/>
                    <a:pt x="745" y="452"/>
                    <a:pt x="746" y="451"/>
                  </a:cubicBezTo>
                  <a:cubicBezTo>
                    <a:pt x="748" y="448"/>
                    <a:pt x="750" y="445"/>
                    <a:pt x="751" y="442"/>
                  </a:cubicBezTo>
                  <a:cubicBezTo>
                    <a:pt x="751" y="442"/>
                    <a:pt x="752" y="442"/>
                    <a:pt x="752" y="441"/>
                  </a:cubicBezTo>
                  <a:moveTo>
                    <a:pt x="986" y="450"/>
                  </a:moveTo>
                  <a:cubicBezTo>
                    <a:pt x="986" y="451"/>
                    <a:pt x="985" y="451"/>
                    <a:pt x="985" y="452"/>
                  </a:cubicBezTo>
                  <a:cubicBezTo>
                    <a:pt x="985" y="452"/>
                    <a:pt x="985" y="453"/>
                    <a:pt x="984" y="453"/>
                  </a:cubicBezTo>
                  <a:cubicBezTo>
                    <a:pt x="985" y="453"/>
                    <a:pt x="985" y="453"/>
                    <a:pt x="985" y="453"/>
                  </a:cubicBezTo>
                  <a:cubicBezTo>
                    <a:pt x="985" y="452"/>
                    <a:pt x="986" y="451"/>
                    <a:pt x="986" y="450"/>
                  </a:cubicBezTo>
                  <a:moveTo>
                    <a:pt x="984" y="453"/>
                  </a:moveTo>
                  <a:cubicBezTo>
                    <a:pt x="978" y="457"/>
                    <a:pt x="973" y="461"/>
                    <a:pt x="967" y="463"/>
                  </a:cubicBezTo>
                  <a:cubicBezTo>
                    <a:pt x="966" y="463"/>
                    <a:pt x="965" y="464"/>
                    <a:pt x="963" y="464"/>
                  </a:cubicBezTo>
                  <a:cubicBezTo>
                    <a:pt x="960" y="465"/>
                    <a:pt x="957" y="466"/>
                    <a:pt x="954" y="466"/>
                  </a:cubicBezTo>
                  <a:cubicBezTo>
                    <a:pt x="952" y="466"/>
                    <a:pt x="950" y="465"/>
                    <a:pt x="948" y="465"/>
                  </a:cubicBezTo>
                  <a:cubicBezTo>
                    <a:pt x="948" y="466"/>
                    <a:pt x="948" y="466"/>
                    <a:pt x="948" y="466"/>
                  </a:cubicBezTo>
                  <a:cubicBezTo>
                    <a:pt x="950" y="466"/>
                    <a:pt x="952" y="467"/>
                    <a:pt x="954" y="467"/>
                  </a:cubicBezTo>
                  <a:cubicBezTo>
                    <a:pt x="956" y="467"/>
                    <a:pt x="958" y="466"/>
                    <a:pt x="961" y="466"/>
                  </a:cubicBezTo>
                  <a:cubicBezTo>
                    <a:pt x="962" y="466"/>
                    <a:pt x="963" y="466"/>
                    <a:pt x="964" y="465"/>
                  </a:cubicBezTo>
                  <a:cubicBezTo>
                    <a:pt x="971" y="463"/>
                    <a:pt x="977" y="460"/>
                    <a:pt x="983" y="454"/>
                  </a:cubicBezTo>
                  <a:cubicBezTo>
                    <a:pt x="983" y="454"/>
                    <a:pt x="983" y="453"/>
                    <a:pt x="984" y="453"/>
                  </a:cubicBezTo>
                  <a:moveTo>
                    <a:pt x="738" y="461"/>
                  </a:moveTo>
                  <a:cubicBezTo>
                    <a:pt x="738" y="461"/>
                    <a:pt x="737" y="462"/>
                    <a:pt x="737" y="462"/>
                  </a:cubicBezTo>
                  <a:cubicBezTo>
                    <a:pt x="737" y="463"/>
                    <a:pt x="736" y="463"/>
                    <a:pt x="736" y="464"/>
                  </a:cubicBezTo>
                  <a:cubicBezTo>
                    <a:pt x="736" y="464"/>
                    <a:pt x="735" y="464"/>
                    <a:pt x="735" y="464"/>
                  </a:cubicBezTo>
                  <a:cubicBezTo>
                    <a:pt x="735" y="464"/>
                    <a:pt x="736" y="465"/>
                    <a:pt x="736" y="465"/>
                  </a:cubicBezTo>
                  <a:cubicBezTo>
                    <a:pt x="737" y="463"/>
                    <a:pt x="738" y="462"/>
                    <a:pt x="738" y="461"/>
                  </a:cubicBezTo>
                  <a:moveTo>
                    <a:pt x="735" y="465"/>
                  </a:moveTo>
                  <a:cubicBezTo>
                    <a:pt x="734" y="466"/>
                    <a:pt x="733" y="468"/>
                    <a:pt x="732" y="469"/>
                  </a:cubicBezTo>
                  <a:cubicBezTo>
                    <a:pt x="731" y="470"/>
                    <a:pt x="730" y="470"/>
                    <a:pt x="730" y="471"/>
                  </a:cubicBezTo>
                  <a:cubicBezTo>
                    <a:pt x="729" y="472"/>
                    <a:pt x="729" y="472"/>
                    <a:pt x="729" y="472"/>
                  </a:cubicBezTo>
                  <a:cubicBezTo>
                    <a:pt x="729" y="473"/>
                    <a:pt x="729" y="473"/>
                    <a:pt x="729" y="474"/>
                  </a:cubicBezTo>
                  <a:cubicBezTo>
                    <a:pt x="730" y="473"/>
                    <a:pt x="730" y="472"/>
                    <a:pt x="731" y="471"/>
                  </a:cubicBezTo>
                  <a:cubicBezTo>
                    <a:pt x="733" y="469"/>
                    <a:pt x="734" y="467"/>
                    <a:pt x="735" y="465"/>
                  </a:cubicBezTo>
                  <a:cubicBezTo>
                    <a:pt x="735" y="465"/>
                    <a:pt x="735" y="465"/>
                    <a:pt x="735" y="465"/>
                  </a:cubicBezTo>
                  <a:moveTo>
                    <a:pt x="728" y="473"/>
                  </a:moveTo>
                  <a:cubicBezTo>
                    <a:pt x="727" y="475"/>
                    <a:pt x="725" y="476"/>
                    <a:pt x="724" y="478"/>
                  </a:cubicBezTo>
                  <a:cubicBezTo>
                    <a:pt x="723" y="479"/>
                    <a:pt x="722" y="480"/>
                    <a:pt x="721" y="481"/>
                  </a:cubicBezTo>
                  <a:cubicBezTo>
                    <a:pt x="718" y="484"/>
                    <a:pt x="716" y="486"/>
                    <a:pt x="713" y="489"/>
                  </a:cubicBezTo>
                  <a:cubicBezTo>
                    <a:pt x="712" y="489"/>
                    <a:pt x="712" y="490"/>
                    <a:pt x="712" y="490"/>
                  </a:cubicBezTo>
                  <a:cubicBezTo>
                    <a:pt x="709" y="493"/>
                    <a:pt x="706" y="495"/>
                    <a:pt x="704" y="498"/>
                  </a:cubicBezTo>
                  <a:cubicBezTo>
                    <a:pt x="703" y="498"/>
                    <a:pt x="703" y="498"/>
                    <a:pt x="702" y="499"/>
                  </a:cubicBezTo>
                  <a:cubicBezTo>
                    <a:pt x="702" y="499"/>
                    <a:pt x="702" y="499"/>
                    <a:pt x="702" y="499"/>
                  </a:cubicBezTo>
                  <a:cubicBezTo>
                    <a:pt x="701" y="500"/>
                    <a:pt x="700" y="501"/>
                    <a:pt x="699" y="502"/>
                  </a:cubicBezTo>
                  <a:cubicBezTo>
                    <a:pt x="699" y="502"/>
                    <a:pt x="699" y="503"/>
                    <a:pt x="699" y="503"/>
                  </a:cubicBezTo>
                  <a:cubicBezTo>
                    <a:pt x="700" y="502"/>
                    <a:pt x="701" y="501"/>
                    <a:pt x="702" y="501"/>
                  </a:cubicBezTo>
                  <a:cubicBezTo>
                    <a:pt x="702" y="500"/>
                    <a:pt x="703" y="500"/>
                    <a:pt x="703" y="500"/>
                  </a:cubicBezTo>
                  <a:cubicBezTo>
                    <a:pt x="703" y="499"/>
                    <a:pt x="704" y="499"/>
                    <a:pt x="704" y="498"/>
                  </a:cubicBezTo>
                  <a:cubicBezTo>
                    <a:pt x="705" y="498"/>
                    <a:pt x="705" y="498"/>
                    <a:pt x="706" y="497"/>
                  </a:cubicBezTo>
                  <a:cubicBezTo>
                    <a:pt x="707" y="496"/>
                    <a:pt x="709" y="494"/>
                    <a:pt x="711" y="492"/>
                  </a:cubicBezTo>
                  <a:cubicBezTo>
                    <a:pt x="711" y="492"/>
                    <a:pt x="712" y="491"/>
                    <a:pt x="712" y="491"/>
                  </a:cubicBezTo>
                  <a:cubicBezTo>
                    <a:pt x="717" y="487"/>
                    <a:pt x="721" y="483"/>
                    <a:pt x="725" y="478"/>
                  </a:cubicBezTo>
                  <a:cubicBezTo>
                    <a:pt x="726" y="477"/>
                    <a:pt x="727" y="476"/>
                    <a:pt x="728" y="475"/>
                  </a:cubicBezTo>
                  <a:cubicBezTo>
                    <a:pt x="728" y="475"/>
                    <a:pt x="728" y="475"/>
                    <a:pt x="728" y="475"/>
                  </a:cubicBezTo>
                  <a:cubicBezTo>
                    <a:pt x="728" y="474"/>
                    <a:pt x="728" y="474"/>
                    <a:pt x="728" y="473"/>
                  </a:cubicBezTo>
                  <a:moveTo>
                    <a:pt x="698" y="503"/>
                  </a:moveTo>
                  <a:cubicBezTo>
                    <a:pt x="691" y="509"/>
                    <a:pt x="684" y="515"/>
                    <a:pt x="676" y="521"/>
                  </a:cubicBezTo>
                  <a:cubicBezTo>
                    <a:pt x="676" y="521"/>
                    <a:pt x="676" y="522"/>
                    <a:pt x="676" y="522"/>
                  </a:cubicBezTo>
                  <a:cubicBezTo>
                    <a:pt x="684" y="516"/>
                    <a:pt x="691" y="510"/>
                    <a:pt x="699" y="503"/>
                  </a:cubicBezTo>
                  <a:cubicBezTo>
                    <a:pt x="698" y="503"/>
                    <a:pt x="698" y="503"/>
                    <a:pt x="698" y="503"/>
                  </a:cubicBezTo>
                  <a:moveTo>
                    <a:pt x="675" y="522"/>
                  </a:moveTo>
                  <a:cubicBezTo>
                    <a:pt x="670" y="525"/>
                    <a:pt x="666" y="528"/>
                    <a:pt x="661" y="532"/>
                  </a:cubicBezTo>
                  <a:cubicBezTo>
                    <a:pt x="659" y="533"/>
                    <a:pt x="658" y="534"/>
                    <a:pt x="656" y="535"/>
                  </a:cubicBezTo>
                  <a:cubicBezTo>
                    <a:pt x="656" y="535"/>
                    <a:pt x="657" y="536"/>
                    <a:pt x="657" y="536"/>
                  </a:cubicBezTo>
                  <a:cubicBezTo>
                    <a:pt x="658" y="535"/>
                    <a:pt x="660" y="534"/>
                    <a:pt x="662" y="532"/>
                  </a:cubicBezTo>
                  <a:cubicBezTo>
                    <a:pt x="663" y="531"/>
                    <a:pt x="665" y="530"/>
                    <a:pt x="667" y="529"/>
                  </a:cubicBezTo>
                  <a:cubicBezTo>
                    <a:pt x="670" y="527"/>
                    <a:pt x="672" y="525"/>
                    <a:pt x="675" y="523"/>
                  </a:cubicBezTo>
                  <a:cubicBezTo>
                    <a:pt x="675" y="522"/>
                    <a:pt x="675" y="522"/>
                    <a:pt x="675" y="522"/>
                  </a:cubicBezTo>
                  <a:moveTo>
                    <a:pt x="655" y="536"/>
                  </a:moveTo>
                  <a:cubicBezTo>
                    <a:pt x="655" y="536"/>
                    <a:pt x="654" y="536"/>
                    <a:pt x="654" y="537"/>
                  </a:cubicBezTo>
                  <a:cubicBezTo>
                    <a:pt x="654" y="537"/>
                    <a:pt x="653" y="537"/>
                    <a:pt x="653" y="537"/>
                  </a:cubicBezTo>
                  <a:cubicBezTo>
                    <a:pt x="648" y="541"/>
                    <a:pt x="642" y="544"/>
                    <a:pt x="637" y="548"/>
                  </a:cubicBezTo>
                  <a:cubicBezTo>
                    <a:pt x="636" y="549"/>
                    <a:pt x="635" y="549"/>
                    <a:pt x="633" y="550"/>
                  </a:cubicBezTo>
                  <a:cubicBezTo>
                    <a:pt x="633" y="551"/>
                    <a:pt x="632" y="551"/>
                    <a:pt x="631" y="552"/>
                  </a:cubicBezTo>
                  <a:cubicBezTo>
                    <a:pt x="629" y="553"/>
                    <a:pt x="627" y="554"/>
                    <a:pt x="625" y="556"/>
                  </a:cubicBezTo>
                  <a:cubicBezTo>
                    <a:pt x="625" y="556"/>
                    <a:pt x="624" y="556"/>
                    <a:pt x="624" y="556"/>
                  </a:cubicBezTo>
                  <a:cubicBezTo>
                    <a:pt x="624" y="556"/>
                    <a:pt x="624" y="557"/>
                    <a:pt x="624" y="557"/>
                  </a:cubicBezTo>
                  <a:cubicBezTo>
                    <a:pt x="624" y="557"/>
                    <a:pt x="624" y="557"/>
                    <a:pt x="624" y="557"/>
                  </a:cubicBezTo>
                  <a:cubicBezTo>
                    <a:pt x="625" y="557"/>
                    <a:pt x="625" y="557"/>
                    <a:pt x="625" y="556"/>
                  </a:cubicBezTo>
                  <a:cubicBezTo>
                    <a:pt x="626" y="556"/>
                    <a:pt x="627" y="556"/>
                    <a:pt x="627" y="555"/>
                  </a:cubicBezTo>
                  <a:cubicBezTo>
                    <a:pt x="629" y="554"/>
                    <a:pt x="630" y="554"/>
                    <a:pt x="631" y="553"/>
                  </a:cubicBezTo>
                  <a:cubicBezTo>
                    <a:pt x="632" y="552"/>
                    <a:pt x="633" y="552"/>
                    <a:pt x="634" y="551"/>
                  </a:cubicBezTo>
                  <a:cubicBezTo>
                    <a:pt x="641" y="547"/>
                    <a:pt x="648" y="542"/>
                    <a:pt x="654" y="538"/>
                  </a:cubicBezTo>
                  <a:cubicBezTo>
                    <a:pt x="654" y="538"/>
                    <a:pt x="655" y="537"/>
                    <a:pt x="655" y="537"/>
                  </a:cubicBezTo>
                  <a:cubicBezTo>
                    <a:pt x="655" y="537"/>
                    <a:pt x="656" y="537"/>
                    <a:pt x="656" y="536"/>
                  </a:cubicBezTo>
                  <a:cubicBezTo>
                    <a:pt x="656" y="536"/>
                    <a:pt x="656" y="536"/>
                    <a:pt x="655" y="536"/>
                  </a:cubicBezTo>
                  <a:moveTo>
                    <a:pt x="623" y="557"/>
                  </a:moveTo>
                  <a:cubicBezTo>
                    <a:pt x="622" y="557"/>
                    <a:pt x="621" y="558"/>
                    <a:pt x="619" y="559"/>
                  </a:cubicBezTo>
                  <a:cubicBezTo>
                    <a:pt x="619" y="559"/>
                    <a:pt x="618" y="559"/>
                    <a:pt x="618" y="560"/>
                  </a:cubicBezTo>
                  <a:cubicBezTo>
                    <a:pt x="616" y="561"/>
                    <a:pt x="614" y="562"/>
                    <a:pt x="612" y="563"/>
                  </a:cubicBezTo>
                  <a:cubicBezTo>
                    <a:pt x="612" y="563"/>
                    <a:pt x="613" y="564"/>
                    <a:pt x="613" y="564"/>
                  </a:cubicBezTo>
                  <a:cubicBezTo>
                    <a:pt x="614" y="563"/>
                    <a:pt x="616" y="562"/>
                    <a:pt x="617" y="561"/>
                  </a:cubicBezTo>
                  <a:cubicBezTo>
                    <a:pt x="617" y="561"/>
                    <a:pt x="618" y="561"/>
                    <a:pt x="619" y="561"/>
                  </a:cubicBezTo>
                  <a:cubicBezTo>
                    <a:pt x="620" y="560"/>
                    <a:pt x="622" y="559"/>
                    <a:pt x="623" y="558"/>
                  </a:cubicBezTo>
                  <a:cubicBezTo>
                    <a:pt x="623" y="557"/>
                    <a:pt x="623" y="557"/>
                    <a:pt x="623" y="557"/>
                  </a:cubicBezTo>
                  <a:moveTo>
                    <a:pt x="611" y="564"/>
                  </a:moveTo>
                  <a:cubicBezTo>
                    <a:pt x="607" y="566"/>
                    <a:pt x="602" y="569"/>
                    <a:pt x="597" y="572"/>
                  </a:cubicBezTo>
                  <a:cubicBezTo>
                    <a:pt x="596" y="572"/>
                    <a:pt x="595" y="573"/>
                    <a:pt x="594" y="573"/>
                  </a:cubicBezTo>
                  <a:cubicBezTo>
                    <a:pt x="587" y="577"/>
                    <a:pt x="580" y="581"/>
                    <a:pt x="573" y="584"/>
                  </a:cubicBezTo>
                  <a:cubicBezTo>
                    <a:pt x="573" y="585"/>
                    <a:pt x="573" y="585"/>
                    <a:pt x="574" y="585"/>
                  </a:cubicBezTo>
                  <a:cubicBezTo>
                    <a:pt x="580" y="582"/>
                    <a:pt x="586" y="579"/>
                    <a:pt x="592" y="576"/>
                  </a:cubicBezTo>
                  <a:cubicBezTo>
                    <a:pt x="593" y="575"/>
                    <a:pt x="594" y="575"/>
                    <a:pt x="595" y="574"/>
                  </a:cubicBezTo>
                  <a:cubicBezTo>
                    <a:pt x="601" y="571"/>
                    <a:pt x="606" y="568"/>
                    <a:pt x="612" y="564"/>
                  </a:cubicBezTo>
                  <a:cubicBezTo>
                    <a:pt x="612" y="564"/>
                    <a:pt x="612" y="564"/>
                    <a:pt x="611" y="564"/>
                  </a:cubicBezTo>
                  <a:moveTo>
                    <a:pt x="572" y="585"/>
                  </a:moveTo>
                  <a:cubicBezTo>
                    <a:pt x="571" y="586"/>
                    <a:pt x="569" y="586"/>
                    <a:pt x="567" y="587"/>
                  </a:cubicBezTo>
                  <a:cubicBezTo>
                    <a:pt x="568" y="588"/>
                    <a:pt x="568" y="588"/>
                    <a:pt x="568" y="588"/>
                  </a:cubicBezTo>
                  <a:cubicBezTo>
                    <a:pt x="570" y="587"/>
                    <a:pt x="571" y="586"/>
                    <a:pt x="573" y="586"/>
                  </a:cubicBezTo>
                  <a:cubicBezTo>
                    <a:pt x="572" y="585"/>
                    <a:pt x="572" y="585"/>
                    <a:pt x="572" y="585"/>
                  </a:cubicBezTo>
                  <a:moveTo>
                    <a:pt x="566" y="588"/>
                  </a:moveTo>
                  <a:cubicBezTo>
                    <a:pt x="565" y="589"/>
                    <a:pt x="563" y="589"/>
                    <a:pt x="562" y="590"/>
                  </a:cubicBezTo>
                  <a:cubicBezTo>
                    <a:pt x="561" y="590"/>
                    <a:pt x="560" y="591"/>
                    <a:pt x="560" y="591"/>
                  </a:cubicBezTo>
                  <a:cubicBezTo>
                    <a:pt x="551" y="595"/>
                    <a:pt x="543" y="599"/>
                    <a:pt x="534" y="603"/>
                  </a:cubicBezTo>
                  <a:cubicBezTo>
                    <a:pt x="533" y="603"/>
                    <a:pt x="531" y="604"/>
                    <a:pt x="530" y="605"/>
                  </a:cubicBezTo>
                  <a:cubicBezTo>
                    <a:pt x="529" y="605"/>
                    <a:pt x="528" y="605"/>
                    <a:pt x="528" y="605"/>
                  </a:cubicBezTo>
                  <a:cubicBezTo>
                    <a:pt x="526" y="606"/>
                    <a:pt x="524" y="607"/>
                    <a:pt x="522" y="608"/>
                  </a:cubicBezTo>
                  <a:cubicBezTo>
                    <a:pt x="522" y="608"/>
                    <a:pt x="522" y="608"/>
                    <a:pt x="522" y="608"/>
                  </a:cubicBezTo>
                  <a:cubicBezTo>
                    <a:pt x="522" y="608"/>
                    <a:pt x="522" y="609"/>
                    <a:pt x="523" y="609"/>
                  </a:cubicBezTo>
                  <a:cubicBezTo>
                    <a:pt x="523" y="608"/>
                    <a:pt x="524" y="608"/>
                    <a:pt x="524" y="608"/>
                  </a:cubicBezTo>
                  <a:cubicBezTo>
                    <a:pt x="525" y="608"/>
                    <a:pt x="526" y="607"/>
                    <a:pt x="526" y="607"/>
                  </a:cubicBezTo>
                  <a:cubicBezTo>
                    <a:pt x="527" y="607"/>
                    <a:pt x="528" y="607"/>
                    <a:pt x="528" y="606"/>
                  </a:cubicBezTo>
                  <a:cubicBezTo>
                    <a:pt x="529" y="606"/>
                    <a:pt x="529" y="606"/>
                    <a:pt x="529" y="606"/>
                  </a:cubicBezTo>
                  <a:cubicBezTo>
                    <a:pt x="539" y="602"/>
                    <a:pt x="548" y="597"/>
                    <a:pt x="558" y="593"/>
                  </a:cubicBezTo>
                  <a:cubicBezTo>
                    <a:pt x="559" y="593"/>
                    <a:pt x="560" y="592"/>
                    <a:pt x="560" y="592"/>
                  </a:cubicBezTo>
                  <a:cubicBezTo>
                    <a:pt x="563" y="591"/>
                    <a:pt x="565" y="590"/>
                    <a:pt x="567" y="588"/>
                  </a:cubicBezTo>
                  <a:cubicBezTo>
                    <a:pt x="567" y="588"/>
                    <a:pt x="566" y="588"/>
                    <a:pt x="566" y="588"/>
                  </a:cubicBezTo>
                  <a:moveTo>
                    <a:pt x="520" y="609"/>
                  </a:moveTo>
                  <a:cubicBezTo>
                    <a:pt x="517" y="610"/>
                    <a:pt x="514" y="611"/>
                    <a:pt x="511" y="612"/>
                  </a:cubicBezTo>
                  <a:cubicBezTo>
                    <a:pt x="506" y="614"/>
                    <a:pt x="501" y="617"/>
                    <a:pt x="497" y="619"/>
                  </a:cubicBezTo>
                  <a:cubicBezTo>
                    <a:pt x="497" y="618"/>
                    <a:pt x="498" y="618"/>
                    <a:pt x="499" y="618"/>
                  </a:cubicBezTo>
                  <a:cubicBezTo>
                    <a:pt x="501" y="617"/>
                    <a:pt x="504" y="616"/>
                    <a:pt x="507" y="615"/>
                  </a:cubicBezTo>
                  <a:cubicBezTo>
                    <a:pt x="507" y="615"/>
                    <a:pt x="508" y="615"/>
                    <a:pt x="508" y="614"/>
                  </a:cubicBezTo>
                  <a:cubicBezTo>
                    <a:pt x="512" y="613"/>
                    <a:pt x="517" y="611"/>
                    <a:pt x="521" y="609"/>
                  </a:cubicBezTo>
                  <a:cubicBezTo>
                    <a:pt x="521" y="609"/>
                    <a:pt x="521" y="609"/>
                    <a:pt x="521" y="609"/>
                  </a:cubicBezTo>
                  <a:cubicBezTo>
                    <a:pt x="521" y="609"/>
                    <a:pt x="520" y="609"/>
                    <a:pt x="520" y="609"/>
                  </a:cubicBezTo>
                  <a:moveTo>
                    <a:pt x="496" y="618"/>
                  </a:moveTo>
                  <a:cubicBezTo>
                    <a:pt x="494" y="619"/>
                    <a:pt x="492" y="619"/>
                    <a:pt x="490" y="620"/>
                  </a:cubicBezTo>
                  <a:cubicBezTo>
                    <a:pt x="483" y="623"/>
                    <a:pt x="476" y="625"/>
                    <a:pt x="469" y="627"/>
                  </a:cubicBezTo>
                  <a:cubicBezTo>
                    <a:pt x="469" y="627"/>
                    <a:pt x="469" y="627"/>
                    <a:pt x="470" y="627"/>
                  </a:cubicBezTo>
                  <a:cubicBezTo>
                    <a:pt x="470" y="627"/>
                    <a:pt x="470" y="628"/>
                    <a:pt x="470" y="628"/>
                  </a:cubicBezTo>
                  <a:cubicBezTo>
                    <a:pt x="474" y="626"/>
                    <a:pt x="479" y="625"/>
                    <a:pt x="483" y="623"/>
                  </a:cubicBezTo>
                  <a:cubicBezTo>
                    <a:pt x="487" y="622"/>
                    <a:pt x="492" y="620"/>
                    <a:pt x="496" y="618"/>
                  </a:cubicBezTo>
                  <a:moveTo>
                    <a:pt x="467" y="628"/>
                  </a:moveTo>
                  <a:cubicBezTo>
                    <a:pt x="455" y="631"/>
                    <a:pt x="443" y="634"/>
                    <a:pt x="432" y="637"/>
                  </a:cubicBezTo>
                  <a:cubicBezTo>
                    <a:pt x="430" y="637"/>
                    <a:pt x="428" y="638"/>
                    <a:pt x="426" y="638"/>
                  </a:cubicBezTo>
                  <a:cubicBezTo>
                    <a:pt x="424" y="639"/>
                    <a:pt x="421" y="639"/>
                    <a:pt x="419" y="640"/>
                  </a:cubicBezTo>
                  <a:cubicBezTo>
                    <a:pt x="418" y="640"/>
                    <a:pt x="418" y="640"/>
                    <a:pt x="417" y="640"/>
                  </a:cubicBezTo>
                  <a:cubicBezTo>
                    <a:pt x="415" y="641"/>
                    <a:pt x="413" y="642"/>
                    <a:pt x="411" y="642"/>
                  </a:cubicBezTo>
                  <a:cubicBezTo>
                    <a:pt x="416" y="641"/>
                    <a:pt x="421" y="640"/>
                    <a:pt x="426" y="639"/>
                  </a:cubicBezTo>
                  <a:cubicBezTo>
                    <a:pt x="428" y="639"/>
                    <a:pt x="430" y="638"/>
                    <a:pt x="432" y="638"/>
                  </a:cubicBezTo>
                  <a:cubicBezTo>
                    <a:pt x="435" y="637"/>
                    <a:pt x="439" y="636"/>
                    <a:pt x="443" y="635"/>
                  </a:cubicBezTo>
                  <a:cubicBezTo>
                    <a:pt x="451" y="633"/>
                    <a:pt x="460" y="631"/>
                    <a:pt x="468" y="628"/>
                  </a:cubicBezTo>
                  <a:cubicBezTo>
                    <a:pt x="468" y="628"/>
                    <a:pt x="467" y="628"/>
                    <a:pt x="467" y="628"/>
                  </a:cubicBezTo>
                  <a:moveTo>
                    <a:pt x="411" y="641"/>
                  </a:moveTo>
                  <a:cubicBezTo>
                    <a:pt x="408" y="642"/>
                    <a:pt x="406" y="643"/>
                    <a:pt x="403" y="643"/>
                  </a:cubicBezTo>
                  <a:cubicBezTo>
                    <a:pt x="404" y="643"/>
                    <a:pt x="404" y="643"/>
                    <a:pt x="405" y="644"/>
                  </a:cubicBezTo>
                  <a:cubicBezTo>
                    <a:pt x="407" y="643"/>
                    <a:pt x="409" y="642"/>
                    <a:pt x="411" y="641"/>
                  </a:cubicBezTo>
                  <a:moveTo>
                    <a:pt x="401" y="644"/>
                  </a:moveTo>
                  <a:cubicBezTo>
                    <a:pt x="397" y="645"/>
                    <a:pt x="392" y="646"/>
                    <a:pt x="387" y="647"/>
                  </a:cubicBezTo>
                  <a:cubicBezTo>
                    <a:pt x="386" y="647"/>
                    <a:pt x="384" y="647"/>
                    <a:pt x="382" y="648"/>
                  </a:cubicBezTo>
                  <a:cubicBezTo>
                    <a:pt x="382" y="648"/>
                    <a:pt x="382" y="648"/>
                    <a:pt x="382" y="648"/>
                  </a:cubicBezTo>
                  <a:cubicBezTo>
                    <a:pt x="381" y="648"/>
                    <a:pt x="380" y="648"/>
                    <a:pt x="379" y="648"/>
                  </a:cubicBezTo>
                  <a:cubicBezTo>
                    <a:pt x="371" y="650"/>
                    <a:pt x="362" y="653"/>
                    <a:pt x="352" y="655"/>
                  </a:cubicBezTo>
                  <a:cubicBezTo>
                    <a:pt x="350" y="656"/>
                    <a:pt x="347" y="657"/>
                    <a:pt x="345" y="658"/>
                  </a:cubicBezTo>
                  <a:cubicBezTo>
                    <a:pt x="346" y="657"/>
                    <a:pt x="348" y="657"/>
                    <a:pt x="349" y="657"/>
                  </a:cubicBezTo>
                  <a:cubicBezTo>
                    <a:pt x="349" y="657"/>
                    <a:pt x="350" y="656"/>
                    <a:pt x="350" y="656"/>
                  </a:cubicBezTo>
                  <a:cubicBezTo>
                    <a:pt x="361" y="654"/>
                    <a:pt x="371" y="651"/>
                    <a:pt x="382" y="649"/>
                  </a:cubicBezTo>
                  <a:cubicBezTo>
                    <a:pt x="383" y="649"/>
                    <a:pt x="383" y="649"/>
                    <a:pt x="384" y="648"/>
                  </a:cubicBezTo>
                  <a:cubicBezTo>
                    <a:pt x="385" y="648"/>
                    <a:pt x="386" y="648"/>
                    <a:pt x="387" y="648"/>
                  </a:cubicBezTo>
                  <a:cubicBezTo>
                    <a:pt x="389" y="647"/>
                    <a:pt x="391" y="647"/>
                    <a:pt x="392" y="646"/>
                  </a:cubicBezTo>
                  <a:cubicBezTo>
                    <a:pt x="396" y="646"/>
                    <a:pt x="399" y="645"/>
                    <a:pt x="403" y="644"/>
                  </a:cubicBezTo>
                  <a:cubicBezTo>
                    <a:pt x="402" y="644"/>
                    <a:pt x="402" y="644"/>
                    <a:pt x="401" y="644"/>
                  </a:cubicBezTo>
                  <a:moveTo>
                    <a:pt x="1412" y="649"/>
                  </a:moveTo>
                  <a:cubicBezTo>
                    <a:pt x="1415" y="694"/>
                    <a:pt x="1421" y="741"/>
                    <a:pt x="1424" y="785"/>
                  </a:cubicBezTo>
                  <a:cubicBezTo>
                    <a:pt x="1424" y="786"/>
                    <a:pt x="1425" y="788"/>
                    <a:pt x="1425" y="789"/>
                  </a:cubicBezTo>
                  <a:cubicBezTo>
                    <a:pt x="1423" y="747"/>
                    <a:pt x="1417" y="702"/>
                    <a:pt x="1413" y="659"/>
                  </a:cubicBezTo>
                  <a:cubicBezTo>
                    <a:pt x="1413" y="655"/>
                    <a:pt x="1412" y="652"/>
                    <a:pt x="1412" y="649"/>
                  </a:cubicBezTo>
                  <a:moveTo>
                    <a:pt x="344" y="657"/>
                  </a:moveTo>
                  <a:cubicBezTo>
                    <a:pt x="332" y="660"/>
                    <a:pt x="319" y="663"/>
                    <a:pt x="306" y="666"/>
                  </a:cubicBezTo>
                  <a:cubicBezTo>
                    <a:pt x="305" y="667"/>
                    <a:pt x="303" y="667"/>
                    <a:pt x="301" y="668"/>
                  </a:cubicBezTo>
                  <a:cubicBezTo>
                    <a:pt x="294" y="669"/>
                    <a:pt x="287" y="671"/>
                    <a:pt x="280" y="673"/>
                  </a:cubicBezTo>
                  <a:cubicBezTo>
                    <a:pt x="280" y="673"/>
                    <a:pt x="280" y="673"/>
                    <a:pt x="279" y="674"/>
                  </a:cubicBezTo>
                  <a:cubicBezTo>
                    <a:pt x="275" y="675"/>
                    <a:pt x="271" y="676"/>
                    <a:pt x="267" y="677"/>
                  </a:cubicBezTo>
                  <a:cubicBezTo>
                    <a:pt x="263" y="678"/>
                    <a:pt x="259" y="679"/>
                    <a:pt x="256" y="681"/>
                  </a:cubicBezTo>
                  <a:cubicBezTo>
                    <a:pt x="253" y="682"/>
                    <a:pt x="250" y="683"/>
                    <a:pt x="246" y="684"/>
                  </a:cubicBezTo>
                  <a:cubicBezTo>
                    <a:pt x="258" y="680"/>
                    <a:pt x="269" y="677"/>
                    <a:pt x="280" y="674"/>
                  </a:cubicBezTo>
                  <a:cubicBezTo>
                    <a:pt x="281" y="674"/>
                    <a:pt x="281" y="674"/>
                    <a:pt x="281" y="674"/>
                  </a:cubicBezTo>
                  <a:cubicBezTo>
                    <a:pt x="290" y="672"/>
                    <a:pt x="298" y="669"/>
                    <a:pt x="306" y="667"/>
                  </a:cubicBezTo>
                  <a:cubicBezTo>
                    <a:pt x="308" y="667"/>
                    <a:pt x="310" y="666"/>
                    <a:pt x="311" y="666"/>
                  </a:cubicBezTo>
                  <a:cubicBezTo>
                    <a:pt x="320" y="664"/>
                    <a:pt x="328" y="662"/>
                    <a:pt x="336" y="660"/>
                  </a:cubicBezTo>
                  <a:cubicBezTo>
                    <a:pt x="339" y="659"/>
                    <a:pt x="341" y="658"/>
                    <a:pt x="344" y="657"/>
                  </a:cubicBezTo>
                  <a:moveTo>
                    <a:pt x="246" y="683"/>
                  </a:moveTo>
                  <a:cubicBezTo>
                    <a:pt x="241" y="684"/>
                    <a:pt x="235" y="686"/>
                    <a:pt x="229" y="688"/>
                  </a:cubicBezTo>
                  <a:cubicBezTo>
                    <a:pt x="229" y="688"/>
                    <a:pt x="228" y="688"/>
                    <a:pt x="228" y="688"/>
                  </a:cubicBezTo>
                  <a:cubicBezTo>
                    <a:pt x="224" y="689"/>
                    <a:pt x="219" y="691"/>
                    <a:pt x="215" y="692"/>
                  </a:cubicBezTo>
                  <a:cubicBezTo>
                    <a:pt x="215" y="692"/>
                    <a:pt x="214" y="692"/>
                    <a:pt x="214" y="692"/>
                  </a:cubicBezTo>
                  <a:cubicBezTo>
                    <a:pt x="212" y="693"/>
                    <a:pt x="211" y="693"/>
                    <a:pt x="210" y="694"/>
                  </a:cubicBezTo>
                  <a:cubicBezTo>
                    <a:pt x="209" y="694"/>
                    <a:pt x="209" y="694"/>
                    <a:pt x="208" y="694"/>
                  </a:cubicBezTo>
                  <a:cubicBezTo>
                    <a:pt x="206" y="695"/>
                    <a:pt x="203" y="696"/>
                    <a:pt x="200" y="697"/>
                  </a:cubicBezTo>
                  <a:cubicBezTo>
                    <a:pt x="200" y="697"/>
                    <a:pt x="199" y="697"/>
                    <a:pt x="199" y="697"/>
                  </a:cubicBezTo>
                  <a:cubicBezTo>
                    <a:pt x="198" y="697"/>
                    <a:pt x="198" y="698"/>
                    <a:pt x="197" y="698"/>
                  </a:cubicBezTo>
                  <a:cubicBezTo>
                    <a:pt x="196" y="698"/>
                    <a:pt x="195" y="698"/>
                    <a:pt x="194" y="699"/>
                  </a:cubicBezTo>
                  <a:cubicBezTo>
                    <a:pt x="191" y="700"/>
                    <a:pt x="188" y="701"/>
                    <a:pt x="185" y="702"/>
                  </a:cubicBezTo>
                  <a:cubicBezTo>
                    <a:pt x="184" y="702"/>
                    <a:pt x="184" y="702"/>
                    <a:pt x="183" y="702"/>
                  </a:cubicBezTo>
                  <a:cubicBezTo>
                    <a:pt x="183" y="702"/>
                    <a:pt x="183" y="702"/>
                    <a:pt x="182" y="703"/>
                  </a:cubicBezTo>
                  <a:cubicBezTo>
                    <a:pt x="182" y="703"/>
                    <a:pt x="182" y="703"/>
                    <a:pt x="181" y="703"/>
                  </a:cubicBezTo>
                  <a:cubicBezTo>
                    <a:pt x="178" y="704"/>
                    <a:pt x="174" y="705"/>
                    <a:pt x="171" y="706"/>
                  </a:cubicBezTo>
                  <a:cubicBezTo>
                    <a:pt x="170" y="707"/>
                    <a:pt x="170" y="707"/>
                    <a:pt x="169" y="707"/>
                  </a:cubicBezTo>
                  <a:cubicBezTo>
                    <a:pt x="167" y="708"/>
                    <a:pt x="165" y="708"/>
                    <a:pt x="163" y="709"/>
                  </a:cubicBezTo>
                  <a:cubicBezTo>
                    <a:pt x="162" y="709"/>
                    <a:pt x="161" y="710"/>
                    <a:pt x="161" y="710"/>
                  </a:cubicBezTo>
                  <a:cubicBezTo>
                    <a:pt x="158" y="711"/>
                    <a:pt x="156" y="712"/>
                    <a:pt x="154" y="712"/>
                  </a:cubicBezTo>
                  <a:cubicBezTo>
                    <a:pt x="153" y="713"/>
                    <a:pt x="152" y="713"/>
                    <a:pt x="151" y="713"/>
                  </a:cubicBezTo>
                  <a:cubicBezTo>
                    <a:pt x="148" y="715"/>
                    <a:pt x="144" y="716"/>
                    <a:pt x="140" y="717"/>
                  </a:cubicBezTo>
                  <a:cubicBezTo>
                    <a:pt x="140" y="717"/>
                    <a:pt x="140" y="717"/>
                    <a:pt x="140" y="717"/>
                  </a:cubicBezTo>
                  <a:cubicBezTo>
                    <a:pt x="140" y="717"/>
                    <a:pt x="140" y="718"/>
                    <a:pt x="139" y="718"/>
                  </a:cubicBezTo>
                  <a:cubicBezTo>
                    <a:pt x="138" y="718"/>
                    <a:pt x="137" y="719"/>
                    <a:pt x="136" y="719"/>
                  </a:cubicBezTo>
                  <a:cubicBezTo>
                    <a:pt x="135" y="719"/>
                    <a:pt x="134" y="720"/>
                    <a:pt x="133" y="720"/>
                  </a:cubicBezTo>
                  <a:cubicBezTo>
                    <a:pt x="133" y="720"/>
                    <a:pt x="133" y="720"/>
                    <a:pt x="133" y="720"/>
                  </a:cubicBezTo>
                  <a:cubicBezTo>
                    <a:pt x="132" y="720"/>
                    <a:pt x="132" y="721"/>
                    <a:pt x="131" y="721"/>
                  </a:cubicBezTo>
                  <a:cubicBezTo>
                    <a:pt x="131" y="721"/>
                    <a:pt x="131" y="721"/>
                    <a:pt x="131" y="721"/>
                  </a:cubicBezTo>
                  <a:cubicBezTo>
                    <a:pt x="130" y="721"/>
                    <a:pt x="129" y="722"/>
                    <a:pt x="127" y="722"/>
                  </a:cubicBezTo>
                  <a:cubicBezTo>
                    <a:pt x="127" y="722"/>
                    <a:pt x="127" y="723"/>
                    <a:pt x="126" y="723"/>
                  </a:cubicBezTo>
                  <a:cubicBezTo>
                    <a:pt x="126" y="723"/>
                    <a:pt x="125" y="723"/>
                    <a:pt x="125" y="723"/>
                  </a:cubicBezTo>
                  <a:cubicBezTo>
                    <a:pt x="124" y="724"/>
                    <a:pt x="123" y="724"/>
                    <a:pt x="122" y="725"/>
                  </a:cubicBezTo>
                  <a:cubicBezTo>
                    <a:pt x="121" y="725"/>
                    <a:pt x="121" y="725"/>
                    <a:pt x="121" y="725"/>
                  </a:cubicBezTo>
                  <a:cubicBezTo>
                    <a:pt x="121" y="725"/>
                    <a:pt x="121" y="725"/>
                    <a:pt x="120" y="725"/>
                  </a:cubicBezTo>
                  <a:cubicBezTo>
                    <a:pt x="120" y="725"/>
                    <a:pt x="120" y="725"/>
                    <a:pt x="120" y="725"/>
                  </a:cubicBezTo>
                  <a:cubicBezTo>
                    <a:pt x="120" y="725"/>
                    <a:pt x="119" y="726"/>
                    <a:pt x="119" y="726"/>
                  </a:cubicBezTo>
                  <a:cubicBezTo>
                    <a:pt x="119" y="726"/>
                    <a:pt x="118" y="726"/>
                    <a:pt x="118" y="726"/>
                  </a:cubicBezTo>
                  <a:cubicBezTo>
                    <a:pt x="118" y="726"/>
                    <a:pt x="118" y="726"/>
                    <a:pt x="117" y="726"/>
                  </a:cubicBezTo>
                  <a:cubicBezTo>
                    <a:pt x="117" y="726"/>
                    <a:pt x="117" y="727"/>
                    <a:pt x="117" y="727"/>
                  </a:cubicBezTo>
                  <a:cubicBezTo>
                    <a:pt x="116" y="727"/>
                    <a:pt x="116" y="727"/>
                    <a:pt x="116" y="727"/>
                  </a:cubicBezTo>
                  <a:cubicBezTo>
                    <a:pt x="115" y="727"/>
                    <a:pt x="115" y="727"/>
                    <a:pt x="115" y="727"/>
                  </a:cubicBezTo>
                  <a:cubicBezTo>
                    <a:pt x="114" y="728"/>
                    <a:pt x="114" y="728"/>
                    <a:pt x="113" y="728"/>
                  </a:cubicBezTo>
                  <a:cubicBezTo>
                    <a:pt x="113" y="728"/>
                    <a:pt x="113" y="728"/>
                    <a:pt x="112" y="728"/>
                  </a:cubicBezTo>
                  <a:cubicBezTo>
                    <a:pt x="108" y="730"/>
                    <a:pt x="105" y="732"/>
                    <a:pt x="101" y="733"/>
                  </a:cubicBezTo>
                  <a:cubicBezTo>
                    <a:pt x="101" y="733"/>
                    <a:pt x="100" y="733"/>
                    <a:pt x="100" y="734"/>
                  </a:cubicBezTo>
                  <a:cubicBezTo>
                    <a:pt x="96" y="735"/>
                    <a:pt x="92" y="737"/>
                    <a:pt x="88" y="739"/>
                  </a:cubicBezTo>
                  <a:cubicBezTo>
                    <a:pt x="88" y="739"/>
                    <a:pt x="88" y="739"/>
                    <a:pt x="87" y="739"/>
                  </a:cubicBezTo>
                  <a:cubicBezTo>
                    <a:pt x="87" y="740"/>
                    <a:pt x="86" y="740"/>
                    <a:pt x="85" y="740"/>
                  </a:cubicBezTo>
                  <a:cubicBezTo>
                    <a:pt x="85" y="741"/>
                    <a:pt x="84" y="741"/>
                    <a:pt x="84" y="741"/>
                  </a:cubicBezTo>
                  <a:cubicBezTo>
                    <a:pt x="84" y="741"/>
                    <a:pt x="83" y="741"/>
                    <a:pt x="83" y="741"/>
                  </a:cubicBezTo>
                  <a:cubicBezTo>
                    <a:pt x="79" y="743"/>
                    <a:pt x="74" y="746"/>
                    <a:pt x="69" y="748"/>
                  </a:cubicBezTo>
                  <a:cubicBezTo>
                    <a:pt x="69" y="748"/>
                    <a:pt x="69" y="749"/>
                    <a:pt x="68" y="749"/>
                  </a:cubicBezTo>
                  <a:cubicBezTo>
                    <a:pt x="64" y="751"/>
                    <a:pt x="60" y="753"/>
                    <a:pt x="56" y="755"/>
                  </a:cubicBezTo>
                  <a:cubicBezTo>
                    <a:pt x="56" y="755"/>
                    <a:pt x="56" y="755"/>
                    <a:pt x="56" y="756"/>
                  </a:cubicBezTo>
                  <a:cubicBezTo>
                    <a:pt x="55" y="756"/>
                    <a:pt x="54" y="757"/>
                    <a:pt x="53" y="757"/>
                  </a:cubicBezTo>
                  <a:cubicBezTo>
                    <a:pt x="52" y="757"/>
                    <a:pt x="52" y="758"/>
                    <a:pt x="52" y="758"/>
                  </a:cubicBezTo>
                  <a:cubicBezTo>
                    <a:pt x="51" y="758"/>
                    <a:pt x="50" y="759"/>
                    <a:pt x="49" y="760"/>
                  </a:cubicBezTo>
                  <a:cubicBezTo>
                    <a:pt x="48" y="760"/>
                    <a:pt x="48" y="760"/>
                    <a:pt x="48" y="760"/>
                  </a:cubicBezTo>
                  <a:cubicBezTo>
                    <a:pt x="44" y="762"/>
                    <a:pt x="41" y="765"/>
                    <a:pt x="37" y="767"/>
                  </a:cubicBezTo>
                  <a:cubicBezTo>
                    <a:pt x="37" y="767"/>
                    <a:pt x="36" y="768"/>
                    <a:pt x="36" y="768"/>
                  </a:cubicBezTo>
                  <a:cubicBezTo>
                    <a:pt x="36" y="768"/>
                    <a:pt x="36" y="768"/>
                    <a:pt x="35" y="768"/>
                  </a:cubicBezTo>
                  <a:cubicBezTo>
                    <a:pt x="35" y="768"/>
                    <a:pt x="35" y="768"/>
                    <a:pt x="35" y="768"/>
                  </a:cubicBezTo>
                  <a:cubicBezTo>
                    <a:pt x="35" y="769"/>
                    <a:pt x="34" y="769"/>
                    <a:pt x="34" y="769"/>
                  </a:cubicBezTo>
                  <a:cubicBezTo>
                    <a:pt x="34" y="769"/>
                    <a:pt x="34" y="769"/>
                    <a:pt x="34" y="769"/>
                  </a:cubicBezTo>
                  <a:cubicBezTo>
                    <a:pt x="36" y="768"/>
                    <a:pt x="38" y="767"/>
                    <a:pt x="40" y="766"/>
                  </a:cubicBezTo>
                  <a:cubicBezTo>
                    <a:pt x="43" y="764"/>
                    <a:pt x="46" y="763"/>
                    <a:pt x="49" y="761"/>
                  </a:cubicBezTo>
                  <a:cubicBezTo>
                    <a:pt x="49" y="760"/>
                    <a:pt x="50" y="760"/>
                    <a:pt x="50" y="760"/>
                  </a:cubicBezTo>
                  <a:cubicBezTo>
                    <a:pt x="51" y="759"/>
                    <a:pt x="52" y="759"/>
                    <a:pt x="53" y="758"/>
                  </a:cubicBezTo>
                  <a:cubicBezTo>
                    <a:pt x="54" y="758"/>
                    <a:pt x="54" y="758"/>
                    <a:pt x="54" y="757"/>
                  </a:cubicBezTo>
                  <a:cubicBezTo>
                    <a:pt x="55" y="757"/>
                    <a:pt x="55" y="757"/>
                    <a:pt x="56" y="757"/>
                  </a:cubicBezTo>
                  <a:cubicBezTo>
                    <a:pt x="56" y="756"/>
                    <a:pt x="56" y="756"/>
                    <a:pt x="57" y="756"/>
                  </a:cubicBezTo>
                  <a:cubicBezTo>
                    <a:pt x="61" y="754"/>
                    <a:pt x="65" y="752"/>
                    <a:pt x="69" y="749"/>
                  </a:cubicBezTo>
                  <a:cubicBezTo>
                    <a:pt x="69" y="749"/>
                    <a:pt x="70" y="749"/>
                    <a:pt x="70" y="749"/>
                  </a:cubicBezTo>
                  <a:cubicBezTo>
                    <a:pt x="74" y="747"/>
                    <a:pt x="79" y="744"/>
                    <a:pt x="84" y="742"/>
                  </a:cubicBezTo>
                  <a:cubicBezTo>
                    <a:pt x="85" y="742"/>
                    <a:pt x="85" y="742"/>
                    <a:pt x="85" y="741"/>
                  </a:cubicBezTo>
                  <a:cubicBezTo>
                    <a:pt x="85" y="741"/>
                    <a:pt x="85" y="741"/>
                    <a:pt x="85" y="741"/>
                  </a:cubicBezTo>
                  <a:cubicBezTo>
                    <a:pt x="86" y="741"/>
                    <a:pt x="87" y="741"/>
                    <a:pt x="87" y="741"/>
                  </a:cubicBezTo>
                  <a:cubicBezTo>
                    <a:pt x="88" y="740"/>
                    <a:pt x="88" y="740"/>
                    <a:pt x="88" y="740"/>
                  </a:cubicBezTo>
                  <a:cubicBezTo>
                    <a:pt x="89" y="740"/>
                    <a:pt x="89" y="740"/>
                    <a:pt x="90" y="739"/>
                  </a:cubicBezTo>
                  <a:cubicBezTo>
                    <a:pt x="93" y="738"/>
                    <a:pt x="97" y="736"/>
                    <a:pt x="101" y="734"/>
                  </a:cubicBezTo>
                  <a:cubicBezTo>
                    <a:pt x="101" y="734"/>
                    <a:pt x="102" y="734"/>
                    <a:pt x="102" y="734"/>
                  </a:cubicBezTo>
                  <a:cubicBezTo>
                    <a:pt x="106" y="732"/>
                    <a:pt x="109" y="731"/>
                    <a:pt x="113" y="729"/>
                  </a:cubicBezTo>
                  <a:cubicBezTo>
                    <a:pt x="113" y="729"/>
                    <a:pt x="113" y="729"/>
                    <a:pt x="113" y="729"/>
                  </a:cubicBezTo>
                  <a:cubicBezTo>
                    <a:pt x="114" y="729"/>
                    <a:pt x="114" y="729"/>
                    <a:pt x="115" y="729"/>
                  </a:cubicBezTo>
                  <a:cubicBezTo>
                    <a:pt x="115" y="728"/>
                    <a:pt x="115" y="728"/>
                    <a:pt x="116" y="728"/>
                  </a:cubicBezTo>
                  <a:cubicBezTo>
                    <a:pt x="116" y="728"/>
                    <a:pt x="116" y="728"/>
                    <a:pt x="117" y="728"/>
                  </a:cubicBezTo>
                  <a:cubicBezTo>
                    <a:pt x="117" y="728"/>
                    <a:pt x="118" y="727"/>
                    <a:pt x="118" y="727"/>
                  </a:cubicBezTo>
                  <a:cubicBezTo>
                    <a:pt x="118" y="727"/>
                    <a:pt x="118" y="727"/>
                    <a:pt x="119" y="727"/>
                  </a:cubicBezTo>
                  <a:cubicBezTo>
                    <a:pt x="119" y="727"/>
                    <a:pt x="119" y="727"/>
                    <a:pt x="120" y="726"/>
                  </a:cubicBezTo>
                  <a:cubicBezTo>
                    <a:pt x="120" y="726"/>
                    <a:pt x="121" y="726"/>
                    <a:pt x="121" y="726"/>
                  </a:cubicBezTo>
                  <a:cubicBezTo>
                    <a:pt x="121" y="726"/>
                    <a:pt x="121" y="726"/>
                    <a:pt x="122" y="726"/>
                  </a:cubicBezTo>
                  <a:cubicBezTo>
                    <a:pt x="122" y="726"/>
                    <a:pt x="122" y="725"/>
                    <a:pt x="123" y="725"/>
                  </a:cubicBezTo>
                  <a:cubicBezTo>
                    <a:pt x="123" y="725"/>
                    <a:pt x="123" y="725"/>
                    <a:pt x="123" y="725"/>
                  </a:cubicBezTo>
                  <a:cubicBezTo>
                    <a:pt x="124" y="725"/>
                    <a:pt x="125" y="724"/>
                    <a:pt x="126" y="724"/>
                  </a:cubicBezTo>
                  <a:cubicBezTo>
                    <a:pt x="127" y="724"/>
                    <a:pt x="127" y="723"/>
                    <a:pt x="128" y="723"/>
                  </a:cubicBezTo>
                  <a:cubicBezTo>
                    <a:pt x="128" y="723"/>
                    <a:pt x="129" y="723"/>
                    <a:pt x="130" y="723"/>
                  </a:cubicBezTo>
                  <a:cubicBezTo>
                    <a:pt x="130" y="722"/>
                    <a:pt x="131" y="722"/>
                    <a:pt x="132" y="722"/>
                  </a:cubicBezTo>
                  <a:cubicBezTo>
                    <a:pt x="133" y="721"/>
                    <a:pt x="133" y="721"/>
                    <a:pt x="133" y="721"/>
                  </a:cubicBezTo>
                  <a:cubicBezTo>
                    <a:pt x="133" y="721"/>
                    <a:pt x="134" y="721"/>
                    <a:pt x="134" y="721"/>
                  </a:cubicBezTo>
                  <a:cubicBezTo>
                    <a:pt x="135" y="721"/>
                    <a:pt x="135" y="720"/>
                    <a:pt x="136" y="720"/>
                  </a:cubicBezTo>
                  <a:cubicBezTo>
                    <a:pt x="136" y="720"/>
                    <a:pt x="136" y="720"/>
                    <a:pt x="137" y="720"/>
                  </a:cubicBezTo>
                  <a:cubicBezTo>
                    <a:pt x="138" y="719"/>
                    <a:pt x="139" y="719"/>
                    <a:pt x="140" y="718"/>
                  </a:cubicBezTo>
                  <a:cubicBezTo>
                    <a:pt x="141" y="718"/>
                    <a:pt x="141" y="718"/>
                    <a:pt x="142" y="718"/>
                  </a:cubicBezTo>
                  <a:cubicBezTo>
                    <a:pt x="144" y="717"/>
                    <a:pt x="146" y="716"/>
                    <a:pt x="149" y="715"/>
                  </a:cubicBezTo>
                  <a:cubicBezTo>
                    <a:pt x="150" y="715"/>
                    <a:pt x="151" y="715"/>
                    <a:pt x="152" y="714"/>
                  </a:cubicBezTo>
                  <a:cubicBezTo>
                    <a:pt x="154" y="713"/>
                    <a:pt x="156" y="713"/>
                    <a:pt x="159" y="712"/>
                  </a:cubicBezTo>
                  <a:cubicBezTo>
                    <a:pt x="160" y="711"/>
                    <a:pt x="160" y="711"/>
                    <a:pt x="161" y="711"/>
                  </a:cubicBezTo>
                  <a:cubicBezTo>
                    <a:pt x="163" y="710"/>
                    <a:pt x="166" y="709"/>
                    <a:pt x="168" y="708"/>
                  </a:cubicBezTo>
                  <a:cubicBezTo>
                    <a:pt x="169" y="708"/>
                    <a:pt x="169" y="708"/>
                    <a:pt x="170" y="708"/>
                  </a:cubicBezTo>
                  <a:cubicBezTo>
                    <a:pt x="174" y="706"/>
                    <a:pt x="178" y="705"/>
                    <a:pt x="182" y="704"/>
                  </a:cubicBezTo>
                  <a:cubicBezTo>
                    <a:pt x="182" y="704"/>
                    <a:pt x="183" y="703"/>
                    <a:pt x="183" y="703"/>
                  </a:cubicBezTo>
                  <a:cubicBezTo>
                    <a:pt x="183" y="703"/>
                    <a:pt x="184" y="703"/>
                    <a:pt x="184" y="703"/>
                  </a:cubicBezTo>
                  <a:cubicBezTo>
                    <a:pt x="188" y="702"/>
                    <a:pt x="193" y="700"/>
                    <a:pt x="197" y="699"/>
                  </a:cubicBezTo>
                  <a:cubicBezTo>
                    <a:pt x="198" y="698"/>
                    <a:pt x="199" y="698"/>
                    <a:pt x="200" y="698"/>
                  </a:cubicBezTo>
                  <a:cubicBezTo>
                    <a:pt x="203" y="697"/>
                    <a:pt x="205" y="696"/>
                    <a:pt x="208" y="695"/>
                  </a:cubicBezTo>
                  <a:cubicBezTo>
                    <a:pt x="209" y="695"/>
                    <a:pt x="209" y="695"/>
                    <a:pt x="209" y="695"/>
                  </a:cubicBezTo>
                  <a:cubicBezTo>
                    <a:pt x="211" y="694"/>
                    <a:pt x="212" y="694"/>
                    <a:pt x="214" y="694"/>
                  </a:cubicBezTo>
                  <a:cubicBezTo>
                    <a:pt x="214" y="693"/>
                    <a:pt x="214" y="693"/>
                    <a:pt x="215" y="693"/>
                  </a:cubicBezTo>
                  <a:cubicBezTo>
                    <a:pt x="218" y="692"/>
                    <a:pt x="221" y="691"/>
                    <a:pt x="224" y="690"/>
                  </a:cubicBezTo>
                  <a:cubicBezTo>
                    <a:pt x="232" y="688"/>
                    <a:pt x="239" y="685"/>
                    <a:pt x="246" y="683"/>
                  </a:cubicBezTo>
                  <a:moveTo>
                    <a:pt x="34" y="771"/>
                  </a:moveTo>
                  <a:cubicBezTo>
                    <a:pt x="32" y="771"/>
                    <a:pt x="31" y="772"/>
                    <a:pt x="29" y="773"/>
                  </a:cubicBezTo>
                  <a:cubicBezTo>
                    <a:pt x="29" y="773"/>
                    <a:pt x="28" y="774"/>
                    <a:pt x="28" y="774"/>
                  </a:cubicBezTo>
                  <a:cubicBezTo>
                    <a:pt x="27" y="774"/>
                    <a:pt x="27" y="774"/>
                    <a:pt x="27" y="775"/>
                  </a:cubicBezTo>
                  <a:cubicBezTo>
                    <a:pt x="23" y="778"/>
                    <a:pt x="20" y="781"/>
                    <a:pt x="17" y="784"/>
                  </a:cubicBezTo>
                  <a:cubicBezTo>
                    <a:pt x="16" y="784"/>
                    <a:pt x="16" y="784"/>
                    <a:pt x="16" y="785"/>
                  </a:cubicBezTo>
                  <a:cubicBezTo>
                    <a:pt x="15" y="785"/>
                    <a:pt x="14" y="786"/>
                    <a:pt x="13" y="787"/>
                  </a:cubicBezTo>
                  <a:cubicBezTo>
                    <a:pt x="14" y="787"/>
                    <a:pt x="15" y="786"/>
                    <a:pt x="16" y="786"/>
                  </a:cubicBezTo>
                  <a:cubicBezTo>
                    <a:pt x="16" y="785"/>
                    <a:pt x="16" y="785"/>
                    <a:pt x="17" y="785"/>
                  </a:cubicBezTo>
                  <a:cubicBezTo>
                    <a:pt x="17" y="785"/>
                    <a:pt x="17" y="784"/>
                    <a:pt x="17" y="784"/>
                  </a:cubicBezTo>
                  <a:cubicBezTo>
                    <a:pt x="21" y="781"/>
                    <a:pt x="24" y="778"/>
                    <a:pt x="28" y="775"/>
                  </a:cubicBezTo>
                  <a:cubicBezTo>
                    <a:pt x="28" y="775"/>
                    <a:pt x="29" y="774"/>
                    <a:pt x="29" y="774"/>
                  </a:cubicBezTo>
                  <a:cubicBezTo>
                    <a:pt x="29" y="774"/>
                    <a:pt x="30" y="774"/>
                    <a:pt x="30" y="773"/>
                  </a:cubicBezTo>
                  <a:cubicBezTo>
                    <a:pt x="30" y="773"/>
                    <a:pt x="31" y="773"/>
                    <a:pt x="31" y="773"/>
                  </a:cubicBezTo>
                  <a:cubicBezTo>
                    <a:pt x="32" y="772"/>
                    <a:pt x="33" y="771"/>
                    <a:pt x="34" y="771"/>
                  </a:cubicBezTo>
                  <a:moveTo>
                    <a:pt x="14" y="788"/>
                  </a:moveTo>
                  <a:cubicBezTo>
                    <a:pt x="13" y="789"/>
                    <a:pt x="12" y="789"/>
                    <a:pt x="11" y="789"/>
                  </a:cubicBezTo>
                  <a:cubicBezTo>
                    <a:pt x="11" y="790"/>
                    <a:pt x="10" y="791"/>
                    <a:pt x="10" y="791"/>
                  </a:cubicBezTo>
                  <a:cubicBezTo>
                    <a:pt x="10" y="791"/>
                    <a:pt x="9" y="792"/>
                    <a:pt x="9" y="792"/>
                  </a:cubicBezTo>
                  <a:cubicBezTo>
                    <a:pt x="9" y="793"/>
                    <a:pt x="8" y="794"/>
                    <a:pt x="8" y="794"/>
                  </a:cubicBezTo>
                  <a:cubicBezTo>
                    <a:pt x="7" y="795"/>
                    <a:pt x="7" y="795"/>
                    <a:pt x="7" y="795"/>
                  </a:cubicBezTo>
                  <a:cubicBezTo>
                    <a:pt x="6" y="797"/>
                    <a:pt x="4" y="799"/>
                    <a:pt x="3" y="801"/>
                  </a:cubicBezTo>
                  <a:cubicBezTo>
                    <a:pt x="4" y="801"/>
                    <a:pt x="4" y="801"/>
                    <a:pt x="5" y="800"/>
                  </a:cubicBezTo>
                  <a:cubicBezTo>
                    <a:pt x="6" y="799"/>
                    <a:pt x="7" y="797"/>
                    <a:pt x="8" y="796"/>
                  </a:cubicBezTo>
                  <a:cubicBezTo>
                    <a:pt x="8" y="795"/>
                    <a:pt x="8" y="795"/>
                    <a:pt x="8" y="795"/>
                  </a:cubicBezTo>
                  <a:cubicBezTo>
                    <a:pt x="9" y="794"/>
                    <a:pt x="10" y="793"/>
                    <a:pt x="10" y="792"/>
                  </a:cubicBezTo>
                  <a:cubicBezTo>
                    <a:pt x="11" y="792"/>
                    <a:pt x="11" y="792"/>
                    <a:pt x="11" y="791"/>
                  </a:cubicBezTo>
                  <a:cubicBezTo>
                    <a:pt x="12" y="790"/>
                    <a:pt x="13" y="789"/>
                    <a:pt x="14" y="788"/>
                  </a:cubicBezTo>
                  <a:moveTo>
                    <a:pt x="1424" y="789"/>
                  </a:moveTo>
                  <a:cubicBezTo>
                    <a:pt x="1425" y="804"/>
                    <a:pt x="1426" y="818"/>
                    <a:pt x="1426" y="832"/>
                  </a:cubicBezTo>
                  <a:cubicBezTo>
                    <a:pt x="1426" y="834"/>
                    <a:pt x="1426" y="834"/>
                    <a:pt x="1426" y="834"/>
                  </a:cubicBezTo>
                  <a:cubicBezTo>
                    <a:pt x="1426" y="846"/>
                    <a:pt x="1425" y="858"/>
                    <a:pt x="1424" y="870"/>
                  </a:cubicBezTo>
                  <a:cubicBezTo>
                    <a:pt x="1424" y="871"/>
                    <a:pt x="1425" y="872"/>
                    <a:pt x="1425" y="872"/>
                  </a:cubicBezTo>
                  <a:cubicBezTo>
                    <a:pt x="1426" y="859"/>
                    <a:pt x="1427" y="846"/>
                    <a:pt x="1427" y="834"/>
                  </a:cubicBezTo>
                  <a:cubicBezTo>
                    <a:pt x="1427" y="832"/>
                    <a:pt x="1427" y="832"/>
                    <a:pt x="1427" y="832"/>
                  </a:cubicBezTo>
                  <a:cubicBezTo>
                    <a:pt x="1427" y="819"/>
                    <a:pt x="1426" y="806"/>
                    <a:pt x="1425" y="793"/>
                  </a:cubicBezTo>
                  <a:cubicBezTo>
                    <a:pt x="1425" y="791"/>
                    <a:pt x="1425" y="790"/>
                    <a:pt x="1424" y="789"/>
                  </a:cubicBezTo>
                  <a:moveTo>
                    <a:pt x="4" y="802"/>
                  </a:moveTo>
                  <a:cubicBezTo>
                    <a:pt x="4" y="803"/>
                    <a:pt x="3" y="803"/>
                    <a:pt x="3" y="803"/>
                  </a:cubicBezTo>
                  <a:cubicBezTo>
                    <a:pt x="3" y="804"/>
                    <a:pt x="2" y="804"/>
                    <a:pt x="2" y="804"/>
                  </a:cubicBezTo>
                  <a:cubicBezTo>
                    <a:pt x="2" y="804"/>
                    <a:pt x="2" y="805"/>
                    <a:pt x="2" y="805"/>
                  </a:cubicBezTo>
                  <a:cubicBezTo>
                    <a:pt x="1" y="806"/>
                    <a:pt x="1" y="808"/>
                    <a:pt x="1" y="810"/>
                  </a:cubicBezTo>
                  <a:cubicBezTo>
                    <a:pt x="0" y="810"/>
                    <a:pt x="0" y="810"/>
                    <a:pt x="0" y="811"/>
                  </a:cubicBezTo>
                  <a:cubicBezTo>
                    <a:pt x="0" y="811"/>
                    <a:pt x="0" y="812"/>
                    <a:pt x="0" y="813"/>
                  </a:cubicBezTo>
                  <a:cubicBezTo>
                    <a:pt x="0" y="813"/>
                    <a:pt x="0" y="814"/>
                    <a:pt x="0" y="814"/>
                  </a:cubicBezTo>
                  <a:cubicBezTo>
                    <a:pt x="0" y="815"/>
                    <a:pt x="0" y="816"/>
                    <a:pt x="0" y="816"/>
                  </a:cubicBezTo>
                  <a:cubicBezTo>
                    <a:pt x="0" y="818"/>
                    <a:pt x="0" y="819"/>
                    <a:pt x="0" y="820"/>
                  </a:cubicBezTo>
                  <a:cubicBezTo>
                    <a:pt x="0" y="820"/>
                    <a:pt x="1" y="819"/>
                    <a:pt x="1" y="819"/>
                  </a:cubicBezTo>
                  <a:cubicBezTo>
                    <a:pt x="1" y="818"/>
                    <a:pt x="1" y="817"/>
                    <a:pt x="1" y="816"/>
                  </a:cubicBezTo>
                  <a:cubicBezTo>
                    <a:pt x="1" y="816"/>
                    <a:pt x="1" y="815"/>
                    <a:pt x="1" y="815"/>
                  </a:cubicBezTo>
                  <a:cubicBezTo>
                    <a:pt x="1" y="815"/>
                    <a:pt x="1" y="814"/>
                    <a:pt x="1" y="814"/>
                  </a:cubicBezTo>
                  <a:cubicBezTo>
                    <a:pt x="1" y="813"/>
                    <a:pt x="1" y="812"/>
                    <a:pt x="1" y="811"/>
                  </a:cubicBezTo>
                  <a:cubicBezTo>
                    <a:pt x="1" y="810"/>
                    <a:pt x="1" y="810"/>
                    <a:pt x="1" y="810"/>
                  </a:cubicBezTo>
                  <a:cubicBezTo>
                    <a:pt x="2" y="808"/>
                    <a:pt x="2" y="807"/>
                    <a:pt x="3" y="805"/>
                  </a:cubicBezTo>
                  <a:cubicBezTo>
                    <a:pt x="3" y="805"/>
                    <a:pt x="3" y="805"/>
                    <a:pt x="3" y="805"/>
                  </a:cubicBezTo>
                  <a:cubicBezTo>
                    <a:pt x="3" y="804"/>
                    <a:pt x="4" y="803"/>
                    <a:pt x="4" y="802"/>
                  </a:cubicBezTo>
                  <a:moveTo>
                    <a:pt x="1" y="820"/>
                  </a:moveTo>
                  <a:cubicBezTo>
                    <a:pt x="1" y="820"/>
                    <a:pt x="0" y="821"/>
                    <a:pt x="0" y="821"/>
                  </a:cubicBezTo>
                  <a:cubicBezTo>
                    <a:pt x="0" y="822"/>
                    <a:pt x="0" y="822"/>
                    <a:pt x="0" y="823"/>
                  </a:cubicBezTo>
                  <a:cubicBezTo>
                    <a:pt x="1" y="825"/>
                    <a:pt x="2" y="827"/>
                    <a:pt x="3" y="829"/>
                  </a:cubicBezTo>
                  <a:cubicBezTo>
                    <a:pt x="3" y="830"/>
                    <a:pt x="3" y="830"/>
                    <a:pt x="3" y="831"/>
                  </a:cubicBezTo>
                  <a:cubicBezTo>
                    <a:pt x="5" y="833"/>
                    <a:pt x="7" y="836"/>
                    <a:pt x="9" y="839"/>
                  </a:cubicBezTo>
                  <a:cubicBezTo>
                    <a:pt x="9" y="838"/>
                    <a:pt x="9" y="838"/>
                    <a:pt x="8" y="837"/>
                  </a:cubicBezTo>
                  <a:cubicBezTo>
                    <a:pt x="7" y="835"/>
                    <a:pt x="5" y="833"/>
                    <a:pt x="4" y="831"/>
                  </a:cubicBezTo>
                  <a:cubicBezTo>
                    <a:pt x="4" y="830"/>
                    <a:pt x="4" y="830"/>
                    <a:pt x="4" y="830"/>
                  </a:cubicBezTo>
                  <a:cubicBezTo>
                    <a:pt x="3" y="828"/>
                    <a:pt x="2" y="826"/>
                    <a:pt x="2" y="825"/>
                  </a:cubicBezTo>
                  <a:cubicBezTo>
                    <a:pt x="2" y="824"/>
                    <a:pt x="2" y="823"/>
                    <a:pt x="1" y="822"/>
                  </a:cubicBezTo>
                  <a:cubicBezTo>
                    <a:pt x="1" y="822"/>
                    <a:pt x="1" y="821"/>
                    <a:pt x="1" y="820"/>
                  </a:cubicBezTo>
                  <a:moveTo>
                    <a:pt x="10" y="839"/>
                  </a:moveTo>
                  <a:cubicBezTo>
                    <a:pt x="10" y="839"/>
                    <a:pt x="10" y="840"/>
                    <a:pt x="10" y="841"/>
                  </a:cubicBezTo>
                  <a:cubicBezTo>
                    <a:pt x="22" y="854"/>
                    <a:pt x="45" y="867"/>
                    <a:pt x="80" y="880"/>
                  </a:cubicBezTo>
                  <a:cubicBezTo>
                    <a:pt x="80" y="880"/>
                    <a:pt x="81" y="881"/>
                    <a:pt x="81" y="881"/>
                  </a:cubicBezTo>
                  <a:cubicBezTo>
                    <a:pt x="82" y="881"/>
                    <a:pt x="83" y="881"/>
                    <a:pt x="84" y="882"/>
                  </a:cubicBezTo>
                  <a:cubicBezTo>
                    <a:pt x="84" y="882"/>
                    <a:pt x="85" y="882"/>
                    <a:pt x="85" y="882"/>
                  </a:cubicBezTo>
                  <a:cubicBezTo>
                    <a:pt x="88" y="883"/>
                    <a:pt x="92" y="884"/>
                    <a:pt x="96" y="886"/>
                  </a:cubicBezTo>
                  <a:cubicBezTo>
                    <a:pt x="96" y="886"/>
                    <a:pt x="96" y="886"/>
                    <a:pt x="97" y="886"/>
                  </a:cubicBezTo>
                  <a:cubicBezTo>
                    <a:pt x="103" y="888"/>
                    <a:pt x="109" y="890"/>
                    <a:pt x="115" y="892"/>
                  </a:cubicBezTo>
                  <a:cubicBezTo>
                    <a:pt x="115" y="892"/>
                    <a:pt x="116" y="892"/>
                    <a:pt x="116" y="892"/>
                  </a:cubicBezTo>
                  <a:cubicBezTo>
                    <a:pt x="128" y="895"/>
                    <a:pt x="140" y="899"/>
                    <a:pt x="154" y="902"/>
                  </a:cubicBezTo>
                  <a:cubicBezTo>
                    <a:pt x="154" y="902"/>
                    <a:pt x="154" y="902"/>
                    <a:pt x="155" y="902"/>
                  </a:cubicBezTo>
                  <a:cubicBezTo>
                    <a:pt x="162" y="904"/>
                    <a:pt x="170" y="906"/>
                    <a:pt x="179" y="908"/>
                  </a:cubicBezTo>
                  <a:cubicBezTo>
                    <a:pt x="180" y="908"/>
                    <a:pt x="180" y="907"/>
                    <a:pt x="181" y="907"/>
                  </a:cubicBezTo>
                  <a:cubicBezTo>
                    <a:pt x="172" y="905"/>
                    <a:pt x="163" y="903"/>
                    <a:pt x="155" y="901"/>
                  </a:cubicBezTo>
                  <a:cubicBezTo>
                    <a:pt x="155" y="901"/>
                    <a:pt x="155" y="901"/>
                    <a:pt x="154" y="901"/>
                  </a:cubicBezTo>
                  <a:cubicBezTo>
                    <a:pt x="141" y="898"/>
                    <a:pt x="128" y="895"/>
                    <a:pt x="117" y="891"/>
                  </a:cubicBezTo>
                  <a:cubicBezTo>
                    <a:pt x="117" y="891"/>
                    <a:pt x="116" y="891"/>
                    <a:pt x="116" y="891"/>
                  </a:cubicBezTo>
                  <a:cubicBezTo>
                    <a:pt x="110" y="889"/>
                    <a:pt x="103" y="887"/>
                    <a:pt x="98" y="885"/>
                  </a:cubicBezTo>
                  <a:cubicBezTo>
                    <a:pt x="97" y="885"/>
                    <a:pt x="97" y="885"/>
                    <a:pt x="97" y="885"/>
                  </a:cubicBezTo>
                  <a:cubicBezTo>
                    <a:pt x="93" y="884"/>
                    <a:pt x="89" y="883"/>
                    <a:pt x="86" y="881"/>
                  </a:cubicBezTo>
                  <a:cubicBezTo>
                    <a:pt x="86" y="881"/>
                    <a:pt x="85" y="881"/>
                    <a:pt x="85" y="881"/>
                  </a:cubicBezTo>
                  <a:cubicBezTo>
                    <a:pt x="84" y="881"/>
                    <a:pt x="83" y="880"/>
                    <a:pt x="82" y="880"/>
                  </a:cubicBezTo>
                  <a:cubicBezTo>
                    <a:pt x="82" y="880"/>
                    <a:pt x="82" y="880"/>
                    <a:pt x="81" y="880"/>
                  </a:cubicBezTo>
                  <a:cubicBezTo>
                    <a:pt x="44" y="866"/>
                    <a:pt x="21" y="852"/>
                    <a:pt x="10" y="839"/>
                  </a:cubicBezTo>
                  <a:moveTo>
                    <a:pt x="1424" y="872"/>
                  </a:moveTo>
                  <a:cubicBezTo>
                    <a:pt x="1423" y="889"/>
                    <a:pt x="1421" y="906"/>
                    <a:pt x="1419" y="923"/>
                  </a:cubicBezTo>
                  <a:cubicBezTo>
                    <a:pt x="1419" y="924"/>
                    <a:pt x="1419" y="924"/>
                    <a:pt x="1419" y="925"/>
                  </a:cubicBezTo>
                  <a:cubicBezTo>
                    <a:pt x="1422" y="908"/>
                    <a:pt x="1423" y="891"/>
                    <a:pt x="1425" y="874"/>
                  </a:cubicBezTo>
                  <a:cubicBezTo>
                    <a:pt x="1425" y="874"/>
                    <a:pt x="1424" y="873"/>
                    <a:pt x="1424" y="872"/>
                  </a:cubicBezTo>
                  <a:moveTo>
                    <a:pt x="713" y="876"/>
                  </a:moveTo>
                  <a:cubicBezTo>
                    <a:pt x="713" y="876"/>
                    <a:pt x="713" y="876"/>
                    <a:pt x="713" y="876"/>
                  </a:cubicBezTo>
                  <a:cubicBezTo>
                    <a:pt x="712" y="876"/>
                    <a:pt x="712" y="876"/>
                    <a:pt x="712" y="876"/>
                  </a:cubicBezTo>
                  <a:cubicBezTo>
                    <a:pt x="712" y="876"/>
                    <a:pt x="713" y="876"/>
                    <a:pt x="713" y="877"/>
                  </a:cubicBezTo>
                  <a:cubicBezTo>
                    <a:pt x="717" y="877"/>
                    <a:pt x="722" y="877"/>
                    <a:pt x="726" y="877"/>
                  </a:cubicBezTo>
                  <a:cubicBezTo>
                    <a:pt x="726" y="876"/>
                    <a:pt x="725" y="876"/>
                    <a:pt x="725" y="876"/>
                  </a:cubicBezTo>
                  <a:cubicBezTo>
                    <a:pt x="721" y="876"/>
                    <a:pt x="717" y="876"/>
                    <a:pt x="713" y="876"/>
                  </a:cubicBezTo>
                  <a:moveTo>
                    <a:pt x="711" y="876"/>
                  </a:moveTo>
                  <a:cubicBezTo>
                    <a:pt x="706" y="876"/>
                    <a:pt x="702" y="876"/>
                    <a:pt x="698" y="876"/>
                  </a:cubicBezTo>
                  <a:cubicBezTo>
                    <a:pt x="698" y="876"/>
                    <a:pt x="698" y="877"/>
                    <a:pt x="699" y="877"/>
                  </a:cubicBezTo>
                  <a:cubicBezTo>
                    <a:pt x="703" y="877"/>
                    <a:pt x="707" y="877"/>
                    <a:pt x="712" y="877"/>
                  </a:cubicBezTo>
                  <a:cubicBezTo>
                    <a:pt x="711" y="876"/>
                    <a:pt x="711" y="876"/>
                    <a:pt x="711" y="876"/>
                  </a:cubicBezTo>
                  <a:moveTo>
                    <a:pt x="726" y="876"/>
                  </a:moveTo>
                  <a:cubicBezTo>
                    <a:pt x="727" y="876"/>
                    <a:pt x="727" y="877"/>
                    <a:pt x="727" y="877"/>
                  </a:cubicBezTo>
                  <a:cubicBezTo>
                    <a:pt x="737" y="878"/>
                    <a:pt x="747" y="879"/>
                    <a:pt x="755" y="881"/>
                  </a:cubicBezTo>
                  <a:cubicBezTo>
                    <a:pt x="755" y="880"/>
                    <a:pt x="755" y="880"/>
                    <a:pt x="754" y="879"/>
                  </a:cubicBezTo>
                  <a:cubicBezTo>
                    <a:pt x="745" y="878"/>
                    <a:pt x="736" y="876"/>
                    <a:pt x="726" y="876"/>
                  </a:cubicBezTo>
                  <a:moveTo>
                    <a:pt x="697" y="876"/>
                  </a:moveTo>
                  <a:cubicBezTo>
                    <a:pt x="693" y="876"/>
                    <a:pt x="689" y="876"/>
                    <a:pt x="684" y="877"/>
                  </a:cubicBezTo>
                  <a:cubicBezTo>
                    <a:pt x="685" y="877"/>
                    <a:pt x="685" y="877"/>
                    <a:pt x="685" y="878"/>
                  </a:cubicBezTo>
                  <a:cubicBezTo>
                    <a:pt x="689" y="877"/>
                    <a:pt x="693" y="877"/>
                    <a:pt x="697" y="877"/>
                  </a:cubicBezTo>
                  <a:cubicBezTo>
                    <a:pt x="697" y="877"/>
                    <a:pt x="697" y="876"/>
                    <a:pt x="697" y="876"/>
                  </a:cubicBezTo>
                  <a:moveTo>
                    <a:pt x="683" y="877"/>
                  </a:moveTo>
                  <a:cubicBezTo>
                    <a:pt x="679" y="877"/>
                    <a:pt x="674" y="878"/>
                    <a:pt x="670" y="878"/>
                  </a:cubicBezTo>
                  <a:cubicBezTo>
                    <a:pt x="670" y="878"/>
                    <a:pt x="670" y="879"/>
                    <a:pt x="670" y="879"/>
                  </a:cubicBezTo>
                  <a:cubicBezTo>
                    <a:pt x="675" y="879"/>
                    <a:pt x="679" y="878"/>
                    <a:pt x="684" y="878"/>
                  </a:cubicBezTo>
                  <a:cubicBezTo>
                    <a:pt x="684" y="877"/>
                    <a:pt x="684" y="877"/>
                    <a:pt x="683" y="877"/>
                  </a:cubicBezTo>
                  <a:moveTo>
                    <a:pt x="669" y="878"/>
                  </a:moveTo>
                  <a:cubicBezTo>
                    <a:pt x="666" y="879"/>
                    <a:pt x="663" y="879"/>
                    <a:pt x="659" y="879"/>
                  </a:cubicBezTo>
                  <a:cubicBezTo>
                    <a:pt x="658" y="880"/>
                    <a:pt x="656" y="880"/>
                    <a:pt x="655" y="880"/>
                  </a:cubicBezTo>
                  <a:cubicBezTo>
                    <a:pt x="655" y="880"/>
                    <a:pt x="655" y="881"/>
                    <a:pt x="655" y="881"/>
                  </a:cubicBezTo>
                  <a:cubicBezTo>
                    <a:pt x="660" y="880"/>
                    <a:pt x="665" y="880"/>
                    <a:pt x="669" y="879"/>
                  </a:cubicBezTo>
                  <a:cubicBezTo>
                    <a:pt x="669" y="879"/>
                    <a:pt x="669" y="879"/>
                    <a:pt x="669" y="878"/>
                  </a:cubicBezTo>
                  <a:moveTo>
                    <a:pt x="756" y="880"/>
                  </a:moveTo>
                  <a:cubicBezTo>
                    <a:pt x="756" y="880"/>
                    <a:pt x="757" y="881"/>
                    <a:pt x="757" y="881"/>
                  </a:cubicBezTo>
                  <a:cubicBezTo>
                    <a:pt x="764" y="883"/>
                    <a:pt x="771" y="885"/>
                    <a:pt x="777" y="888"/>
                  </a:cubicBezTo>
                  <a:cubicBezTo>
                    <a:pt x="776" y="888"/>
                    <a:pt x="776" y="887"/>
                    <a:pt x="776" y="886"/>
                  </a:cubicBezTo>
                  <a:cubicBezTo>
                    <a:pt x="769" y="884"/>
                    <a:pt x="763" y="882"/>
                    <a:pt x="756" y="880"/>
                  </a:cubicBezTo>
                  <a:moveTo>
                    <a:pt x="654" y="880"/>
                  </a:moveTo>
                  <a:cubicBezTo>
                    <a:pt x="647" y="882"/>
                    <a:pt x="639" y="883"/>
                    <a:pt x="632" y="884"/>
                  </a:cubicBezTo>
                  <a:cubicBezTo>
                    <a:pt x="636" y="884"/>
                    <a:pt x="639" y="883"/>
                    <a:pt x="643" y="883"/>
                  </a:cubicBezTo>
                  <a:cubicBezTo>
                    <a:pt x="647" y="882"/>
                    <a:pt x="651" y="882"/>
                    <a:pt x="654" y="881"/>
                  </a:cubicBezTo>
                  <a:cubicBezTo>
                    <a:pt x="654" y="881"/>
                    <a:pt x="654" y="881"/>
                    <a:pt x="654" y="880"/>
                  </a:cubicBezTo>
                  <a:moveTo>
                    <a:pt x="632" y="883"/>
                  </a:moveTo>
                  <a:cubicBezTo>
                    <a:pt x="627" y="884"/>
                    <a:pt x="622" y="885"/>
                    <a:pt x="618" y="886"/>
                  </a:cubicBezTo>
                  <a:cubicBezTo>
                    <a:pt x="607" y="887"/>
                    <a:pt x="597" y="889"/>
                    <a:pt x="587" y="891"/>
                  </a:cubicBezTo>
                  <a:cubicBezTo>
                    <a:pt x="586" y="891"/>
                    <a:pt x="586" y="891"/>
                    <a:pt x="586" y="891"/>
                  </a:cubicBezTo>
                  <a:cubicBezTo>
                    <a:pt x="585" y="892"/>
                    <a:pt x="584" y="892"/>
                    <a:pt x="583" y="892"/>
                  </a:cubicBezTo>
                  <a:cubicBezTo>
                    <a:pt x="581" y="892"/>
                    <a:pt x="579" y="893"/>
                    <a:pt x="577" y="893"/>
                  </a:cubicBezTo>
                  <a:cubicBezTo>
                    <a:pt x="561" y="896"/>
                    <a:pt x="544" y="900"/>
                    <a:pt x="527" y="903"/>
                  </a:cubicBezTo>
                  <a:cubicBezTo>
                    <a:pt x="519" y="905"/>
                    <a:pt x="512" y="907"/>
                    <a:pt x="504" y="908"/>
                  </a:cubicBezTo>
                  <a:cubicBezTo>
                    <a:pt x="510" y="907"/>
                    <a:pt x="515" y="906"/>
                    <a:pt x="520" y="905"/>
                  </a:cubicBezTo>
                  <a:cubicBezTo>
                    <a:pt x="521" y="905"/>
                    <a:pt x="521" y="905"/>
                    <a:pt x="521" y="905"/>
                  </a:cubicBezTo>
                  <a:cubicBezTo>
                    <a:pt x="539" y="902"/>
                    <a:pt x="556" y="898"/>
                    <a:pt x="573" y="895"/>
                  </a:cubicBezTo>
                  <a:cubicBezTo>
                    <a:pt x="574" y="895"/>
                    <a:pt x="576" y="894"/>
                    <a:pt x="578" y="894"/>
                  </a:cubicBezTo>
                  <a:cubicBezTo>
                    <a:pt x="578" y="894"/>
                    <a:pt x="579" y="894"/>
                    <a:pt x="579" y="894"/>
                  </a:cubicBezTo>
                  <a:cubicBezTo>
                    <a:pt x="580" y="894"/>
                    <a:pt x="580" y="894"/>
                    <a:pt x="580" y="894"/>
                  </a:cubicBezTo>
                  <a:cubicBezTo>
                    <a:pt x="583" y="893"/>
                    <a:pt x="586" y="892"/>
                    <a:pt x="589" y="892"/>
                  </a:cubicBezTo>
                  <a:cubicBezTo>
                    <a:pt x="589" y="892"/>
                    <a:pt x="590" y="892"/>
                    <a:pt x="590" y="892"/>
                  </a:cubicBezTo>
                  <a:cubicBezTo>
                    <a:pt x="592" y="891"/>
                    <a:pt x="593" y="891"/>
                    <a:pt x="594" y="891"/>
                  </a:cubicBezTo>
                  <a:cubicBezTo>
                    <a:pt x="595" y="891"/>
                    <a:pt x="596" y="891"/>
                    <a:pt x="597" y="890"/>
                  </a:cubicBezTo>
                  <a:cubicBezTo>
                    <a:pt x="609" y="888"/>
                    <a:pt x="620" y="886"/>
                    <a:pt x="632" y="883"/>
                  </a:cubicBezTo>
                  <a:moveTo>
                    <a:pt x="778" y="887"/>
                  </a:moveTo>
                  <a:cubicBezTo>
                    <a:pt x="778" y="888"/>
                    <a:pt x="779" y="889"/>
                    <a:pt x="779" y="889"/>
                  </a:cubicBezTo>
                  <a:cubicBezTo>
                    <a:pt x="780" y="890"/>
                    <a:pt x="781" y="891"/>
                    <a:pt x="783" y="891"/>
                  </a:cubicBezTo>
                  <a:cubicBezTo>
                    <a:pt x="783" y="891"/>
                    <a:pt x="783" y="892"/>
                    <a:pt x="784" y="892"/>
                  </a:cubicBezTo>
                  <a:cubicBezTo>
                    <a:pt x="795" y="898"/>
                    <a:pt x="804" y="907"/>
                    <a:pt x="811" y="920"/>
                  </a:cubicBezTo>
                  <a:cubicBezTo>
                    <a:pt x="810" y="918"/>
                    <a:pt x="810" y="916"/>
                    <a:pt x="809" y="915"/>
                  </a:cubicBezTo>
                  <a:cubicBezTo>
                    <a:pt x="803" y="905"/>
                    <a:pt x="794" y="897"/>
                    <a:pt x="785" y="891"/>
                  </a:cubicBezTo>
                  <a:cubicBezTo>
                    <a:pt x="784" y="891"/>
                    <a:pt x="784" y="891"/>
                    <a:pt x="784" y="891"/>
                  </a:cubicBezTo>
                  <a:cubicBezTo>
                    <a:pt x="782" y="889"/>
                    <a:pt x="780" y="888"/>
                    <a:pt x="778" y="887"/>
                  </a:cubicBezTo>
                  <a:moveTo>
                    <a:pt x="504" y="907"/>
                  </a:moveTo>
                  <a:cubicBezTo>
                    <a:pt x="492" y="910"/>
                    <a:pt x="480" y="912"/>
                    <a:pt x="467" y="914"/>
                  </a:cubicBezTo>
                  <a:cubicBezTo>
                    <a:pt x="467" y="914"/>
                    <a:pt x="467" y="914"/>
                    <a:pt x="466" y="914"/>
                  </a:cubicBezTo>
                  <a:cubicBezTo>
                    <a:pt x="452" y="917"/>
                    <a:pt x="438" y="919"/>
                    <a:pt x="424" y="921"/>
                  </a:cubicBezTo>
                  <a:cubicBezTo>
                    <a:pt x="421" y="921"/>
                    <a:pt x="418" y="922"/>
                    <a:pt x="414" y="923"/>
                  </a:cubicBezTo>
                  <a:cubicBezTo>
                    <a:pt x="432" y="921"/>
                    <a:pt x="449" y="918"/>
                    <a:pt x="467" y="915"/>
                  </a:cubicBezTo>
                  <a:cubicBezTo>
                    <a:pt x="467" y="915"/>
                    <a:pt x="468" y="915"/>
                    <a:pt x="468" y="915"/>
                  </a:cubicBezTo>
                  <a:cubicBezTo>
                    <a:pt x="473" y="914"/>
                    <a:pt x="478" y="913"/>
                    <a:pt x="483" y="912"/>
                  </a:cubicBezTo>
                  <a:cubicBezTo>
                    <a:pt x="490" y="911"/>
                    <a:pt x="497" y="909"/>
                    <a:pt x="504" y="907"/>
                  </a:cubicBezTo>
                  <a:moveTo>
                    <a:pt x="183" y="908"/>
                  </a:moveTo>
                  <a:cubicBezTo>
                    <a:pt x="182" y="908"/>
                    <a:pt x="181" y="908"/>
                    <a:pt x="181" y="908"/>
                  </a:cubicBezTo>
                  <a:cubicBezTo>
                    <a:pt x="189" y="910"/>
                    <a:pt x="197" y="912"/>
                    <a:pt x="205" y="913"/>
                  </a:cubicBezTo>
                  <a:cubicBezTo>
                    <a:pt x="205" y="913"/>
                    <a:pt x="206" y="913"/>
                    <a:pt x="207" y="913"/>
                  </a:cubicBezTo>
                  <a:cubicBezTo>
                    <a:pt x="198" y="911"/>
                    <a:pt x="190" y="909"/>
                    <a:pt x="183" y="908"/>
                  </a:cubicBezTo>
                  <a:moveTo>
                    <a:pt x="209" y="913"/>
                  </a:moveTo>
                  <a:cubicBezTo>
                    <a:pt x="208" y="913"/>
                    <a:pt x="207" y="913"/>
                    <a:pt x="207" y="914"/>
                  </a:cubicBezTo>
                  <a:cubicBezTo>
                    <a:pt x="207" y="914"/>
                    <a:pt x="208" y="914"/>
                    <a:pt x="208" y="914"/>
                  </a:cubicBezTo>
                  <a:cubicBezTo>
                    <a:pt x="208" y="914"/>
                    <a:pt x="209" y="914"/>
                    <a:pt x="209" y="914"/>
                  </a:cubicBezTo>
                  <a:cubicBezTo>
                    <a:pt x="215" y="915"/>
                    <a:pt x="222" y="917"/>
                    <a:pt x="229" y="918"/>
                  </a:cubicBezTo>
                  <a:cubicBezTo>
                    <a:pt x="229" y="918"/>
                    <a:pt x="230" y="917"/>
                    <a:pt x="231" y="917"/>
                  </a:cubicBezTo>
                  <a:cubicBezTo>
                    <a:pt x="223" y="916"/>
                    <a:pt x="216" y="915"/>
                    <a:pt x="209" y="913"/>
                  </a:cubicBezTo>
                  <a:cubicBezTo>
                    <a:pt x="209" y="913"/>
                    <a:pt x="209" y="913"/>
                    <a:pt x="209" y="913"/>
                  </a:cubicBezTo>
                  <a:moveTo>
                    <a:pt x="233" y="918"/>
                  </a:moveTo>
                  <a:cubicBezTo>
                    <a:pt x="232" y="918"/>
                    <a:pt x="231" y="918"/>
                    <a:pt x="231" y="918"/>
                  </a:cubicBezTo>
                  <a:cubicBezTo>
                    <a:pt x="238" y="920"/>
                    <a:pt x="246" y="921"/>
                    <a:pt x="254" y="922"/>
                  </a:cubicBezTo>
                  <a:cubicBezTo>
                    <a:pt x="255" y="922"/>
                    <a:pt x="256" y="922"/>
                    <a:pt x="256" y="922"/>
                  </a:cubicBezTo>
                  <a:cubicBezTo>
                    <a:pt x="248" y="920"/>
                    <a:pt x="240" y="919"/>
                    <a:pt x="233" y="918"/>
                  </a:cubicBezTo>
                  <a:moveTo>
                    <a:pt x="812" y="919"/>
                  </a:moveTo>
                  <a:cubicBezTo>
                    <a:pt x="812" y="921"/>
                    <a:pt x="813" y="922"/>
                    <a:pt x="813" y="924"/>
                  </a:cubicBezTo>
                  <a:cubicBezTo>
                    <a:pt x="815" y="928"/>
                    <a:pt x="816" y="931"/>
                    <a:pt x="818" y="935"/>
                  </a:cubicBezTo>
                  <a:cubicBezTo>
                    <a:pt x="818" y="935"/>
                    <a:pt x="818" y="935"/>
                    <a:pt x="818" y="936"/>
                  </a:cubicBezTo>
                  <a:cubicBezTo>
                    <a:pt x="819" y="938"/>
                    <a:pt x="819" y="940"/>
                    <a:pt x="820" y="943"/>
                  </a:cubicBezTo>
                  <a:cubicBezTo>
                    <a:pt x="820" y="943"/>
                    <a:pt x="820" y="943"/>
                    <a:pt x="820" y="943"/>
                  </a:cubicBezTo>
                  <a:cubicBezTo>
                    <a:pt x="820" y="943"/>
                    <a:pt x="820" y="943"/>
                    <a:pt x="820" y="943"/>
                  </a:cubicBezTo>
                  <a:cubicBezTo>
                    <a:pt x="830" y="951"/>
                    <a:pt x="839" y="959"/>
                    <a:pt x="850" y="967"/>
                  </a:cubicBezTo>
                  <a:cubicBezTo>
                    <a:pt x="850" y="968"/>
                    <a:pt x="851" y="968"/>
                    <a:pt x="851" y="968"/>
                  </a:cubicBezTo>
                  <a:cubicBezTo>
                    <a:pt x="864" y="979"/>
                    <a:pt x="879" y="991"/>
                    <a:pt x="893" y="1002"/>
                  </a:cubicBezTo>
                  <a:cubicBezTo>
                    <a:pt x="894" y="1002"/>
                    <a:pt x="894" y="1003"/>
                    <a:pt x="895" y="1003"/>
                  </a:cubicBezTo>
                  <a:cubicBezTo>
                    <a:pt x="896" y="1005"/>
                    <a:pt x="898" y="1006"/>
                    <a:pt x="900" y="1007"/>
                  </a:cubicBezTo>
                  <a:cubicBezTo>
                    <a:pt x="901" y="1008"/>
                    <a:pt x="901" y="1008"/>
                    <a:pt x="902" y="1009"/>
                  </a:cubicBezTo>
                  <a:cubicBezTo>
                    <a:pt x="903" y="1010"/>
                    <a:pt x="905" y="1011"/>
                    <a:pt x="906" y="1012"/>
                  </a:cubicBezTo>
                  <a:cubicBezTo>
                    <a:pt x="904" y="1010"/>
                    <a:pt x="901" y="1007"/>
                    <a:pt x="898" y="1005"/>
                  </a:cubicBezTo>
                  <a:cubicBezTo>
                    <a:pt x="898" y="1004"/>
                    <a:pt x="897" y="1004"/>
                    <a:pt x="897" y="1004"/>
                  </a:cubicBezTo>
                  <a:cubicBezTo>
                    <a:pt x="896" y="1003"/>
                    <a:pt x="896" y="1003"/>
                    <a:pt x="895" y="1002"/>
                  </a:cubicBezTo>
                  <a:cubicBezTo>
                    <a:pt x="881" y="991"/>
                    <a:pt x="866" y="980"/>
                    <a:pt x="853" y="969"/>
                  </a:cubicBezTo>
                  <a:cubicBezTo>
                    <a:pt x="852" y="968"/>
                    <a:pt x="852" y="968"/>
                    <a:pt x="851" y="968"/>
                  </a:cubicBezTo>
                  <a:cubicBezTo>
                    <a:pt x="841" y="959"/>
                    <a:pt x="831" y="950"/>
                    <a:pt x="821" y="942"/>
                  </a:cubicBezTo>
                  <a:cubicBezTo>
                    <a:pt x="820" y="940"/>
                    <a:pt x="820" y="938"/>
                    <a:pt x="819" y="936"/>
                  </a:cubicBezTo>
                  <a:cubicBezTo>
                    <a:pt x="819" y="935"/>
                    <a:pt x="819" y="935"/>
                    <a:pt x="819" y="935"/>
                  </a:cubicBezTo>
                  <a:cubicBezTo>
                    <a:pt x="817" y="929"/>
                    <a:pt x="814" y="924"/>
                    <a:pt x="812" y="919"/>
                  </a:cubicBezTo>
                  <a:moveTo>
                    <a:pt x="414" y="922"/>
                  </a:moveTo>
                  <a:cubicBezTo>
                    <a:pt x="409" y="922"/>
                    <a:pt x="404" y="923"/>
                    <a:pt x="399" y="924"/>
                  </a:cubicBezTo>
                  <a:cubicBezTo>
                    <a:pt x="397" y="924"/>
                    <a:pt x="396" y="924"/>
                    <a:pt x="395" y="924"/>
                  </a:cubicBezTo>
                  <a:cubicBezTo>
                    <a:pt x="388" y="925"/>
                    <a:pt x="382" y="925"/>
                    <a:pt x="375" y="926"/>
                  </a:cubicBezTo>
                  <a:cubicBezTo>
                    <a:pt x="373" y="926"/>
                    <a:pt x="371" y="927"/>
                    <a:pt x="369" y="927"/>
                  </a:cubicBezTo>
                  <a:cubicBezTo>
                    <a:pt x="377" y="927"/>
                    <a:pt x="384" y="926"/>
                    <a:pt x="392" y="925"/>
                  </a:cubicBezTo>
                  <a:cubicBezTo>
                    <a:pt x="393" y="925"/>
                    <a:pt x="394" y="925"/>
                    <a:pt x="395" y="925"/>
                  </a:cubicBezTo>
                  <a:cubicBezTo>
                    <a:pt x="398" y="925"/>
                    <a:pt x="402" y="924"/>
                    <a:pt x="405" y="924"/>
                  </a:cubicBezTo>
                  <a:cubicBezTo>
                    <a:pt x="408" y="923"/>
                    <a:pt x="411" y="923"/>
                    <a:pt x="414" y="922"/>
                  </a:cubicBezTo>
                  <a:moveTo>
                    <a:pt x="258" y="922"/>
                  </a:moveTo>
                  <a:cubicBezTo>
                    <a:pt x="258" y="922"/>
                    <a:pt x="257" y="923"/>
                    <a:pt x="256" y="923"/>
                  </a:cubicBezTo>
                  <a:cubicBezTo>
                    <a:pt x="257" y="923"/>
                    <a:pt x="257" y="923"/>
                    <a:pt x="257" y="923"/>
                  </a:cubicBezTo>
                  <a:cubicBezTo>
                    <a:pt x="263" y="924"/>
                    <a:pt x="270" y="925"/>
                    <a:pt x="276" y="926"/>
                  </a:cubicBezTo>
                  <a:cubicBezTo>
                    <a:pt x="277" y="925"/>
                    <a:pt x="278" y="925"/>
                    <a:pt x="279" y="925"/>
                  </a:cubicBezTo>
                  <a:cubicBezTo>
                    <a:pt x="272" y="924"/>
                    <a:pt x="265" y="923"/>
                    <a:pt x="258" y="922"/>
                  </a:cubicBezTo>
                  <a:moveTo>
                    <a:pt x="1418" y="925"/>
                  </a:moveTo>
                  <a:cubicBezTo>
                    <a:pt x="1417" y="939"/>
                    <a:pt x="1415" y="954"/>
                    <a:pt x="1414" y="969"/>
                  </a:cubicBezTo>
                  <a:cubicBezTo>
                    <a:pt x="1414" y="969"/>
                    <a:pt x="1414" y="970"/>
                    <a:pt x="1414" y="970"/>
                  </a:cubicBezTo>
                  <a:cubicBezTo>
                    <a:pt x="1416" y="956"/>
                    <a:pt x="1418" y="941"/>
                    <a:pt x="1419" y="926"/>
                  </a:cubicBezTo>
                  <a:cubicBezTo>
                    <a:pt x="1419" y="926"/>
                    <a:pt x="1419" y="925"/>
                    <a:pt x="1418" y="925"/>
                  </a:cubicBezTo>
                  <a:moveTo>
                    <a:pt x="281" y="925"/>
                  </a:moveTo>
                  <a:cubicBezTo>
                    <a:pt x="280" y="926"/>
                    <a:pt x="280" y="926"/>
                    <a:pt x="279" y="926"/>
                  </a:cubicBezTo>
                  <a:cubicBezTo>
                    <a:pt x="285" y="927"/>
                    <a:pt x="292" y="927"/>
                    <a:pt x="299" y="928"/>
                  </a:cubicBezTo>
                  <a:cubicBezTo>
                    <a:pt x="300" y="927"/>
                    <a:pt x="301" y="927"/>
                    <a:pt x="302" y="927"/>
                  </a:cubicBezTo>
                  <a:cubicBezTo>
                    <a:pt x="295" y="927"/>
                    <a:pt x="288" y="926"/>
                    <a:pt x="281" y="925"/>
                  </a:cubicBezTo>
                  <a:moveTo>
                    <a:pt x="369" y="926"/>
                  </a:moveTo>
                  <a:cubicBezTo>
                    <a:pt x="359" y="927"/>
                    <a:pt x="349" y="927"/>
                    <a:pt x="339" y="928"/>
                  </a:cubicBezTo>
                  <a:cubicBezTo>
                    <a:pt x="338" y="928"/>
                    <a:pt x="337" y="928"/>
                    <a:pt x="335" y="929"/>
                  </a:cubicBezTo>
                  <a:cubicBezTo>
                    <a:pt x="344" y="928"/>
                    <a:pt x="354" y="928"/>
                    <a:pt x="363" y="928"/>
                  </a:cubicBezTo>
                  <a:cubicBezTo>
                    <a:pt x="365" y="927"/>
                    <a:pt x="367" y="927"/>
                    <a:pt x="369" y="926"/>
                  </a:cubicBezTo>
                  <a:moveTo>
                    <a:pt x="305" y="927"/>
                  </a:moveTo>
                  <a:cubicBezTo>
                    <a:pt x="304" y="927"/>
                    <a:pt x="303" y="928"/>
                    <a:pt x="302" y="928"/>
                  </a:cubicBezTo>
                  <a:cubicBezTo>
                    <a:pt x="309" y="928"/>
                    <a:pt x="317" y="929"/>
                    <a:pt x="324" y="929"/>
                  </a:cubicBezTo>
                  <a:cubicBezTo>
                    <a:pt x="325" y="929"/>
                    <a:pt x="326" y="929"/>
                    <a:pt x="327" y="929"/>
                  </a:cubicBezTo>
                  <a:cubicBezTo>
                    <a:pt x="329" y="929"/>
                    <a:pt x="329" y="929"/>
                    <a:pt x="329" y="929"/>
                  </a:cubicBezTo>
                  <a:cubicBezTo>
                    <a:pt x="330" y="929"/>
                    <a:pt x="330" y="929"/>
                    <a:pt x="331" y="929"/>
                  </a:cubicBezTo>
                  <a:cubicBezTo>
                    <a:pt x="332" y="928"/>
                    <a:pt x="334" y="928"/>
                    <a:pt x="335" y="928"/>
                  </a:cubicBezTo>
                  <a:cubicBezTo>
                    <a:pt x="333" y="928"/>
                    <a:pt x="332" y="928"/>
                    <a:pt x="330" y="928"/>
                  </a:cubicBezTo>
                  <a:cubicBezTo>
                    <a:pt x="329" y="928"/>
                    <a:pt x="329" y="928"/>
                    <a:pt x="329" y="928"/>
                  </a:cubicBezTo>
                  <a:cubicBezTo>
                    <a:pt x="328" y="928"/>
                    <a:pt x="328" y="928"/>
                    <a:pt x="327" y="928"/>
                  </a:cubicBezTo>
                  <a:cubicBezTo>
                    <a:pt x="320" y="928"/>
                    <a:pt x="312" y="927"/>
                    <a:pt x="305" y="927"/>
                  </a:cubicBezTo>
                  <a:moveTo>
                    <a:pt x="1413" y="970"/>
                  </a:moveTo>
                  <a:cubicBezTo>
                    <a:pt x="1412" y="984"/>
                    <a:pt x="1411" y="997"/>
                    <a:pt x="1410" y="1011"/>
                  </a:cubicBezTo>
                  <a:cubicBezTo>
                    <a:pt x="1411" y="1011"/>
                    <a:pt x="1411" y="1011"/>
                    <a:pt x="1411" y="1012"/>
                  </a:cubicBezTo>
                  <a:cubicBezTo>
                    <a:pt x="1412" y="999"/>
                    <a:pt x="1413" y="985"/>
                    <a:pt x="1414" y="972"/>
                  </a:cubicBezTo>
                  <a:cubicBezTo>
                    <a:pt x="1414" y="971"/>
                    <a:pt x="1414" y="971"/>
                    <a:pt x="1413" y="970"/>
                  </a:cubicBezTo>
                  <a:moveTo>
                    <a:pt x="906" y="1011"/>
                  </a:moveTo>
                  <a:cubicBezTo>
                    <a:pt x="909" y="1014"/>
                    <a:pt x="912" y="1016"/>
                    <a:pt x="915" y="1019"/>
                  </a:cubicBezTo>
                  <a:cubicBezTo>
                    <a:pt x="919" y="1022"/>
                    <a:pt x="923" y="1025"/>
                    <a:pt x="927" y="1028"/>
                  </a:cubicBezTo>
                  <a:cubicBezTo>
                    <a:pt x="928" y="1029"/>
                    <a:pt x="929" y="1030"/>
                    <a:pt x="930" y="1030"/>
                  </a:cubicBezTo>
                  <a:cubicBezTo>
                    <a:pt x="937" y="1036"/>
                    <a:pt x="944" y="1041"/>
                    <a:pt x="952" y="1047"/>
                  </a:cubicBezTo>
                  <a:cubicBezTo>
                    <a:pt x="953" y="1048"/>
                    <a:pt x="954" y="1048"/>
                    <a:pt x="955" y="1049"/>
                  </a:cubicBezTo>
                  <a:cubicBezTo>
                    <a:pt x="961" y="1054"/>
                    <a:pt x="967" y="1058"/>
                    <a:pt x="973" y="1063"/>
                  </a:cubicBezTo>
                  <a:cubicBezTo>
                    <a:pt x="975" y="1064"/>
                    <a:pt x="976" y="1065"/>
                    <a:pt x="977" y="1066"/>
                  </a:cubicBezTo>
                  <a:cubicBezTo>
                    <a:pt x="982" y="1070"/>
                    <a:pt x="987" y="1073"/>
                    <a:pt x="992" y="1077"/>
                  </a:cubicBezTo>
                  <a:cubicBezTo>
                    <a:pt x="994" y="1078"/>
                    <a:pt x="996" y="1080"/>
                    <a:pt x="998" y="1081"/>
                  </a:cubicBezTo>
                  <a:cubicBezTo>
                    <a:pt x="1002" y="1084"/>
                    <a:pt x="1005" y="1086"/>
                    <a:pt x="1009" y="1089"/>
                  </a:cubicBezTo>
                  <a:cubicBezTo>
                    <a:pt x="1011" y="1091"/>
                    <a:pt x="1014" y="1092"/>
                    <a:pt x="1017" y="1094"/>
                  </a:cubicBezTo>
                  <a:cubicBezTo>
                    <a:pt x="1023" y="1099"/>
                    <a:pt x="1030" y="1103"/>
                    <a:pt x="1036" y="1108"/>
                  </a:cubicBezTo>
                  <a:cubicBezTo>
                    <a:pt x="1048" y="1116"/>
                    <a:pt x="1060" y="1125"/>
                    <a:pt x="1072" y="1133"/>
                  </a:cubicBezTo>
                  <a:cubicBezTo>
                    <a:pt x="1065" y="1128"/>
                    <a:pt x="1058" y="1122"/>
                    <a:pt x="1051" y="1117"/>
                  </a:cubicBezTo>
                  <a:cubicBezTo>
                    <a:pt x="1046" y="1114"/>
                    <a:pt x="1042" y="1111"/>
                    <a:pt x="1037" y="1108"/>
                  </a:cubicBezTo>
                  <a:cubicBezTo>
                    <a:pt x="1034" y="1105"/>
                    <a:pt x="1031" y="1103"/>
                    <a:pt x="1028" y="1101"/>
                  </a:cubicBezTo>
                  <a:cubicBezTo>
                    <a:pt x="1025" y="1099"/>
                    <a:pt x="1022" y="1097"/>
                    <a:pt x="1019" y="1094"/>
                  </a:cubicBezTo>
                  <a:cubicBezTo>
                    <a:pt x="1014" y="1091"/>
                    <a:pt x="1009" y="1088"/>
                    <a:pt x="1005" y="1085"/>
                  </a:cubicBezTo>
                  <a:cubicBezTo>
                    <a:pt x="1003" y="1083"/>
                    <a:pt x="1001" y="1082"/>
                    <a:pt x="999" y="1080"/>
                  </a:cubicBezTo>
                  <a:cubicBezTo>
                    <a:pt x="993" y="1076"/>
                    <a:pt x="988" y="1072"/>
                    <a:pt x="982" y="1068"/>
                  </a:cubicBezTo>
                  <a:cubicBezTo>
                    <a:pt x="981" y="1067"/>
                    <a:pt x="979" y="1066"/>
                    <a:pt x="978" y="1065"/>
                  </a:cubicBezTo>
                  <a:cubicBezTo>
                    <a:pt x="971" y="1060"/>
                    <a:pt x="965" y="1055"/>
                    <a:pt x="958" y="1051"/>
                  </a:cubicBezTo>
                  <a:cubicBezTo>
                    <a:pt x="957" y="1050"/>
                    <a:pt x="956" y="1049"/>
                    <a:pt x="955" y="1048"/>
                  </a:cubicBezTo>
                  <a:cubicBezTo>
                    <a:pt x="948" y="1043"/>
                    <a:pt x="940" y="1037"/>
                    <a:pt x="933" y="1031"/>
                  </a:cubicBezTo>
                  <a:cubicBezTo>
                    <a:pt x="932" y="1031"/>
                    <a:pt x="931" y="1030"/>
                    <a:pt x="930" y="1029"/>
                  </a:cubicBezTo>
                  <a:cubicBezTo>
                    <a:pt x="922" y="1023"/>
                    <a:pt x="914" y="1017"/>
                    <a:pt x="906" y="1011"/>
                  </a:cubicBezTo>
                  <a:moveTo>
                    <a:pt x="1410" y="1012"/>
                  </a:moveTo>
                  <a:cubicBezTo>
                    <a:pt x="1410" y="1018"/>
                    <a:pt x="1410" y="1023"/>
                    <a:pt x="1410" y="1029"/>
                  </a:cubicBezTo>
                  <a:cubicBezTo>
                    <a:pt x="1410" y="1039"/>
                    <a:pt x="1410" y="1049"/>
                    <a:pt x="1411" y="1059"/>
                  </a:cubicBezTo>
                  <a:cubicBezTo>
                    <a:pt x="1412" y="1059"/>
                    <a:pt x="1412" y="1059"/>
                    <a:pt x="1412" y="1060"/>
                  </a:cubicBezTo>
                  <a:cubicBezTo>
                    <a:pt x="1411" y="1050"/>
                    <a:pt x="1411" y="1039"/>
                    <a:pt x="1411" y="1029"/>
                  </a:cubicBezTo>
                  <a:cubicBezTo>
                    <a:pt x="1411" y="1024"/>
                    <a:pt x="1411" y="1019"/>
                    <a:pt x="1411" y="1014"/>
                  </a:cubicBezTo>
                  <a:cubicBezTo>
                    <a:pt x="1411" y="1013"/>
                    <a:pt x="1411" y="1013"/>
                    <a:pt x="1410" y="1012"/>
                  </a:cubicBezTo>
                  <a:moveTo>
                    <a:pt x="1411" y="1060"/>
                  </a:moveTo>
                  <a:cubicBezTo>
                    <a:pt x="1413" y="1081"/>
                    <a:pt x="1418" y="1100"/>
                    <a:pt x="1425" y="1119"/>
                  </a:cubicBezTo>
                  <a:cubicBezTo>
                    <a:pt x="1426" y="1120"/>
                    <a:pt x="1427" y="1121"/>
                    <a:pt x="1427" y="1121"/>
                  </a:cubicBezTo>
                  <a:cubicBezTo>
                    <a:pt x="1419" y="1103"/>
                    <a:pt x="1415" y="1083"/>
                    <a:pt x="1413" y="1062"/>
                  </a:cubicBezTo>
                  <a:cubicBezTo>
                    <a:pt x="1412" y="1061"/>
                    <a:pt x="1412" y="1061"/>
                    <a:pt x="1411" y="1060"/>
                  </a:cubicBezTo>
                  <a:moveTo>
                    <a:pt x="1426" y="1122"/>
                  </a:moveTo>
                  <a:cubicBezTo>
                    <a:pt x="1429" y="1128"/>
                    <a:pt x="1432" y="1135"/>
                    <a:pt x="1436" y="1141"/>
                  </a:cubicBezTo>
                  <a:cubicBezTo>
                    <a:pt x="1453" y="1169"/>
                    <a:pt x="1466" y="1194"/>
                    <a:pt x="1476" y="1215"/>
                  </a:cubicBezTo>
                  <a:cubicBezTo>
                    <a:pt x="1476" y="1216"/>
                    <a:pt x="1477" y="1217"/>
                    <a:pt x="1478" y="1218"/>
                  </a:cubicBezTo>
                  <a:cubicBezTo>
                    <a:pt x="1468" y="1196"/>
                    <a:pt x="1455" y="1170"/>
                    <a:pt x="1437" y="1140"/>
                  </a:cubicBezTo>
                  <a:cubicBezTo>
                    <a:pt x="1434" y="1135"/>
                    <a:pt x="1431" y="1130"/>
                    <a:pt x="1429" y="1125"/>
                  </a:cubicBezTo>
                  <a:cubicBezTo>
                    <a:pt x="1428" y="1124"/>
                    <a:pt x="1427" y="1123"/>
                    <a:pt x="1426" y="1122"/>
                  </a:cubicBezTo>
                  <a:moveTo>
                    <a:pt x="1072" y="1132"/>
                  </a:moveTo>
                  <a:cubicBezTo>
                    <a:pt x="1079" y="1137"/>
                    <a:pt x="1087" y="1143"/>
                    <a:pt x="1094" y="1148"/>
                  </a:cubicBezTo>
                  <a:cubicBezTo>
                    <a:pt x="1239" y="1246"/>
                    <a:pt x="1386" y="1327"/>
                    <a:pt x="1455" y="1327"/>
                  </a:cubicBezTo>
                  <a:cubicBezTo>
                    <a:pt x="1476" y="1327"/>
                    <a:pt x="1490" y="1320"/>
                    <a:pt x="1495" y="1304"/>
                  </a:cubicBezTo>
                  <a:cubicBezTo>
                    <a:pt x="1495" y="1304"/>
                    <a:pt x="1495" y="1303"/>
                    <a:pt x="1495" y="1303"/>
                  </a:cubicBezTo>
                  <a:cubicBezTo>
                    <a:pt x="1490" y="1319"/>
                    <a:pt x="1476" y="1326"/>
                    <a:pt x="1455" y="1326"/>
                  </a:cubicBezTo>
                  <a:cubicBezTo>
                    <a:pt x="1455" y="1326"/>
                    <a:pt x="1455" y="1326"/>
                    <a:pt x="1455" y="1326"/>
                  </a:cubicBezTo>
                  <a:cubicBezTo>
                    <a:pt x="1383" y="1326"/>
                    <a:pt x="1225" y="1236"/>
                    <a:pt x="1072" y="1132"/>
                  </a:cubicBezTo>
                  <a:moveTo>
                    <a:pt x="1477" y="1218"/>
                  </a:moveTo>
                  <a:cubicBezTo>
                    <a:pt x="1486" y="1238"/>
                    <a:pt x="1492" y="1255"/>
                    <a:pt x="1495" y="1269"/>
                  </a:cubicBezTo>
                  <a:cubicBezTo>
                    <a:pt x="1495" y="1270"/>
                    <a:pt x="1495" y="1270"/>
                    <a:pt x="1496" y="1271"/>
                  </a:cubicBezTo>
                  <a:cubicBezTo>
                    <a:pt x="1493" y="1257"/>
                    <a:pt x="1488" y="1240"/>
                    <a:pt x="1479" y="1221"/>
                  </a:cubicBezTo>
                  <a:cubicBezTo>
                    <a:pt x="1479" y="1220"/>
                    <a:pt x="1478" y="1219"/>
                    <a:pt x="1477" y="1218"/>
                  </a:cubicBezTo>
                  <a:moveTo>
                    <a:pt x="1495" y="1271"/>
                  </a:moveTo>
                  <a:cubicBezTo>
                    <a:pt x="1496" y="1277"/>
                    <a:pt x="1497" y="1283"/>
                    <a:pt x="1497" y="1288"/>
                  </a:cubicBezTo>
                  <a:cubicBezTo>
                    <a:pt x="1497" y="1293"/>
                    <a:pt x="1496" y="1298"/>
                    <a:pt x="1495" y="1302"/>
                  </a:cubicBezTo>
                  <a:cubicBezTo>
                    <a:pt x="1495" y="1302"/>
                    <a:pt x="1495" y="1303"/>
                    <a:pt x="1496" y="1303"/>
                  </a:cubicBezTo>
                  <a:cubicBezTo>
                    <a:pt x="1497" y="1299"/>
                    <a:pt x="1498" y="1294"/>
                    <a:pt x="1498" y="1288"/>
                  </a:cubicBezTo>
                  <a:cubicBezTo>
                    <a:pt x="1498" y="1283"/>
                    <a:pt x="1497" y="1278"/>
                    <a:pt x="1496" y="1272"/>
                  </a:cubicBezTo>
                  <a:cubicBezTo>
                    <a:pt x="1496" y="1272"/>
                    <a:pt x="1495" y="1271"/>
                    <a:pt x="1495" y="1271"/>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65" name="Freeform 94"/>
            <p:cNvSpPr>
              <a:spLocks noEditPoints="1"/>
            </p:cNvSpPr>
            <p:nvPr userDrawn="1"/>
          </p:nvSpPr>
          <p:spPr bwMode="auto">
            <a:xfrm>
              <a:off x="2096" y="3754"/>
              <a:ext cx="3196" cy="2721"/>
            </a:xfrm>
            <a:custGeom>
              <a:avLst/>
              <a:gdLst>
                <a:gd name="T0" fmla="*/ 2147483646 w 1577"/>
                <a:gd name="T1" fmla="*/ 2147483646 h 1342"/>
                <a:gd name="T2" fmla="*/ 2147483646 w 1577"/>
                <a:gd name="T3" fmla="*/ 2147483646 h 1342"/>
                <a:gd name="T4" fmla="*/ 2147483646 w 1577"/>
                <a:gd name="T5" fmla="*/ 2147483646 h 1342"/>
                <a:gd name="T6" fmla="*/ 2147483646 w 1577"/>
                <a:gd name="T7" fmla="*/ 2147483646 h 1342"/>
                <a:gd name="T8" fmla="*/ 2147483646 w 1577"/>
                <a:gd name="T9" fmla="*/ 2147483646 h 1342"/>
                <a:gd name="T10" fmla="*/ 2147483646 w 1577"/>
                <a:gd name="T11" fmla="*/ 2147483646 h 1342"/>
                <a:gd name="T12" fmla="*/ 2147483646 w 1577"/>
                <a:gd name="T13" fmla="*/ 2147483646 h 1342"/>
                <a:gd name="T14" fmla="*/ 2147483646 w 1577"/>
                <a:gd name="T15" fmla="*/ 2147483646 h 1342"/>
                <a:gd name="T16" fmla="*/ 2147483646 w 1577"/>
                <a:gd name="T17" fmla="*/ 2147483646 h 1342"/>
                <a:gd name="T18" fmla="*/ 2147483646 w 1577"/>
                <a:gd name="T19" fmla="*/ 2147483646 h 1342"/>
                <a:gd name="T20" fmla="*/ 2147483646 w 1577"/>
                <a:gd name="T21" fmla="*/ 2147483646 h 1342"/>
                <a:gd name="T22" fmla="*/ 2147483646 w 1577"/>
                <a:gd name="T23" fmla="*/ 2147483646 h 1342"/>
                <a:gd name="T24" fmla="*/ 2147483646 w 1577"/>
                <a:gd name="T25" fmla="*/ 2147483646 h 1342"/>
                <a:gd name="T26" fmla="*/ 2147483646 w 1577"/>
                <a:gd name="T27" fmla="*/ 2147483646 h 1342"/>
                <a:gd name="T28" fmla="*/ 2147483646 w 1577"/>
                <a:gd name="T29" fmla="*/ 2147483646 h 1342"/>
                <a:gd name="T30" fmla="*/ 2147483646 w 1577"/>
                <a:gd name="T31" fmla="*/ 2147483646 h 1342"/>
                <a:gd name="T32" fmla="*/ 2147483646 w 1577"/>
                <a:gd name="T33" fmla="*/ 2147483646 h 1342"/>
                <a:gd name="T34" fmla="*/ 2147483646 w 1577"/>
                <a:gd name="T35" fmla="*/ 2147483646 h 1342"/>
                <a:gd name="T36" fmla="*/ 2147483646 w 1577"/>
                <a:gd name="T37" fmla="*/ 2147483646 h 1342"/>
                <a:gd name="T38" fmla="*/ 2147483646 w 1577"/>
                <a:gd name="T39" fmla="*/ 2147483646 h 1342"/>
                <a:gd name="T40" fmla="*/ 2147483646 w 1577"/>
                <a:gd name="T41" fmla="*/ 2147483646 h 1342"/>
                <a:gd name="T42" fmla="*/ 2147483646 w 1577"/>
                <a:gd name="T43" fmla="*/ 2147483646 h 1342"/>
                <a:gd name="T44" fmla="*/ 2147483646 w 1577"/>
                <a:gd name="T45" fmla="*/ 2147483646 h 1342"/>
                <a:gd name="T46" fmla="*/ 2147483646 w 1577"/>
                <a:gd name="T47" fmla="*/ 2147483646 h 1342"/>
                <a:gd name="T48" fmla="*/ 2147483646 w 1577"/>
                <a:gd name="T49" fmla="*/ 2147483646 h 1342"/>
                <a:gd name="T50" fmla="*/ 2147483646 w 1577"/>
                <a:gd name="T51" fmla="*/ 2147483646 h 1342"/>
                <a:gd name="T52" fmla="*/ 2147483646 w 1577"/>
                <a:gd name="T53" fmla="*/ 2147483646 h 1342"/>
                <a:gd name="T54" fmla="*/ 2147483646 w 1577"/>
                <a:gd name="T55" fmla="*/ 2147483646 h 1342"/>
                <a:gd name="T56" fmla="*/ 2147483646 w 1577"/>
                <a:gd name="T57" fmla="*/ 2147483646 h 1342"/>
                <a:gd name="T58" fmla="*/ 2147483646 w 1577"/>
                <a:gd name="T59" fmla="*/ 2147483646 h 1342"/>
                <a:gd name="T60" fmla="*/ 2147483646 w 1577"/>
                <a:gd name="T61" fmla="*/ 2147483646 h 1342"/>
                <a:gd name="T62" fmla="*/ 2147483646 w 1577"/>
                <a:gd name="T63" fmla="*/ 2147483646 h 1342"/>
                <a:gd name="T64" fmla="*/ 2147483646 w 1577"/>
                <a:gd name="T65" fmla="*/ 2147483646 h 1342"/>
                <a:gd name="T66" fmla="*/ 2147483646 w 1577"/>
                <a:gd name="T67" fmla="*/ 2147483646 h 1342"/>
                <a:gd name="T68" fmla="*/ 2147483646 w 1577"/>
                <a:gd name="T69" fmla="*/ 2147483646 h 1342"/>
                <a:gd name="T70" fmla="*/ 2147483646 w 1577"/>
                <a:gd name="T71" fmla="*/ 2147483646 h 1342"/>
                <a:gd name="T72" fmla="*/ 2147483646 w 1577"/>
                <a:gd name="T73" fmla="*/ 2147483646 h 1342"/>
                <a:gd name="T74" fmla="*/ 2147483646 w 1577"/>
                <a:gd name="T75" fmla="*/ 2147483646 h 1342"/>
                <a:gd name="T76" fmla="*/ 2147483646 w 1577"/>
                <a:gd name="T77" fmla="*/ 2147483646 h 1342"/>
                <a:gd name="T78" fmla="*/ 2147483646 w 1577"/>
                <a:gd name="T79" fmla="*/ 2147483646 h 1342"/>
                <a:gd name="T80" fmla="*/ 2147483646 w 1577"/>
                <a:gd name="T81" fmla="*/ 2147483646 h 1342"/>
                <a:gd name="T82" fmla="*/ 2147483646 w 1577"/>
                <a:gd name="T83" fmla="*/ 2147483646 h 1342"/>
                <a:gd name="T84" fmla="*/ 2147483646 w 1577"/>
                <a:gd name="T85" fmla="*/ 2147483646 h 1342"/>
                <a:gd name="T86" fmla="*/ 2147483646 w 1577"/>
                <a:gd name="T87" fmla="*/ 2147483646 h 1342"/>
                <a:gd name="T88" fmla="*/ 2147483646 w 1577"/>
                <a:gd name="T89" fmla="*/ 2147483646 h 1342"/>
                <a:gd name="T90" fmla="*/ 2147483646 w 1577"/>
                <a:gd name="T91" fmla="*/ 2147483646 h 1342"/>
                <a:gd name="T92" fmla="*/ 2147483646 w 1577"/>
                <a:gd name="T93" fmla="*/ 2147483646 h 1342"/>
                <a:gd name="T94" fmla="*/ 2147483646 w 1577"/>
                <a:gd name="T95" fmla="*/ 2147483646 h 1342"/>
                <a:gd name="T96" fmla="*/ 2147483646 w 1577"/>
                <a:gd name="T97" fmla="*/ 2147483646 h 1342"/>
                <a:gd name="T98" fmla="*/ 2147483646 w 1577"/>
                <a:gd name="T99" fmla="*/ 2147483646 h 1342"/>
                <a:gd name="T100" fmla="*/ 2147483646 w 1577"/>
                <a:gd name="T101" fmla="*/ 2147483646 h 1342"/>
                <a:gd name="T102" fmla="*/ 2147483646 w 1577"/>
                <a:gd name="T103" fmla="*/ 2147483646 h 1342"/>
                <a:gd name="T104" fmla="*/ 2147483646 w 1577"/>
                <a:gd name="T105" fmla="*/ 2147483646 h 1342"/>
                <a:gd name="T106" fmla="*/ 2147483646 w 1577"/>
                <a:gd name="T107" fmla="*/ 2147483646 h 1342"/>
                <a:gd name="T108" fmla="*/ 2147483646 w 1577"/>
                <a:gd name="T109" fmla="*/ 2147483646 h 1342"/>
                <a:gd name="T110" fmla="*/ 2147483646 w 1577"/>
                <a:gd name="T111" fmla="*/ 2147483646 h 1342"/>
                <a:gd name="T112" fmla="*/ 2147483646 w 1577"/>
                <a:gd name="T113" fmla="*/ 2147483646 h 1342"/>
                <a:gd name="T114" fmla="*/ 2147483646 w 1577"/>
                <a:gd name="T115" fmla="*/ 2147483646 h 1342"/>
                <a:gd name="T116" fmla="*/ 2147483646 w 1577"/>
                <a:gd name="T117" fmla="*/ 2147483646 h 1342"/>
                <a:gd name="T118" fmla="*/ 2147483646 w 1577"/>
                <a:gd name="T119" fmla="*/ 2147483646 h 1342"/>
                <a:gd name="T120" fmla="*/ 2147483646 w 1577"/>
                <a:gd name="T121" fmla="*/ 2147483646 h 1342"/>
                <a:gd name="T122" fmla="*/ 2147483646 w 1577"/>
                <a:gd name="T123" fmla="*/ 2147483646 h 13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577" h="1342">
                  <a:moveTo>
                    <a:pt x="1291" y="0"/>
                  </a:moveTo>
                  <a:cubicBezTo>
                    <a:pt x="1272" y="0"/>
                    <a:pt x="1255" y="2"/>
                    <a:pt x="1239" y="5"/>
                  </a:cubicBezTo>
                  <a:cubicBezTo>
                    <a:pt x="1238" y="5"/>
                    <a:pt x="1238" y="5"/>
                    <a:pt x="1238" y="6"/>
                  </a:cubicBezTo>
                  <a:cubicBezTo>
                    <a:pt x="1232" y="7"/>
                    <a:pt x="1226" y="8"/>
                    <a:pt x="1221" y="10"/>
                  </a:cubicBezTo>
                  <a:cubicBezTo>
                    <a:pt x="1220" y="10"/>
                    <a:pt x="1220" y="10"/>
                    <a:pt x="1220" y="10"/>
                  </a:cubicBezTo>
                  <a:cubicBezTo>
                    <a:pt x="1219" y="11"/>
                    <a:pt x="1218" y="11"/>
                    <a:pt x="1218" y="11"/>
                  </a:cubicBezTo>
                  <a:cubicBezTo>
                    <a:pt x="1217" y="11"/>
                    <a:pt x="1217" y="11"/>
                    <a:pt x="1216" y="11"/>
                  </a:cubicBezTo>
                  <a:cubicBezTo>
                    <a:pt x="1215" y="12"/>
                    <a:pt x="1213" y="12"/>
                    <a:pt x="1212" y="13"/>
                  </a:cubicBezTo>
                  <a:cubicBezTo>
                    <a:pt x="1211" y="13"/>
                    <a:pt x="1210" y="13"/>
                    <a:pt x="1210" y="14"/>
                  </a:cubicBezTo>
                  <a:cubicBezTo>
                    <a:pt x="1210" y="14"/>
                    <a:pt x="1210" y="14"/>
                    <a:pt x="1210" y="14"/>
                  </a:cubicBezTo>
                  <a:cubicBezTo>
                    <a:pt x="1209" y="14"/>
                    <a:pt x="1209" y="14"/>
                    <a:pt x="1208" y="14"/>
                  </a:cubicBezTo>
                  <a:cubicBezTo>
                    <a:pt x="1208" y="14"/>
                    <a:pt x="1208" y="14"/>
                    <a:pt x="1208" y="14"/>
                  </a:cubicBezTo>
                  <a:cubicBezTo>
                    <a:pt x="1207" y="15"/>
                    <a:pt x="1207" y="15"/>
                    <a:pt x="1206" y="15"/>
                  </a:cubicBezTo>
                  <a:cubicBezTo>
                    <a:pt x="1205" y="15"/>
                    <a:pt x="1205" y="16"/>
                    <a:pt x="1204" y="16"/>
                  </a:cubicBezTo>
                  <a:cubicBezTo>
                    <a:pt x="1204" y="16"/>
                    <a:pt x="1203" y="16"/>
                    <a:pt x="1203" y="16"/>
                  </a:cubicBezTo>
                  <a:cubicBezTo>
                    <a:pt x="1202" y="17"/>
                    <a:pt x="1202" y="17"/>
                    <a:pt x="1201" y="17"/>
                  </a:cubicBezTo>
                  <a:cubicBezTo>
                    <a:pt x="1198" y="18"/>
                    <a:pt x="1195" y="20"/>
                    <a:pt x="1192" y="21"/>
                  </a:cubicBezTo>
                  <a:cubicBezTo>
                    <a:pt x="1191" y="21"/>
                    <a:pt x="1191" y="22"/>
                    <a:pt x="1190" y="22"/>
                  </a:cubicBezTo>
                  <a:cubicBezTo>
                    <a:pt x="1186" y="24"/>
                    <a:pt x="1183" y="26"/>
                    <a:pt x="1179" y="27"/>
                  </a:cubicBezTo>
                  <a:cubicBezTo>
                    <a:pt x="1179" y="28"/>
                    <a:pt x="1178" y="28"/>
                    <a:pt x="1177" y="29"/>
                  </a:cubicBezTo>
                  <a:cubicBezTo>
                    <a:pt x="1175" y="30"/>
                    <a:pt x="1174" y="31"/>
                    <a:pt x="1172" y="32"/>
                  </a:cubicBezTo>
                  <a:cubicBezTo>
                    <a:pt x="1171" y="32"/>
                    <a:pt x="1170" y="33"/>
                    <a:pt x="1170" y="33"/>
                  </a:cubicBezTo>
                  <a:cubicBezTo>
                    <a:pt x="1169" y="34"/>
                    <a:pt x="1167" y="34"/>
                    <a:pt x="1166" y="35"/>
                  </a:cubicBezTo>
                  <a:cubicBezTo>
                    <a:pt x="1165" y="36"/>
                    <a:pt x="1164" y="36"/>
                    <a:pt x="1163" y="37"/>
                  </a:cubicBezTo>
                  <a:cubicBezTo>
                    <a:pt x="1160" y="39"/>
                    <a:pt x="1157" y="41"/>
                    <a:pt x="1154" y="43"/>
                  </a:cubicBezTo>
                  <a:cubicBezTo>
                    <a:pt x="1155" y="43"/>
                    <a:pt x="1156" y="43"/>
                    <a:pt x="1157" y="42"/>
                  </a:cubicBezTo>
                  <a:cubicBezTo>
                    <a:pt x="1159" y="42"/>
                    <a:pt x="1160" y="41"/>
                    <a:pt x="1161" y="40"/>
                  </a:cubicBezTo>
                  <a:cubicBezTo>
                    <a:pt x="1162" y="39"/>
                    <a:pt x="1163" y="38"/>
                    <a:pt x="1164" y="38"/>
                  </a:cubicBezTo>
                  <a:cubicBezTo>
                    <a:pt x="1166" y="37"/>
                    <a:pt x="1167" y="36"/>
                    <a:pt x="1168" y="35"/>
                  </a:cubicBezTo>
                  <a:cubicBezTo>
                    <a:pt x="1169" y="35"/>
                    <a:pt x="1170" y="34"/>
                    <a:pt x="1170" y="34"/>
                  </a:cubicBezTo>
                  <a:cubicBezTo>
                    <a:pt x="1172" y="33"/>
                    <a:pt x="1174" y="32"/>
                    <a:pt x="1176" y="31"/>
                  </a:cubicBezTo>
                  <a:cubicBezTo>
                    <a:pt x="1177" y="30"/>
                    <a:pt x="1177" y="30"/>
                    <a:pt x="1178" y="29"/>
                  </a:cubicBezTo>
                  <a:cubicBezTo>
                    <a:pt x="1182" y="27"/>
                    <a:pt x="1185" y="25"/>
                    <a:pt x="1189" y="24"/>
                  </a:cubicBezTo>
                  <a:cubicBezTo>
                    <a:pt x="1189" y="23"/>
                    <a:pt x="1190" y="23"/>
                    <a:pt x="1191" y="23"/>
                  </a:cubicBezTo>
                  <a:cubicBezTo>
                    <a:pt x="1194" y="21"/>
                    <a:pt x="1197" y="20"/>
                    <a:pt x="1200" y="19"/>
                  </a:cubicBezTo>
                  <a:cubicBezTo>
                    <a:pt x="1201" y="18"/>
                    <a:pt x="1201" y="18"/>
                    <a:pt x="1202" y="18"/>
                  </a:cubicBezTo>
                  <a:cubicBezTo>
                    <a:pt x="1202" y="18"/>
                    <a:pt x="1203" y="17"/>
                    <a:pt x="1203" y="17"/>
                  </a:cubicBezTo>
                  <a:cubicBezTo>
                    <a:pt x="1204" y="17"/>
                    <a:pt x="1204" y="17"/>
                    <a:pt x="1205" y="17"/>
                  </a:cubicBezTo>
                  <a:cubicBezTo>
                    <a:pt x="1206" y="16"/>
                    <a:pt x="1206" y="16"/>
                    <a:pt x="1207" y="16"/>
                  </a:cubicBezTo>
                  <a:cubicBezTo>
                    <a:pt x="1207" y="16"/>
                    <a:pt x="1207" y="16"/>
                    <a:pt x="1207" y="16"/>
                  </a:cubicBezTo>
                  <a:cubicBezTo>
                    <a:pt x="1208" y="15"/>
                    <a:pt x="1208" y="15"/>
                    <a:pt x="1209" y="15"/>
                  </a:cubicBezTo>
                  <a:cubicBezTo>
                    <a:pt x="1209" y="15"/>
                    <a:pt x="1209" y="15"/>
                    <a:pt x="1209" y="15"/>
                  </a:cubicBezTo>
                  <a:cubicBezTo>
                    <a:pt x="1210" y="15"/>
                    <a:pt x="1210" y="15"/>
                    <a:pt x="1211" y="14"/>
                  </a:cubicBezTo>
                  <a:cubicBezTo>
                    <a:pt x="1212" y="14"/>
                    <a:pt x="1214" y="13"/>
                    <a:pt x="1216" y="13"/>
                  </a:cubicBezTo>
                  <a:cubicBezTo>
                    <a:pt x="1216" y="13"/>
                    <a:pt x="1217" y="12"/>
                    <a:pt x="1217" y="12"/>
                  </a:cubicBezTo>
                  <a:cubicBezTo>
                    <a:pt x="1218" y="12"/>
                    <a:pt x="1218" y="12"/>
                    <a:pt x="1219" y="12"/>
                  </a:cubicBezTo>
                  <a:cubicBezTo>
                    <a:pt x="1219" y="11"/>
                    <a:pt x="1220" y="11"/>
                    <a:pt x="1220" y="11"/>
                  </a:cubicBezTo>
                  <a:cubicBezTo>
                    <a:pt x="1226" y="9"/>
                    <a:pt x="1232" y="8"/>
                    <a:pt x="1238" y="7"/>
                  </a:cubicBezTo>
                  <a:cubicBezTo>
                    <a:pt x="1238" y="6"/>
                    <a:pt x="1238" y="6"/>
                    <a:pt x="1239" y="6"/>
                  </a:cubicBezTo>
                  <a:cubicBezTo>
                    <a:pt x="1255" y="3"/>
                    <a:pt x="1272" y="1"/>
                    <a:pt x="1291" y="1"/>
                  </a:cubicBezTo>
                  <a:cubicBezTo>
                    <a:pt x="1309" y="1"/>
                    <a:pt x="1328" y="3"/>
                    <a:pt x="1349" y="7"/>
                  </a:cubicBezTo>
                  <a:cubicBezTo>
                    <a:pt x="1349" y="7"/>
                    <a:pt x="1350" y="7"/>
                    <a:pt x="1350" y="7"/>
                  </a:cubicBezTo>
                  <a:cubicBezTo>
                    <a:pt x="1351" y="7"/>
                    <a:pt x="1353" y="7"/>
                    <a:pt x="1354" y="8"/>
                  </a:cubicBezTo>
                  <a:cubicBezTo>
                    <a:pt x="1389" y="15"/>
                    <a:pt x="1420" y="23"/>
                    <a:pt x="1446" y="32"/>
                  </a:cubicBezTo>
                  <a:cubicBezTo>
                    <a:pt x="1446" y="33"/>
                    <a:pt x="1446" y="33"/>
                    <a:pt x="1447" y="33"/>
                  </a:cubicBezTo>
                  <a:cubicBezTo>
                    <a:pt x="1475" y="43"/>
                    <a:pt x="1499" y="55"/>
                    <a:pt x="1517" y="67"/>
                  </a:cubicBezTo>
                  <a:cubicBezTo>
                    <a:pt x="1518" y="67"/>
                    <a:pt x="1518" y="68"/>
                    <a:pt x="1518" y="68"/>
                  </a:cubicBezTo>
                  <a:cubicBezTo>
                    <a:pt x="1537" y="81"/>
                    <a:pt x="1551" y="95"/>
                    <a:pt x="1561" y="110"/>
                  </a:cubicBezTo>
                  <a:cubicBezTo>
                    <a:pt x="1561" y="110"/>
                    <a:pt x="1561" y="110"/>
                    <a:pt x="1561" y="110"/>
                  </a:cubicBezTo>
                  <a:cubicBezTo>
                    <a:pt x="1571" y="126"/>
                    <a:pt x="1575" y="142"/>
                    <a:pt x="1576" y="158"/>
                  </a:cubicBezTo>
                  <a:cubicBezTo>
                    <a:pt x="1576" y="159"/>
                    <a:pt x="1576" y="159"/>
                    <a:pt x="1576" y="160"/>
                  </a:cubicBezTo>
                  <a:cubicBezTo>
                    <a:pt x="1576" y="161"/>
                    <a:pt x="1576" y="162"/>
                    <a:pt x="1576" y="163"/>
                  </a:cubicBezTo>
                  <a:cubicBezTo>
                    <a:pt x="1576" y="167"/>
                    <a:pt x="1576" y="170"/>
                    <a:pt x="1576" y="173"/>
                  </a:cubicBezTo>
                  <a:cubicBezTo>
                    <a:pt x="1576" y="174"/>
                    <a:pt x="1576" y="174"/>
                    <a:pt x="1576" y="175"/>
                  </a:cubicBezTo>
                  <a:cubicBezTo>
                    <a:pt x="1575" y="178"/>
                    <a:pt x="1575" y="182"/>
                    <a:pt x="1574" y="186"/>
                  </a:cubicBezTo>
                  <a:cubicBezTo>
                    <a:pt x="1574" y="187"/>
                    <a:pt x="1574" y="187"/>
                    <a:pt x="1574" y="188"/>
                  </a:cubicBezTo>
                  <a:cubicBezTo>
                    <a:pt x="1571" y="201"/>
                    <a:pt x="1566" y="214"/>
                    <a:pt x="1560" y="227"/>
                  </a:cubicBezTo>
                  <a:cubicBezTo>
                    <a:pt x="1559" y="228"/>
                    <a:pt x="1559" y="229"/>
                    <a:pt x="1558" y="230"/>
                  </a:cubicBezTo>
                  <a:cubicBezTo>
                    <a:pt x="1555" y="236"/>
                    <a:pt x="1552" y="241"/>
                    <a:pt x="1549" y="247"/>
                  </a:cubicBezTo>
                  <a:cubicBezTo>
                    <a:pt x="1548" y="248"/>
                    <a:pt x="1547" y="250"/>
                    <a:pt x="1546" y="252"/>
                  </a:cubicBezTo>
                  <a:cubicBezTo>
                    <a:pt x="1544" y="255"/>
                    <a:pt x="1542" y="258"/>
                    <a:pt x="1539" y="262"/>
                  </a:cubicBezTo>
                  <a:cubicBezTo>
                    <a:pt x="1537" y="264"/>
                    <a:pt x="1535" y="267"/>
                    <a:pt x="1533" y="270"/>
                  </a:cubicBezTo>
                  <a:cubicBezTo>
                    <a:pt x="1532" y="272"/>
                    <a:pt x="1530" y="275"/>
                    <a:pt x="1528" y="277"/>
                  </a:cubicBezTo>
                  <a:cubicBezTo>
                    <a:pt x="1526" y="280"/>
                    <a:pt x="1524" y="282"/>
                    <a:pt x="1522" y="284"/>
                  </a:cubicBezTo>
                  <a:cubicBezTo>
                    <a:pt x="1522" y="285"/>
                    <a:pt x="1521" y="286"/>
                    <a:pt x="1520" y="287"/>
                  </a:cubicBezTo>
                  <a:cubicBezTo>
                    <a:pt x="1518" y="289"/>
                    <a:pt x="1516" y="292"/>
                    <a:pt x="1514" y="294"/>
                  </a:cubicBezTo>
                  <a:cubicBezTo>
                    <a:pt x="1513" y="295"/>
                    <a:pt x="1513" y="295"/>
                    <a:pt x="1513" y="296"/>
                  </a:cubicBezTo>
                  <a:cubicBezTo>
                    <a:pt x="1510" y="299"/>
                    <a:pt x="1507" y="302"/>
                    <a:pt x="1505" y="305"/>
                  </a:cubicBezTo>
                  <a:cubicBezTo>
                    <a:pt x="1498" y="312"/>
                    <a:pt x="1491" y="320"/>
                    <a:pt x="1483" y="327"/>
                  </a:cubicBezTo>
                  <a:cubicBezTo>
                    <a:pt x="1482" y="328"/>
                    <a:pt x="1481" y="330"/>
                    <a:pt x="1479" y="331"/>
                  </a:cubicBezTo>
                  <a:cubicBezTo>
                    <a:pt x="1479" y="331"/>
                    <a:pt x="1479" y="332"/>
                    <a:pt x="1478" y="332"/>
                  </a:cubicBezTo>
                  <a:cubicBezTo>
                    <a:pt x="1476" y="334"/>
                    <a:pt x="1473" y="337"/>
                    <a:pt x="1471" y="339"/>
                  </a:cubicBezTo>
                  <a:cubicBezTo>
                    <a:pt x="1469" y="341"/>
                    <a:pt x="1467" y="342"/>
                    <a:pt x="1466" y="344"/>
                  </a:cubicBezTo>
                  <a:cubicBezTo>
                    <a:pt x="1464" y="346"/>
                    <a:pt x="1462" y="348"/>
                    <a:pt x="1460" y="349"/>
                  </a:cubicBezTo>
                  <a:cubicBezTo>
                    <a:pt x="1458" y="351"/>
                    <a:pt x="1455" y="353"/>
                    <a:pt x="1453" y="355"/>
                  </a:cubicBezTo>
                  <a:cubicBezTo>
                    <a:pt x="1452" y="356"/>
                    <a:pt x="1451" y="357"/>
                    <a:pt x="1450" y="358"/>
                  </a:cubicBezTo>
                  <a:cubicBezTo>
                    <a:pt x="1428" y="377"/>
                    <a:pt x="1413" y="401"/>
                    <a:pt x="1404" y="427"/>
                  </a:cubicBezTo>
                  <a:cubicBezTo>
                    <a:pt x="1404" y="427"/>
                    <a:pt x="1404" y="428"/>
                    <a:pt x="1403" y="429"/>
                  </a:cubicBezTo>
                  <a:cubicBezTo>
                    <a:pt x="1399" y="442"/>
                    <a:pt x="1397" y="455"/>
                    <a:pt x="1395" y="468"/>
                  </a:cubicBezTo>
                  <a:cubicBezTo>
                    <a:pt x="1395" y="469"/>
                    <a:pt x="1395" y="470"/>
                    <a:pt x="1394" y="471"/>
                  </a:cubicBezTo>
                  <a:cubicBezTo>
                    <a:pt x="1393" y="481"/>
                    <a:pt x="1392" y="491"/>
                    <a:pt x="1392" y="502"/>
                  </a:cubicBezTo>
                  <a:cubicBezTo>
                    <a:pt x="1392" y="503"/>
                    <a:pt x="1392" y="504"/>
                    <a:pt x="1392" y="505"/>
                  </a:cubicBezTo>
                  <a:cubicBezTo>
                    <a:pt x="1392" y="506"/>
                    <a:pt x="1392" y="508"/>
                    <a:pt x="1392" y="509"/>
                  </a:cubicBezTo>
                  <a:cubicBezTo>
                    <a:pt x="1392" y="517"/>
                    <a:pt x="1392" y="525"/>
                    <a:pt x="1393" y="533"/>
                  </a:cubicBezTo>
                  <a:cubicBezTo>
                    <a:pt x="1393" y="534"/>
                    <a:pt x="1393" y="535"/>
                    <a:pt x="1393" y="536"/>
                  </a:cubicBezTo>
                  <a:cubicBezTo>
                    <a:pt x="1394" y="544"/>
                    <a:pt x="1394" y="553"/>
                    <a:pt x="1395" y="562"/>
                  </a:cubicBezTo>
                  <a:cubicBezTo>
                    <a:pt x="1396" y="563"/>
                    <a:pt x="1396" y="564"/>
                    <a:pt x="1396" y="565"/>
                  </a:cubicBezTo>
                  <a:cubicBezTo>
                    <a:pt x="1397" y="573"/>
                    <a:pt x="1398" y="581"/>
                    <a:pt x="1399" y="590"/>
                  </a:cubicBezTo>
                  <a:cubicBezTo>
                    <a:pt x="1399" y="591"/>
                    <a:pt x="1400" y="593"/>
                    <a:pt x="1400" y="595"/>
                  </a:cubicBezTo>
                  <a:cubicBezTo>
                    <a:pt x="1401" y="602"/>
                    <a:pt x="1402" y="609"/>
                    <a:pt x="1404" y="617"/>
                  </a:cubicBezTo>
                  <a:cubicBezTo>
                    <a:pt x="1404" y="620"/>
                    <a:pt x="1405" y="623"/>
                    <a:pt x="1405" y="627"/>
                  </a:cubicBezTo>
                  <a:cubicBezTo>
                    <a:pt x="1418" y="695"/>
                    <a:pt x="1437" y="766"/>
                    <a:pt x="1447" y="831"/>
                  </a:cubicBezTo>
                  <a:cubicBezTo>
                    <a:pt x="1448" y="841"/>
                    <a:pt x="1449" y="852"/>
                    <a:pt x="1450" y="862"/>
                  </a:cubicBezTo>
                  <a:cubicBezTo>
                    <a:pt x="1451" y="864"/>
                    <a:pt x="1451" y="866"/>
                    <a:pt x="1452" y="867"/>
                  </a:cubicBezTo>
                  <a:cubicBezTo>
                    <a:pt x="1451" y="855"/>
                    <a:pt x="1450" y="843"/>
                    <a:pt x="1448" y="831"/>
                  </a:cubicBezTo>
                  <a:cubicBezTo>
                    <a:pt x="1438" y="762"/>
                    <a:pt x="1417" y="688"/>
                    <a:pt x="1405" y="617"/>
                  </a:cubicBezTo>
                  <a:cubicBezTo>
                    <a:pt x="1404" y="613"/>
                    <a:pt x="1403" y="610"/>
                    <a:pt x="1403" y="606"/>
                  </a:cubicBezTo>
                  <a:cubicBezTo>
                    <a:pt x="1402" y="601"/>
                    <a:pt x="1401" y="595"/>
                    <a:pt x="1400" y="590"/>
                  </a:cubicBezTo>
                  <a:cubicBezTo>
                    <a:pt x="1400" y="588"/>
                    <a:pt x="1400" y="586"/>
                    <a:pt x="1399" y="585"/>
                  </a:cubicBezTo>
                  <a:cubicBezTo>
                    <a:pt x="1398" y="577"/>
                    <a:pt x="1397" y="569"/>
                    <a:pt x="1396" y="562"/>
                  </a:cubicBezTo>
                  <a:cubicBezTo>
                    <a:pt x="1396" y="561"/>
                    <a:pt x="1396" y="560"/>
                    <a:pt x="1396" y="558"/>
                  </a:cubicBezTo>
                  <a:cubicBezTo>
                    <a:pt x="1395" y="550"/>
                    <a:pt x="1394" y="541"/>
                    <a:pt x="1394" y="533"/>
                  </a:cubicBezTo>
                  <a:cubicBezTo>
                    <a:pt x="1394" y="532"/>
                    <a:pt x="1394" y="531"/>
                    <a:pt x="1394" y="530"/>
                  </a:cubicBezTo>
                  <a:cubicBezTo>
                    <a:pt x="1393" y="523"/>
                    <a:pt x="1393" y="516"/>
                    <a:pt x="1393" y="509"/>
                  </a:cubicBezTo>
                  <a:cubicBezTo>
                    <a:pt x="1393" y="507"/>
                    <a:pt x="1393" y="505"/>
                    <a:pt x="1393" y="503"/>
                  </a:cubicBezTo>
                  <a:cubicBezTo>
                    <a:pt x="1393" y="502"/>
                    <a:pt x="1393" y="501"/>
                    <a:pt x="1393" y="500"/>
                  </a:cubicBezTo>
                  <a:cubicBezTo>
                    <a:pt x="1394" y="489"/>
                    <a:pt x="1394" y="479"/>
                    <a:pt x="1396" y="469"/>
                  </a:cubicBezTo>
                  <a:cubicBezTo>
                    <a:pt x="1396" y="468"/>
                    <a:pt x="1396" y="467"/>
                    <a:pt x="1396" y="466"/>
                  </a:cubicBezTo>
                  <a:cubicBezTo>
                    <a:pt x="1398" y="453"/>
                    <a:pt x="1401" y="439"/>
                    <a:pt x="1405" y="427"/>
                  </a:cubicBezTo>
                  <a:cubicBezTo>
                    <a:pt x="1406" y="426"/>
                    <a:pt x="1406" y="425"/>
                    <a:pt x="1406" y="424"/>
                  </a:cubicBezTo>
                  <a:cubicBezTo>
                    <a:pt x="1415" y="400"/>
                    <a:pt x="1429" y="379"/>
                    <a:pt x="1449" y="360"/>
                  </a:cubicBezTo>
                  <a:cubicBezTo>
                    <a:pt x="1450" y="360"/>
                    <a:pt x="1450" y="359"/>
                    <a:pt x="1451" y="359"/>
                  </a:cubicBezTo>
                  <a:cubicBezTo>
                    <a:pt x="1452" y="358"/>
                    <a:pt x="1453" y="357"/>
                    <a:pt x="1454" y="356"/>
                  </a:cubicBezTo>
                  <a:cubicBezTo>
                    <a:pt x="1457" y="354"/>
                    <a:pt x="1459" y="351"/>
                    <a:pt x="1462" y="349"/>
                  </a:cubicBezTo>
                  <a:cubicBezTo>
                    <a:pt x="1464" y="347"/>
                    <a:pt x="1465" y="346"/>
                    <a:pt x="1466" y="345"/>
                  </a:cubicBezTo>
                  <a:cubicBezTo>
                    <a:pt x="1469" y="342"/>
                    <a:pt x="1471" y="340"/>
                    <a:pt x="1474" y="338"/>
                  </a:cubicBezTo>
                  <a:cubicBezTo>
                    <a:pt x="1474" y="337"/>
                    <a:pt x="1475" y="337"/>
                    <a:pt x="1476" y="336"/>
                  </a:cubicBezTo>
                  <a:cubicBezTo>
                    <a:pt x="1477" y="335"/>
                    <a:pt x="1478" y="333"/>
                    <a:pt x="1480" y="332"/>
                  </a:cubicBezTo>
                  <a:cubicBezTo>
                    <a:pt x="1483" y="329"/>
                    <a:pt x="1485" y="327"/>
                    <a:pt x="1488" y="324"/>
                  </a:cubicBezTo>
                  <a:cubicBezTo>
                    <a:pt x="1490" y="322"/>
                    <a:pt x="1491" y="321"/>
                    <a:pt x="1493" y="319"/>
                  </a:cubicBezTo>
                  <a:cubicBezTo>
                    <a:pt x="1494" y="318"/>
                    <a:pt x="1495" y="317"/>
                    <a:pt x="1496" y="316"/>
                  </a:cubicBezTo>
                  <a:cubicBezTo>
                    <a:pt x="1496" y="316"/>
                    <a:pt x="1496" y="315"/>
                    <a:pt x="1497" y="315"/>
                  </a:cubicBezTo>
                  <a:cubicBezTo>
                    <a:pt x="1499" y="313"/>
                    <a:pt x="1501" y="311"/>
                    <a:pt x="1503" y="309"/>
                  </a:cubicBezTo>
                  <a:cubicBezTo>
                    <a:pt x="1504" y="308"/>
                    <a:pt x="1504" y="307"/>
                    <a:pt x="1505" y="306"/>
                  </a:cubicBezTo>
                  <a:cubicBezTo>
                    <a:pt x="1511" y="300"/>
                    <a:pt x="1516" y="294"/>
                    <a:pt x="1521" y="288"/>
                  </a:cubicBezTo>
                  <a:cubicBezTo>
                    <a:pt x="1521" y="288"/>
                    <a:pt x="1521" y="287"/>
                    <a:pt x="1521" y="287"/>
                  </a:cubicBezTo>
                  <a:cubicBezTo>
                    <a:pt x="1523" y="285"/>
                    <a:pt x="1525" y="283"/>
                    <a:pt x="1526" y="281"/>
                  </a:cubicBezTo>
                  <a:cubicBezTo>
                    <a:pt x="1527" y="280"/>
                    <a:pt x="1528" y="279"/>
                    <a:pt x="1529" y="278"/>
                  </a:cubicBezTo>
                  <a:cubicBezTo>
                    <a:pt x="1530" y="276"/>
                    <a:pt x="1531" y="274"/>
                    <a:pt x="1533" y="272"/>
                  </a:cubicBezTo>
                  <a:cubicBezTo>
                    <a:pt x="1533" y="272"/>
                    <a:pt x="1534" y="271"/>
                    <a:pt x="1534" y="270"/>
                  </a:cubicBezTo>
                  <a:cubicBezTo>
                    <a:pt x="1536" y="268"/>
                    <a:pt x="1537" y="266"/>
                    <a:pt x="1539" y="264"/>
                  </a:cubicBezTo>
                  <a:cubicBezTo>
                    <a:pt x="1539" y="263"/>
                    <a:pt x="1540" y="263"/>
                    <a:pt x="1540" y="262"/>
                  </a:cubicBezTo>
                  <a:cubicBezTo>
                    <a:pt x="1542" y="260"/>
                    <a:pt x="1543" y="258"/>
                    <a:pt x="1544" y="256"/>
                  </a:cubicBezTo>
                  <a:cubicBezTo>
                    <a:pt x="1546" y="253"/>
                    <a:pt x="1548" y="250"/>
                    <a:pt x="1550" y="247"/>
                  </a:cubicBezTo>
                  <a:cubicBezTo>
                    <a:pt x="1551" y="246"/>
                    <a:pt x="1552" y="244"/>
                    <a:pt x="1553" y="243"/>
                  </a:cubicBezTo>
                  <a:cubicBezTo>
                    <a:pt x="1556" y="238"/>
                    <a:pt x="1558" y="232"/>
                    <a:pt x="1561" y="227"/>
                  </a:cubicBezTo>
                  <a:cubicBezTo>
                    <a:pt x="1561" y="226"/>
                    <a:pt x="1562" y="225"/>
                    <a:pt x="1562" y="224"/>
                  </a:cubicBezTo>
                  <a:cubicBezTo>
                    <a:pt x="1568" y="211"/>
                    <a:pt x="1573" y="199"/>
                    <a:pt x="1575" y="186"/>
                  </a:cubicBezTo>
                  <a:cubicBezTo>
                    <a:pt x="1575" y="186"/>
                    <a:pt x="1575" y="185"/>
                    <a:pt x="1575" y="185"/>
                  </a:cubicBezTo>
                  <a:cubicBezTo>
                    <a:pt x="1576" y="181"/>
                    <a:pt x="1577" y="177"/>
                    <a:pt x="1577" y="174"/>
                  </a:cubicBezTo>
                  <a:cubicBezTo>
                    <a:pt x="1577" y="173"/>
                    <a:pt x="1577" y="173"/>
                    <a:pt x="1577" y="172"/>
                  </a:cubicBezTo>
                  <a:cubicBezTo>
                    <a:pt x="1577" y="169"/>
                    <a:pt x="1577" y="166"/>
                    <a:pt x="1577" y="163"/>
                  </a:cubicBezTo>
                  <a:cubicBezTo>
                    <a:pt x="1577" y="162"/>
                    <a:pt x="1577" y="160"/>
                    <a:pt x="1577" y="159"/>
                  </a:cubicBezTo>
                  <a:cubicBezTo>
                    <a:pt x="1577" y="158"/>
                    <a:pt x="1577" y="158"/>
                    <a:pt x="1577" y="157"/>
                  </a:cubicBezTo>
                  <a:cubicBezTo>
                    <a:pt x="1576" y="141"/>
                    <a:pt x="1571" y="125"/>
                    <a:pt x="1562" y="110"/>
                  </a:cubicBezTo>
                  <a:cubicBezTo>
                    <a:pt x="1562" y="109"/>
                    <a:pt x="1561" y="109"/>
                    <a:pt x="1561" y="109"/>
                  </a:cubicBezTo>
                  <a:cubicBezTo>
                    <a:pt x="1552" y="94"/>
                    <a:pt x="1538" y="80"/>
                    <a:pt x="1519" y="67"/>
                  </a:cubicBezTo>
                  <a:cubicBezTo>
                    <a:pt x="1518" y="67"/>
                    <a:pt x="1518" y="66"/>
                    <a:pt x="1518" y="66"/>
                  </a:cubicBezTo>
                  <a:cubicBezTo>
                    <a:pt x="1499" y="54"/>
                    <a:pt x="1476" y="42"/>
                    <a:pt x="1447" y="32"/>
                  </a:cubicBezTo>
                  <a:cubicBezTo>
                    <a:pt x="1447" y="32"/>
                    <a:pt x="1446" y="32"/>
                    <a:pt x="1446" y="31"/>
                  </a:cubicBezTo>
                  <a:cubicBezTo>
                    <a:pt x="1420" y="22"/>
                    <a:pt x="1390" y="14"/>
                    <a:pt x="1355" y="7"/>
                  </a:cubicBezTo>
                  <a:cubicBezTo>
                    <a:pt x="1353" y="6"/>
                    <a:pt x="1352" y="6"/>
                    <a:pt x="1350" y="6"/>
                  </a:cubicBezTo>
                  <a:cubicBezTo>
                    <a:pt x="1350" y="6"/>
                    <a:pt x="1349" y="6"/>
                    <a:pt x="1349" y="6"/>
                  </a:cubicBezTo>
                  <a:cubicBezTo>
                    <a:pt x="1329" y="2"/>
                    <a:pt x="1309" y="0"/>
                    <a:pt x="1291" y="0"/>
                  </a:cubicBezTo>
                  <a:moveTo>
                    <a:pt x="1155" y="44"/>
                  </a:moveTo>
                  <a:cubicBezTo>
                    <a:pt x="1154" y="45"/>
                    <a:pt x="1153" y="45"/>
                    <a:pt x="1152" y="45"/>
                  </a:cubicBezTo>
                  <a:cubicBezTo>
                    <a:pt x="1151" y="46"/>
                    <a:pt x="1150" y="47"/>
                    <a:pt x="1149" y="48"/>
                  </a:cubicBezTo>
                  <a:cubicBezTo>
                    <a:pt x="1142" y="53"/>
                    <a:pt x="1135" y="59"/>
                    <a:pt x="1129" y="65"/>
                  </a:cubicBezTo>
                  <a:cubicBezTo>
                    <a:pt x="1129" y="65"/>
                    <a:pt x="1130" y="65"/>
                    <a:pt x="1130" y="65"/>
                  </a:cubicBezTo>
                  <a:cubicBezTo>
                    <a:pt x="1135" y="60"/>
                    <a:pt x="1140" y="56"/>
                    <a:pt x="1144" y="52"/>
                  </a:cubicBezTo>
                  <a:cubicBezTo>
                    <a:pt x="1146" y="51"/>
                    <a:pt x="1148" y="50"/>
                    <a:pt x="1149" y="48"/>
                  </a:cubicBezTo>
                  <a:cubicBezTo>
                    <a:pt x="1151" y="47"/>
                    <a:pt x="1153" y="46"/>
                    <a:pt x="1155" y="44"/>
                  </a:cubicBezTo>
                  <a:moveTo>
                    <a:pt x="1129" y="66"/>
                  </a:moveTo>
                  <a:cubicBezTo>
                    <a:pt x="1129" y="66"/>
                    <a:pt x="1128" y="66"/>
                    <a:pt x="1128" y="66"/>
                  </a:cubicBezTo>
                  <a:cubicBezTo>
                    <a:pt x="1128" y="66"/>
                    <a:pt x="1128" y="66"/>
                    <a:pt x="1128" y="66"/>
                  </a:cubicBezTo>
                  <a:cubicBezTo>
                    <a:pt x="1126" y="67"/>
                    <a:pt x="1125" y="68"/>
                    <a:pt x="1124" y="70"/>
                  </a:cubicBezTo>
                  <a:cubicBezTo>
                    <a:pt x="1123" y="71"/>
                    <a:pt x="1121" y="73"/>
                    <a:pt x="1120" y="74"/>
                  </a:cubicBezTo>
                  <a:cubicBezTo>
                    <a:pt x="1113" y="81"/>
                    <a:pt x="1107" y="88"/>
                    <a:pt x="1102" y="95"/>
                  </a:cubicBezTo>
                  <a:cubicBezTo>
                    <a:pt x="1102" y="95"/>
                    <a:pt x="1103" y="95"/>
                    <a:pt x="1103" y="95"/>
                  </a:cubicBezTo>
                  <a:cubicBezTo>
                    <a:pt x="1107" y="90"/>
                    <a:pt x="1111" y="85"/>
                    <a:pt x="1115" y="80"/>
                  </a:cubicBezTo>
                  <a:cubicBezTo>
                    <a:pt x="1117" y="78"/>
                    <a:pt x="1119" y="77"/>
                    <a:pt x="1120" y="75"/>
                  </a:cubicBezTo>
                  <a:cubicBezTo>
                    <a:pt x="1123" y="72"/>
                    <a:pt x="1125" y="70"/>
                    <a:pt x="1127" y="68"/>
                  </a:cubicBezTo>
                  <a:cubicBezTo>
                    <a:pt x="1128" y="67"/>
                    <a:pt x="1128" y="67"/>
                    <a:pt x="1129" y="67"/>
                  </a:cubicBezTo>
                  <a:cubicBezTo>
                    <a:pt x="1129" y="66"/>
                    <a:pt x="1129" y="66"/>
                    <a:pt x="1129" y="66"/>
                  </a:cubicBezTo>
                  <a:moveTo>
                    <a:pt x="1101" y="96"/>
                  </a:moveTo>
                  <a:cubicBezTo>
                    <a:pt x="1093" y="106"/>
                    <a:pt x="1085" y="117"/>
                    <a:pt x="1078" y="129"/>
                  </a:cubicBezTo>
                  <a:cubicBezTo>
                    <a:pt x="1078" y="129"/>
                    <a:pt x="1079" y="129"/>
                    <a:pt x="1079" y="129"/>
                  </a:cubicBezTo>
                  <a:cubicBezTo>
                    <a:pt x="1086" y="117"/>
                    <a:pt x="1094" y="106"/>
                    <a:pt x="1102" y="96"/>
                  </a:cubicBezTo>
                  <a:cubicBezTo>
                    <a:pt x="1102" y="96"/>
                    <a:pt x="1101" y="96"/>
                    <a:pt x="1101" y="96"/>
                  </a:cubicBezTo>
                  <a:moveTo>
                    <a:pt x="1077" y="130"/>
                  </a:moveTo>
                  <a:cubicBezTo>
                    <a:pt x="1074" y="135"/>
                    <a:pt x="1070" y="141"/>
                    <a:pt x="1067" y="147"/>
                  </a:cubicBezTo>
                  <a:cubicBezTo>
                    <a:pt x="1066" y="149"/>
                    <a:pt x="1065" y="151"/>
                    <a:pt x="1064" y="153"/>
                  </a:cubicBezTo>
                  <a:cubicBezTo>
                    <a:pt x="1064" y="154"/>
                    <a:pt x="1063" y="155"/>
                    <a:pt x="1063" y="155"/>
                  </a:cubicBezTo>
                  <a:cubicBezTo>
                    <a:pt x="1063" y="155"/>
                    <a:pt x="1064" y="155"/>
                    <a:pt x="1064" y="155"/>
                  </a:cubicBezTo>
                  <a:cubicBezTo>
                    <a:pt x="1065" y="153"/>
                    <a:pt x="1067" y="150"/>
                    <a:pt x="1068" y="148"/>
                  </a:cubicBezTo>
                  <a:cubicBezTo>
                    <a:pt x="1069" y="145"/>
                    <a:pt x="1071" y="143"/>
                    <a:pt x="1072" y="141"/>
                  </a:cubicBezTo>
                  <a:cubicBezTo>
                    <a:pt x="1074" y="137"/>
                    <a:pt x="1076" y="133"/>
                    <a:pt x="1079" y="130"/>
                  </a:cubicBezTo>
                  <a:cubicBezTo>
                    <a:pt x="1078" y="130"/>
                    <a:pt x="1078" y="130"/>
                    <a:pt x="1077" y="130"/>
                  </a:cubicBezTo>
                  <a:moveTo>
                    <a:pt x="1062" y="156"/>
                  </a:moveTo>
                  <a:cubicBezTo>
                    <a:pt x="1057" y="167"/>
                    <a:pt x="1052" y="178"/>
                    <a:pt x="1047" y="189"/>
                  </a:cubicBezTo>
                  <a:cubicBezTo>
                    <a:pt x="1047" y="189"/>
                    <a:pt x="1047" y="189"/>
                    <a:pt x="1048" y="189"/>
                  </a:cubicBezTo>
                  <a:cubicBezTo>
                    <a:pt x="1053" y="178"/>
                    <a:pt x="1058" y="167"/>
                    <a:pt x="1064" y="156"/>
                  </a:cubicBezTo>
                  <a:cubicBezTo>
                    <a:pt x="1063" y="156"/>
                    <a:pt x="1063" y="156"/>
                    <a:pt x="1062" y="156"/>
                  </a:cubicBezTo>
                  <a:moveTo>
                    <a:pt x="1046" y="190"/>
                  </a:moveTo>
                  <a:cubicBezTo>
                    <a:pt x="1044" y="194"/>
                    <a:pt x="1042" y="199"/>
                    <a:pt x="1040" y="204"/>
                  </a:cubicBezTo>
                  <a:cubicBezTo>
                    <a:pt x="1040" y="205"/>
                    <a:pt x="1040" y="205"/>
                    <a:pt x="1040" y="205"/>
                  </a:cubicBezTo>
                  <a:cubicBezTo>
                    <a:pt x="1040" y="205"/>
                    <a:pt x="1040" y="205"/>
                    <a:pt x="1040" y="206"/>
                  </a:cubicBezTo>
                  <a:cubicBezTo>
                    <a:pt x="1039" y="206"/>
                    <a:pt x="1039" y="207"/>
                    <a:pt x="1039" y="207"/>
                  </a:cubicBezTo>
                  <a:cubicBezTo>
                    <a:pt x="1036" y="214"/>
                    <a:pt x="1034" y="220"/>
                    <a:pt x="1032" y="226"/>
                  </a:cubicBezTo>
                  <a:cubicBezTo>
                    <a:pt x="1032" y="226"/>
                    <a:pt x="1032" y="226"/>
                    <a:pt x="1033" y="226"/>
                  </a:cubicBezTo>
                  <a:cubicBezTo>
                    <a:pt x="1035" y="219"/>
                    <a:pt x="1038" y="213"/>
                    <a:pt x="1040" y="206"/>
                  </a:cubicBezTo>
                  <a:cubicBezTo>
                    <a:pt x="1041" y="206"/>
                    <a:pt x="1041" y="205"/>
                    <a:pt x="1041" y="205"/>
                  </a:cubicBezTo>
                  <a:cubicBezTo>
                    <a:pt x="1041" y="205"/>
                    <a:pt x="1041" y="204"/>
                    <a:pt x="1041" y="204"/>
                  </a:cubicBezTo>
                  <a:cubicBezTo>
                    <a:pt x="1043" y="199"/>
                    <a:pt x="1045" y="194"/>
                    <a:pt x="1047" y="190"/>
                  </a:cubicBezTo>
                  <a:cubicBezTo>
                    <a:pt x="1047" y="190"/>
                    <a:pt x="1047" y="190"/>
                    <a:pt x="1046" y="190"/>
                  </a:cubicBezTo>
                  <a:moveTo>
                    <a:pt x="1031" y="227"/>
                  </a:moveTo>
                  <a:cubicBezTo>
                    <a:pt x="1031" y="228"/>
                    <a:pt x="1031" y="229"/>
                    <a:pt x="1030" y="230"/>
                  </a:cubicBezTo>
                  <a:cubicBezTo>
                    <a:pt x="1030" y="230"/>
                    <a:pt x="1030" y="231"/>
                    <a:pt x="1030" y="231"/>
                  </a:cubicBezTo>
                  <a:cubicBezTo>
                    <a:pt x="1027" y="239"/>
                    <a:pt x="1024" y="247"/>
                    <a:pt x="1022" y="254"/>
                  </a:cubicBezTo>
                  <a:cubicBezTo>
                    <a:pt x="1022" y="255"/>
                    <a:pt x="1022" y="255"/>
                    <a:pt x="1022" y="255"/>
                  </a:cubicBezTo>
                  <a:cubicBezTo>
                    <a:pt x="1020" y="262"/>
                    <a:pt x="1018" y="268"/>
                    <a:pt x="1016" y="274"/>
                  </a:cubicBezTo>
                  <a:cubicBezTo>
                    <a:pt x="1016" y="274"/>
                    <a:pt x="1016" y="274"/>
                    <a:pt x="1017" y="274"/>
                  </a:cubicBezTo>
                  <a:cubicBezTo>
                    <a:pt x="1019" y="268"/>
                    <a:pt x="1021" y="262"/>
                    <a:pt x="1023" y="255"/>
                  </a:cubicBezTo>
                  <a:cubicBezTo>
                    <a:pt x="1023" y="255"/>
                    <a:pt x="1023" y="254"/>
                    <a:pt x="1023" y="254"/>
                  </a:cubicBezTo>
                  <a:cubicBezTo>
                    <a:pt x="1026" y="246"/>
                    <a:pt x="1028" y="239"/>
                    <a:pt x="1031" y="231"/>
                  </a:cubicBezTo>
                  <a:cubicBezTo>
                    <a:pt x="1031" y="231"/>
                    <a:pt x="1031" y="230"/>
                    <a:pt x="1031" y="230"/>
                  </a:cubicBezTo>
                  <a:cubicBezTo>
                    <a:pt x="1032" y="229"/>
                    <a:pt x="1032" y="228"/>
                    <a:pt x="1032" y="227"/>
                  </a:cubicBezTo>
                  <a:cubicBezTo>
                    <a:pt x="1032" y="227"/>
                    <a:pt x="1032" y="227"/>
                    <a:pt x="1031" y="227"/>
                  </a:cubicBezTo>
                  <a:moveTo>
                    <a:pt x="1015" y="275"/>
                  </a:moveTo>
                  <a:cubicBezTo>
                    <a:pt x="1013" y="282"/>
                    <a:pt x="1011" y="289"/>
                    <a:pt x="1010" y="296"/>
                  </a:cubicBezTo>
                  <a:cubicBezTo>
                    <a:pt x="1009" y="296"/>
                    <a:pt x="1009" y="296"/>
                    <a:pt x="1009" y="297"/>
                  </a:cubicBezTo>
                  <a:cubicBezTo>
                    <a:pt x="1007" y="305"/>
                    <a:pt x="1005" y="312"/>
                    <a:pt x="1003" y="320"/>
                  </a:cubicBezTo>
                  <a:cubicBezTo>
                    <a:pt x="1003" y="320"/>
                    <a:pt x="1003" y="321"/>
                    <a:pt x="1003" y="321"/>
                  </a:cubicBezTo>
                  <a:cubicBezTo>
                    <a:pt x="1003" y="322"/>
                    <a:pt x="1002" y="323"/>
                    <a:pt x="1002" y="323"/>
                  </a:cubicBezTo>
                  <a:cubicBezTo>
                    <a:pt x="1003" y="324"/>
                    <a:pt x="1003" y="324"/>
                    <a:pt x="1003" y="324"/>
                  </a:cubicBezTo>
                  <a:cubicBezTo>
                    <a:pt x="1003" y="323"/>
                    <a:pt x="1004" y="322"/>
                    <a:pt x="1004" y="321"/>
                  </a:cubicBezTo>
                  <a:cubicBezTo>
                    <a:pt x="1004" y="320"/>
                    <a:pt x="1004" y="320"/>
                    <a:pt x="1004" y="320"/>
                  </a:cubicBezTo>
                  <a:cubicBezTo>
                    <a:pt x="1006" y="312"/>
                    <a:pt x="1008" y="304"/>
                    <a:pt x="1010" y="297"/>
                  </a:cubicBezTo>
                  <a:cubicBezTo>
                    <a:pt x="1010" y="296"/>
                    <a:pt x="1010" y="296"/>
                    <a:pt x="1011" y="296"/>
                  </a:cubicBezTo>
                  <a:cubicBezTo>
                    <a:pt x="1012" y="289"/>
                    <a:pt x="1014" y="282"/>
                    <a:pt x="1016" y="275"/>
                  </a:cubicBezTo>
                  <a:cubicBezTo>
                    <a:pt x="1016" y="275"/>
                    <a:pt x="1016" y="275"/>
                    <a:pt x="1015" y="275"/>
                  </a:cubicBezTo>
                  <a:moveTo>
                    <a:pt x="1002" y="324"/>
                  </a:moveTo>
                  <a:cubicBezTo>
                    <a:pt x="1001" y="330"/>
                    <a:pt x="999" y="336"/>
                    <a:pt x="998" y="341"/>
                  </a:cubicBezTo>
                  <a:cubicBezTo>
                    <a:pt x="998" y="342"/>
                    <a:pt x="998" y="342"/>
                    <a:pt x="998" y="342"/>
                  </a:cubicBezTo>
                  <a:cubicBezTo>
                    <a:pt x="997" y="345"/>
                    <a:pt x="997" y="347"/>
                    <a:pt x="996" y="349"/>
                  </a:cubicBezTo>
                  <a:cubicBezTo>
                    <a:pt x="996" y="349"/>
                    <a:pt x="996" y="350"/>
                    <a:pt x="996" y="351"/>
                  </a:cubicBezTo>
                  <a:cubicBezTo>
                    <a:pt x="995" y="354"/>
                    <a:pt x="994" y="357"/>
                    <a:pt x="993" y="360"/>
                  </a:cubicBezTo>
                  <a:cubicBezTo>
                    <a:pt x="993" y="361"/>
                    <a:pt x="993" y="361"/>
                    <a:pt x="993" y="362"/>
                  </a:cubicBezTo>
                  <a:cubicBezTo>
                    <a:pt x="992" y="367"/>
                    <a:pt x="991" y="372"/>
                    <a:pt x="989" y="378"/>
                  </a:cubicBezTo>
                  <a:cubicBezTo>
                    <a:pt x="989" y="378"/>
                    <a:pt x="989" y="378"/>
                    <a:pt x="989" y="379"/>
                  </a:cubicBezTo>
                  <a:cubicBezTo>
                    <a:pt x="988" y="384"/>
                    <a:pt x="987" y="389"/>
                    <a:pt x="986" y="393"/>
                  </a:cubicBezTo>
                  <a:cubicBezTo>
                    <a:pt x="986" y="393"/>
                    <a:pt x="986" y="394"/>
                    <a:pt x="986" y="394"/>
                  </a:cubicBezTo>
                  <a:cubicBezTo>
                    <a:pt x="985" y="397"/>
                    <a:pt x="985" y="399"/>
                    <a:pt x="984" y="401"/>
                  </a:cubicBezTo>
                  <a:cubicBezTo>
                    <a:pt x="984" y="403"/>
                    <a:pt x="983" y="405"/>
                    <a:pt x="983" y="406"/>
                  </a:cubicBezTo>
                  <a:cubicBezTo>
                    <a:pt x="983" y="407"/>
                    <a:pt x="982" y="407"/>
                    <a:pt x="982" y="408"/>
                  </a:cubicBezTo>
                  <a:cubicBezTo>
                    <a:pt x="981" y="411"/>
                    <a:pt x="980" y="414"/>
                    <a:pt x="979" y="417"/>
                  </a:cubicBezTo>
                  <a:cubicBezTo>
                    <a:pt x="979" y="418"/>
                    <a:pt x="978" y="418"/>
                    <a:pt x="978" y="418"/>
                  </a:cubicBezTo>
                  <a:cubicBezTo>
                    <a:pt x="978" y="419"/>
                    <a:pt x="977" y="420"/>
                    <a:pt x="977" y="421"/>
                  </a:cubicBezTo>
                  <a:cubicBezTo>
                    <a:pt x="977" y="421"/>
                    <a:pt x="977" y="422"/>
                    <a:pt x="976" y="422"/>
                  </a:cubicBezTo>
                  <a:cubicBezTo>
                    <a:pt x="976" y="423"/>
                    <a:pt x="976" y="424"/>
                    <a:pt x="976" y="425"/>
                  </a:cubicBezTo>
                  <a:cubicBezTo>
                    <a:pt x="977" y="423"/>
                    <a:pt x="978" y="421"/>
                    <a:pt x="979" y="419"/>
                  </a:cubicBezTo>
                  <a:cubicBezTo>
                    <a:pt x="980" y="418"/>
                    <a:pt x="980" y="417"/>
                    <a:pt x="980" y="416"/>
                  </a:cubicBezTo>
                  <a:cubicBezTo>
                    <a:pt x="982" y="413"/>
                    <a:pt x="983" y="410"/>
                    <a:pt x="984" y="407"/>
                  </a:cubicBezTo>
                  <a:cubicBezTo>
                    <a:pt x="984" y="406"/>
                    <a:pt x="984" y="406"/>
                    <a:pt x="984" y="405"/>
                  </a:cubicBezTo>
                  <a:cubicBezTo>
                    <a:pt x="984" y="404"/>
                    <a:pt x="985" y="403"/>
                    <a:pt x="985" y="401"/>
                  </a:cubicBezTo>
                  <a:cubicBezTo>
                    <a:pt x="986" y="399"/>
                    <a:pt x="986" y="396"/>
                    <a:pt x="987" y="394"/>
                  </a:cubicBezTo>
                  <a:cubicBezTo>
                    <a:pt x="987" y="393"/>
                    <a:pt x="987" y="393"/>
                    <a:pt x="987" y="392"/>
                  </a:cubicBezTo>
                  <a:cubicBezTo>
                    <a:pt x="988" y="388"/>
                    <a:pt x="989" y="383"/>
                    <a:pt x="990" y="378"/>
                  </a:cubicBezTo>
                  <a:cubicBezTo>
                    <a:pt x="990" y="378"/>
                    <a:pt x="991" y="378"/>
                    <a:pt x="991" y="377"/>
                  </a:cubicBezTo>
                  <a:cubicBezTo>
                    <a:pt x="992" y="372"/>
                    <a:pt x="993" y="367"/>
                    <a:pt x="994" y="361"/>
                  </a:cubicBezTo>
                  <a:cubicBezTo>
                    <a:pt x="994" y="361"/>
                    <a:pt x="994" y="361"/>
                    <a:pt x="994" y="360"/>
                  </a:cubicBezTo>
                  <a:cubicBezTo>
                    <a:pt x="995" y="357"/>
                    <a:pt x="996" y="353"/>
                    <a:pt x="997" y="349"/>
                  </a:cubicBezTo>
                  <a:cubicBezTo>
                    <a:pt x="997" y="349"/>
                    <a:pt x="997" y="348"/>
                    <a:pt x="997" y="347"/>
                  </a:cubicBezTo>
                  <a:cubicBezTo>
                    <a:pt x="998" y="346"/>
                    <a:pt x="998" y="344"/>
                    <a:pt x="999" y="342"/>
                  </a:cubicBezTo>
                  <a:cubicBezTo>
                    <a:pt x="999" y="342"/>
                    <a:pt x="999" y="341"/>
                    <a:pt x="999" y="341"/>
                  </a:cubicBezTo>
                  <a:cubicBezTo>
                    <a:pt x="1000" y="336"/>
                    <a:pt x="1001" y="331"/>
                    <a:pt x="1003" y="325"/>
                  </a:cubicBezTo>
                  <a:cubicBezTo>
                    <a:pt x="1003" y="325"/>
                    <a:pt x="1002" y="325"/>
                    <a:pt x="1002" y="324"/>
                  </a:cubicBezTo>
                  <a:moveTo>
                    <a:pt x="850" y="353"/>
                  </a:moveTo>
                  <a:cubicBezTo>
                    <a:pt x="847" y="353"/>
                    <a:pt x="844" y="353"/>
                    <a:pt x="841" y="353"/>
                  </a:cubicBezTo>
                  <a:cubicBezTo>
                    <a:pt x="841" y="354"/>
                    <a:pt x="841" y="354"/>
                    <a:pt x="841" y="354"/>
                  </a:cubicBezTo>
                  <a:cubicBezTo>
                    <a:pt x="844" y="354"/>
                    <a:pt x="847" y="354"/>
                    <a:pt x="850" y="354"/>
                  </a:cubicBezTo>
                  <a:cubicBezTo>
                    <a:pt x="851" y="354"/>
                    <a:pt x="851" y="354"/>
                    <a:pt x="852" y="354"/>
                  </a:cubicBezTo>
                  <a:cubicBezTo>
                    <a:pt x="852" y="354"/>
                    <a:pt x="852" y="354"/>
                    <a:pt x="853" y="354"/>
                  </a:cubicBezTo>
                  <a:cubicBezTo>
                    <a:pt x="856" y="354"/>
                    <a:pt x="858" y="354"/>
                    <a:pt x="861" y="355"/>
                  </a:cubicBezTo>
                  <a:cubicBezTo>
                    <a:pt x="861" y="355"/>
                    <a:pt x="862" y="355"/>
                    <a:pt x="862" y="355"/>
                  </a:cubicBezTo>
                  <a:cubicBezTo>
                    <a:pt x="865" y="355"/>
                    <a:pt x="868" y="356"/>
                    <a:pt x="870" y="357"/>
                  </a:cubicBezTo>
                  <a:cubicBezTo>
                    <a:pt x="870" y="357"/>
                    <a:pt x="871" y="357"/>
                    <a:pt x="871" y="357"/>
                  </a:cubicBezTo>
                  <a:cubicBezTo>
                    <a:pt x="874" y="359"/>
                    <a:pt x="876" y="360"/>
                    <a:pt x="878" y="361"/>
                  </a:cubicBezTo>
                  <a:cubicBezTo>
                    <a:pt x="878" y="362"/>
                    <a:pt x="879" y="362"/>
                    <a:pt x="879" y="362"/>
                  </a:cubicBezTo>
                  <a:cubicBezTo>
                    <a:pt x="884" y="366"/>
                    <a:pt x="888" y="372"/>
                    <a:pt x="890" y="380"/>
                  </a:cubicBezTo>
                  <a:cubicBezTo>
                    <a:pt x="890" y="381"/>
                    <a:pt x="890" y="381"/>
                    <a:pt x="890" y="382"/>
                  </a:cubicBezTo>
                  <a:cubicBezTo>
                    <a:pt x="891" y="384"/>
                    <a:pt x="891" y="388"/>
                    <a:pt x="891" y="391"/>
                  </a:cubicBezTo>
                  <a:cubicBezTo>
                    <a:pt x="891" y="392"/>
                    <a:pt x="891" y="392"/>
                    <a:pt x="891" y="393"/>
                  </a:cubicBezTo>
                  <a:cubicBezTo>
                    <a:pt x="891" y="393"/>
                    <a:pt x="891" y="393"/>
                    <a:pt x="891" y="393"/>
                  </a:cubicBezTo>
                  <a:cubicBezTo>
                    <a:pt x="891" y="396"/>
                    <a:pt x="891" y="398"/>
                    <a:pt x="892" y="401"/>
                  </a:cubicBezTo>
                  <a:cubicBezTo>
                    <a:pt x="892" y="401"/>
                    <a:pt x="892" y="402"/>
                    <a:pt x="892" y="402"/>
                  </a:cubicBezTo>
                  <a:cubicBezTo>
                    <a:pt x="892" y="401"/>
                    <a:pt x="892" y="400"/>
                    <a:pt x="892" y="399"/>
                  </a:cubicBezTo>
                  <a:cubicBezTo>
                    <a:pt x="892" y="397"/>
                    <a:pt x="892" y="395"/>
                    <a:pt x="892" y="393"/>
                  </a:cubicBezTo>
                  <a:cubicBezTo>
                    <a:pt x="892" y="393"/>
                    <a:pt x="892" y="393"/>
                    <a:pt x="892" y="393"/>
                  </a:cubicBezTo>
                  <a:cubicBezTo>
                    <a:pt x="892" y="391"/>
                    <a:pt x="892" y="391"/>
                    <a:pt x="892" y="391"/>
                  </a:cubicBezTo>
                  <a:cubicBezTo>
                    <a:pt x="892" y="387"/>
                    <a:pt x="891" y="384"/>
                    <a:pt x="891" y="381"/>
                  </a:cubicBezTo>
                  <a:cubicBezTo>
                    <a:pt x="891" y="380"/>
                    <a:pt x="891" y="380"/>
                    <a:pt x="890" y="379"/>
                  </a:cubicBezTo>
                  <a:cubicBezTo>
                    <a:pt x="889" y="371"/>
                    <a:pt x="885" y="366"/>
                    <a:pt x="879" y="361"/>
                  </a:cubicBezTo>
                  <a:cubicBezTo>
                    <a:pt x="879" y="361"/>
                    <a:pt x="879" y="361"/>
                    <a:pt x="879" y="361"/>
                  </a:cubicBezTo>
                  <a:cubicBezTo>
                    <a:pt x="877" y="359"/>
                    <a:pt x="874" y="358"/>
                    <a:pt x="872" y="357"/>
                  </a:cubicBezTo>
                  <a:cubicBezTo>
                    <a:pt x="872" y="357"/>
                    <a:pt x="871" y="356"/>
                    <a:pt x="871" y="356"/>
                  </a:cubicBezTo>
                  <a:cubicBezTo>
                    <a:pt x="868" y="355"/>
                    <a:pt x="866" y="354"/>
                    <a:pt x="863" y="354"/>
                  </a:cubicBezTo>
                  <a:cubicBezTo>
                    <a:pt x="862" y="354"/>
                    <a:pt x="862" y="354"/>
                    <a:pt x="862" y="354"/>
                  </a:cubicBezTo>
                  <a:cubicBezTo>
                    <a:pt x="859" y="353"/>
                    <a:pt x="856" y="353"/>
                    <a:pt x="853" y="353"/>
                  </a:cubicBezTo>
                  <a:cubicBezTo>
                    <a:pt x="853" y="353"/>
                    <a:pt x="853" y="353"/>
                    <a:pt x="852" y="353"/>
                  </a:cubicBezTo>
                  <a:cubicBezTo>
                    <a:pt x="852" y="353"/>
                    <a:pt x="851" y="353"/>
                    <a:pt x="850" y="353"/>
                  </a:cubicBezTo>
                  <a:moveTo>
                    <a:pt x="840" y="353"/>
                  </a:moveTo>
                  <a:cubicBezTo>
                    <a:pt x="840" y="353"/>
                    <a:pt x="839" y="353"/>
                    <a:pt x="839" y="353"/>
                  </a:cubicBezTo>
                  <a:cubicBezTo>
                    <a:pt x="839" y="354"/>
                    <a:pt x="838" y="354"/>
                    <a:pt x="838" y="354"/>
                  </a:cubicBezTo>
                  <a:cubicBezTo>
                    <a:pt x="819" y="356"/>
                    <a:pt x="798" y="365"/>
                    <a:pt x="779" y="377"/>
                  </a:cubicBezTo>
                  <a:cubicBezTo>
                    <a:pt x="779" y="377"/>
                    <a:pt x="779" y="378"/>
                    <a:pt x="779" y="378"/>
                  </a:cubicBezTo>
                  <a:cubicBezTo>
                    <a:pt x="797" y="366"/>
                    <a:pt x="818" y="358"/>
                    <a:pt x="836" y="355"/>
                  </a:cubicBezTo>
                  <a:cubicBezTo>
                    <a:pt x="837" y="355"/>
                    <a:pt x="838" y="355"/>
                    <a:pt x="838" y="355"/>
                  </a:cubicBezTo>
                  <a:cubicBezTo>
                    <a:pt x="839" y="354"/>
                    <a:pt x="839" y="354"/>
                    <a:pt x="840" y="354"/>
                  </a:cubicBezTo>
                  <a:cubicBezTo>
                    <a:pt x="840" y="354"/>
                    <a:pt x="840" y="354"/>
                    <a:pt x="840" y="353"/>
                  </a:cubicBezTo>
                  <a:moveTo>
                    <a:pt x="778" y="378"/>
                  </a:moveTo>
                  <a:cubicBezTo>
                    <a:pt x="776" y="378"/>
                    <a:pt x="775" y="379"/>
                    <a:pt x="774" y="380"/>
                  </a:cubicBezTo>
                  <a:cubicBezTo>
                    <a:pt x="773" y="381"/>
                    <a:pt x="773" y="381"/>
                    <a:pt x="773" y="381"/>
                  </a:cubicBezTo>
                  <a:cubicBezTo>
                    <a:pt x="773" y="381"/>
                    <a:pt x="773" y="381"/>
                    <a:pt x="773" y="381"/>
                  </a:cubicBezTo>
                  <a:cubicBezTo>
                    <a:pt x="772" y="381"/>
                    <a:pt x="772" y="382"/>
                    <a:pt x="771" y="382"/>
                  </a:cubicBezTo>
                  <a:cubicBezTo>
                    <a:pt x="769" y="384"/>
                    <a:pt x="766" y="386"/>
                    <a:pt x="763" y="388"/>
                  </a:cubicBezTo>
                  <a:cubicBezTo>
                    <a:pt x="765" y="388"/>
                    <a:pt x="766" y="387"/>
                    <a:pt x="767" y="387"/>
                  </a:cubicBezTo>
                  <a:cubicBezTo>
                    <a:pt x="768" y="386"/>
                    <a:pt x="770" y="384"/>
                    <a:pt x="771" y="383"/>
                  </a:cubicBezTo>
                  <a:cubicBezTo>
                    <a:pt x="772" y="383"/>
                    <a:pt x="772" y="383"/>
                    <a:pt x="772" y="382"/>
                  </a:cubicBezTo>
                  <a:cubicBezTo>
                    <a:pt x="772" y="382"/>
                    <a:pt x="773" y="382"/>
                    <a:pt x="773" y="382"/>
                  </a:cubicBezTo>
                  <a:cubicBezTo>
                    <a:pt x="773" y="382"/>
                    <a:pt x="773" y="382"/>
                    <a:pt x="774" y="382"/>
                  </a:cubicBezTo>
                  <a:cubicBezTo>
                    <a:pt x="775" y="381"/>
                    <a:pt x="776" y="380"/>
                    <a:pt x="778" y="379"/>
                  </a:cubicBezTo>
                  <a:cubicBezTo>
                    <a:pt x="778" y="378"/>
                    <a:pt x="778" y="378"/>
                    <a:pt x="778" y="378"/>
                  </a:cubicBezTo>
                  <a:moveTo>
                    <a:pt x="764" y="389"/>
                  </a:moveTo>
                  <a:cubicBezTo>
                    <a:pt x="763" y="389"/>
                    <a:pt x="762" y="390"/>
                    <a:pt x="761" y="390"/>
                  </a:cubicBezTo>
                  <a:cubicBezTo>
                    <a:pt x="758" y="392"/>
                    <a:pt x="756" y="394"/>
                    <a:pt x="754" y="397"/>
                  </a:cubicBezTo>
                  <a:cubicBezTo>
                    <a:pt x="753" y="398"/>
                    <a:pt x="752" y="399"/>
                    <a:pt x="751" y="400"/>
                  </a:cubicBezTo>
                  <a:cubicBezTo>
                    <a:pt x="750" y="401"/>
                    <a:pt x="749" y="402"/>
                    <a:pt x="748" y="403"/>
                  </a:cubicBezTo>
                  <a:cubicBezTo>
                    <a:pt x="748" y="403"/>
                    <a:pt x="748" y="403"/>
                    <a:pt x="748" y="403"/>
                  </a:cubicBezTo>
                  <a:cubicBezTo>
                    <a:pt x="748" y="403"/>
                    <a:pt x="749" y="403"/>
                    <a:pt x="749" y="403"/>
                  </a:cubicBezTo>
                  <a:cubicBezTo>
                    <a:pt x="750" y="402"/>
                    <a:pt x="750" y="402"/>
                    <a:pt x="751" y="401"/>
                  </a:cubicBezTo>
                  <a:cubicBezTo>
                    <a:pt x="754" y="398"/>
                    <a:pt x="758" y="394"/>
                    <a:pt x="761" y="391"/>
                  </a:cubicBezTo>
                  <a:cubicBezTo>
                    <a:pt x="762" y="391"/>
                    <a:pt x="762" y="391"/>
                    <a:pt x="762" y="390"/>
                  </a:cubicBezTo>
                  <a:cubicBezTo>
                    <a:pt x="763" y="390"/>
                    <a:pt x="763" y="389"/>
                    <a:pt x="764" y="389"/>
                  </a:cubicBezTo>
                  <a:moveTo>
                    <a:pt x="893" y="402"/>
                  </a:moveTo>
                  <a:cubicBezTo>
                    <a:pt x="893" y="403"/>
                    <a:pt x="893" y="404"/>
                    <a:pt x="893" y="405"/>
                  </a:cubicBezTo>
                  <a:cubicBezTo>
                    <a:pt x="895" y="416"/>
                    <a:pt x="899" y="424"/>
                    <a:pt x="903" y="431"/>
                  </a:cubicBezTo>
                  <a:cubicBezTo>
                    <a:pt x="903" y="431"/>
                    <a:pt x="904" y="431"/>
                    <a:pt x="904" y="432"/>
                  </a:cubicBezTo>
                  <a:cubicBezTo>
                    <a:pt x="910" y="441"/>
                    <a:pt x="917" y="447"/>
                    <a:pt x="925" y="450"/>
                  </a:cubicBezTo>
                  <a:cubicBezTo>
                    <a:pt x="926" y="450"/>
                    <a:pt x="926" y="450"/>
                    <a:pt x="927" y="450"/>
                  </a:cubicBezTo>
                  <a:cubicBezTo>
                    <a:pt x="928" y="451"/>
                    <a:pt x="929" y="451"/>
                    <a:pt x="930" y="451"/>
                  </a:cubicBezTo>
                  <a:cubicBezTo>
                    <a:pt x="930" y="451"/>
                    <a:pt x="930" y="451"/>
                    <a:pt x="930" y="450"/>
                  </a:cubicBezTo>
                  <a:cubicBezTo>
                    <a:pt x="930" y="450"/>
                    <a:pt x="929" y="450"/>
                    <a:pt x="928" y="450"/>
                  </a:cubicBezTo>
                  <a:cubicBezTo>
                    <a:pt x="927" y="450"/>
                    <a:pt x="927" y="449"/>
                    <a:pt x="927" y="449"/>
                  </a:cubicBezTo>
                  <a:cubicBezTo>
                    <a:pt x="918" y="447"/>
                    <a:pt x="911" y="441"/>
                    <a:pt x="905" y="431"/>
                  </a:cubicBezTo>
                  <a:cubicBezTo>
                    <a:pt x="904" y="431"/>
                    <a:pt x="904" y="430"/>
                    <a:pt x="904" y="430"/>
                  </a:cubicBezTo>
                  <a:cubicBezTo>
                    <a:pt x="900" y="423"/>
                    <a:pt x="896" y="414"/>
                    <a:pt x="893" y="402"/>
                  </a:cubicBezTo>
                  <a:moveTo>
                    <a:pt x="748" y="404"/>
                  </a:moveTo>
                  <a:cubicBezTo>
                    <a:pt x="748" y="404"/>
                    <a:pt x="747" y="404"/>
                    <a:pt x="747" y="404"/>
                  </a:cubicBezTo>
                  <a:cubicBezTo>
                    <a:pt x="746" y="404"/>
                    <a:pt x="746" y="405"/>
                    <a:pt x="746" y="405"/>
                  </a:cubicBezTo>
                  <a:cubicBezTo>
                    <a:pt x="745" y="407"/>
                    <a:pt x="744" y="408"/>
                    <a:pt x="743" y="409"/>
                  </a:cubicBezTo>
                  <a:cubicBezTo>
                    <a:pt x="741" y="411"/>
                    <a:pt x="740" y="413"/>
                    <a:pt x="738" y="415"/>
                  </a:cubicBezTo>
                  <a:cubicBezTo>
                    <a:pt x="737" y="416"/>
                    <a:pt x="737" y="417"/>
                    <a:pt x="736" y="419"/>
                  </a:cubicBezTo>
                  <a:cubicBezTo>
                    <a:pt x="735" y="420"/>
                    <a:pt x="734" y="421"/>
                    <a:pt x="734" y="423"/>
                  </a:cubicBezTo>
                  <a:cubicBezTo>
                    <a:pt x="734" y="423"/>
                    <a:pt x="734" y="423"/>
                    <a:pt x="733" y="423"/>
                  </a:cubicBezTo>
                  <a:cubicBezTo>
                    <a:pt x="733" y="423"/>
                    <a:pt x="733" y="424"/>
                    <a:pt x="733" y="424"/>
                  </a:cubicBezTo>
                  <a:cubicBezTo>
                    <a:pt x="732" y="426"/>
                    <a:pt x="731" y="427"/>
                    <a:pt x="730" y="429"/>
                  </a:cubicBezTo>
                  <a:cubicBezTo>
                    <a:pt x="730" y="430"/>
                    <a:pt x="729" y="431"/>
                    <a:pt x="728" y="433"/>
                  </a:cubicBezTo>
                  <a:cubicBezTo>
                    <a:pt x="728" y="433"/>
                    <a:pt x="728" y="433"/>
                    <a:pt x="729" y="433"/>
                  </a:cubicBezTo>
                  <a:cubicBezTo>
                    <a:pt x="729" y="432"/>
                    <a:pt x="730" y="431"/>
                    <a:pt x="731" y="430"/>
                  </a:cubicBezTo>
                  <a:cubicBezTo>
                    <a:pt x="731" y="429"/>
                    <a:pt x="731" y="429"/>
                    <a:pt x="731" y="429"/>
                  </a:cubicBezTo>
                  <a:cubicBezTo>
                    <a:pt x="732" y="427"/>
                    <a:pt x="733" y="425"/>
                    <a:pt x="734" y="423"/>
                  </a:cubicBezTo>
                  <a:cubicBezTo>
                    <a:pt x="735" y="422"/>
                    <a:pt x="736" y="421"/>
                    <a:pt x="736" y="420"/>
                  </a:cubicBezTo>
                  <a:cubicBezTo>
                    <a:pt x="737" y="419"/>
                    <a:pt x="737" y="419"/>
                    <a:pt x="737" y="419"/>
                  </a:cubicBezTo>
                  <a:cubicBezTo>
                    <a:pt x="738" y="418"/>
                    <a:pt x="738" y="417"/>
                    <a:pt x="739" y="416"/>
                  </a:cubicBezTo>
                  <a:cubicBezTo>
                    <a:pt x="740" y="414"/>
                    <a:pt x="742" y="412"/>
                    <a:pt x="744" y="409"/>
                  </a:cubicBezTo>
                  <a:cubicBezTo>
                    <a:pt x="744" y="409"/>
                    <a:pt x="744" y="409"/>
                    <a:pt x="744" y="409"/>
                  </a:cubicBezTo>
                  <a:cubicBezTo>
                    <a:pt x="746" y="407"/>
                    <a:pt x="747" y="405"/>
                    <a:pt x="748" y="404"/>
                  </a:cubicBezTo>
                  <a:moveTo>
                    <a:pt x="975" y="424"/>
                  </a:moveTo>
                  <a:cubicBezTo>
                    <a:pt x="965" y="441"/>
                    <a:pt x="951" y="451"/>
                    <a:pt x="936" y="451"/>
                  </a:cubicBezTo>
                  <a:cubicBezTo>
                    <a:pt x="935" y="451"/>
                    <a:pt x="933" y="451"/>
                    <a:pt x="932" y="450"/>
                  </a:cubicBezTo>
                  <a:cubicBezTo>
                    <a:pt x="931" y="451"/>
                    <a:pt x="931" y="451"/>
                    <a:pt x="931" y="451"/>
                  </a:cubicBezTo>
                  <a:cubicBezTo>
                    <a:pt x="933" y="452"/>
                    <a:pt x="934" y="452"/>
                    <a:pt x="936" y="452"/>
                  </a:cubicBezTo>
                  <a:cubicBezTo>
                    <a:pt x="950" y="452"/>
                    <a:pt x="965" y="443"/>
                    <a:pt x="974" y="427"/>
                  </a:cubicBezTo>
                  <a:cubicBezTo>
                    <a:pt x="975" y="426"/>
                    <a:pt x="975" y="425"/>
                    <a:pt x="975" y="424"/>
                  </a:cubicBezTo>
                  <a:moveTo>
                    <a:pt x="727" y="433"/>
                  </a:moveTo>
                  <a:cubicBezTo>
                    <a:pt x="726" y="435"/>
                    <a:pt x="725" y="437"/>
                    <a:pt x="723" y="439"/>
                  </a:cubicBezTo>
                  <a:cubicBezTo>
                    <a:pt x="722" y="440"/>
                    <a:pt x="722" y="441"/>
                    <a:pt x="721" y="442"/>
                  </a:cubicBezTo>
                  <a:cubicBezTo>
                    <a:pt x="721" y="442"/>
                    <a:pt x="721" y="443"/>
                    <a:pt x="721" y="443"/>
                  </a:cubicBezTo>
                  <a:cubicBezTo>
                    <a:pt x="721" y="443"/>
                    <a:pt x="721" y="443"/>
                    <a:pt x="721" y="443"/>
                  </a:cubicBezTo>
                  <a:cubicBezTo>
                    <a:pt x="722" y="442"/>
                    <a:pt x="723" y="441"/>
                    <a:pt x="723" y="440"/>
                  </a:cubicBezTo>
                  <a:cubicBezTo>
                    <a:pt x="724" y="439"/>
                    <a:pt x="725" y="438"/>
                    <a:pt x="726" y="436"/>
                  </a:cubicBezTo>
                  <a:cubicBezTo>
                    <a:pt x="727" y="435"/>
                    <a:pt x="727" y="435"/>
                    <a:pt x="728" y="434"/>
                  </a:cubicBezTo>
                  <a:cubicBezTo>
                    <a:pt x="728" y="434"/>
                    <a:pt x="728" y="434"/>
                    <a:pt x="728" y="434"/>
                  </a:cubicBezTo>
                  <a:cubicBezTo>
                    <a:pt x="728" y="434"/>
                    <a:pt x="727" y="434"/>
                    <a:pt x="727" y="433"/>
                  </a:cubicBezTo>
                  <a:moveTo>
                    <a:pt x="720" y="443"/>
                  </a:moveTo>
                  <a:cubicBezTo>
                    <a:pt x="720" y="444"/>
                    <a:pt x="719" y="444"/>
                    <a:pt x="718" y="445"/>
                  </a:cubicBezTo>
                  <a:cubicBezTo>
                    <a:pt x="714" y="451"/>
                    <a:pt x="709" y="456"/>
                    <a:pt x="703" y="462"/>
                  </a:cubicBezTo>
                  <a:cubicBezTo>
                    <a:pt x="703" y="462"/>
                    <a:pt x="702" y="463"/>
                    <a:pt x="701" y="464"/>
                  </a:cubicBezTo>
                  <a:cubicBezTo>
                    <a:pt x="701" y="464"/>
                    <a:pt x="701" y="464"/>
                    <a:pt x="701" y="464"/>
                  </a:cubicBezTo>
                  <a:cubicBezTo>
                    <a:pt x="700" y="465"/>
                    <a:pt x="700" y="465"/>
                    <a:pt x="699" y="466"/>
                  </a:cubicBezTo>
                  <a:cubicBezTo>
                    <a:pt x="698" y="467"/>
                    <a:pt x="696" y="468"/>
                    <a:pt x="695" y="470"/>
                  </a:cubicBezTo>
                  <a:cubicBezTo>
                    <a:pt x="695" y="470"/>
                    <a:pt x="694" y="470"/>
                    <a:pt x="694" y="471"/>
                  </a:cubicBezTo>
                  <a:cubicBezTo>
                    <a:pt x="693" y="471"/>
                    <a:pt x="693" y="472"/>
                    <a:pt x="692" y="472"/>
                  </a:cubicBezTo>
                  <a:cubicBezTo>
                    <a:pt x="692" y="473"/>
                    <a:pt x="693" y="473"/>
                    <a:pt x="693" y="473"/>
                  </a:cubicBezTo>
                  <a:cubicBezTo>
                    <a:pt x="693" y="473"/>
                    <a:pt x="693" y="472"/>
                    <a:pt x="694" y="472"/>
                  </a:cubicBezTo>
                  <a:cubicBezTo>
                    <a:pt x="694" y="472"/>
                    <a:pt x="695" y="472"/>
                    <a:pt x="695" y="471"/>
                  </a:cubicBezTo>
                  <a:cubicBezTo>
                    <a:pt x="697" y="470"/>
                    <a:pt x="698" y="468"/>
                    <a:pt x="700" y="467"/>
                  </a:cubicBezTo>
                  <a:cubicBezTo>
                    <a:pt x="700" y="466"/>
                    <a:pt x="701" y="466"/>
                    <a:pt x="701" y="465"/>
                  </a:cubicBezTo>
                  <a:cubicBezTo>
                    <a:pt x="702" y="465"/>
                    <a:pt x="702" y="464"/>
                    <a:pt x="703" y="464"/>
                  </a:cubicBezTo>
                  <a:cubicBezTo>
                    <a:pt x="709" y="457"/>
                    <a:pt x="715" y="451"/>
                    <a:pt x="720" y="444"/>
                  </a:cubicBezTo>
                  <a:cubicBezTo>
                    <a:pt x="720" y="444"/>
                    <a:pt x="720" y="444"/>
                    <a:pt x="720" y="443"/>
                  </a:cubicBezTo>
                  <a:moveTo>
                    <a:pt x="692" y="473"/>
                  </a:moveTo>
                  <a:cubicBezTo>
                    <a:pt x="685" y="479"/>
                    <a:pt x="677" y="485"/>
                    <a:pt x="670" y="491"/>
                  </a:cubicBezTo>
                  <a:cubicBezTo>
                    <a:pt x="669" y="492"/>
                    <a:pt x="669" y="492"/>
                    <a:pt x="668" y="492"/>
                  </a:cubicBezTo>
                  <a:cubicBezTo>
                    <a:pt x="668" y="493"/>
                    <a:pt x="669" y="493"/>
                    <a:pt x="669" y="493"/>
                  </a:cubicBezTo>
                  <a:cubicBezTo>
                    <a:pt x="669" y="493"/>
                    <a:pt x="670" y="493"/>
                    <a:pt x="670" y="492"/>
                  </a:cubicBezTo>
                  <a:cubicBezTo>
                    <a:pt x="672" y="491"/>
                    <a:pt x="673" y="490"/>
                    <a:pt x="674" y="489"/>
                  </a:cubicBezTo>
                  <a:cubicBezTo>
                    <a:pt x="681" y="484"/>
                    <a:pt x="687" y="479"/>
                    <a:pt x="692" y="474"/>
                  </a:cubicBezTo>
                  <a:cubicBezTo>
                    <a:pt x="692" y="474"/>
                    <a:pt x="692" y="473"/>
                    <a:pt x="692" y="473"/>
                  </a:cubicBezTo>
                  <a:moveTo>
                    <a:pt x="667" y="493"/>
                  </a:moveTo>
                  <a:cubicBezTo>
                    <a:pt x="667" y="493"/>
                    <a:pt x="666" y="494"/>
                    <a:pt x="666" y="495"/>
                  </a:cubicBezTo>
                  <a:cubicBezTo>
                    <a:pt x="661" y="498"/>
                    <a:pt x="656" y="502"/>
                    <a:pt x="651" y="506"/>
                  </a:cubicBezTo>
                  <a:cubicBezTo>
                    <a:pt x="651" y="506"/>
                    <a:pt x="651" y="506"/>
                    <a:pt x="651" y="506"/>
                  </a:cubicBezTo>
                  <a:cubicBezTo>
                    <a:pt x="657" y="502"/>
                    <a:pt x="662" y="498"/>
                    <a:pt x="668" y="494"/>
                  </a:cubicBezTo>
                  <a:cubicBezTo>
                    <a:pt x="668" y="494"/>
                    <a:pt x="668" y="493"/>
                    <a:pt x="667" y="493"/>
                  </a:cubicBezTo>
                  <a:moveTo>
                    <a:pt x="650" y="506"/>
                  </a:moveTo>
                  <a:cubicBezTo>
                    <a:pt x="650" y="506"/>
                    <a:pt x="649" y="506"/>
                    <a:pt x="649" y="506"/>
                  </a:cubicBezTo>
                  <a:cubicBezTo>
                    <a:pt x="649" y="507"/>
                    <a:pt x="649" y="507"/>
                    <a:pt x="648" y="507"/>
                  </a:cubicBezTo>
                  <a:cubicBezTo>
                    <a:pt x="639" y="513"/>
                    <a:pt x="630" y="520"/>
                    <a:pt x="620" y="526"/>
                  </a:cubicBezTo>
                  <a:cubicBezTo>
                    <a:pt x="619" y="526"/>
                    <a:pt x="619" y="527"/>
                    <a:pt x="618" y="527"/>
                  </a:cubicBezTo>
                  <a:cubicBezTo>
                    <a:pt x="618" y="527"/>
                    <a:pt x="618" y="527"/>
                    <a:pt x="618" y="527"/>
                  </a:cubicBezTo>
                  <a:cubicBezTo>
                    <a:pt x="617" y="528"/>
                    <a:pt x="617" y="528"/>
                    <a:pt x="617" y="528"/>
                  </a:cubicBezTo>
                  <a:cubicBezTo>
                    <a:pt x="617" y="528"/>
                    <a:pt x="617" y="528"/>
                    <a:pt x="617" y="528"/>
                  </a:cubicBezTo>
                  <a:cubicBezTo>
                    <a:pt x="617" y="528"/>
                    <a:pt x="617" y="528"/>
                    <a:pt x="617" y="529"/>
                  </a:cubicBezTo>
                  <a:cubicBezTo>
                    <a:pt x="618" y="529"/>
                    <a:pt x="618" y="529"/>
                    <a:pt x="618" y="529"/>
                  </a:cubicBezTo>
                  <a:cubicBezTo>
                    <a:pt x="618" y="528"/>
                    <a:pt x="618" y="528"/>
                    <a:pt x="618" y="528"/>
                  </a:cubicBezTo>
                  <a:cubicBezTo>
                    <a:pt x="618" y="528"/>
                    <a:pt x="619" y="528"/>
                    <a:pt x="619" y="528"/>
                  </a:cubicBezTo>
                  <a:cubicBezTo>
                    <a:pt x="629" y="521"/>
                    <a:pt x="640" y="514"/>
                    <a:pt x="649" y="508"/>
                  </a:cubicBezTo>
                  <a:cubicBezTo>
                    <a:pt x="650" y="507"/>
                    <a:pt x="650" y="507"/>
                    <a:pt x="650" y="507"/>
                  </a:cubicBezTo>
                  <a:cubicBezTo>
                    <a:pt x="650" y="507"/>
                    <a:pt x="650" y="507"/>
                    <a:pt x="650" y="507"/>
                  </a:cubicBezTo>
                  <a:cubicBezTo>
                    <a:pt x="650" y="507"/>
                    <a:pt x="650" y="506"/>
                    <a:pt x="650" y="506"/>
                  </a:cubicBezTo>
                  <a:moveTo>
                    <a:pt x="616" y="528"/>
                  </a:moveTo>
                  <a:cubicBezTo>
                    <a:pt x="616" y="529"/>
                    <a:pt x="615" y="529"/>
                    <a:pt x="615" y="529"/>
                  </a:cubicBezTo>
                  <a:cubicBezTo>
                    <a:pt x="614" y="530"/>
                    <a:pt x="613" y="530"/>
                    <a:pt x="612" y="531"/>
                  </a:cubicBezTo>
                  <a:cubicBezTo>
                    <a:pt x="611" y="532"/>
                    <a:pt x="609" y="532"/>
                    <a:pt x="608" y="533"/>
                  </a:cubicBezTo>
                  <a:cubicBezTo>
                    <a:pt x="608" y="533"/>
                    <a:pt x="608" y="533"/>
                    <a:pt x="608" y="534"/>
                  </a:cubicBezTo>
                  <a:cubicBezTo>
                    <a:pt x="608" y="534"/>
                    <a:pt x="608" y="534"/>
                    <a:pt x="608" y="534"/>
                  </a:cubicBezTo>
                  <a:cubicBezTo>
                    <a:pt x="609" y="534"/>
                    <a:pt x="609" y="534"/>
                    <a:pt x="609" y="534"/>
                  </a:cubicBezTo>
                  <a:cubicBezTo>
                    <a:pt x="610" y="533"/>
                    <a:pt x="611" y="533"/>
                    <a:pt x="612" y="532"/>
                  </a:cubicBezTo>
                  <a:cubicBezTo>
                    <a:pt x="613" y="531"/>
                    <a:pt x="614" y="531"/>
                    <a:pt x="615" y="530"/>
                  </a:cubicBezTo>
                  <a:cubicBezTo>
                    <a:pt x="616" y="530"/>
                    <a:pt x="616" y="530"/>
                    <a:pt x="617" y="529"/>
                  </a:cubicBezTo>
                  <a:cubicBezTo>
                    <a:pt x="616" y="529"/>
                    <a:pt x="616" y="529"/>
                    <a:pt x="616" y="528"/>
                  </a:cubicBezTo>
                  <a:moveTo>
                    <a:pt x="607" y="534"/>
                  </a:moveTo>
                  <a:cubicBezTo>
                    <a:pt x="598" y="539"/>
                    <a:pt x="589" y="544"/>
                    <a:pt x="580" y="549"/>
                  </a:cubicBezTo>
                  <a:cubicBezTo>
                    <a:pt x="579" y="550"/>
                    <a:pt x="579" y="550"/>
                    <a:pt x="578" y="550"/>
                  </a:cubicBezTo>
                  <a:cubicBezTo>
                    <a:pt x="574" y="553"/>
                    <a:pt x="570" y="554"/>
                    <a:pt x="566" y="556"/>
                  </a:cubicBezTo>
                  <a:cubicBezTo>
                    <a:pt x="567" y="557"/>
                    <a:pt x="567" y="557"/>
                    <a:pt x="567" y="557"/>
                  </a:cubicBezTo>
                  <a:cubicBezTo>
                    <a:pt x="570" y="556"/>
                    <a:pt x="573" y="554"/>
                    <a:pt x="576" y="553"/>
                  </a:cubicBezTo>
                  <a:cubicBezTo>
                    <a:pt x="577" y="552"/>
                    <a:pt x="577" y="552"/>
                    <a:pt x="578" y="551"/>
                  </a:cubicBezTo>
                  <a:cubicBezTo>
                    <a:pt x="588" y="546"/>
                    <a:pt x="597" y="541"/>
                    <a:pt x="606" y="536"/>
                  </a:cubicBezTo>
                  <a:cubicBezTo>
                    <a:pt x="607" y="535"/>
                    <a:pt x="607" y="535"/>
                    <a:pt x="608" y="535"/>
                  </a:cubicBezTo>
                  <a:cubicBezTo>
                    <a:pt x="607" y="535"/>
                    <a:pt x="607" y="534"/>
                    <a:pt x="607" y="534"/>
                  </a:cubicBezTo>
                  <a:moveTo>
                    <a:pt x="566" y="557"/>
                  </a:moveTo>
                  <a:cubicBezTo>
                    <a:pt x="565" y="557"/>
                    <a:pt x="564" y="558"/>
                    <a:pt x="564" y="558"/>
                  </a:cubicBezTo>
                  <a:cubicBezTo>
                    <a:pt x="564" y="558"/>
                    <a:pt x="564" y="558"/>
                    <a:pt x="565" y="558"/>
                  </a:cubicBezTo>
                  <a:cubicBezTo>
                    <a:pt x="565" y="558"/>
                    <a:pt x="565" y="558"/>
                    <a:pt x="566" y="558"/>
                  </a:cubicBezTo>
                  <a:cubicBezTo>
                    <a:pt x="566" y="558"/>
                    <a:pt x="566" y="557"/>
                    <a:pt x="566" y="557"/>
                  </a:cubicBezTo>
                  <a:moveTo>
                    <a:pt x="563" y="558"/>
                  </a:moveTo>
                  <a:cubicBezTo>
                    <a:pt x="557" y="561"/>
                    <a:pt x="552" y="564"/>
                    <a:pt x="547" y="566"/>
                  </a:cubicBezTo>
                  <a:cubicBezTo>
                    <a:pt x="546" y="567"/>
                    <a:pt x="546" y="567"/>
                    <a:pt x="545" y="567"/>
                  </a:cubicBezTo>
                  <a:cubicBezTo>
                    <a:pt x="539" y="570"/>
                    <a:pt x="534" y="572"/>
                    <a:pt x="528" y="575"/>
                  </a:cubicBezTo>
                  <a:cubicBezTo>
                    <a:pt x="526" y="576"/>
                    <a:pt x="524" y="577"/>
                    <a:pt x="522" y="578"/>
                  </a:cubicBezTo>
                  <a:cubicBezTo>
                    <a:pt x="521" y="578"/>
                    <a:pt x="520" y="578"/>
                    <a:pt x="520" y="579"/>
                  </a:cubicBezTo>
                  <a:cubicBezTo>
                    <a:pt x="520" y="579"/>
                    <a:pt x="521" y="579"/>
                    <a:pt x="521" y="579"/>
                  </a:cubicBezTo>
                  <a:cubicBezTo>
                    <a:pt x="524" y="578"/>
                    <a:pt x="526" y="577"/>
                    <a:pt x="529" y="576"/>
                  </a:cubicBezTo>
                  <a:cubicBezTo>
                    <a:pt x="531" y="575"/>
                    <a:pt x="533" y="574"/>
                    <a:pt x="535" y="573"/>
                  </a:cubicBezTo>
                  <a:cubicBezTo>
                    <a:pt x="538" y="572"/>
                    <a:pt x="541" y="570"/>
                    <a:pt x="544" y="569"/>
                  </a:cubicBezTo>
                  <a:cubicBezTo>
                    <a:pt x="544" y="569"/>
                    <a:pt x="545" y="568"/>
                    <a:pt x="546" y="568"/>
                  </a:cubicBezTo>
                  <a:cubicBezTo>
                    <a:pt x="552" y="565"/>
                    <a:pt x="558" y="562"/>
                    <a:pt x="564" y="559"/>
                  </a:cubicBezTo>
                  <a:cubicBezTo>
                    <a:pt x="563" y="559"/>
                    <a:pt x="563" y="559"/>
                    <a:pt x="563" y="558"/>
                  </a:cubicBezTo>
                  <a:moveTo>
                    <a:pt x="518" y="579"/>
                  </a:moveTo>
                  <a:cubicBezTo>
                    <a:pt x="517" y="580"/>
                    <a:pt x="517" y="580"/>
                    <a:pt x="516" y="580"/>
                  </a:cubicBezTo>
                  <a:cubicBezTo>
                    <a:pt x="516" y="580"/>
                    <a:pt x="515" y="581"/>
                    <a:pt x="515" y="581"/>
                  </a:cubicBezTo>
                  <a:cubicBezTo>
                    <a:pt x="515" y="581"/>
                    <a:pt x="516" y="581"/>
                    <a:pt x="516" y="582"/>
                  </a:cubicBezTo>
                  <a:cubicBezTo>
                    <a:pt x="517" y="581"/>
                    <a:pt x="518" y="580"/>
                    <a:pt x="520" y="580"/>
                  </a:cubicBezTo>
                  <a:cubicBezTo>
                    <a:pt x="519" y="580"/>
                    <a:pt x="519" y="579"/>
                    <a:pt x="518" y="579"/>
                  </a:cubicBezTo>
                  <a:moveTo>
                    <a:pt x="514" y="581"/>
                  </a:moveTo>
                  <a:cubicBezTo>
                    <a:pt x="514" y="581"/>
                    <a:pt x="514" y="581"/>
                    <a:pt x="514" y="581"/>
                  </a:cubicBezTo>
                  <a:cubicBezTo>
                    <a:pt x="511" y="583"/>
                    <a:pt x="508" y="584"/>
                    <a:pt x="505" y="585"/>
                  </a:cubicBezTo>
                  <a:cubicBezTo>
                    <a:pt x="503" y="586"/>
                    <a:pt x="502" y="586"/>
                    <a:pt x="500" y="587"/>
                  </a:cubicBezTo>
                  <a:cubicBezTo>
                    <a:pt x="498" y="588"/>
                    <a:pt x="495" y="589"/>
                    <a:pt x="493" y="590"/>
                  </a:cubicBezTo>
                  <a:cubicBezTo>
                    <a:pt x="492" y="590"/>
                    <a:pt x="492" y="590"/>
                    <a:pt x="491" y="590"/>
                  </a:cubicBezTo>
                  <a:cubicBezTo>
                    <a:pt x="491" y="590"/>
                    <a:pt x="491" y="591"/>
                    <a:pt x="491" y="591"/>
                  </a:cubicBezTo>
                  <a:cubicBezTo>
                    <a:pt x="490" y="591"/>
                    <a:pt x="489" y="591"/>
                    <a:pt x="488" y="591"/>
                  </a:cubicBezTo>
                  <a:cubicBezTo>
                    <a:pt x="485" y="593"/>
                    <a:pt x="481" y="594"/>
                    <a:pt x="477" y="596"/>
                  </a:cubicBezTo>
                  <a:cubicBezTo>
                    <a:pt x="475" y="596"/>
                    <a:pt x="473" y="597"/>
                    <a:pt x="470" y="598"/>
                  </a:cubicBezTo>
                  <a:cubicBezTo>
                    <a:pt x="470" y="598"/>
                    <a:pt x="470" y="598"/>
                    <a:pt x="470" y="598"/>
                  </a:cubicBezTo>
                  <a:cubicBezTo>
                    <a:pt x="471" y="598"/>
                    <a:pt x="471" y="599"/>
                    <a:pt x="472" y="599"/>
                  </a:cubicBezTo>
                  <a:cubicBezTo>
                    <a:pt x="473" y="598"/>
                    <a:pt x="475" y="597"/>
                    <a:pt x="477" y="597"/>
                  </a:cubicBezTo>
                  <a:cubicBezTo>
                    <a:pt x="479" y="596"/>
                    <a:pt x="481" y="595"/>
                    <a:pt x="484" y="594"/>
                  </a:cubicBezTo>
                  <a:cubicBezTo>
                    <a:pt x="485" y="594"/>
                    <a:pt x="486" y="594"/>
                    <a:pt x="487" y="593"/>
                  </a:cubicBezTo>
                  <a:cubicBezTo>
                    <a:pt x="487" y="593"/>
                    <a:pt x="488" y="593"/>
                    <a:pt x="489" y="592"/>
                  </a:cubicBezTo>
                  <a:cubicBezTo>
                    <a:pt x="489" y="592"/>
                    <a:pt x="490" y="592"/>
                    <a:pt x="490" y="592"/>
                  </a:cubicBezTo>
                  <a:cubicBezTo>
                    <a:pt x="491" y="592"/>
                    <a:pt x="491" y="592"/>
                    <a:pt x="492" y="591"/>
                  </a:cubicBezTo>
                  <a:cubicBezTo>
                    <a:pt x="494" y="591"/>
                    <a:pt x="495" y="590"/>
                    <a:pt x="497" y="589"/>
                  </a:cubicBezTo>
                  <a:cubicBezTo>
                    <a:pt x="498" y="589"/>
                    <a:pt x="500" y="588"/>
                    <a:pt x="501" y="588"/>
                  </a:cubicBezTo>
                  <a:cubicBezTo>
                    <a:pt x="505" y="586"/>
                    <a:pt x="509" y="584"/>
                    <a:pt x="513" y="583"/>
                  </a:cubicBezTo>
                  <a:cubicBezTo>
                    <a:pt x="513" y="582"/>
                    <a:pt x="514" y="582"/>
                    <a:pt x="515" y="582"/>
                  </a:cubicBezTo>
                  <a:cubicBezTo>
                    <a:pt x="515" y="582"/>
                    <a:pt x="515" y="582"/>
                    <a:pt x="515" y="582"/>
                  </a:cubicBezTo>
                  <a:cubicBezTo>
                    <a:pt x="515" y="582"/>
                    <a:pt x="515" y="581"/>
                    <a:pt x="514" y="581"/>
                  </a:cubicBezTo>
                  <a:moveTo>
                    <a:pt x="468" y="599"/>
                  </a:moveTo>
                  <a:cubicBezTo>
                    <a:pt x="467" y="599"/>
                    <a:pt x="465" y="600"/>
                    <a:pt x="464" y="600"/>
                  </a:cubicBezTo>
                  <a:cubicBezTo>
                    <a:pt x="464" y="601"/>
                    <a:pt x="464" y="601"/>
                    <a:pt x="464" y="601"/>
                  </a:cubicBezTo>
                  <a:cubicBezTo>
                    <a:pt x="466" y="601"/>
                    <a:pt x="468" y="600"/>
                    <a:pt x="470" y="599"/>
                  </a:cubicBezTo>
                  <a:cubicBezTo>
                    <a:pt x="470" y="599"/>
                    <a:pt x="469" y="599"/>
                    <a:pt x="468" y="599"/>
                  </a:cubicBezTo>
                  <a:moveTo>
                    <a:pt x="463" y="601"/>
                  </a:moveTo>
                  <a:cubicBezTo>
                    <a:pt x="451" y="605"/>
                    <a:pt x="439" y="608"/>
                    <a:pt x="428" y="611"/>
                  </a:cubicBezTo>
                  <a:cubicBezTo>
                    <a:pt x="425" y="612"/>
                    <a:pt x="423" y="612"/>
                    <a:pt x="421" y="613"/>
                  </a:cubicBezTo>
                  <a:cubicBezTo>
                    <a:pt x="420" y="613"/>
                    <a:pt x="419" y="613"/>
                    <a:pt x="419" y="614"/>
                  </a:cubicBezTo>
                  <a:cubicBezTo>
                    <a:pt x="416" y="614"/>
                    <a:pt x="414" y="615"/>
                    <a:pt x="412" y="616"/>
                  </a:cubicBezTo>
                  <a:cubicBezTo>
                    <a:pt x="412" y="616"/>
                    <a:pt x="412" y="616"/>
                    <a:pt x="413" y="616"/>
                  </a:cubicBezTo>
                  <a:cubicBezTo>
                    <a:pt x="413" y="616"/>
                    <a:pt x="413" y="616"/>
                    <a:pt x="414" y="616"/>
                  </a:cubicBezTo>
                  <a:cubicBezTo>
                    <a:pt x="418" y="615"/>
                    <a:pt x="423" y="613"/>
                    <a:pt x="428" y="612"/>
                  </a:cubicBezTo>
                  <a:cubicBezTo>
                    <a:pt x="430" y="612"/>
                    <a:pt x="432" y="611"/>
                    <a:pt x="434" y="611"/>
                  </a:cubicBezTo>
                  <a:cubicBezTo>
                    <a:pt x="444" y="608"/>
                    <a:pt x="453" y="605"/>
                    <a:pt x="463" y="602"/>
                  </a:cubicBezTo>
                  <a:cubicBezTo>
                    <a:pt x="463" y="601"/>
                    <a:pt x="463" y="601"/>
                    <a:pt x="463" y="601"/>
                  </a:cubicBezTo>
                  <a:moveTo>
                    <a:pt x="410" y="616"/>
                  </a:moveTo>
                  <a:cubicBezTo>
                    <a:pt x="408" y="617"/>
                    <a:pt x="407" y="617"/>
                    <a:pt x="406" y="618"/>
                  </a:cubicBezTo>
                  <a:cubicBezTo>
                    <a:pt x="407" y="617"/>
                    <a:pt x="409" y="617"/>
                    <a:pt x="411" y="616"/>
                  </a:cubicBezTo>
                  <a:cubicBezTo>
                    <a:pt x="410" y="616"/>
                    <a:pt x="410" y="616"/>
                    <a:pt x="410" y="616"/>
                  </a:cubicBezTo>
                  <a:moveTo>
                    <a:pt x="405" y="617"/>
                  </a:moveTo>
                  <a:cubicBezTo>
                    <a:pt x="402" y="617"/>
                    <a:pt x="399" y="618"/>
                    <a:pt x="397" y="619"/>
                  </a:cubicBezTo>
                  <a:cubicBezTo>
                    <a:pt x="396" y="619"/>
                    <a:pt x="395" y="619"/>
                    <a:pt x="394" y="620"/>
                  </a:cubicBezTo>
                  <a:cubicBezTo>
                    <a:pt x="382" y="622"/>
                    <a:pt x="369" y="626"/>
                    <a:pt x="356" y="629"/>
                  </a:cubicBezTo>
                  <a:cubicBezTo>
                    <a:pt x="353" y="630"/>
                    <a:pt x="351" y="630"/>
                    <a:pt x="349" y="631"/>
                  </a:cubicBezTo>
                  <a:cubicBezTo>
                    <a:pt x="348" y="631"/>
                    <a:pt x="348" y="631"/>
                    <a:pt x="348" y="631"/>
                  </a:cubicBezTo>
                  <a:cubicBezTo>
                    <a:pt x="327" y="637"/>
                    <a:pt x="305" y="643"/>
                    <a:pt x="283" y="649"/>
                  </a:cubicBezTo>
                  <a:cubicBezTo>
                    <a:pt x="282" y="649"/>
                    <a:pt x="282" y="649"/>
                    <a:pt x="282" y="649"/>
                  </a:cubicBezTo>
                  <a:cubicBezTo>
                    <a:pt x="269" y="653"/>
                    <a:pt x="257" y="657"/>
                    <a:pt x="244" y="661"/>
                  </a:cubicBezTo>
                  <a:cubicBezTo>
                    <a:pt x="190" y="679"/>
                    <a:pt x="132" y="700"/>
                    <a:pt x="82" y="723"/>
                  </a:cubicBezTo>
                  <a:cubicBezTo>
                    <a:pt x="81" y="723"/>
                    <a:pt x="80" y="724"/>
                    <a:pt x="80" y="724"/>
                  </a:cubicBezTo>
                  <a:cubicBezTo>
                    <a:pt x="76" y="726"/>
                    <a:pt x="73" y="728"/>
                    <a:pt x="70" y="729"/>
                  </a:cubicBezTo>
                  <a:cubicBezTo>
                    <a:pt x="69" y="730"/>
                    <a:pt x="69" y="730"/>
                    <a:pt x="69" y="730"/>
                  </a:cubicBezTo>
                  <a:cubicBezTo>
                    <a:pt x="65" y="732"/>
                    <a:pt x="62" y="734"/>
                    <a:pt x="59" y="736"/>
                  </a:cubicBezTo>
                  <a:cubicBezTo>
                    <a:pt x="58" y="736"/>
                    <a:pt x="58" y="736"/>
                    <a:pt x="58" y="736"/>
                  </a:cubicBezTo>
                  <a:cubicBezTo>
                    <a:pt x="56" y="737"/>
                    <a:pt x="55" y="738"/>
                    <a:pt x="53" y="739"/>
                  </a:cubicBezTo>
                  <a:cubicBezTo>
                    <a:pt x="53" y="739"/>
                    <a:pt x="53" y="739"/>
                    <a:pt x="53" y="739"/>
                  </a:cubicBezTo>
                  <a:cubicBezTo>
                    <a:pt x="52" y="739"/>
                    <a:pt x="52" y="740"/>
                    <a:pt x="52" y="740"/>
                  </a:cubicBezTo>
                  <a:cubicBezTo>
                    <a:pt x="52" y="740"/>
                    <a:pt x="51" y="740"/>
                    <a:pt x="51" y="740"/>
                  </a:cubicBezTo>
                  <a:cubicBezTo>
                    <a:pt x="51" y="740"/>
                    <a:pt x="51" y="740"/>
                    <a:pt x="51" y="740"/>
                  </a:cubicBezTo>
                  <a:cubicBezTo>
                    <a:pt x="51" y="741"/>
                    <a:pt x="50" y="741"/>
                    <a:pt x="50" y="741"/>
                  </a:cubicBezTo>
                  <a:cubicBezTo>
                    <a:pt x="48" y="742"/>
                    <a:pt x="46" y="744"/>
                    <a:pt x="44" y="745"/>
                  </a:cubicBezTo>
                  <a:cubicBezTo>
                    <a:pt x="44" y="745"/>
                    <a:pt x="43" y="745"/>
                    <a:pt x="43" y="746"/>
                  </a:cubicBezTo>
                  <a:cubicBezTo>
                    <a:pt x="41" y="747"/>
                    <a:pt x="40" y="747"/>
                    <a:pt x="39" y="748"/>
                  </a:cubicBezTo>
                  <a:cubicBezTo>
                    <a:pt x="38" y="749"/>
                    <a:pt x="38" y="749"/>
                    <a:pt x="38" y="749"/>
                  </a:cubicBezTo>
                  <a:cubicBezTo>
                    <a:pt x="34" y="751"/>
                    <a:pt x="31" y="754"/>
                    <a:pt x="28" y="756"/>
                  </a:cubicBezTo>
                  <a:cubicBezTo>
                    <a:pt x="32" y="754"/>
                    <a:pt x="35" y="752"/>
                    <a:pt x="39" y="749"/>
                  </a:cubicBezTo>
                  <a:cubicBezTo>
                    <a:pt x="39" y="749"/>
                    <a:pt x="40" y="749"/>
                    <a:pt x="40" y="749"/>
                  </a:cubicBezTo>
                  <a:cubicBezTo>
                    <a:pt x="41" y="748"/>
                    <a:pt x="43" y="747"/>
                    <a:pt x="44" y="746"/>
                  </a:cubicBezTo>
                  <a:cubicBezTo>
                    <a:pt x="45" y="746"/>
                    <a:pt x="45" y="745"/>
                    <a:pt x="46" y="745"/>
                  </a:cubicBezTo>
                  <a:cubicBezTo>
                    <a:pt x="47" y="744"/>
                    <a:pt x="49" y="743"/>
                    <a:pt x="51" y="741"/>
                  </a:cubicBezTo>
                  <a:cubicBezTo>
                    <a:pt x="52" y="741"/>
                    <a:pt x="52" y="741"/>
                    <a:pt x="53" y="741"/>
                  </a:cubicBezTo>
                  <a:cubicBezTo>
                    <a:pt x="53" y="740"/>
                    <a:pt x="53" y="740"/>
                    <a:pt x="53" y="740"/>
                  </a:cubicBezTo>
                  <a:cubicBezTo>
                    <a:pt x="53" y="740"/>
                    <a:pt x="53" y="740"/>
                    <a:pt x="53" y="740"/>
                  </a:cubicBezTo>
                  <a:cubicBezTo>
                    <a:pt x="54" y="740"/>
                    <a:pt x="54" y="740"/>
                    <a:pt x="54" y="739"/>
                  </a:cubicBezTo>
                  <a:cubicBezTo>
                    <a:pt x="55" y="739"/>
                    <a:pt x="55" y="739"/>
                    <a:pt x="55" y="739"/>
                  </a:cubicBezTo>
                  <a:cubicBezTo>
                    <a:pt x="56" y="738"/>
                    <a:pt x="57" y="738"/>
                    <a:pt x="59" y="737"/>
                  </a:cubicBezTo>
                  <a:cubicBezTo>
                    <a:pt x="59" y="737"/>
                    <a:pt x="59" y="736"/>
                    <a:pt x="60" y="736"/>
                  </a:cubicBezTo>
                  <a:cubicBezTo>
                    <a:pt x="63" y="734"/>
                    <a:pt x="67" y="732"/>
                    <a:pt x="70" y="730"/>
                  </a:cubicBezTo>
                  <a:cubicBezTo>
                    <a:pt x="71" y="730"/>
                    <a:pt x="71" y="730"/>
                    <a:pt x="72" y="730"/>
                  </a:cubicBezTo>
                  <a:cubicBezTo>
                    <a:pt x="76" y="727"/>
                    <a:pt x="80" y="725"/>
                    <a:pt x="84" y="723"/>
                  </a:cubicBezTo>
                  <a:cubicBezTo>
                    <a:pt x="89" y="721"/>
                    <a:pt x="94" y="718"/>
                    <a:pt x="99" y="716"/>
                  </a:cubicBezTo>
                  <a:cubicBezTo>
                    <a:pt x="100" y="716"/>
                    <a:pt x="100" y="716"/>
                    <a:pt x="100" y="715"/>
                  </a:cubicBezTo>
                  <a:cubicBezTo>
                    <a:pt x="102" y="715"/>
                    <a:pt x="103" y="714"/>
                    <a:pt x="105" y="713"/>
                  </a:cubicBezTo>
                  <a:cubicBezTo>
                    <a:pt x="105" y="713"/>
                    <a:pt x="106" y="713"/>
                    <a:pt x="106" y="713"/>
                  </a:cubicBezTo>
                  <a:cubicBezTo>
                    <a:pt x="107" y="712"/>
                    <a:pt x="108" y="712"/>
                    <a:pt x="109" y="711"/>
                  </a:cubicBezTo>
                  <a:cubicBezTo>
                    <a:pt x="110" y="711"/>
                    <a:pt x="110" y="711"/>
                    <a:pt x="111" y="711"/>
                  </a:cubicBezTo>
                  <a:cubicBezTo>
                    <a:pt x="113" y="710"/>
                    <a:pt x="116" y="708"/>
                    <a:pt x="119" y="707"/>
                  </a:cubicBezTo>
                  <a:cubicBezTo>
                    <a:pt x="119" y="707"/>
                    <a:pt x="120" y="707"/>
                    <a:pt x="120" y="707"/>
                  </a:cubicBezTo>
                  <a:cubicBezTo>
                    <a:pt x="120" y="707"/>
                    <a:pt x="120" y="706"/>
                    <a:pt x="121" y="706"/>
                  </a:cubicBezTo>
                  <a:cubicBezTo>
                    <a:pt x="121" y="706"/>
                    <a:pt x="122" y="706"/>
                    <a:pt x="122" y="706"/>
                  </a:cubicBezTo>
                  <a:cubicBezTo>
                    <a:pt x="122" y="706"/>
                    <a:pt x="123" y="705"/>
                    <a:pt x="123" y="705"/>
                  </a:cubicBezTo>
                  <a:cubicBezTo>
                    <a:pt x="123" y="705"/>
                    <a:pt x="124" y="705"/>
                    <a:pt x="124" y="705"/>
                  </a:cubicBezTo>
                  <a:cubicBezTo>
                    <a:pt x="124" y="705"/>
                    <a:pt x="125" y="705"/>
                    <a:pt x="125" y="705"/>
                  </a:cubicBezTo>
                  <a:cubicBezTo>
                    <a:pt x="126" y="704"/>
                    <a:pt x="127" y="704"/>
                    <a:pt x="128" y="703"/>
                  </a:cubicBezTo>
                  <a:cubicBezTo>
                    <a:pt x="129" y="703"/>
                    <a:pt x="130" y="702"/>
                    <a:pt x="131" y="702"/>
                  </a:cubicBezTo>
                  <a:cubicBezTo>
                    <a:pt x="132" y="702"/>
                    <a:pt x="132" y="702"/>
                    <a:pt x="132" y="701"/>
                  </a:cubicBezTo>
                  <a:cubicBezTo>
                    <a:pt x="133" y="701"/>
                    <a:pt x="133" y="701"/>
                    <a:pt x="133" y="701"/>
                  </a:cubicBezTo>
                  <a:cubicBezTo>
                    <a:pt x="134" y="701"/>
                    <a:pt x="134" y="701"/>
                    <a:pt x="134" y="701"/>
                  </a:cubicBezTo>
                  <a:cubicBezTo>
                    <a:pt x="135" y="700"/>
                    <a:pt x="136" y="700"/>
                    <a:pt x="137" y="700"/>
                  </a:cubicBezTo>
                  <a:cubicBezTo>
                    <a:pt x="137" y="700"/>
                    <a:pt x="137" y="699"/>
                    <a:pt x="137" y="699"/>
                  </a:cubicBezTo>
                  <a:cubicBezTo>
                    <a:pt x="138" y="699"/>
                    <a:pt x="138" y="699"/>
                    <a:pt x="139" y="699"/>
                  </a:cubicBezTo>
                  <a:cubicBezTo>
                    <a:pt x="139" y="699"/>
                    <a:pt x="139" y="699"/>
                    <a:pt x="139" y="699"/>
                  </a:cubicBezTo>
                  <a:cubicBezTo>
                    <a:pt x="140" y="698"/>
                    <a:pt x="142" y="698"/>
                    <a:pt x="143" y="697"/>
                  </a:cubicBezTo>
                  <a:cubicBezTo>
                    <a:pt x="144" y="697"/>
                    <a:pt x="144" y="697"/>
                    <a:pt x="144" y="697"/>
                  </a:cubicBezTo>
                  <a:cubicBezTo>
                    <a:pt x="145" y="697"/>
                    <a:pt x="145" y="696"/>
                    <a:pt x="145" y="696"/>
                  </a:cubicBezTo>
                  <a:cubicBezTo>
                    <a:pt x="147" y="696"/>
                    <a:pt x="148" y="695"/>
                    <a:pt x="149" y="695"/>
                  </a:cubicBezTo>
                  <a:cubicBezTo>
                    <a:pt x="150" y="695"/>
                    <a:pt x="150" y="694"/>
                    <a:pt x="150" y="694"/>
                  </a:cubicBezTo>
                  <a:cubicBezTo>
                    <a:pt x="151" y="694"/>
                    <a:pt x="151" y="694"/>
                    <a:pt x="151" y="694"/>
                  </a:cubicBezTo>
                  <a:cubicBezTo>
                    <a:pt x="154" y="693"/>
                    <a:pt x="156" y="692"/>
                    <a:pt x="158" y="691"/>
                  </a:cubicBezTo>
                  <a:cubicBezTo>
                    <a:pt x="159" y="691"/>
                    <a:pt x="160" y="691"/>
                    <a:pt x="161" y="690"/>
                  </a:cubicBezTo>
                  <a:cubicBezTo>
                    <a:pt x="163" y="690"/>
                    <a:pt x="164" y="689"/>
                    <a:pt x="165" y="689"/>
                  </a:cubicBezTo>
                  <a:cubicBezTo>
                    <a:pt x="166" y="688"/>
                    <a:pt x="166" y="688"/>
                    <a:pt x="167" y="688"/>
                  </a:cubicBezTo>
                  <a:cubicBezTo>
                    <a:pt x="170" y="687"/>
                    <a:pt x="174" y="685"/>
                    <a:pt x="178" y="684"/>
                  </a:cubicBezTo>
                  <a:cubicBezTo>
                    <a:pt x="178" y="684"/>
                    <a:pt x="179" y="684"/>
                    <a:pt x="179" y="684"/>
                  </a:cubicBezTo>
                  <a:cubicBezTo>
                    <a:pt x="181" y="683"/>
                    <a:pt x="184" y="682"/>
                    <a:pt x="186" y="681"/>
                  </a:cubicBezTo>
                  <a:cubicBezTo>
                    <a:pt x="186" y="681"/>
                    <a:pt x="187" y="681"/>
                    <a:pt x="187" y="681"/>
                  </a:cubicBezTo>
                  <a:cubicBezTo>
                    <a:pt x="190" y="680"/>
                    <a:pt x="194" y="678"/>
                    <a:pt x="197" y="677"/>
                  </a:cubicBezTo>
                  <a:cubicBezTo>
                    <a:pt x="198" y="677"/>
                    <a:pt x="198" y="677"/>
                    <a:pt x="198" y="677"/>
                  </a:cubicBezTo>
                  <a:cubicBezTo>
                    <a:pt x="200" y="676"/>
                    <a:pt x="202" y="675"/>
                    <a:pt x="204" y="675"/>
                  </a:cubicBezTo>
                  <a:cubicBezTo>
                    <a:pt x="204" y="675"/>
                    <a:pt x="205" y="675"/>
                    <a:pt x="205" y="675"/>
                  </a:cubicBezTo>
                  <a:cubicBezTo>
                    <a:pt x="211" y="672"/>
                    <a:pt x="218" y="670"/>
                    <a:pt x="224" y="668"/>
                  </a:cubicBezTo>
                  <a:cubicBezTo>
                    <a:pt x="225" y="668"/>
                    <a:pt x="226" y="668"/>
                    <a:pt x="227" y="667"/>
                  </a:cubicBezTo>
                  <a:cubicBezTo>
                    <a:pt x="229" y="667"/>
                    <a:pt x="231" y="666"/>
                    <a:pt x="232" y="665"/>
                  </a:cubicBezTo>
                  <a:cubicBezTo>
                    <a:pt x="233" y="665"/>
                    <a:pt x="233" y="665"/>
                    <a:pt x="234" y="665"/>
                  </a:cubicBezTo>
                  <a:cubicBezTo>
                    <a:pt x="250" y="660"/>
                    <a:pt x="266" y="655"/>
                    <a:pt x="283" y="650"/>
                  </a:cubicBezTo>
                  <a:cubicBezTo>
                    <a:pt x="283" y="650"/>
                    <a:pt x="283" y="650"/>
                    <a:pt x="284" y="650"/>
                  </a:cubicBezTo>
                  <a:cubicBezTo>
                    <a:pt x="306" y="643"/>
                    <a:pt x="328" y="637"/>
                    <a:pt x="348" y="632"/>
                  </a:cubicBezTo>
                  <a:cubicBezTo>
                    <a:pt x="349" y="632"/>
                    <a:pt x="349" y="632"/>
                    <a:pt x="350" y="632"/>
                  </a:cubicBezTo>
                  <a:cubicBezTo>
                    <a:pt x="351" y="631"/>
                    <a:pt x="353" y="631"/>
                    <a:pt x="355" y="630"/>
                  </a:cubicBezTo>
                  <a:cubicBezTo>
                    <a:pt x="358" y="629"/>
                    <a:pt x="360" y="629"/>
                    <a:pt x="363" y="628"/>
                  </a:cubicBezTo>
                  <a:cubicBezTo>
                    <a:pt x="364" y="628"/>
                    <a:pt x="365" y="628"/>
                    <a:pt x="366" y="627"/>
                  </a:cubicBezTo>
                  <a:cubicBezTo>
                    <a:pt x="371" y="626"/>
                    <a:pt x="377" y="624"/>
                    <a:pt x="382" y="623"/>
                  </a:cubicBezTo>
                  <a:cubicBezTo>
                    <a:pt x="390" y="621"/>
                    <a:pt x="397" y="619"/>
                    <a:pt x="405" y="617"/>
                  </a:cubicBezTo>
                  <a:moveTo>
                    <a:pt x="28" y="757"/>
                  </a:moveTo>
                  <a:cubicBezTo>
                    <a:pt x="26" y="759"/>
                    <a:pt x="23" y="761"/>
                    <a:pt x="21" y="762"/>
                  </a:cubicBezTo>
                  <a:cubicBezTo>
                    <a:pt x="21" y="762"/>
                    <a:pt x="21" y="763"/>
                    <a:pt x="21" y="763"/>
                  </a:cubicBezTo>
                  <a:cubicBezTo>
                    <a:pt x="18" y="765"/>
                    <a:pt x="16" y="768"/>
                    <a:pt x="13" y="770"/>
                  </a:cubicBezTo>
                  <a:cubicBezTo>
                    <a:pt x="13" y="770"/>
                    <a:pt x="13" y="771"/>
                    <a:pt x="13" y="771"/>
                  </a:cubicBezTo>
                  <a:cubicBezTo>
                    <a:pt x="10" y="774"/>
                    <a:pt x="8" y="777"/>
                    <a:pt x="7" y="779"/>
                  </a:cubicBezTo>
                  <a:cubicBezTo>
                    <a:pt x="6" y="780"/>
                    <a:pt x="6" y="780"/>
                    <a:pt x="6" y="780"/>
                  </a:cubicBezTo>
                  <a:cubicBezTo>
                    <a:pt x="6" y="780"/>
                    <a:pt x="6" y="781"/>
                    <a:pt x="6" y="781"/>
                  </a:cubicBezTo>
                  <a:cubicBezTo>
                    <a:pt x="4" y="784"/>
                    <a:pt x="3" y="786"/>
                    <a:pt x="2" y="789"/>
                  </a:cubicBezTo>
                  <a:cubicBezTo>
                    <a:pt x="2" y="789"/>
                    <a:pt x="2" y="790"/>
                    <a:pt x="1" y="790"/>
                  </a:cubicBezTo>
                  <a:cubicBezTo>
                    <a:pt x="1" y="792"/>
                    <a:pt x="0" y="795"/>
                    <a:pt x="0" y="797"/>
                  </a:cubicBezTo>
                  <a:cubicBezTo>
                    <a:pt x="0" y="798"/>
                    <a:pt x="0" y="798"/>
                    <a:pt x="0" y="799"/>
                  </a:cubicBezTo>
                  <a:cubicBezTo>
                    <a:pt x="0" y="799"/>
                    <a:pt x="0" y="799"/>
                    <a:pt x="0" y="799"/>
                  </a:cubicBezTo>
                  <a:cubicBezTo>
                    <a:pt x="0" y="799"/>
                    <a:pt x="0" y="800"/>
                    <a:pt x="0" y="800"/>
                  </a:cubicBezTo>
                  <a:cubicBezTo>
                    <a:pt x="0" y="802"/>
                    <a:pt x="0" y="803"/>
                    <a:pt x="0" y="805"/>
                  </a:cubicBezTo>
                  <a:cubicBezTo>
                    <a:pt x="1" y="806"/>
                    <a:pt x="1" y="806"/>
                    <a:pt x="1" y="807"/>
                  </a:cubicBezTo>
                  <a:cubicBezTo>
                    <a:pt x="5" y="823"/>
                    <a:pt x="23" y="839"/>
                    <a:pt x="59" y="854"/>
                  </a:cubicBezTo>
                  <a:cubicBezTo>
                    <a:pt x="60" y="854"/>
                    <a:pt x="60" y="855"/>
                    <a:pt x="60" y="855"/>
                  </a:cubicBezTo>
                  <a:cubicBezTo>
                    <a:pt x="62" y="855"/>
                    <a:pt x="63" y="856"/>
                    <a:pt x="65" y="857"/>
                  </a:cubicBezTo>
                  <a:cubicBezTo>
                    <a:pt x="65" y="857"/>
                    <a:pt x="66" y="857"/>
                    <a:pt x="66" y="857"/>
                  </a:cubicBezTo>
                  <a:cubicBezTo>
                    <a:pt x="70" y="859"/>
                    <a:pt x="74" y="860"/>
                    <a:pt x="78" y="861"/>
                  </a:cubicBezTo>
                  <a:cubicBezTo>
                    <a:pt x="78" y="862"/>
                    <a:pt x="79" y="862"/>
                    <a:pt x="79" y="862"/>
                  </a:cubicBezTo>
                  <a:cubicBezTo>
                    <a:pt x="85" y="864"/>
                    <a:pt x="92" y="866"/>
                    <a:pt x="98" y="868"/>
                  </a:cubicBezTo>
                  <a:cubicBezTo>
                    <a:pt x="99" y="868"/>
                    <a:pt x="99" y="868"/>
                    <a:pt x="100" y="868"/>
                  </a:cubicBezTo>
                  <a:cubicBezTo>
                    <a:pt x="111" y="872"/>
                    <a:pt x="124" y="875"/>
                    <a:pt x="138" y="879"/>
                  </a:cubicBezTo>
                  <a:cubicBezTo>
                    <a:pt x="139" y="879"/>
                    <a:pt x="139" y="879"/>
                    <a:pt x="139" y="879"/>
                  </a:cubicBezTo>
                  <a:cubicBezTo>
                    <a:pt x="144" y="880"/>
                    <a:pt x="148" y="881"/>
                    <a:pt x="153" y="882"/>
                  </a:cubicBezTo>
                  <a:cubicBezTo>
                    <a:pt x="153" y="882"/>
                    <a:pt x="154" y="882"/>
                    <a:pt x="155" y="881"/>
                  </a:cubicBezTo>
                  <a:cubicBezTo>
                    <a:pt x="150" y="880"/>
                    <a:pt x="145" y="879"/>
                    <a:pt x="140" y="878"/>
                  </a:cubicBezTo>
                  <a:cubicBezTo>
                    <a:pt x="140" y="878"/>
                    <a:pt x="139" y="878"/>
                    <a:pt x="139" y="878"/>
                  </a:cubicBezTo>
                  <a:cubicBezTo>
                    <a:pt x="125" y="875"/>
                    <a:pt x="112" y="871"/>
                    <a:pt x="100" y="868"/>
                  </a:cubicBezTo>
                  <a:cubicBezTo>
                    <a:pt x="100" y="867"/>
                    <a:pt x="100" y="867"/>
                    <a:pt x="99" y="867"/>
                  </a:cubicBezTo>
                  <a:cubicBezTo>
                    <a:pt x="92" y="865"/>
                    <a:pt x="86" y="863"/>
                    <a:pt x="80" y="861"/>
                  </a:cubicBezTo>
                  <a:cubicBezTo>
                    <a:pt x="79" y="861"/>
                    <a:pt x="79" y="861"/>
                    <a:pt x="79" y="861"/>
                  </a:cubicBezTo>
                  <a:cubicBezTo>
                    <a:pt x="75" y="859"/>
                    <a:pt x="71" y="858"/>
                    <a:pt x="67" y="856"/>
                  </a:cubicBezTo>
                  <a:cubicBezTo>
                    <a:pt x="67" y="856"/>
                    <a:pt x="66" y="856"/>
                    <a:pt x="66" y="856"/>
                  </a:cubicBezTo>
                  <a:cubicBezTo>
                    <a:pt x="64" y="855"/>
                    <a:pt x="63" y="855"/>
                    <a:pt x="62" y="854"/>
                  </a:cubicBezTo>
                  <a:cubicBezTo>
                    <a:pt x="61" y="854"/>
                    <a:pt x="61" y="854"/>
                    <a:pt x="60" y="854"/>
                  </a:cubicBezTo>
                  <a:cubicBezTo>
                    <a:pt x="25" y="839"/>
                    <a:pt x="7" y="824"/>
                    <a:pt x="2" y="809"/>
                  </a:cubicBezTo>
                  <a:cubicBezTo>
                    <a:pt x="2" y="808"/>
                    <a:pt x="2" y="807"/>
                    <a:pt x="2" y="807"/>
                  </a:cubicBezTo>
                  <a:cubicBezTo>
                    <a:pt x="1" y="804"/>
                    <a:pt x="1" y="802"/>
                    <a:pt x="1" y="800"/>
                  </a:cubicBezTo>
                  <a:cubicBezTo>
                    <a:pt x="1" y="800"/>
                    <a:pt x="1" y="800"/>
                    <a:pt x="1" y="800"/>
                  </a:cubicBezTo>
                  <a:cubicBezTo>
                    <a:pt x="1" y="799"/>
                    <a:pt x="1" y="799"/>
                    <a:pt x="1" y="798"/>
                  </a:cubicBezTo>
                  <a:cubicBezTo>
                    <a:pt x="1" y="798"/>
                    <a:pt x="1" y="798"/>
                    <a:pt x="1" y="798"/>
                  </a:cubicBezTo>
                  <a:cubicBezTo>
                    <a:pt x="1" y="796"/>
                    <a:pt x="2" y="793"/>
                    <a:pt x="2" y="791"/>
                  </a:cubicBezTo>
                  <a:cubicBezTo>
                    <a:pt x="2" y="790"/>
                    <a:pt x="2" y="790"/>
                    <a:pt x="3" y="790"/>
                  </a:cubicBezTo>
                  <a:cubicBezTo>
                    <a:pt x="4" y="787"/>
                    <a:pt x="5" y="784"/>
                    <a:pt x="6" y="781"/>
                  </a:cubicBezTo>
                  <a:cubicBezTo>
                    <a:pt x="7" y="781"/>
                    <a:pt x="7" y="781"/>
                    <a:pt x="7" y="780"/>
                  </a:cubicBezTo>
                  <a:cubicBezTo>
                    <a:pt x="7" y="780"/>
                    <a:pt x="7" y="780"/>
                    <a:pt x="7" y="780"/>
                  </a:cubicBezTo>
                  <a:cubicBezTo>
                    <a:pt x="7" y="780"/>
                    <a:pt x="7" y="780"/>
                    <a:pt x="8" y="779"/>
                  </a:cubicBezTo>
                  <a:cubicBezTo>
                    <a:pt x="9" y="777"/>
                    <a:pt x="11" y="774"/>
                    <a:pt x="14" y="771"/>
                  </a:cubicBezTo>
                  <a:cubicBezTo>
                    <a:pt x="14" y="771"/>
                    <a:pt x="14" y="771"/>
                    <a:pt x="14" y="771"/>
                  </a:cubicBezTo>
                  <a:cubicBezTo>
                    <a:pt x="17" y="768"/>
                    <a:pt x="19" y="765"/>
                    <a:pt x="22" y="763"/>
                  </a:cubicBezTo>
                  <a:cubicBezTo>
                    <a:pt x="22" y="762"/>
                    <a:pt x="23" y="762"/>
                    <a:pt x="23" y="762"/>
                  </a:cubicBezTo>
                  <a:cubicBezTo>
                    <a:pt x="23" y="762"/>
                    <a:pt x="24" y="761"/>
                    <a:pt x="24" y="761"/>
                  </a:cubicBezTo>
                  <a:cubicBezTo>
                    <a:pt x="24" y="761"/>
                    <a:pt x="25" y="760"/>
                    <a:pt x="25" y="760"/>
                  </a:cubicBezTo>
                  <a:cubicBezTo>
                    <a:pt x="26" y="759"/>
                    <a:pt x="27" y="758"/>
                    <a:pt x="28" y="757"/>
                  </a:cubicBezTo>
                  <a:moveTo>
                    <a:pt x="727" y="839"/>
                  </a:moveTo>
                  <a:cubicBezTo>
                    <a:pt x="727" y="839"/>
                    <a:pt x="727" y="839"/>
                    <a:pt x="727" y="839"/>
                  </a:cubicBezTo>
                  <a:cubicBezTo>
                    <a:pt x="723" y="839"/>
                    <a:pt x="718" y="839"/>
                    <a:pt x="713" y="839"/>
                  </a:cubicBezTo>
                  <a:cubicBezTo>
                    <a:pt x="713" y="839"/>
                    <a:pt x="714" y="840"/>
                    <a:pt x="714" y="840"/>
                  </a:cubicBezTo>
                  <a:cubicBezTo>
                    <a:pt x="719" y="840"/>
                    <a:pt x="723" y="840"/>
                    <a:pt x="727" y="840"/>
                  </a:cubicBezTo>
                  <a:cubicBezTo>
                    <a:pt x="731" y="840"/>
                    <a:pt x="735" y="840"/>
                    <a:pt x="738" y="840"/>
                  </a:cubicBezTo>
                  <a:cubicBezTo>
                    <a:pt x="738" y="840"/>
                    <a:pt x="738" y="839"/>
                    <a:pt x="737" y="839"/>
                  </a:cubicBezTo>
                  <a:cubicBezTo>
                    <a:pt x="734" y="839"/>
                    <a:pt x="731" y="839"/>
                    <a:pt x="727" y="839"/>
                  </a:cubicBezTo>
                  <a:moveTo>
                    <a:pt x="739" y="839"/>
                  </a:moveTo>
                  <a:cubicBezTo>
                    <a:pt x="739" y="839"/>
                    <a:pt x="740" y="840"/>
                    <a:pt x="740" y="840"/>
                  </a:cubicBezTo>
                  <a:cubicBezTo>
                    <a:pt x="745" y="840"/>
                    <a:pt x="749" y="841"/>
                    <a:pt x="753" y="841"/>
                  </a:cubicBezTo>
                  <a:cubicBezTo>
                    <a:pt x="752" y="841"/>
                    <a:pt x="752" y="840"/>
                    <a:pt x="751" y="840"/>
                  </a:cubicBezTo>
                  <a:cubicBezTo>
                    <a:pt x="747" y="840"/>
                    <a:pt x="743" y="839"/>
                    <a:pt x="739" y="839"/>
                  </a:cubicBezTo>
                  <a:moveTo>
                    <a:pt x="711" y="839"/>
                  </a:moveTo>
                  <a:cubicBezTo>
                    <a:pt x="708" y="839"/>
                    <a:pt x="704" y="840"/>
                    <a:pt x="701" y="840"/>
                  </a:cubicBezTo>
                  <a:cubicBezTo>
                    <a:pt x="701" y="840"/>
                    <a:pt x="701" y="841"/>
                    <a:pt x="702" y="841"/>
                  </a:cubicBezTo>
                  <a:cubicBezTo>
                    <a:pt x="705" y="841"/>
                    <a:pt x="709" y="840"/>
                    <a:pt x="713" y="840"/>
                  </a:cubicBezTo>
                  <a:cubicBezTo>
                    <a:pt x="712" y="840"/>
                    <a:pt x="712" y="840"/>
                    <a:pt x="711" y="839"/>
                  </a:cubicBezTo>
                  <a:moveTo>
                    <a:pt x="699" y="840"/>
                  </a:moveTo>
                  <a:cubicBezTo>
                    <a:pt x="696" y="840"/>
                    <a:pt x="692" y="841"/>
                    <a:pt x="688" y="841"/>
                  </a:cubicBezTo>
                  <a:cubicBezTo>
                    <a:pt x="688" y="841"/>
                    <a:pt x="688" y="842"/>
                    <a:pt x="689" y="842"/>
                  </a:cubicBezTo>
                  <a:cubicBezTo>
                    <a:pt x="693" y="842"/>
                    <a:pt x="696" y="841"/>
                    <a:pt x="700" y="841"/>
                  </a:cubicBezTo>
                  <a:cubicBezTo>
                    <a:pt x="700" y="841"/>
                    <a:pt x="700" y="840"/>
                    <a:pt x="699" y="840"/>
                  </a:cubicBezTo>
                  <a:moveTo>
                    <a:pt x="753" y="840"/>
                  </a:moveTo>
                  <a:cubicBezTo>
                    <a:pt x="754" y="841"/>
                    <a:pt x="755" y="841"/>
                    <a:pt x="755" y="842"/>
                  </a:cubicBezTo>
                  <a:cubicBezTo>
                    <a:pt x="760" y="842"/>
                    <a:pt x="765" y="843"/>
                    <a:pt x="769" y="844"/>
                  </a:cubicBezTo>
                  <a:cubicBezTo>
                    <a:pt x="768" y="844"/>
                    <a:pt x="767" y="843"/>
                    <a:pt x="766" y="842"/>
                  </a:cubicBezTo>
                  <a:cubicBezTo>
                    <a:pt x="762" y="842"/>
                    <a:pt x="758" y="841"/>
                    <a:pt x="753" y="840"/>
                  </a:cubicBezTo>
                  <a:moveTo>
                    <a:pt x="687" y="841"/>
                  </a:moveTo>
                  <a:cubicBezTo>
                    <a:pt x="683" y="842"/>
                    <a:pt x="679" y="842"/>
                    <a:pt x="675" y="843"/>
                  </a:cubicBezTo>
                  <a:cubicBezTo>
                    <a:pt x="676" y="843"/>
                    <a:pt x="676" y="843"/>
                    <a:pt x="676" y="844"/>
                  </a:cubicBezTo>
                  <a:cubicBezTo>
                    <a:pt x="680" y="843"/>
                    <a:pt x="684" y="843"/>
                    <a:pt x="687" y="842"/>
                  </a:cubicBezTo>
                  <a:cubicBezTo>
                    <a:pt x="687" y="842"/>
                    <a:pt x="687" y="842"/>
                    <a:pt x="687" y="841"/>
                  </a:cubicBezTo>
                  <a:moveTo>
                    <a:pt x="674" y="843"/>
                  </a:moveTo>
                  <a:cubicBezTo>
                    <a:pt x="670" y="843"/>
                    <a:pt x="666" y="844"/>
                    <a:pt x="661" y="845"/>
                  </a:cubicBezTo>
                  <a:cubicBezTo>
                    <a:pt x="661" y="845"/>
                    <a:pt x="662" y="845"/>
                    <a:pt x="662" y="846"/>
                  </a:cubicBezTo>
                  <a:cubicBezTo>
                    <a:pt x="666" y="845"/>
                    <a:pt x="671" y="844"/>
                    <a:pt x="675" y="844"/>
                  </a:cubicBezTo>
                  <a:cubicBezTo>
                    <a:pt x="675" y="843"/>
                    <a:pt x="674" y="843"/>
                    <a:pt x="674" y="843"/>
                  </a:cubicBezTo>
                  <a:moveTo>
                    <a:pt x="770" y="843"/>
                  </a:moveTo>
                  <a:cubicBezTo>
                    <a:pt x="770" y="844"/>
                    <a:pt x="771" y="844"/>
                    <a:pt x="772" y="845"/>
                  </a:cubicBezTo>
                  <a:cubicBezTo>
                    <a:pt x="777" y="846"/>
                    <a:pt x="782" y="848"/>
                    <a:pt x="786" y="850"/>
                  </a:cubicBezTo>
                  <a:cubicBezTo>
                    <a:pt x="786" y="850"/>
                    <a:pt x="787" y="850"/>
                    <a:pt x="787" y="850"/>
                  </a:cubicBezTo>
                  <a:cubicBezTo>
                    <a:pt x="792" y="852"/>
                    <a:pt x="797" y="855"/>
                    <a:pt x="801" y="858"/>
                  </a:cubicBezTo>
                  <a:cubicBezTo>
                    <a:pt x="799" y="856"/>
                    <a:pt x="796" y="854"/>
                    <a:pt x="794" y="852"/>
                  </a:cubicBezTo>
                  <a:cubicBezTo>
                    <a:pt x="792" y="851"/>
                    <a:pt x="790" y="850"/>
                    <a:pt x="788" y="849"/>
                  </a:cubicBezTo>
                  <a:cubicBezTo>
                    <a:pt x="787" y="849"/>
                    <a:pt x="787" y="849"/>
                    <a:pt x="787" y="849"/>
                  </a:cubicBezTo>
                  <a:cubicBezTo>
                    <a:pt x="781" y="847"/>
                    <a:pt x="776" y="845"/>
                    <a:pt x="770" y="843"/>
                  </a:cubicBezTo>
                  <a:moveTo>
                    <a:pt x="660" y="845"/>
                  </a:moveTo>
                  <a:cubicBezTo>
                    <a:pt x="656" y="846"/>
                    <a:pt x="651" y="846"/>
                    <a:pt x="647" y="847"/>
                  </a:cubicBezTo>
                  <a:cubicBezTo>
                    <a:pt x="647" y="847"/>
                    <a:pt x="647" y="848"/>
                    <a:pt x="647" y="848"/>
                  </a:cubicBezTo>
                  <a:cubicBezTo>
                    <a:pt x="648" y="848"/>
                    <a:pt x="650" y="848"/>
                    <a:pt x="651" y="847"/>
                  </a:cubicBezTo>
                  <a:cubicBezTo>
                    <a:pt x="654" y="847"/>
                    <a:pt x="658" y="846"/>
                    <a:pt x="661" y="846"/>
                  </a:cubicBezTo>
                  <a:cubicBezTo>
                    <a:pt x="661" y="846"/>
                    <a:pt x="660" y="845"/>
                    <a:pt x="660" y="845"/>
                  </a:cubicBezTo>
                  <a:moveTo>
                    <a:pt x="646" y="847"/>
                  </a:moveTo>
                  <a:cubicBezTo>
                    <a:pt x="638" y="849"/>
                    <a:pt x="631" y="850"/>
                    <a:pt x="624" y="851"/>
                  </a:cubicBezTo>
                  <a:cubicBezTo>
                    <a:pt x="612" y="854"/>
                    <a:pt x="601" y="856"/>
                    <a:pt x="589" y="858"/>
                  </a:cubicBezTo>
                  <a:cubicBezTo>
                    <a:pt x="588" y="859"/>
                    <a:pt x="587" y="859"/>
                    <a:pt x="586" y="859"/>
                  </a:cubicBezTo>
                  <a:cubicBezTo>
                    <a:pt x="585" y="859"/>
                    <a:pt x="584" y="860"/>
                    <a:pt x="583" y="860"/>
                  </a:cubicBezTo>
                  <a:cubicBezTo>
                    <a:pt x="583" y="860"/>
                    <a:pt x="582" y="860"/>
                    <a:pt x="581" y="860"/>
                  </a:cubicBezTo>
                  <a:cubicBezTo>
                    <a:pt x="579" y="861"/>
                    <a:pt x="576" y="861"/>
                    <a:pt x="573" y="862"/>
                  </a:cubicBezTo>
                  <a:cubicBezTo>
                    <a:pt x="572" y="862"/>
                    <a:pt x="572" y="862"/>
                    <a:pt x="572" y="862"/>
                  </a:cubicBezTo>
                  <a:cubicBezTo>
                    <a:pt x="570" y="863"/>
                    <a:pt x="569" y="863"/>
                    <a:pt x="567" y="863"/>
                  </a:cubicBezTo>
                  <a:cubicBezTo>
                    <a:pt x="565" y="864"/>
                    <a:pt x="563" y="864"/>
                    <a:pt x="561" y="864"/>
                  </a:cubicBezTo>
                  <a:cubicBezTo>
                    <a:pt x="546" y="868"/>
                    <a:pt x="530" y="871"/>
                    <a:pt x="515" y="875"/>
                  </a:cubicBezTo>
                  <a:cubicBezTo>
                    <a:pt x="514" y="875"/>
                    <a:pt x="514" y="875"/>
                    <a:pt x="514" y="875"/>
                  </a:cubicBezTo>
                  <a:cubicBezTo>
                    <a:pt x="497" y="878"/>
                    <a:pt x="479" y="882"/>
                    <a:pt x="462" y="885"/>
                  </a:cubicBezTo>
                  <a:cubicBezTo>
                    <a:pt x="462" y="885"/>
                    <a:pt x="461" y="885"/>
                    <a:pt x="461" y="886"/>
                  </a:cubicBezTo>
                  <a:cubicBezTo>
                    <a:pt x="451" y="887"/>
                    <a:pt x="441" y="889"/>
                    <a:pt x="430" y="891"/>
                  </a:cubicBezTo>
                  <a:cubicBezTo>
                    <a:pt x="422" y="893"/>
                    <a:pt x="413" y="894"/>
                    <a:pt x="405" y="896"/>
                  </a:cubicBezTo>
                  <a:cubicBezTo>
                    <a:pt x="424" y="893"/>
                    <a:pt x="443" y="890"/>
                    <a:pt x="462" y="886"/>
                  </a:cubicBezTo>
                  <a:cubicBezTo>
                    <a:pt x="462" y="886"/>
                    <a:pt x="462" y="886"/>
                    <a:pt x="463" y="886"/>
                  </a:cubicBezTo>
                  <a:cubicBezTo>
                    <a:pt x="480" y="883"/>
                    <a:pt x="497" y="879"/>
                    <a:pt x="514" y="876"/>
                  </a:cubicBezTo>
                  <a:cubicBezTo>
                    <a:pt x="515" y="876"/>
                    <a:pt x="515" y="876"/>
                    <a:pt x="515" y="875"/>
                  </a:cubicBezTo>
                  <a:cubicBezTo>
                    <a:pt x="529" y="873"/>
                    <a:pt x="542" y="870"/>
                    <a:pt x="555" y="867"/>
                  </a:cubicBezTo>
                  <a:cubicBezTo>
                    <a:pt x="558" y="866"/>
                    <a:pt x="560" y="866"/>
                    <a:pt x="562" y="865"/>
                  </a:cubicBezTo>
                  <a:cubicBezTo>
                    <a:pt x="565" y="865"/>
                    <a:pt x="569" y="864"/>
                    <a:pt x="572" y="863"/>
                  </a:cubicBezTo>
                  <a:cubicBezTo>
                    <a:pt x="573" y="863"/>
                    <a:pt x="573" y="863"/>
                    <a:pt x="573" y="863"/>
                  </a:cubicBezTo>
                  <a:cubicBezTo>
                    <a:pt x="577" y="862"/>
                    <a:pt x="580" y="861"/>
                    <a:pt x="584" y="861"/>
                  </a:cubicBezTo>
                  <a:cubicBezTo>
                    <a:pt x="585" y="860"/>
                    <a:pt x="585" y="860"/>
                    <a:pt x="586" y="860"/>
                  </a:cubicBezTo>
                  <a:cubicBezTo>
                    <a:pt x="587" y="860"/>
                    <a:pt x="588" y="860"/>
                    <a:pt x="589" y="860"/>
                  </a:cubicBezTo>
                  <a:cubicBezTo>
                    <a:pt x="589" y="859"/>
                    <a:pt x="590" y="859"/>
                    <a:pt x="590" y="859"/>
                  </a:cubicBezTo>
                  <a:cubicBezTo>
                    <a:pt x="591" y="859"/>
                    <a:pt x="592" y="859"/>
                    <a:pt x="594" y="859"/>
                  </a:cubicBezTo>
                  <a:cubicBezTo>
                    <a:pt x="594" y="858"/>
                    <a:pt x="594" y="858"/>
                    <a:pt x="595" y="858"/>
                  </a:cubicBezTo>
                  <a:cubicBezTo>
                    <a:pt x="595" y="858"/>
                    <a:pt x="595" y="858"/>
                    <a:pt x="595" y="858"/>
                  </a:cubicBezTo>
                  <a:cubicBezTo>
                    <a:pt x="597" y="858"/>
                    <a:pt x="598" y="858"/>
                    <a:pt x="600" y="857"/>
                  </a:cubicBezTo>
                  <a:cubicBezTo>
                    <a:pt x="600" y="857"/>
                    <a:pt x="601" y="857"/>
                    <a:pt x="602" y="857"/>
                  </a:cubicBezTo>
                  <a:cubicBezTo>
                    <a:pt x="602" y="857"/>
                    <a:pt x="602" y="857"/>
                    <a:pt x="602" y="857"/>
                  </a:cubicBezTo>
                  <a:cubicBezTo>
                    <a:pt x="604" y="856"/>
                    <a:pt x="606" y="856"/>
                    <a:pt x="608" y="856"/>
                  </a:cubicBezTo>
                  <a:cubicBezTo>
                    <a:pt x="608" y="855"/>
                    <a:pt x="609" y="855"/>
                    <a:pt x="609" y="855"/>
                  </a:cubicBezTo>
                  <a:cubicBezTo>
                    <a:pt x="611" y="855"/>
                    <a:pt x="614" y="854"/>
                    <a:pt x="616" y="854"/>
                  </a:cubicBezTo>
                  <a:cubicBezTo>
                    <a:pt x="619" y="853"/>
                    <a:pt x="621" y="853"/>
                    <a:pt x="624" y="852"/>
                  </a:cubicBezTo>
                  <a:cubicBezTo>
                    <a:pt x="631" y="851"/>
                    <a:pt x="639" y="850"/>
                    <a:pt x="646" y="848"/>
                  </a:cubicBezTo>
                  <a:cubicBezTo>
                    <a:pt x="646" y="848"/>
                    <a:pt x="646" y="848"/>
                    <a:pt x="646" y="847"/>
                  </a:cubicBezTo>
                  <a:moveTo>
                    <a:pt x="802" y="857"/>
                  </a:moveTo>
                  <a:cubicBezTo>
                    <a:pt x="804" y="859"/>
                    <a:pt x="806" y="861"/>
                    <a:pt x="808" y="863"/>
                  </a:cubicBezTo>
                  <a:cubicBezTo>
                    <a:pt x="818" y="873"/>
                    <a:pt x="826" y="886"/>
                    <a:pt x="831" y="903"/>
                  </a:cubicBezTo>
                  <a:cubicBezTo>
                    <a:pt x="831" y="903"/>
                    <a:pt x="832" y="904"/>
                    <a:pt x="832" y="904"/>
                  </a:cubicBezTo>
                  <a:cubicBezTo>
                    <a:pt x="832" y="906"/>
                    <a:pt x="833" y="908"/>
                    <a:pt x="833" y="910"/>
                  </a:cubicBezTo>
                  <a:cubicBezTo>
                    <a:pt x="833" y="910"/>
                    <a:pt x="833" y="910"/>
                    <a:pt x="833" y="910"/>
                  </a:cubicBezTo>
                  <a:cubicBezTo>
                    <a:pt x="833" y="910"/>
                    <a:pt x="833" y="910"/>
                    <a:pt x="833" y="910"/>
                  </a:cubicBezTo>
                  <a:cubicBezTo>
                    <a:pt x="842" y="919"/>
                    <a:pt x="852" y="928"/>
                    <a:pt x="862" y="937"/>
                  </a:cubicBezTo>
                  <a:cubicBezTo>
                    <a:pt x="863" y="938"/>
                    <a:pt x="863" y="938"/>
                    <a:pt x="864" y="939"/>
                  </a:cubicBezTo>
                  <a:cubicBezTo>
                    <a:pt x="876" y="950"/>
                    <a:pt x="889" y="961"/>
                    <a:pt x="902" y="973"/>
                  </a:cubicBezTo>
                  <a:cubicBezTo>
                    <a:pt x="903" y="973"/>
                    <a:pt x="903" y="973"/>
                    <a:pt x="904" y="974"/>
                  </a:cubicBezTo>
                  <a:cubicBezTo>
                    <a:pt x="906" y="976"/>
                    <a:pt x="909" y="978"/>
                    <a:pt x="911" y="980"/>
                  </a:cubicBezTo>
                  <a:cubicBezTo>
                    <a:pt x="912" y="981"/>
                    <a:pt x="913" y="981"/>
                    <a:pt x="913" y="982"/>
                  </a:cubicBezTo>
                  <a:cubicBezTo>
                    <a:pt x="921" y="989"/>
                    <a:pt x="930" y="996"/>
                    <a:pt x="938" y="1003"/>
                  </a:cubicBezTo>
                  <a:cubicBezTo>
                    <a:pt x="939" y="1003"/>
                    <a:pt x="939" y="1004"/>
                    <a:pt x="940" y="1004"/>
                  </a:cubicBezTo>
                  <a:cubicBezTo>
                    <a:pt x="947" y="1010"/>
                    <a:pt x="955" y="1016"/>
                    <a:pt x="962" y="1022"/>
                  </a:cubicBezTo>
                  <a:cubicBezTo>
                    <a:pt x="963" y="1023"/>
                    <a:pt x="964" y="1024"/>
                    <a:pt x="965" y="1024"/>
                  </a:cubicBezTo>
                  <a:cubicBezTo>
                    <a:pt x="971" y="1029"/>
                    <a:pt x="977" y="1034"/>
                    <a:pt x="984" y="1039"/>
                  </a:cubicBezTo>
                  <a:cubicBezTo>
                    <a:pt x="985" y="1040"/>
                    <a:pt x="986" y="1041"/>
                    <a:pt x="987" y="1042"/>
                  </a:cubicBezTo>
                  <a:cubicBezTo>
                    <a:pt x="992" y="1046"/>
                    <a:pt x="998" y="1051"/>
                    <a:pt x="1003" y="1055"/>
                  </a:cubicBezTo>
                  <a:cubicBezTo>
                    <a:pt x="1005" y="1056"/>
                    <a:pt x="1006" y="1057"/>
                    <a:pt x="1008" y="1058"/>
                  </a:cubicBezTo>
                  <a:cubicBezTo>
                    <a:pt x="1012" y="1062"/>
                    <a:pt x="1017" y="1065"/>
                    <a:pt x="1021" y="1069"/>
                  </a:cubicBezTo>
                  <a:cubicBezTo>
                    <a:pt x="1023" y="1070"/>
                    <a:pt x="1025" y="1072"/>
                    <a:pt x="1027" y="1073"/>
                  </a:cubicBezTo>
                  <a:cubicBezTo>
                    <a:pt x="1030" y="1075"/>
                    <a:pt x="1033" y="1078"/>
                    <a:pt x="1036" y="1080"/>
                  </a:cubicBezTo>
                  <a:cubicBezTo>
                    <a:pt x="1038" y="1082"/>
                    <a:pt x="1040" y="1083"/>
                    <a:pt x="1043" y="1085"/>
                  </a:cubicBezTo>
                  <a:cubicBezTo>
                    <a:pt x="1050" y="1090"/>
                    <a:pt x="1057" y="1096"/>
                    <a:pt x="1064" y="1101"/>
                  </a:cubicBezTo>
                  <a:cubicBezTo>
                    <a:pt x="1232" y="1226"/>
                    <a:pt x="1422" y="1342"/>
                    <a:pt x="1506" y="1342"/>
                  </a:cubicBezTo>
                  <a:cubicBezTo>
                    <a:pt x="1522" y="1342"/>
                    <a:pt x="1535" y="1337"/>
                    <a:pt x="1542" y="1327"/>
                  </a:cubicBezTo>
                  <a:cubicBezTo>
                    <a:pt x="1542" y="1327"/>
                    <a:pt x="1542" y="1327"/>
                    <a:pt x="1542" y="1327"/>
                  </a:cubicBezTo>
                  <a:cubicBezTo>
                    <a:pt x="1534" y="1336"/>
                    <a:pt x="1522" y="1341"/>
                    <a:pt x="1506" y="1341"/>
                  </a:cubicBezTo>
                  <a:cubicBezTo>
                    <a:pt x="1506" y="1341"/>
                    <a:pt x="1506" y="1341"/>
                    <a:pt x="1506" y="1341"/>
                  </a:cubicBezTo>
                  <a:cubicBezTo>
                    <a:pt x="1426" y="1341"/>
                    <a:pt x="1249" y="1234"/>
                    <a:pt x="1086" y="1116"/>
                  </a:cubicBezTo>
                  <a:cubicBezTo>
                    <a:pt x="1079" y="1111"/>
                    <a:pt x="1071" y="1105"/>
                    <a:pt x="1064" y="1100"/>
                  </a:cubicBezTo>
                  <a:cubicBezTo>
                    <a:pt x="1062" y="1098"/>
                    <a:pt x="1059" y="1096"/>
                    <a:pt x="1056" y="1094"/>
                  </a:cubicBezTo>
                  <a:cubicBezTo>
                    <a:pt x="1053" y="1092"/>
                    <a:pt x="1050" y="1089"/>
                    <a:pt x="1046" y="1087"/>
                  </a:cubicBezTo>
                  <a:cubicBezTo>
                    <a:pt x="1042" y="1084"/>
                    <a:pt x="1038" y="1080"/>
                    <a:pt x="1034" y="1077"/>
                  </a:cubicBezTo>
                  <a:cubicBezTo>
                    <a:pt x="1032" y="1076"/>
                    <a:pt x="1030" y="1074"/>
                    <a:pt x="1028" y="1073"/>
                  </a:cubicBezTo>
                  <a:cubicBezTo>
                    <a:pt x="1023" y="1069"/>
                    <a:pt x="1018" y="1065"/>
                    <a:pt x="1013" y="1061"/>
                  </a:cubicBezTo>
                  <a:cubicBezTo>
                    <a:pt x="1011" y="1060"/>
                    <a:pt x="1010" y="1059"/>
                    <a:pt x="1008" y="1058"/>
                  </a:cubicBezTo>
                  <a:cubicBezTo>
                    <a:pt x="1002" y="1053"/>
                    <a:pt x="997" y="1048"/>
                    <a:pt x="991" y="1044"/>
                  </a:cubicBezTo>
                  <a:cubicBezTo>
                    <a:pt x="990" y="1043"/>
                    <a:pt x="989" y="1042"/>
                    <a:pt x="987" y="1041"/>
                  </a:cubicBezTo>
                  <a:cubicBezTo>
                    <a:pt x="981" y="1036"/>
                    <a:pt x="974" y="1031"/>
                    <a:pt x="968" y="1025"/>
                  </a:cubicBezTo>
                  <a:cubicBezTo>
                    <a:pt x="967" y="1025"/>
                    <a:pt x="966" y="1024"/>
                    <a:pt x="965" y="1023"/>
                  </a:cubicBezTo>
                  <a:cubicBezTo>
                    <a:pt x="957" y="1017"/>
                    <a:pt x="950" y="1011"/>
                    <a:pt x="943" y="1005"/>
                  </a:cubicBezTo>
                  <a:cubicBezTo>
                    <a:pt x="942" y="1004"/>
                    <a:pt x="941" y="1004"/>
                    <a:pt x="941" y="1003"/>
                  </a:cubicBezTo>
                  <a:cubicBezTo>
                    <a:pt x="932" y="996"/>
                    <a:pt x="923" y="989"/>
                    <a:pt x="915" y="982"/>
                  </a:cubicBezTo>
                  <a:cubicBezTo>
                    <a:pt x="915" y="982"/>
                    <a:pt x="914" y="981"/>
                    <a:pt x="914" y="981"/>
                  </a:cubicBezTo>
                  <a:cubicBezTo>
                    <a:pt x="911" y="979"/>
                    <a:pt x="908" y="976"/>
                    <a:pt x="906" y="974"/>
                  </a:cubicBezTo>
                  <a:cubicBezTo>
                    <a:pt x="905" y="974"/>
                    <a:pt x="905" y="973"/>
                    <a:pt x="904" y="973"/>
                  </a:cubicBezTo>
                  <a:cubicBezTo>
                    <a:pt x="891" y="961"/>
                    <a:pt x="878" y="950"/>
                    <a:pt x="865" y="939"/>
                  </a:cubicBezTo>
                  <a:cubicBezTo>
                    <a:pt x="865" y="938"/>
                    <a:pt x="864" y="938"/>
                    <a:pt x="864" y="938"/>
                  </a:cubicBezTo>
                  <a:cubicBezTo>
                    <a:pt x="853" y="928"/>
                    <a:pt x="843" y="919"/>
                    <a:pt x="834" y="910"/>
                  </a:cubicBezTo>
                  <a:cubicBezTo>
                    <a:pt x="834" y="908"/>
                    <a:pt x="833" y="906"/>
                    <a:pt x="833" y="904"/>
                  </a:cubicBezTo>
                  <a:cubicBezTo>
                    <a:pt x="833" y="904"/>
                    <a:pt x="832" y="903"/>
                    <a:pt x="832" y="903"/>
                  </a:cubicBezTo>
                  <a:cubicBezTo>
                    <a:pt x="827" y="882"/>
                    <a:pt x="816" y="867"/>
                    <a:pt x="802" y="857"/>
                  </a:cubicBezTo>
                  <a:moveTo>
                    <a:pt x="1451" y="868"/>
                  </a:moveTo>
                  <a:cubicBezTo>
                    <a:pt x="1452" y="889"/>
                    <a:pt x="1452" y="910"/>
                    <a:pt x="1453" y="932"/>
                  </a:cubicBezTo>
                  <a:cubicBezTo>
                    <a:pt x="1453" y="933"/>
                    <a:pt x="1453" y="934"/>
                    <a:pt x="1454" y="935"/>
                  </a:cubicBezTo>
                  <a:cubicBezTo>
                    <a:pt x="1453" y="914"/>
                    <a:pt x="1453" y="893"/>
                    <a:pt x="1452" y="873"/>
                  </a:cubicBezTo>
                  <a:cubicBezTo>
                    <a:pt x="1452" y="871"/>
                    <a:pt x="1451" y="869"/>
                    <a:pt x="1451" y="868"/>
                  </a:cubicBezTo>
                  <a:moveTo>
                    <a:pt x="156" y="882"/>
                  </a:moveTo>
                  <a:cubicBezTo>
                    <a:pt x="156" y="882"/>
                    <a:pt x="155" y="882"/>
                    <a:pt x="155" y="882"/>
                  </a:cubicBezTo>
                  <a:cubicBezTo>
                    <a:pt x="162" y="884"/>
                    <a:pt x="170" y="886"/>
                    <a:pt x="178" y="887"/>
                  </a:cubicBezTo>
                  <a:cubicBezTo>
                    <a:pt x="179" y="887"/>
                    <a:pt x="180" y="887"/>
                    <a:pt x="180" y="887"/>
                  </a:cubicBezTo>
                  <a:cubicBezTo>
                    <a:pt x="172" y="885"/>
                    <a:pt x="164" y="884"/>
                    <a:pt x="156" y="882"/>
                  </a:cubicBezTo>
                  <a:moveTo>
                    <a:pt x="182" y="887"/>
                  </a:moveTo>
                  <a:cubicBezTo>
                    <a:pt x="182" y="887"/>
                    <a:pt x="181" y="888"/>
                    <a:pt x="180" y="888"/>
                  </a:cubicBezTo>
                  <a:cubicBezTo>
                    <a:pt x="186" y="889"/>
                    <a:pt x="191" y="890"/>
                    <a:pt x="197" y="891"/>
                  </a:cubicBezTo>
                  <a:cubicBezTo>
                    <a:pt x="197" y="891"/>
                    <a:pt x="197" y="891"/>
                    <a:pt x="198" y="891"/>
                  </a:cubicBezTo>
                  <a:cubicBezTo>
                    <a:pt x="199" y="891"/>
                    <a:pt x="201" y="892"/>
                    <a:pt x="202" y="892"/>
                  </a:cubicBezTo>
                  <a:cubicBezTo>
                    <a:pt x="203" y="892"/>
                    <a:pt x="204" y="892"/>
                    <a:pt x="204" y="891"/>
                  </a:cubicBezTo>
                  <a:cubicBezTo>
                    <a:pt x="202" y="891"/>
                    <a:pt x="200" y="891"/>
                    <a:pt x="198" y="890"/>
                  </a:cubicBezTo>
                  <a:cubicBezTo>
                    <a:pt x="198" y="890"/>
                    <a:pt x="197" y="890"/>
                    <a:pt x="197" y="890"/>
                  </a:cubicBezTo>
                  <a:cubicBezTo>
                    <a:pt x="192" y="889"/>
                    <a:pt x="187" y="888"/>
                    <a:pt x="182" y="887"/>
                  </a:cubicBezTo>
                  <a:moveTo>
                    <a:pt x="206" y="892"/>
                  </a:moveTo>
                  <a:cubicBezTo>
                    <a:pt x="206" y="892"/>
                    <a:pt x="205" y="892"/>
                    <a:pt x="204" y="892"/>
                  </a:cubicBezTo>
                  <a:cubicBezTo>
                    <a:pt x="212" y="894"/>
                    <a:pt x="220" y="895"/>
                    <a:pt x="228" y="896"/>
                  </a:cubicBezTo>
                  <a:cubicBezTo>
                    <a:pt x="228" y="896"/>
                    <a:pt x="229" y="896"/>
                    <a:pt x="230" y="896"/>
                  </a:cubicBezTo>
                  <a:cubicBezTo>
                    <a:pt x="222" y="894"/>
                    <a:pt x="214" y="893"/>
                    <a:pt x="206" y="892"/>
                  </a:cubicBezTo>
                  <a:moveTo>
                    <a:pt x="405" y="895"/>
                  </a:moveTo>
                  <a:cubicBezTo>
                    <a:pt x="395" y="896"/>
                    <a:pt x="384" y="898"/>
                    <a:pt x="374" y="899"/>
                  </a:cubicBezTo>
                  <a:cubicBezTo>
                    <a:pt x="372" y="899"/>
                    <a:pt x="371" y="899"/>
                    <a:pt x="370" y="899"/>
                  </a:cubicBezTo>
                  <a:cubicBezTo>
                    <a:pt x="369" y="899"/>
                    <a:pt x="368" y="899"/>
                    <a:pt x="366" y="900"/>
                  </a:cubicBezTo>
                  <a:cubicBezTo>
                    <a:pt x="363" y="900"/>
                    <a:pt x="360" y="901"/>
                    <a:pt x="357" y="901"/>
                  </a:cubicBezTo>
                  <a:cubicBezTo>
                    <a:pt x="360" y="901"/>
                    <a:pt x="364" y="901"/>
                    <a:pt x="367" y="900"/>
                  </a:cubicBezTo>
                  <a:cubicBezTo>
                    <a:pt x="368" y="900"/>
                    <a:pt x="369" y="900"/>
                    <a:pt x="370" y="900"/>
                  </a:cubicBezTo>
                  <a:cubicBezTo>
                    <a:pt x="374" y="900"/>
                    <a:pt x="379" y="899"/>
                    <a:pt x="383" y="899"/>
                  </a:cubicBezTo>
                  <a:cubicBezTo>
                    <a:pt x="390" y="898"/>
                    <a:pt x="398" y="896"/>
                    <a:pt x="405" y="895"/>
                  </a:cubicBezTo>
                  <a:moveTo>
                    <a:pt x="232" y="896"/>
                  </a:moveTo>
                  <a:cubicBezTo>
                    <a:pt x="231" y="896"/>
                    <a:pt x="230" y="896"/>
                    <a:pt x="230" y="897"/>
                  </a:cubicBezTo>
                  <a:cubicBezTo>
                    <a:pt x="234" y="897"/>
                    <a:pt x="238" y="898"/>
                    <a:pt x="243" y="899"/>
                  </a:cubicBezTo>
                  <a:cubicBezTo>
                    <a:pt x="245" y="899"/>
                    <a:pt x="246" y="899"/>
                    <a:pt x="248" y="900"/>
                  </a:cubicBezTo>
                  <a:cubicBezTo>
                    <a:pt x="249" y="899"/>
                    <a:pt x="250" y="899"/>
                    <a:pt x="251" y="899"/>
                  </a:cubicBezTo>
                  <a:cubicBezTo>
                    <a:pt x="248" y="899"/>
                    <a:pt x="246" y="898"/>
                    <a:pt x="243" y="898"/>
                  </a:cubicBezTo>
                  <a:cubicBezTo>
                    <a:pt x="239" y="897"/>
                    <a:pt x="236" y="897"/>
                    <a:pt x="232" y="896"/>
                  </a:cubicBezTo>
                  <a:moveTo>
                    <a:pt x="253" y="899"/>
                  </a:moveTo>
                  <a:cubicBezTo>
                    <a:pt x="252" y="899"/>
                    <a:pt x="252" y="900"/>
                    <a:pt x="251" y="900"/>
                  </a:cubicBezTo>
                  <a:cubicBezTo>
                    <a:pt x="257" y="901"/>
                    <a:pt x="263" y="901"/>
                    <a:pt x="268" y="902"/>
                  </a:cubicBezTo>
                  <a:cubicBezTo>
                    <a:pt x="269" y="902"/>
                    <a:pt x="270" y="901"/>
                    <a:pt x="271" y="901"/>
                  </a:cubicBezTo>
                  <a:cubicBezTo>
                    <a:pt x="265" y="901"/>
                    <a:pt x="259" y="900"/>
                    <a:pt x="253" y="899"/>
                  </a:cubicBezTo>
                  <a:moveTo>
                    <a:pt x="357" y="900"/>
                  </a:moveTo>
                  <a:cubicBezTo>
                    <a:pt x="349" y="901"/>
                    <a:pt x="340" y="902"/>
                    <a:pt x="332" y="902"/>
                  </a:cubicBezTo>
                  <a:cubicBezTo>
                    <a:pt x="330" y="902"/>
                    <a:pt x="328" y="903"/>
                    <a:pt x="326" y="903"/>
                  </a:cubicBezTo>
                  <a:cubicBezTo>
                    <a:pt x="334" y="903"/>
                    <a:pt x="341" y="903"/>
                    <a:pt x="348" y="902"/>
                  </a:cubicBezTo>
                  <a:cubicBezTo>
                    <a:pt x="351" y="901"/>
                    <a:pt x="354" y="901"/>
                    <a:pt x="357" y="900"/>
                  </a:cubicBezTo>
                  <a:moveTo>
                    <a:pt x="274" y="901"/>
                  </a:moveTo>
                  <a:cubicBezTo>
                    <a:pt x="273" y="902"/>
                    <a:pt x="272" y="902"/>
                    <a:pt x="271" y="902"/>
                  </a:cubicBezTo>
                  <a:cubicBezTo>
                    <a:pt x="280" y="903"/>
                    <a:pt x="288" y="903"/>
                    <a:pt x="296" y="903"/>
                  </a:cubicBezTo>
                  <a:cubicBezTo>
                    <a:pt x="297" y="903"/>
                    <a:pt x="298" y="903"/>
                    <a:pt x="300" y="902"/>
                  </a:cubicBezTo>
                  <a:cubicBezTo>
                    <a:pt x="291" y="902"/>
                    <a:pt x="283" y="902"/>
                    <a:pt x="274" y="901"/>
                  </a:cubicBezTo>
                  <a:moveTo>
                    <a:pt x="326" y="902"/>
                  </a:moveTo>
                  <a:cubicBezTo>
                    <a:pt x="320" y="902"/>
                    <a:pt x="314" y="902"/>
                    <a:pt x="308" y="902"/>
                  </a:cubicBezTo>
                  <a:cubicBezTo>
                    <a:pt x="307" y="902"/>
                    <a:pt x="305" y="902"/>
                    <a:pt x="304" y="902"/>
                  </a:cubicBezTo>
                  <a:cubicBezTo>
                    <a:pt x="303" y="903"/>
                    <a:pt x="301" y="903"/>
                    <a:pt x="300" y="903"/>
                  </a:cubicBezTo>
                  <a:cubicBezTo>
                    <a:pt x="300" y="903"/>
                    <a:pt x="300" y="903"/>
                    <a:pt x="301" y="903"/>
                  </a:cubicBezTo>
                  <a:cubicBezTo>
                    <a:pt x="303" y="903"/>
                    <a:pt x="305" y="903"/>
                    <a:pt x="308" y="903"/>
                  </a:cubicBezTo>
                  <a:cubicBezTo>
                    <a:pt x="312" y="903"/>
                    <a:pt x="317" y="903"/>
                    <a:pt x="321" y="903"/>
                  </a:cubicBezTo>
                  <a:cubicBezTo>
                    <a:pt x="323" y="903"/>
                    <a:pt x="324" y="903"/>
                    <a:pt x="326" y="902"/>
                  </a:cubicBezTo>
                  <a:moveTo>
                    <a:pt x="1453" y="936"/>
                  </a:moveTo>
                  <a:cubicBezTo>
                    <a:pt x="1453" y="951"/>
                    <a:pt x="1453" y="966"/>
                    <a:pt x="1453" y="981"/>
                  </a:cubicBezTo>
                  <a:cubicBezTo>
                    <a:pt x="1454" y="982"/>
                    <a:pt x="1454" y="983"/>
                    <a:pt x="1454" y="983"/>
                  </a:cubicBezTo>
                  <a:cubicBezTo>
                    <a:pt x="1454" y="969"/>
                    <a:pt x="1454" y="954"/>
                    <a:pt x="1454" y="939"/>
                  </a:cubicBezTo>
                  <a:cubicBezTo>
                    <a:pt x="1453" y="938"/>
                    <a:pt x="1453" y="937"/>
                    <a:pt x="1453" y="936"/>
                  </a:cubicBezTo>
                  <a:moveTo>
                    <a:pt x="1453" y="984"/>
                  </a:moveTo>
                  <a:cubicBezTo>
                    <a:pt x="1454" y="998"/>
                    <a:pt x="1454" y="1012"/>
                    <a:pt x="1455" y="1026"/>
                  </a:cubicBezTo>
                  <a:cubicBezTo>
                    <a:pt x="1456" y="1026"/>
                    <a:pt x="1456" y="1027"/>
                    <a:pt x="1457" y="1028"/>
                  </a:cubicBezTo>
                  <a:cubicBezTo>
                    <a:pt x="1455" y="1014"/>
                    <a:pt x="1455" y="1000"/>
                    <a:pt x="1454" y="986"/>
                  </a:cubicBezTo>
                  <a:cubicBezTo>
                    <a:pt x="1454" y="985"/>
                    <a:pt x="1454" y="984"/>
                    <a:pt x="1453" y="984"/>
                  </a:cubicBezTo>
                  <a:moveTo>
                    <a:pt x="1456" y="1028"/>
                  </a:moveTo>
                  <a:cubicBezTo>
                    <a:pt x="1457" y="1042"/>
                    <a:pt x="1458" y="1056"/>
                    <a:pt x="1461" y="1069"/>
                  </a:cubicBezTo>
                  <a:cubicBezTo>
                    <a:pt x="1461" y="1070"/>
                    <a:pt x="1462" y="1071"/>
                    <a:pt x="1462" y="1072"/>
                  </a:cubicBezTo>
                  <a:cubicBezTo>
                    <a:pt x="1460" y="1058"/>
                    <a:pt x="1458" y="1045"/>
                    <a:pt x="1457" y="1031"/>
                  </a:cubicBezTo>
                  <a:cubicBezTo>
                    <a:pt x="1456" y="1030"/>
                    <a:pt x="1456" y="1029"/>
                    <a:pt x="1456" y="1028"/>
                  </a:cubicBezTo>
                  <a:moveTo>
                    <a:pt x="1461" y="1072"/>
                  </a:moveTo>
                  <a:cubicBezTo>
                    <a:pt x="1466" y="1097"/>
                    <a:pt x="1473" y="1120"/>
                    <a:pt x="1485" y="1141"/>
                  </a:cubicBezTo>
                  <a:cubicBezTo>
                    <a:pt x="1488" y="1146"/>
                    <a:pt x="1491" y="1151"/>
                    <a:pt x="1494" y="1155"/>
                  </a:cubicBezTo>
                  <a:cubicBezTo>
                    <a:pt x="1492" y="1152"/>
                    <a:pt x="1490" y="1149"/>
                    <a:pt x="1488" y="1146"/>
                  </a:cubicBezTo>
                  <a:cubicBezTo>
                    <a:pt x="1476" y="1124"/>
                    <a:pt x="1468" y="1100"/>
                    <a:pt x="1463" y="1074"/>
                  </a:cubicBezTo>
                  <a:cubicBezTo>
                    <a:pt x="1462" y="1074"/>
                    <a:pt x="1462" y="1073"/>
                    <a:pt x="1461" y="1072"/>
                  </a:cubicBezTo>
                  <a:moveTo>
                    <a:pt x="1493" y="1156"/>
                  </a:moveTo>
                  <a:cubicBezTo>
                    <a:pt x="1513" y="1190"/>
                    <a:pt x="1527" y="1219"/>
                    <a:pt x="1536" y="1243"/>
                  </a:cubicBezTo>
                  <a:cubicBezTo>
                    <a:pt x="1537" y="1244"/>
                    <a:pt x="1537" y="1245"/>
                    <a:pt x="1538" y="1246"/>
                  </a:cubicBezTo>
                  <a:cubicBezTo>
                    <a:pt x="1530" y="1225"/>
                    <a:pt x="1519" y="1200"/>
                    <a:pt x="1502" y="1170"/>
                  </a:cubicBezTo>
                  <a:cubicBezTo>
                    <a:pt x="1499" y="1165"/>
                    <a:pt x="1496" y="1161"/>
                    <a:pt x="1493" y="1156"/>
                  </a:cubicBezTo>
                  <a:moveTo>
                    <a:pt x="1537" y="1247"/>
                  </a:moveTo>
                  <a:cubicBezTo>
                    <a:pt x="1542" y="1259"/>
                    <a:pt x="1545" y="1270"/>
                    <a:pt x="1547" y="1279"/>
                  </a:cubicBezTo>
                  <a:cubicBezTo>
                    <a:pt x="1547" y="1280"/>
                    <a:pt x="1548" y="1280"/>
                    <a:pt x="1548" y="1281"/>
                  </a:cubicBezTo>
                  <a:cubicBezTo>
                    <a:pt x="1546" y="1272"/>
                    <a:pt x="1543" y="1262"/>
                    <a:pt x="1539" y="1250"/>
                  </a:cubicBezTo>
                  <a:cubicBezTo>
                    <a:pt x="1539" y="1249"/>
                    <a:pt x="1538" y="1248"/>
                    <a:pt x="1537" y="1247"/>
                  </a:cubicBezTo>
                  <a:moveTo>
                    <a:pt x="1547" y="1281"/>
                  </a:moveTo>
                  <a:cubicBezTo>
                    <a:pt x="1548" y="1288"/>
                    <a:pt x="1549" y="1294"/>
                    <a:pt x="1549" y="1300"/>
                  </a:cubicBezTo>
                  <a:cubicBezTo>
                    <a:pt x="1549" y="1302"/>
                    <a:pt x="1549" y="1304"/>
                    <a:pt x="1549" y="1306"/>
                  </a:cubicBezTo>
                  <a:cubicBezTo>
                    <a:pt x="1549" y="1307"/>
                    <a:pt x="1549" y="1307"/>
                    <a:pt x="1550" y="1307"/>
                  </a:cubicBezTo>
                  <a:cubicBezTo>
                    <a:pt x="1550" y="1305"/>
                    <a:pt x="1550" y="1303"/>
                    <a:pt x="1550" y="1300"/>
                  </a:cubicBezTo>
                  <a:cubicBezTo>
                    <a:pt x="1550" y="1295"/>
                    <a:pt x="1549" y="1289"/>
                    <a:pt x="1548" y="1283"/>
                  </a:cubicBezTo>
                  <a:cubicBezTo>
                    <a:pt x="1548" y="1283"/>
                    <a:pt x="1547" y="1282"/>
                    <a:pt x="1547" y="1281"/>
                  </a:cubicBezTo>
                  <a:moveTo>
                    <a:pt x="1548" y="1308"/>
                  </a:moveTo>
                  <a:cubicBezTo>
                    <a:pt x="1548" y="1315"/>
                    <a:pt x="1545" y="1321"/>
                    <a:pt x="1542" y="1326"/>
                  </a:cubicBezTo>
                  <a:cubicBezTo>
                    <a:pt x="1542" y="1326"/>
                    <a:pt x="1543" y="1326"/>
                    <a:pt x="1543" y="1327"/>
                  </a:cubicBezTo>
                  <a:cubicBezTo>
                    <a:pt x="1546" y="1322"/>
                    <a:pt x="1548" y="1316"/>
                    <a:pt x="1549" y="1309"/>
                  </a:cubicBezTo>
                  <a:cubicBezTo>
                    <a:pt x="1549" y="1308"/>
                    <a:pt x="1549" y="1308"/>
                    <a:pt x="1548" y="1308"/>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66" name="Freeform 95"/>
            <p:cNvSpPr>
              <a:spLocks noEditPoints="1"/>
            </p:cNvSpPr>
            <p:nvPr userDrawn="1"/>
          </p:nvSpPr>
          <p:spPr bwMode="auto">
            <a:xfrm>
              <a:off x="2057" y="3819"/>
              <a:ext cx="3247" cy="2750"/>
            </a:xfrm>
            <a:custGeom>
              <a:avLst/>
              <a:gdLst>
                <a:gd name="T0" fmla="*/ 2147483646 w 1602"/>
                <a:gd name="T1" fmla="*/ 2147483646 h 1356"/>
                <a:gd name="T2" fmla="*/ 2147483646 w 1602"/>
                <a:gd name="T3" fmla="*/ 2147483646 h 1356"/>
                <a:gd name="T4" fmla="*/ 2147483646 w 1602"/>
                <a:gd name="T5" fmla="*/ 2147483646 h 1356"/>
                <a:gd name="T6" fmla="*/ 2147483646 w 1602"/>
                <a:gd name="T7" fmla="*/ 2147483646 h 1356"/>
                <a:gd name="T8" fmla="*/ 2147483646 w 1602"/>
                <a:gd name="T9" fmla="*/ 2147483646 h 1356"/>
                <a:gd name="T10" fmla="*/ 2147483646 w 1602"/>
                <a:gd name="T11" fmla="*/ 2147483646 h 1356"/>
                <a:gd name="T12" fmla="*/ 2147483646 w 1602"/>
                <a:gd name="T13" fmla="*/ 2147483646 h 1356"/>
                <a:gd name="T14" fmla="*/ 2147483646 w 1602"/>
                <a:gd name="T15" fmla="*/ 2147483646 h 1356"/>
                <a:gd name="T16" fmla="*/ 2147483646 w 1602"/>
                <a:gd name="T17" fmla="*/ 2147483646 h 1356"/>
                <a:gd name="T18" fmla="*/ 2147483646 w 1602"/>
                <a:gd name="T19" fmla="*/ 2147483646 h 1356"/>
                <a:gd name="T20" fmla="*/ 2147483646 w 1602"/>
                <a:gd name="T21" fmla="*/ 2147483646 h 1356"/>
                <a:gd name="T22" fmla="*/ 2147483646 w 1602"/>
                <a:gd name="T23" fmla="*/ 2147483646 h 1356"/>
                <a:gd name="T24" fmla="*/ 2147483646 w 1602"/>
                <a:gd name="T25" fmla="*/ 2147483646 h 1356"/>
                <a:gd name="T26" fmla="*/ 2147483646 w 1602"/>
                <a:gd name="T27" fmla="*/ 2147483646 h 1356"/>
                <a:gd name="T28" fmla="*/ 2147483646 w 1602"/>
                <a:gd name="T29" fmla="*/ 2147483646 h 1356"/>
                <a:gd name="T30" fmla="*/ 2147483646 w 1602"/>
                <a:gd name="T31" fmla="*/ 2147483646 h 1356"/>
                <a:gd name="T32" fmla="*/ 2147483646 w 1602"/>
                <a:gd name="T33" fmla="*/ 2147483646 h 1356"/>
                <a:gd name="T34" fmla="*/ 2147483646 w 1602"/>
                <a:gd name="T35" fmla="*/ 2147483646 h 1356"/>
                <a:gd name="T36" fmla="*/ 2147483646 w 1602"/>
                <a:gd name="T37" fmla="*/ 2147483646 h 1356"/>
                <a:gd name="T38" fmla="*/ 2147483646 w 1602"/>
                <a:gd name="T39" fmla="*/ 2147483646 h 1356"/>
                <a:gd name="T40" fmla="*/ 2147483646 w 1602"/>
                <a:gd name="T41" fmla="*/ 2147483646 h 1356"/>
                <a:gd name="T42" fmla="*/ 2147483646 w 1602"/>
                <a:gd name="T43" fmla="*/ 2147483646 h 1356"/>
                <a:gd name="T44" fmla="*/ 2147483646 w 1602"/>
                <a:gd name="T45" fmla="*/ 2147483646 h 1356"/>
                <a:gd name="T46" fmla="*/ 2147483646 w 1602"/>
                <a:gd name="T47" fmla="*/ 2147483646 h 1356"/>
                <a:gd name="T48" fmla="*/ 2147483646 w 1602"/>
                <a:gd name="T49" fmla="*/ 2147483646 h 1356"/>
                <a:gd name="T50" fmla="*/ 2147483646 w 1602"/>
                <a:gd name="T51" fmla="*/ 2147483646 h 1356"/>
                <a:gd name="T52" fmla="*/ 2147483646 w 1602"/>
                <a:gd name="T53" fmla="*/ 2147483646 h 1356"/>
                <a:gd name="T54" fmla="*/ 2147483646 w 1602"/>
                <a:gd name="T55" fmla="*/ 2147483646 h 1356"/>
                <a:gd name="T56" fmla="*/ 2147483646 w 1602"/>
                <a:gd name="T57" fmla="*/ 2147483646 h 1356"/>
                <a:gd name="T58" fmla="*/ 2147483646 w 1602"/>
                <a:gd name="T59" fmla="*/ 2147483646 h 1356"/>
                <a:gd name="T60" fmla="*/ 2147483646 w 1602"/>
                <a:gd name="T61" fmla="*/ 2147483646 h 1356"/>
                <a:gd name="T62" fmla="*/ 2147483646 w 1602"/>
                <a:gd name="T63" fmla="*/ 2147483646 h 1356"/>
                <a:gd name="T64" fmla="*/ 2147483646 w 1602"/>
                <a:gd name="T65" fmla="*/ 2147483646 h 1356"/>
                <a:gd name="T66" fmla="*/ 2147483646 w 1602"/>
                <a:gd name="T67" fmla="*/ 2147483646 h 1356"/>
                <a:gd name="T68" fmla="*/ 2147483646 w 1602"/>
                <a:gd name="T69" fmla="*/ 2147483646 h 1356"/>
                <a:gd name="T70" fmla="*/ 2147483646 w 1602"/>
                <a:gd name="T71" fmla="*/ 2147483646 h 1356"/>
                <a:gd name="T72" fmla="*/ 2147483646 w 1602"/>
                <a:gd name="T73" fmla="*/ 2147483646 h 1356"/>
                <a:gd name="T74" fmla="*/ 2147483646 w 1602"/>
                <a:gd name="T75" fmla="*/ 2147483646 h 1356"/>
                <a:gd name="T76" fmla="*/ 2147483646 w 1602"/>
                <a:gd name="T77" fmla="*/ 2147483646 h 1356"/>
                <a:gd name="T78" fmla="*/ 2147483646 w 1602"/>
                <a:gd name="T79" fmla="*/ 2147483646 h 1356"/>
                <a:gd name="T80" fmla="*/ 2147483646 w 1602"/>
                <a:gd name="T81" fmla="*/ 2147483646 h 1356"/>
                <a:gd name="T82" fmla="*/ 2147483646 w 1602"/>
                <a:gd name="T83" fmla="*/ 2147483646 h 1356"/>
                <a:gd name="T84" fmla="*/ 2147483646 w 1602"/>
                <a:gd name="T85" fmla="*/ 2147483646 h 1356"/>
                <a:gd name="T86" fmla="*/ 2147483646 w 1602"/>
                <a:gd name="T87" fmla="*/ 2147483646 h 1356"/>
                <a:gd name="T88" fmla="*/ 2147483646 w 1602"/>
                <a:gd name="T89" fmla="*/ 2147483646 h 1356"/>
                <a:gd name="T90" fmla="*/ 2147483646 w 1602"/>
                <a:gd name="T91" fmla="*/ 2147483646 h 1356"/>
                <a:gd name="T92" fmla="*/ 2147483646 w 1602"/>
                <a:gd name="T93" fmla="*/ 2147483646 h 1356"/>
                <a:gd name="T94" fmla="*/ 2147483646 w 1602"/>
                <a:gd name="T95" fmla="*/ 2147483646 h 1356"/>
                <a:gd name="T96" fmla="*/ 2147483646 w 1602"/>
                <a:gd name="T97" fmla="*/ 2147483646 h 1356"/>
                <a:gd name="T98" fmla="*/ 2147483646 w 1602"/>
                <a:gd name="T99" fmla="*/ 2147483646 h 1356"/>
                <a:gd name="T100" fmla="*/ 2147483646 w 1602"/>
                <a:gd name="T101" fmla="*/ 2147483646 h 1356"/>
                <a:gd name="T102" fmla="*/ 2147483646 w 1602"/>
                <a:gd name="T103" fmla="*/ 2147483646 h 1356"/>
                <a:gd name="T104" fmla="*/ 2147483646 w 1602"/>
                <a:gd name="T105" fmla="*/ 2147483646 h 1356"/>
                <a:gd name="T106" fmla="*/ 2147483646 w 1602"/>
                <a:gd name="T107" fmla="*/ 2147483646 h 1356"/>
                <a:gd name="T108" fmla="*/ 2147483646 w 1602"/>
                <a:gd name="T109" fmla="*/ 2147483646 h 1356"/>
                <a:gd name="T110" fmla="*/ 2147483646 w 1602"/>
                <a:gd name="T111" fmla="*/ 2147483646 h 1356"/>
                <a:gd name="T112" fmla="*/ 2147483646 w 1602"/>
                <a:gd name="T113" fmla="*/ 2147483646 h 1356"/>
                <a:gd name="T114" fmla="*/ 2147483646 w 1602"/>
                <a:gd name="T115" fmla="*/ 2147483646 h 1356"/>
                <a:gd name="T116" fmla="*/ 2147483646 w 1602"/>
                <a:gd name="T117" fmla="*/ 2147483646 h 1356"/>
                <a:gd name="T118" fmla="*/ 2147483646 w 1602"/>
                <a:gd name="T119" fmla="*/ 2147483646 h 1356"/>
                <a:gd name="T120" fmla="*/ 2147483646 w 1602"/>
                <a:gd name="T121" fmla="*/ 2147483646 h 135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602" h="1356">
                  <a:moveTo>
                    <a:pt x="1251" y="0"/>
                  </a:moveTo>
                  <a:cubicBezTo>
                    <a:pt x="1243" y="0"/>
                    <a:pt x="1234" y="0"/>
                    <a:pt x="1226" y="1"/>
                  </a:cubicBezTo>
                  <a:cubicBezTo>
                    <a:pt x="1225" y="1"/>
                    <a:pt x="1225" y="1"/>
                    <a:pt x="1225" y="1"/>
                  </a:cubicBezTo>
                  <a:cubicBezTo>
                    <a:pt x="1224" y="1"/>
                    <a:pt x="1224" y="1"/>
                    <a:pt x="1223" y="1"/>
                  </a:cubicBezTo>
                  <a:cubicBezTo>
                    <a:pt x="1223" y="1"/>
                    <a:pt x="1222" y="1"/>
                    <a:pt x="1222" y="1"/>
                  </a:cubicBezTo>
                  <a:cubicBezTo>
                    <a:pt x="1220" y="1"/>
                    <a:pt x="1219" y="2"/>
                    <a:pt x="1218" y="2"/>
                  </a:cubicBezTo>
                  <a:cubicBezTo>
                    <a:pt x="1217" y="2"/>
                    <a:pt x="1217" y="2"/>
                    <a:pt x="1216" y="2"/>
                  </a:cubicBezTo>
                  <a:cubicBezTo>
                    <a:pt x="1216" y="2"/>
                    <a:pt x="1216" y="2"/>
                    <a:pt x="1215" y="2"/>
                  </a:cubicBezTo>
                  <a:cubicBezTo>
                    <a:pt x="1215" y="2"/>
                    <a:pt x="1215" y="2"/>
                    <a:pt x="1215" y="2"/>
                  </a:cubicBezTo>
                  <a:cubicBezTo>
                    <a:pt x="1214" y="2"/>
                    <a:pt x="1213" y="2"/>
                    <a:pt x="1213" y="2"/>
                  </a:cubicBezTo>
                  <a:cubicBezTo>
                    <a:pt x="1212" y="2"/>
                    <a:pt x="1212" y="3"/>
                    <a:pt x="1211" y="3"/>
                  </a:cubicBezTo>
                  <a:cubicBezTo>
                    <a:pt x="1211" y="3"/>
                    <a:pt x="1210" y="3"/>
                    <a:pt x="1210" y="3"/>
                  </a:cubicBezTo>
                  <a:cubicBezTo>
                    <a:pt x="1209" y="3"/>
                    <a:pt x="1209" y="3"/>
                    <a:pt x="1208" y="3"/>
                  </a:cubicBezTo>
                  <a:cubicBezTo>
                    <a:pt x="1206" y="3"/>
                    <a:pt x="1203" y="4"/>
                    <a:pt x="1200" y="4"/>
                  </a:cubicBezTo>
                  <a:cubicBezTo>
                    <a:pt x="1200" y="5"/>
                    <a:pt x="1199" y="5"/>
                    <a:pt x="1199" y="5"/>
                  </a:cubicBezTo>
                  <a:cubicBezTo>
                    <a:pt x="1196" y="5"/>
                    <a:pt x="1193" y="6"/>
                    <a:pt x="1190" y="7"/>
                  </a:cubicBezTo>
                  <a:cubicBezTo>
                    <a:pt x="1190" y="7"/>
                    <a:pt x="1189" y="7"/>
                    <a:pt x="1189" y="7"/>
                  </a:cubicBezTo>
                  <a:cubicBezTo>
                    <a:pt x="1188" y="7"/>
                    <a:pt x="1186" y="8"/>
                    <a:pt x="1185" y="8"/>
                  </a:cubicBezTo>
                  <a:cubicBezTo>
                    <a:pt x="1185" y="8"/>
                    <a:pt x="1184" y="8"/>
                    <a:pt x="1184" y="8"/>
                  </a:cubicBezTo>
                  <a:cubicBezTo>
                    <a:pt x="1183" y="9"/>
                    <a:pt x="1182" y="9"/>
                    <a:pt x="1180" y="9"/>
                  </a:cubicBezTo>
                  <a:cubicBezTo>
                    <a:pt x="1180" y="9"/>
                    <a:pt x="1179" y="10"/>
                    <a:pt x="1179" y="10"/>
                  </a:cubicBezTo>
                  <a:cubicBezTo>
                    <a:pt x="1178" y="10"/>
                    <a:pt x="1177" y="10"/>
                    <a:pt x="1176" y="10"/>
                  </a:cubicBezTo>
                  <a:cubicBezTo>
                    <a:pt x="1175" y="11"/>
                    <a:pt x="1174" y="11"/>
                    <a:pt x="1173" y="11"/>
                  </a:cubicBezTo>
                  <a:cubicBezTo>
                    <a:pt x="1173" y="11"/>
                    <a:pt x="1173" y="11"/>
                    <a:pt x="1173" y="12"/>
                  </a:cubicBezTo>
                  <a:cubicBezTo>
                    <a:pt x="1172" y="12"/>
                    <a:pt x="1172" y="12"/>
                    <a:pt x="1171" y="12"/>
                  </a:cubicBezTo>
                  <a:cubicBezTo>
                    <a:pt x="1166" y="14"/>
                    <a:pt x="1162" y="15"/>
                    <a:pt x="1157" y="17"/>
                  </a:cubicBezTo>
                  <a:cubicBezTo>
                    <a:pt x="1157" y="17"/>
                    <a:pt x="1156" y="18"/>
                    <a:pt x="1156" y="18"/>
                  </a:cubicBezTo>
                  <a:cubicBezTo>
                    <a:pt x="1153" y="19"/>
                    <a:pt x="1151" y="20"/>
                    <a:pt x="1149" y="21"/>
                  </a:cubicBezTo>
                  <a:cubicBezTo>
                    <a:pt x="1148" y="21"/>
                    <a:pt x="1148" y="21"/>
                    <a:pt x="1148" y="22"/>
                  </a:cubicBezTo>
                  <a:cubicBezTo>
                    <a:pt x="1140" y="25"/>
                    <a:pt x="1133" y="29"/>
                    <a:pt x="1126" y="33"/>
                  </a:cubicBezTo>
                  <a:cubicBezTo>
                    <a:pt x="1125" y="34"/>
                    <a:pt x="1124" y="34"/>
                    <a:pt x="1124" y="35"/>
                  </a:cubicBezTo>
                  <a:cubicBezTo>
                    <a:pt x="1122" y="36"/>
                    <a:pt x="1121" y="36"/>
                    <a:pt x="1120" y="37"/>
                  </a:cubicBezTo>
                  <a:cubicBezTo>
                    <a:pt x="1120" y="37"/>
                    <a:pt x="1121" y="37"/>
                    <a:pt x="1122" y="37"/>
                  </a:cubicBezTo>
                  <a:cubicBezTo>
                    <a:pt x="1123" y="36"/>
                    <a:pt x="1124" y="36"/>
                    <a:pt x="1124" y="35"/>
                  </a:cubicBezTo>
                  <a:cubicBezTo>
                    <a:pt x="1132" y="31"/>
                    <a:pt x="1139" y="27"/>
                    <a:pt x="1147" y="23"/>
                  </a:cubicBezTo>
                  <a:cubicBezTo>
                    <a:pt x="1148" y="23"/>
                    <a:pt x="1148" y="22"/>
                    <a:pt x="1148" y="22"/>
                  </a:cubicBezTo>
                  <a:cubicBezTo>
                    <a:pt x="1151" y="21"/>
                    <a:pt x="1153" y="20"/>
                    <a:pt x="1155" y="19"/>
                  </a:cubicBezTo>
                  <a:cubicBezTo>
                    <a:pt x="1155" y="19"/>
                    <a:pt x="1156" y="19"/>
                    <a:pt x="1156" y="19"/>
                  </a:cubicBezTo>
                  <a:cubicBezTo>
                    <a:pt x="1161" y="17"/>
                    <a:pt x="1165" y="15"/>
                    <a:pt x="1170" y="14"/>
                  </a:cubicBezTo>
                  <a:cubicBezTo>
                    <a:pt x="1170" y="14"/>
                    <a:pt x="1170" y="13"/>
                    <a:pt x="1171" y="13"/>
                  </a:cubicBezTo>
                  <a:cubicBezTo>
                    <a:pt x="1172" y="13"/>
                    <a:pt x="1173" y="13"/>
                    <a:pt x="1174" y="12"/>
                  </a:cubicBezTo>
                  <a:cubicBezTo>
                    <a:pt x="1175" y="12"/>
                    <a:pt x="1176" y="11"/>
                    <a:pt x="1178" y="11"/>
                  </a:cubicBezTo>
                  <a:cubicBezTo>
                    <a:pt x="1178" y="11"/>
                    <a:pt x="1179" y="11"/>
                    <a:pt x="1179" y="11"/>
                  </a:cubicBezTo>
                  <a:cubicBezTo>
                    <a:pt x="1181" y="10"/>
                    <a:pt x="1182" y="10"/>
                    <a:pt x="1183" y="10"/>
                  </a:cubicBezTo>
                  <a:cubicBezTo>
                    <a:pt x="1184" y="9"/>
                    <a:pt x="1184" y="9"/>
                    <a:pt x="1184" y="9"/>
                  </a:cubicBezTo>
                  <a:cubicBezTo>
                    <a:pt x="1186" y="9"/>
                    <a:pt x="1187" y="9"/>
                    <a:pt x="1188" y="8"/>
                  </a:cubicBezTo>
                  <a:cubicBezTo>
                    <a:pt x="1188" y="8"/>
                    <a:pt x="1189" y="8"/>
                    <a:pt x="1189" y="8"/>
                  </a:cubicBezTo>
                  <a:cubicBezTo>
                    <a:pt x="1192" y="7"/>
                    <a:pt x="1195" y="7"/>
                    <a:pt x="1198" y="6"/>
                  </a:cubicBezTo>
                  <a:cubicBezTo>
                    <a:pt x="1199" y="6"/>
                    <a:pt x="1199" y="6"/>
                    <a:pt x="1200" y="6"/>
                  </a:cubicBezTo>
                  <a:cubicBezTo>
                    <a:pt x="1202" y="5"/>
                    <a:pt x="1205" y="5"/>
                    <a:pt x="1208" y="4"/>
                  </a:cubicBezTo>
                  <a:cubicBezTo>
                    <a:pt x="1208" y="4"/>
                    <a:pt x="1209" y="4"/>
                    <a:pt x="1209" y="4"/>
                  </a:cubicBezTo>
                  <a:cubicBezTo>
                    <a:pt x="1210" y="4"/>
                    <a:pt x="1210" y="4"/>
                    <a:pt x="1211" y="4"/>
                  </a:cubicBezTo>
                  <a:cubicBezTo>
                    <a:pt x="1211" y="4"/>
                    <a:pt x="1211" y="4"/>
                    <a:pt x="1212" y="4"/>
                  </a:cubicBezTo>
                  <a:cubicBezTo>
                    <a:pt x="1213" y="3"/>
                    <a:pt x="1213" y="3"/>
                    <a:pt x="1214" y="3"/>
                  </a:cubicBezTo>
                  <a:cubicBezTo>
                    <a:pt x="1214" y="3"/>
                    <a:pt x="1214" y="3"/>
                    <a:pt x="1215" y="3"/>
                  </a:cubicBezTo>
                  <a:cubicBezTo>
                    <a:pt x="1215" y="3"/>
                    <a:pt x="1215" y="3"/>
                    <a:pt x="1216" y="3"/>
                  </a:cubicBezTo>
                  <a:cubicBezTo>
                    <a:pt x="1216" y="3"/>
                    <a:pt x="1216" y="3"/>
                    <a:pt x="1217" y="3"/>
                  </a:cubicBezTo>
                  <a:cubicBezTo>
                    <a:pt x="1218" y="3"/>
                    <a:pt x="1220" y="2"/>
                    <a:pt x="1221" y="2"/>
                  </a:cubicBezTo>
                  <a:cubicBezTo>
                    <a:pt x="1222" y="2"/>
                    <a:pt x="1222" y="2"/>
                    <a:pt x="1222" y="2"/>
                  </a:cubicBezTo>
                  <a:cubicBezTo>
                    <a:pt x="1223" y="2"/>
                    <a:pt x="1224" y="2"/>
                    <a:pt x="1224" y="2"/>
                  </a:cubicBezTo>
                  <a:cubicBezTo>
                    <a:pt x="1224" y="2"/>
                    <a:pt x="1225" y="2"/>
                    <a:pt x="1225" y="2"/>
                  </a:cubicBezTo>
                  <a:cubicBezTo>
                    <a:pt x="1234" y="1"/>
                    <a:pt x="1242" y="1"/>
                    <a:pt x="1251" y="1"/>
                  </a:cubicBezTo>
                  <a:cubicBezTo>
                    <a:pt x="1253" y="1"/>
                    <a:pt x="1255" y="1"/>
                    <a:pt x="1257" y="1"/>
                  </a:cubicBezTo>
                  <a:cubicBezTo>
                    <a:pt x="1257" y="1"/>
                    <a:pt x="1257" y="1"/>
                    <a:pt x="1258" y="1"/>
                  </a:cubicBezTo>
                  <a:cubicBezTo>
                    <a:pt x="1274" y="1"/>
                    <a:pt x="1291" y="3"/>
                    <a:pt x="1309" y="6"/>
                  </a:cubicBezTo>
                  <a:cubicBezTo>
                    <a:pt x="1328" y="9"/>
                    <a:pt x="1345" y="12"/>
                    <a:pt x="1361" y="16"/>
                  </a:cubicBezTo>
                  <a:cubicBezTo>
                    <a:pt x="1361" y="16"/>
                    <a:pt x="1362" y="16"/>
                    <a:pt x="1362" y="16"/>
                  </a:cubicBezTo>
                  <a:cubicBezTo>
                    <a:pt x="1395" y="24"/>
                    <a:pt x="1424" y="33"/>
                    <a:pt x="1447" y="43"/>
                  </a:cubicBezTo>
                  <a:cubicBezTo>
                    <a:pt x="1447" y="43"/>
                    <a:pt x="1448" y="43"/>
                    <a:pt x="1448" y="43"/>
                  </a:cubicBezTo>
                  <a:cubicBezTo>
                    <a:pt x="1473" y="54"/>
                    <a:pt x="1492" y="66"/>
                    <a:pt x="1507" y="78"/>
                  </a:cubicBezTo>
                  <a:cubicBezTo>
                    <a:pt x="1508" y="79"/>
                    <a:pt x="1508" y="79"/>
                    <a:pt x="1508" y="79"/>
                  </a:cubicBezTo>
                  <a:cubicBezTo>
                    <a:pt x="1523" y="92"/>
                    <a:pt x="1534" y="106"/>
                    <a:pt x="1540" y="121"/>
                  </a:cubicBezTo>
                  <a:cubicBezTo>
                    <a:pt x="1540" y="121"/>
                    <a:pt x="1540" y="122"/>
                    <a:pt x="1540" y="122"/>
                  </a:cubicBezTo>
                  <a:cubicBezTo>
                    <a:pt x="1545" y="133"/>
                    <a:pt x="1547" y="145"/>
                    <a:pt x="1547" y="157"/>
                  </a:cubicBezTo>
                  <a:cubicBezTo>
                    <a:pt x="1547" y="161"/>
                    <a:pt x="1547" y="165"/>
                    <a:pt x="1547" y="168"/>
                  </a:cubicBezTo>
                  <a:cubicBezTo>
                    <a:pt x="1547" y="169"/>
                    <a:pt x="1547" y="169"/>
                    <a:pt x="1547" y="170"/>
                  </a:cubicBezTo>
                  <a:cubicBezTo>
                    <a:pt x="1546" y="177"/>
                    <a:pt x="1544" y="184"/>
                    <a:pt x="1542" y="192"/>
                  </a:cubicBezTo>
                  <a:cubicBezTo>
                    <a:pt x="1542" y="192"/>
                    <a:pt x="1542" y="193"/>
                    <a:pt x="1541" y="193"/>
                  </a:cubicBezTo>
                  <a:cubicBezTo>
                    <a:pt x="1539" y="201"/>
                    <a:pt x="1536" y="209"/>
                    <a:pt x="1532" y="217"/>
                  </a:cubicBezTo>
                  <a:cubicBezTo>
                    <a:pt x="1532" y="218"/>
                    <a:pt x="1531" y="219"/>
                    <a:pt x="1531" y="220"/>
                  </a:cubicBezTo>
                  <a:cubicBezTo>
                    <a:pt x="1509" y="262"/>
                    <a:pt x="1469" y="306"/>
                    <a:pt x="1422" y="346"/>
                  </a:cubicBezTo>
                  <a:cubicBezTo>
                    <a:pt x="1402" y="363"/>
                    <a:pt x="1389" y="384"/>
                    <a:pt x="1381" y="408"/>
                  </a:cubicBezTo>
                  <a:cubicBezTo>
                    <a:pt x="1381" y="409"/>
                    <a:pt x="1381" y="410"/>
                    <a:pt x="1380" y="410"/>
                  </a:cubicBezTo>
                  <a:cubicBezTo>
                    <a:pt x="1376" y="425"/>
                    <a:pt x="1374" y="440"/>
                    <a:pt x="1373" y="457"/>
                  </a:cubicBezTo>
                  <a:cubicBezTo>
                    <a:pt x="1373" y="457"/>
                    <a:pt x="1373" y="458"/>
                    <a:pt x="1373" y="458"/>
                  </a:cubicBezTo>
                  <a:cubicBezTo>
                    <a:pt x="1373" y="461"/>
                    <a:pt x="1373" y="464"/>
                    <a:pt x="1373" y="467"/>
                  </a:cubicBezTo>
                  <a:cubicBezTo>
                    <a:pt x="1373" y="477"/>
                    <a:pt x="1373" y="487"/>
                    <a:pt x="1374" y="497"/>
                  </a:cubicBezTo>
                  <a:cubicBezTo>
                    <a:pt x="1374" y="498"/>
                    <a:pt x="1374" y="499"/>
                    <a:pt x="1374" y="499"/>
                  </a:cubicBezTo>
                  <a:cubicBezTo>
                    <a:pt x="1376" y="511"/>
                    <a:pt x="1378" y="523"/>
                    <a:pt x="1380" y="536"/>
                  </a:cubicBezTo>
                  <a:cubicBezTo>
                    <a:pt x="1380" y="536"/>
                    <a:pt x="1380" y="537"/>
                    <a:pt x="1380" y="537"/>
                  </a:cubicBezTo>
                  <a:cubicBezTo>
                    <a:pt x="1382" y="550"/>
                    <a:pt x="1385" y="562"/>
                    <a:pt x="1388" y="574"/>
                  </a:cubicBezTo>
                  <a:cubicBezTo>
                    <a:pt x="1388" y="575"/>
                    <a:pt x="1389" y="575"/>
                    <a:pt x="1389" y="576"/>
                  </a:cubicBezTo>
                  <a:cubicBezTo>
                    <a:pt x="1392" y="589"/>
                    <a:pt x="1396" y="602"/>
                    <a:pt x="1400" y="615"/>
                  </a:cubicBezTo>
                  <a:cubicBezTo>
                    <a:pt x="1400" y="616"/>
                    <a:pt x="1400" y="616"/>
                    <a:pt x="1400" y="617"/>
                  </a:cubicBezTo>
                  <a:cubicBezTo>
                    <a:pt x="1405" y="632"/>
                    <a:pt x="1409" y="647"/>
                    <a:pt x="1414" y="662"/>
                  </a:cubicBezTo>
                  <a:cubicBezTo>
                    <a:pt x="1415" y="663"/>
                    <a:pt x="1415" y="664"/>
                    <a:pt x="1415" y="665"/>
                  </a:cubicBezTo>
                  <a:cubicBezTo>
                    <a:pt x="1422" y="685"/>
                    <a:pt x="1428" y="705"/>
                    <a:pt x="1435" y="725"/>
                  </a:cubicBezTo>
                  <a:cubicBezTo>
                    <a:pt x="1436" y="726"/>
                    <a:pt x="1436" y="727"/>
                    <a:pt x="1436" y="729"/>
                  </a:cubicBezTo>
                  <a:cubicBezTo>
                    <a:pt x="1448" y="763"/>
                    <a:pt x="1459" y="797"/>
                    <a:pt x="1468" y="830"/>
                  </a:cubicBezTo>
                  <a:cubicBezTo>
                    <a:pt x="1469" y="832"/>
                    <a:pt x="1469" y="834"/>
                    <a:pt x="1470" y="836"/>
                  </a:cubicBezTo>
                  <a:cubicBezTo>
                    <a:pt x="1470" y="837"/>
                    <a:pt x="1471" y="839"/>
                    <a:pt x="1471" y="841"/>
                  </a:cubicBezTo>
                  <a:cubicBezTo>
                    <a:pt x="1482" y="885"/>
                    <a:pt x="1487" y="932"/>
                    <a:pt x="1493" y="979"/>
                  </a:cubicBezTo>
                  <a:cubicBezTo>
                    <a:pt x="1494" y="982"/>
                    <a:pt x="1495" y="985"/>
                    <a:pt x="1495" y="989"/>
                  </a:cubicBezTo>
                  <a:cubicBezTo>
                    <a:pt x="1489" y="937"/>
                    <a:pt x="1483" y="884"/>
                    <a:pt x="1471" y="835"/>
                  </a:cubicBezTo>
                  <a:cubicBezTo>
                    <a:pt x="1470" y="834"/>
                    <a:pt x="1470" y="832"/>
                    <a:pt x="1469" y="830"/>
                  </a:cubicBezTo>
                  <a:cubicBezTo>
                    <a:pt x="1469" y="830"/>
                    <a:pt x="1469" y="830"/>
                    <a:pt x="1469" y="830"/>
                  </a:cubicBezTo>
                  <a:cubicBezTo>
                    <a:pt x="1460" y="795"/>
                    <a:pt x="1448" y="760"/>
                    <a:pt x="1436" y="725"/>
                  </a:cubicBezTo>
                  <a:cubicBezTo>
                    <a:pt x="1436" y="724"/>
                    <a:pt x="1435" y="722"/>
                    <a:pt x="1435" y="721"/>
                  </a:cubicBezTo>
                  <a:cubicBezTo>
                    <a:pt x="1428" y="701"/>
                    <a:pt x="1422" y="682"/>
                    <a:pt x="1415" y="662"/>
                  </a:cubicBezTo>
                  <a:cubicBezTo>
                    <a:pt x="1415" y="661"/>
                    <a:pt x="1415" y="660"/>
                    <a:pt x="1414" y="659"/>
                  </a:cubicBezTo>
                  <a:cubicBezTo>
                    <a:pt x="1410" y="645"/>
                    <a:pt x="1405" y="630"/>
                    <a:pt x="1401" y="615"/>
                  </a:cubicBezTo>
                  <a:cubicBezTo>
                    <a:pt x="1400" y="614"/>
                    <a:pt x="1400" y="614"/>
                    <a:pt x="1400" y="613"/>
                  </a:cubicBezTo>
                  <a:cubicBezTo>
                    <a:pt x="1396" y="600"/>
                    <a:pt x="1393" y="587"/>
                    <a:pt x="1389" y="574"/>
                  </a:cubicBezTo>
                  <a:cubicBezTo>
                    <a:pt x="1389" y="574"/>
                    <a:pt x="1389" y="573"/>
                    <a:pt x="1389" y="572"/>
                  </a:cubicBezTo>
                  <a:cubicBezTo>
                    <a:pt x="1386" y="560"/>
                    <a:pt x="1383" y="548"/>
                    <a:pt x="1381" y="536"/>
                  </a:cubicBezTo>
                  <a:cubicBezTo>
                    <a:pt x="1381" y="535"/>
                    <a:pt x="1381" y="535"/>
                    <a:pt x="1381" y="534"/>
                  </a:cubicBezTo>
                  <a:cubicBezTo>
                    <a:pt x="1378" y="522"/>
                    <a:pt x="1376" y="510"/>
                    <a:pt x="1375" y="498"/>
                  </a:cubicBezTo>
                  <a:cubicBezTo>
                    <a:pt x="1375" y="497"/>
                    <a:pt x="1375" y="497"/>
                    <a:pt x="1375" y="496"/>
                  </a:cubicBezTo>
                  <a:cubicBezTo>
                    <a:pt x="1374" y="486"/>
                    <a:pt x="1374" y="477"/>
                    <a:pt x="1374" y="467"/>
                  </a:cubicBezTo>
                  <a:cubicBezTo>
                    <a:pt x="1374" y="464"/>
                    <a:pt x="1374" y="460"/>
                    <a:pt x="1374" y="457"/>
                  </a:cubicBezTo>
                  <a:cubicBezTo>
                    <a:pt x="1374" y="457"/>
                    <a:pt x="1374" y="456"/>
                    <a:pt x="1374" y="455"/>
                  </a:cubicBezTo>
                  <a:cubicBezTo>
                    <a:pt x="1375" y="439"/>
                    <a:pt x="1377" y="423"/>
                    <a:pt x="1382" y="409"/>
                  </a:cubicBezTo>
                  <a:cubicBezTo>
                    <a:pt x="1382" y="408"/>
                    <a:pt x="1382" y="407"/>
                    <a:pt x="1383" y="407"/>
                  </a:cubicBezTo>
                  <a:cubicBezTo>
                    <a:pt x="1390" y="384"/>
                    <a:pt x="1403" y="364"/>
                    <a:pt x="1423" y="347"/>
                  </a:cubicBezTo>
                  <a:cubicBezTo>
                    <a:pt x="1471" y="306"/>
                    <a:pt x="1512" y="261"/>
                    <a:pt x="1533" y="217"/>
                  </a:cubicBezTo>
                  <a:cubicBezTo>
                    <a:pt x="1533" y="216"/>
                    <a:pt x="1534" y="216"/>
                    <a:pt x="1534" y="215"/>
                  </a:cubicBezTo>
                  <a:cubicBezTo>
                    <a:pt x="1538" y="207"/>
                    <a:pt x="1541" y="200"/>
                    <a:pt x="1543" y="192"/>
                  </a:cubicBezTo>
                  <a:cubicBezTo>
                    <a:pt x="1543" y="191"/>
                    <a:pt x="1543" y="191"/>
                    <a:pt x="1543" y="190"/>
                  </a:cubicBezTo>
                  <a:cubicBezTo>
                    <a:pt x="1545" y="183"/>
                    <a:pt x="1547" y="176"/>
                    <a:pt x="1548" y="169"/>
                  </a:cubicBezTo>
                  <a:cubicBezTo>
                    <a:pt x="1548" y="168"/>
                    <a:pt x="1548" y="168"/>
                    <a:pt x="1548" y="167"/>
                  </a:cubicBezTo>
                  <a:cubicBezTo>
                    <a:pt x="1548" y="164"/>
                    <a:pt x="1548" y="161"/>
                    <a:pt x="1548" y="157"/>
                  </a:cubicBezTo>
                  <a:cubicBezTo>
                    <a:pt x="1548" y="145"/>
                    <a:pt x="1546" y="133"/>
                    <a:pt x="1541" y="121"/>
                  </a:cubicBezTo>
                  <a:cubicBezTo>
                    <a:pt x="1541" y="121"/>
                    <a:pt x="1541" y="120"/>
                    <a:pt x="1541" y="120"/>
                  </a:cubicBezTo>
                  <a:cubicBezTo>
                    <a:pt x="1534" y="105"/>
                    <a:pt x="1524" y="91"/>
                    <a:pt x="1509" y="78"/>
                  </a:cubicBezTo>
                  <a:cubicBezTo>
                    <a:pt x="1508" y="78"/>
                    <a:pt x="1508" y="78"/>
                    <a:pt x="1508" y="78"/>
                  </a:cubicBezTo>
                  <a:cubicBezTo>
                    <a:pt x="1493" y="65"/>
                    <a:pt x="1473" y="53"/>
                    <a:pt x="1448" y="43"/>
                  </a:cubicBezTo>
                  <a:cubicBezTo>
                    <a:pt x="1448" y="42"/>
                    <a:pt x="1448" y="42"/>
                    <a:pt x="1448" y="42"/>
                  </a:cubicBezTo>
                  <a:cubicBezTo>
                    <a:pt x="1424" y="32"/>
                    <a:pt x="1396" y="23"/>
                    <a:pt x="1362" y="15"/>
                  </a:cubicBezTo>
                  <a:cubicBezTo>
                    <a:pt x="1362" y="15"/>
                    <a:pt x="1362" y="15"/>
                    <a:pt x="1361" y="15"/>
                  </a:cubicBezTo>
                  <a:cubicBezTo>
                    <a:pt x="1345" y="11"/>
                    <a:pt x="1328" y="8"/>
                    <a:pt x="1309" y="5"/>
                  </a:cubicBezTo>
                  <a:cubicBezTo>
                    <a:pt x="1291" y="2"/>
                    <a:pt x="1274" y="0"/>
                    <a:pt x="1258" y="0"/>
                  </a:cubicBezTo>
                  <a:cubicBezTo>
                    <a:pt x="1257" y="0"/>
                    <a:pt x="1257" y="0"/>
                    <a:pt x="1257" y="0"/>
                  </a:cubicBezTo>
                  <a:cubicBezTo>
                    <a:pt x="1255" y="0"/>
                    <a:pt x="1253" y="0"/>
                    <a:pt x="1251" y="0"/>
                  </a:cubicBezTo>
                  <a:moveTo>
                    <a:pt x="1120" y="38"/>
                  </a:moveTo>
                  <a:cubicBezTo>
                    <a:pt x="1119" y="38"/>
                    <a:pt x="1118" y="39"/>
                    <a:pt x="1117" y="39"/>
                  </a:cubicBezTo>
                  <a:cubicBezTo>
                    <a:pt x="1107" y="46"/>
                    <a:pt x="1097" y="54"/>
                    <a:pt x="1088" y="63"/>
                  </a:cubicBezTo>
                  <a:cubicBezTo>
                    <a:pt x="1088" y="63"/>
                    <a:pt x="1089" y="63"/>
                    <a:pt x="1089" y="63"/>
                  </a:cubicBezTo>
                  <a:cubicBezTo>
                    <a:pt x="1099" y="54"/>
                    <a:pt x="1109" y="46"/>
                    <a:pt x="1120" y="38"/>
                  </a:cubicBezTo>
                  <a:moveTo>
                    <a:pt x="1088" y="64"/>
                  </a:moveTo>
                  <a:cubicBezTo>
                    <a:pt x="1088" y="64"/>
                    <a:pt x="1087" y="64"/>
                    <a:pt x="1087" y="64"/>
                  </a:cubicBezTo>
                  <a:cubicBezTo>
                    <a:pt x="1080" y="71"/>
                    <a:pt x="1074" y="77"/>
                    <a:pt x="1068" y="84"/>
                  </a:cubicBezTo>
                  <a:cubicBezTo>
                    <a:pt x="1066" y="87"/>
                    <a:pt x="1063" y="91"/>
                    <a:pt x="1060" y="94"/>
                  </a:cubicBezTo>
                  <a:cubicBezTo>
                    <a:pt x="1061" y="94"/>
                    <a:pt x="1061" y="94"/>
                    <a:pt x="1062" y="94"/>
                  </a:cubicBezTo>
                  <a:cubicBezTo>
                    <a:pt x="1070" y="84"/>
                    <a:pt x="1079" y="73"/>
                    <a:pt x="1088" y="64"/>
                  </a:cubicBezTo>
                  <a:moveTo>
                    <a:pt x="1060" y="95"/>
                  </a:moveTo>
                  <a:cubicBezTo>
                    <a:pt x="1058" y="98"/>
                    <a:pt x="1055" y="101"/>
                    <a:pt x="1053" y="104"/>
                  </a:cubicBezTo>
                  <a:cubicBezTo>
                    <a:pt x="1049" y="110"/>
                    <a:pt x="1045" y="116"/>
                    <a:pt x="1041" y="123"/>
                  </a:cubicBezTo>
                  <a:cubicBezTo>
                    <a:pt x="1042" y="123"/>
                    <a:pt x="1042" y="123"/>
                    <a:pt x="1042" y="123"/>
                  </a:cubicBezTo>
                  <a:cubicBezTo>
                    <a:pt x="1048" y="113"/>
                    <a:pt x="1054" y="104"/>
                    <a:pt x="1061" y="95"/>
                  </a:cubicBezTo>
                  <a:cubicBezTo>
                    <a:pt x="1060" y="95"/>
                    <a:pt x="1060" y="95"/>
                    <a:pt x="1060" y="95"/>
                  </a:cubicBezTo>
                  <a:moveTo>
                    <a:pt x="1042" y="124"/>
                  </a:moveTo>
                  <a:cubicBezTo>
                    <a:pt x="1041" y="124"/>
                    <a:pt x="1041" y="124"/>
                    <a:pt x="1041" y="124"/>
                  </a:cubicBezTo>
                  <a:cubicBezTo>
                    <a:pt x="1035" y="134"/>
                    <a:pt x="1029" y="144"/>
                    <a:pt x="1024" y="154"/>
                  </a:cubicBezTo>
                  <a:cubicBezTo>
                    <a:pt x="1025" y="154"/>
                    <a:pt x="1025" y="154"/>
                    <a:pt x="1026" y="154"/>
                  </a:cubicBezTo>
                  <a:cubicBezTo>
                    <a:pt x="1030" y="144"/>
                    <a:pt x="1036" y="134"/>
                    <a:pt x="1042" y="124"/>
                  </a:cubicBezTo>
                  <a:moveTo>
                    <a:pt x="1024" y="155"/>
                  </a:moveTo>
                  <a:cubicBezTo>
                    <a:pt x="1022" y="158"/>
                    <a:pt x="1021" y="162"/>
                    <a:pt x="1019" y="165"/>
                  </a:cubicBezTo>
                  <a:cubicBezTo>
                    <a:pt x="1019" y="165"/>
                    <a:pt x="1019" y="166"/>
                    <a:pt x="1019" y="166"/>
                  </a:cubicBezTo>
                  <a:cubicBezTo>
                    <a:pt x="1017" y="170"/>
                    <a:pt x="1016" y="174"/>
                    <a:pt x="1014" y="177"/>
                  </a:cubicBezTo>
                  <a:cubicBezTo>
                    <a:pt x="1014" y="178"/>
                    <a:pt x="1013" y="179"/>
                    <a:pt x="1013" y="180"/>
                  </a:cubicBezTo>
                  <a:cubicBezTo>
                    <a:pt x="1012" y="182"/>
                    <a:pt x="1011" y="184"/>
                    <a:pt x="1010" y="186"/>
                  </a:cubicBezTo>
                  <a:cubicBezTo>
                    <a:pt x="1010" y="186"/>
                    <a:pt x="1010" y="187"/>
                    <a:pt x="1010" y="187"/>
                  </a:cubicBezTo>
                  <a:cubicBezTo>
                    <a:pt x="1010" y="187"/>
                    <a:pt x="1010" y="188"/>
                    <a:pt x="1010" y="188"/>
                  </a:cubicBezTo>
                  <a:cubicBezTo>
                    <a:pt x="1010" y="188"/>
                    <a:pt x="1010" y="188"/>
                    <a:pt x="1011" y="188"/>
                  </a:cubicBezTo>
                  <a:cubicBezTo>
                    <a:pt x="1011" y="188"/>
                    <a:pt x="1011" y="187"/>
                    <a:pt x="1011" y="187"/>
                  </a:cubicBezTo>
                  <a:cubicBezTo>
                    <a:pt x="1012" y="184"/>
                    <a:pt x="1014" y="181"/>
                    <a:pt x="1015" y="178"/>
                  </a:cubicBezTo>
                  <a:cubicBezTo>
                    <a:pt x="1015" y="177"/>
                    <a:pt x="1016" y="176"/>
                    <a:pt x="1016" y="175"/>
                  </a:cubicBezTo>
                  <a:cubicBezTo>
                    <a:pt x="1017" y="172"/>
                    <a:pt x="1018" y="169"/>
                    <a:pt x="1020" y="167"/>
                  </a:cubicBezTo>
                  <a:cubicBezTo>
                    <a:pt x="1020" y="166"/>
                    <a:pt x="1020" y="166"/>
                    <a:pt x="1020" y="166"/>
                  </a:cubicBezTo>
                  <a:cubicBezTo>
                    <a:pt x="1022" y="162"/>
                    <a:pt x="1023" y="159"/>
                    <a:pt x="1025" y="155"/>
                  </a:cubicBezTo>
                  <a:cubicBezTo>
                    <a:pt x="1025" y="155"/>
                    <a:pt x="1024" y="155"/>
                    <a:pt x="1024" y="155"/>
                  </a:cubicBezTo>
                  <a:moveTo>
                    <a:pt x="1009" y="189"/>
                  </a:moveTo>
                  <a:cubicBezTo>
                    <a:pt x="1009" y="191"/>
                    <a:pt x="1008" y="193"/>
                    <a:pt x="1007" y="195"/>
                  </a:cubicBezTo>
                  <a:cubicBezTo>
                    <a:pt x="1007" y="196"/>
                    <a:pt x="1007" y="196"/>
                    <a:pt x="1007" y="196"/>
                  </a:cubicBezTo>
                  <a:cubicBezTo>
                    <a:pt x="1006" y="198"/>
                    <a:pt x="1005" y="200"/>
                    <a:pt x="1004" y="202"/>
                  </a:cubicBezTo>
                  <a:cubicBezTo>
                    <a:pt x="1004" y="203"/>
                    <a:pt x="1004" y="203"/>
                    <a:pt x="1004" y="204"/>
                  </a:cubicBezTo>
                  <a:cubicBezTo>
                    <a:pt x="1003" y="205"/>
                    <a:pt x="1003" y="206"/>
                    <a:pt x="1003" y="207"/>
                  </a:cubicBezTo>
                  <a:cubicBezTo>
                    <a:pt x="1003" y="208"/>
                    <a:pt x="1002" y="208"/>
                    <a:pt x="1002" y="208"/>
                  </a:cubicBezTo>
                  <a:cubicBezTo>
                    <a:pt x="1000" y="216"/>
                    <a:pt x="997" y="223"/>
                    <a:pt x="995" y="231"/>
                  </a:cubicBezTo>
                  <a:cubicBezTo>
                    <a:pt x="995" y="231"/>
                    <a:pt x="996" y="231"/>
                    <a:pt x="996" y="231"/>
                  </a:cubicBezTo>
                  <a:cubicBezTo>
                    <a:pt x="998" y="224"/>
                    <a:pt x="1001" y="217"/>
                    <a:pt x="1003" y="209"/>
                  </a:cubicBezTo>
                  <a:cubicBezTo>
                    <a:pt x="1003" y="209"/>
                    <a:pt x="1003" y="209"/>
                    <a:pt x="1003" y="208"/>
                  </a:cubicBezTo>
                  <a:cubicBezTo>
                    <a:pt x="1004" y="207"/>
                    <a:pt x="1005" y="205"/>
                    <a:pt x="1005" y="203"/>
                  </a:cubicBezTo>
                  <a:cubicBezTo>
                    <a:pt x="1005" y="203"/>
                    <a:pt x="1006" y="202"/>
                    <a:pt x="1006" y="202"/>
                  </a:cubicBezTo>
                  <a:cubicBezTo>
                    <a:pt x="1006" y="200"/>
                    <a:pt x="1007" y="198"/>
                    <a:pt x="1008" y="196"/>
                  </a:cubicBezTo>
                  <a:cubicBezTo>
                    <a:pt x="1008" y="196"/>
                    <a:pt x="1008" y="195"/>
                    <a:pt x="1008" y="195"/>
                  </a:cubicBezTo>
                  <a:cubicBezTo>
                    <a:pt x="1009" y="193"/>
                    <a:pt x="1010" y="191"/>
                    <a:pt x="1010" y="189"/>
                  </a:cubicBezTo>
                  <a:cubicBezTo>
                    <a:pt x="1010" y="189"/>
                    <a:pt x="1010" y="189"/>
                    <a:pt x="1009" y="189"/>
                  </a:cubicBezTo>
                  <a:moveTo>
                    <a:pt x="995" y="232"/>
                  </a:moveTo>
                  <a:cubicBezTo>
                    <a:pt x="994" y="234"/>
                    <a:pt x="993" y="237"/>
                    <a:pt x="992" y="240"/>
                  </a:cubicBezTo>
                  <a:cubicBezTo>
                    <a:pt x="992" y="240"/>
                    <a:pt x="992" y="241"/>
                    <a:pt x="992" y="242"/>
                  </a:cubicBezTo>
                  <a:cubicBezTo>
                    <a:pt x="990" y="250"/>
                    <a:pt x="988" y="258"/>
                    <a:pt x="986" y="266"/>
                  </a:cubicBezTo>
                  <a:cubicBezTo>
                    <a:pt x="985" y="266"/>
                    <a:pt x="985" y="267"/>
                    <a:pt x="985" y="267"/>
                  </a:cubicBezTo>
                  <a:cubicBezTo>
                    <a:pt x="985" y="269"/>
                    <a:pt x="984" y="271"/>
                    <a:pt x="984" y="272"/>
                  </a:cubicBezTo>
                  <a:cubicBezTo>
                    <a:pt x="984" y="272"/>
                    <a:pt x="985" y="272"/>
                    <a:pt x="985" y="273"/>
                  </a:cubicBezTo>
                  <a:cubicBezTo>
                    <a:pt x="985" y="271"/>
                    <a:pt x="986" y="270"/>
                    <a:pt x="986" y="269"/>
                  </a:cubicBezTo>
                  <a:cubicBezTo>
                    <a:pt x="986" y="268"/>
                    <a:pt x="986" y="268"/>
                    <a:pt x="986" y="267"/>
                  </a:cubicBezTo>
                  <a:cubicBezTo>
                    <a:pt x="988" y="259"/>
                    <a:pt x="990" y="251"/>
                    <a:pt x="993" y="243"/>
                  </a:cubicBezTo>
                  <a:cubicBezTo>
                    <a:pt x="993" y="243"/>
                    <a:pt x="993" y="242"/>
                    <a:pt x="993" y="242"/>
                  </a:cubicBezTo>
                  <a:cubicBezTo>
                    <a:pt x="994" y="238"/>
                    <a:pt x="995" y="235"/>
                    <a:pt x="996" y="232"/>
                  </a:cubicBezTo>
                  <a:cubicBezTo>
                    <a:pt x="996" y="232"/>
                    <a:pt x="995" y="232"/>
                    <a:pt x="995" y="232"/>
                  </a:cubicBezTo>
                  <a:moveTo>
                    <a:pt x="984" y="273"/>
                  </a:moveTo>
                  <a:cubicBezTo>
                    <a:pt x="982" y="279"/>
                    <a:pt x="981" y="286"/>
                    <a:pt x="980" y="292"/>
                  </a:cubicBezTo>
                  <a:cubicBezTo>
                    <a:pt x="979" y="292"/>
                    <a:pt x="979" y="293"/>
                    <a:pt x="979" y="293"/>
                  </a:cubicBezTo>
                  <a:cubicBezTo>
                    <a:pt x="978" y="301"/>
                    <a:pt x="976" y="309"/>
                    <a:pt x="974" y="317"/>
                  </a:cubicBezTo>
                  <a:cubicBezTo>
                    <a:pt x="974" y="317"/>
                    <a:pt x="974" y="318"/>
                    <a:pt x="974" y="318"/>
                  </a:cubicBezTo>
                  <a:cubicBezTo>
                    <a:pt x="974" y="321"/>
                    <a:pt x="973" y="324"/>
                    <a:pt x="973" y="327"/>
                  </a:cubicBezTo>
                  <a:cubicBezTo>
                    <a:pt x="973" y="327"/>
                    <a:pt x="973" y="327"/>
                    <a:pt x="973" y="328"/>
                  </a:cubicBezTo>
                  <a:cubicBezTo>
                    <a:pt x="974" y="325"/>
                    <a:pt x="974" y="322"/>
                    <a:pt x="975" y="319"/>
                  </a:cubicBezTo>
                  <a:cubicBezTo>
                    <a:pt x="975" y="319"/>
                    <a:pt x="975" y="318"/>
                    <a:pt x="975" y="318"/>
                  </a:cubicBezTo>
                  <a:cubicBezTo>
                    <a:pt x="977" y="310"/>
                    <a:pt x="978" y="302"/>
                    <a:pt x="980" y="294"/>
                  </a:cubicBezTo>
                  <a:cubicBezTo>
                    <a:pt x="980" y="294"/>
                    <a:pt x="980" y="294"/>
                    <a:pt x="980" y="293"/>
                  </a:cubicBezTo>
                  <a:cubicBezTo>
                    <a:pt x="982" y="287"/>
                    <a:pt x="983" y="280"/>
                    <a:pt x="985" y="273"/>
                  </a:cubicBezTo>
                  <a:cubicBezTo>
                    <a:pt x="984" y="273"/>
                    <a:pt x="984" y="273"/>
                    <a:pt x="984" y="273"/>
                  </a:cubicBezTo>
                  <a:moveTo>
                    <a:pt x="972" y="328"/>
                  </a:moveTo>
                  <a:cubicBezTo>
                    <a:pt x="972" y="332"/>
                    <a:pt x="971" y="336"/>
                    <a:pt x="970" y="340"/>
                  </a:cubicBezTo>
                  <a:cubicBezTo>
                    <a:pt x="970" y="341"/>
                    <a:pt x="970" y="341"/>
                    <a:pt x="970" y="341"/>
                  </a:cubicBezTo>
                  <a:cubicBezTo>
                    <a:pt x="969" y="349"/>
                    <a:pt x="967" y="355"/>
                    <a:pt x="966" y="362"/>
                  </a:cubicBezTo>
                  <a:cubicBezTo>
                    <a:pt x="966" y="362"/>
                    <a:pt x="966" y="363"/>
                    <a:pt x="966" y="363"/>
                  </a:cubicBezTo>
                  <a:cubicBezTo>
                    <a:pt x="966" y="363"/>
                    <a:pt x="966" y="364"/>
                    <a:pt x="966" y="364"/>
                  </a:cubicBezTo>
                  <a:cubicBezTo>
                    <a:pt x="966" y="365"/>
                    <a:pt x="966" y="365"/>
                    <a:pt x="966" y="366"/>
                  </a:cubicBezTo>
                  <a:cubicBezTo>
                    <a:pt x="965" y="372"/>
                    <a:pt x="964" y="377"/>
                    <a:pt x="963" y="382"/>
                  </a:cubicBezTo>
                  <a:cubicBezTo>
                    <a:pt x="963" y="383"/>
                    <a:pt x="963" y="383"/>
                    <a:pt x="963" y="383"/>
                  </a:cubicBezTo>
                  <a:cubicBezTo>
                    <a:pt x="963" y="385"/>
                    <a:pt x="962" y="386"/>
                    <a:pt x="962" y="387"/>
                  </a:cubicBezTo>
                  <a:cubicBezTo>
                    <a:pt x="961" y="392"/>
                    <a:pt x="960" y="397"/>
                    <a:pt x="958" y="401"/>
                  </a:cubicBezTo>
                  <a:cubicBezTo>
                    <a:pt x="958" y="401"/>
                    <a:pt x="958" y="402"/>
                    <a:pt x="958" y="402"/>
                  </a:cubicBezTo>
                  <a:cubicBezTo>
                    <a:pt x="957" y="406"/>
                    <a:pt x="955" y="410"/>
                    <a:pt x="953" y="413"/>
                  </a:cubicBezTo>
                  <a:cubicBezTo>
                    <a:pt x="952" y="414"/>
                    <a:pt x="952" y="414"/>
                    <a:pt x="952" y="415"/>
                  </a:cubicBezTo>
                  <a:cubicBezTo>
                    <a:pt x="951" y="416"/>
                    <a:pt x="950" y="417"/>
                    <a:pt x="949" y="418"/>
                  </a:cubicBezTo>
                  <a:cubicBezTo>
                    <a:pt x="949" y="419"/>
                    <a:pt x="949" y="419"/>
                    <a:pt x="949" y="419"/>
                  </a:cubicBezTo>
                  <a:cubicBezTo>
                    <a:pt x="941" y="430"/>
                    <a:pt x="930" y="436"/>
                    <a:pt x="919" y="436"/>
                  </a:cubicBezTo>
                  <a:cubicBezTo>
                    <a:pt x="917" y="436"/>
                    <a:pt x="915" y="436"/>
                    <a:pt x="913" y="436"/>
                  </a:cubicBezTo>
                  <a:cubicBezTo>
                    <a:pt x="913" y="435"/>
                    <a:pt x="912" y="435"/>
                    <a:pt x="912" y="435"/>
                  </a:cubicBezTo>
                  <a:cubicBezTo>
                    <a:pt x="908" y="434"/>
                    <a:pt x="905" y="433"/>
                    <a:pt x="901" y="431"/>
                  </a:cubicBezTo>
                  <a:cubicBezTo>
                    <a:pt x="901" y="431"/>
                    <a:pt x="901" y="431"/>
                    <a:pt x="901" y="432"/>
                  </a:cubicBezTo>
                  <a:cubicBezTo>
                    <a:pt x="904" y="434"/>
                    <a:pt x="907" y="435"/>
                    <a:pt x="911" y="436"/>
                  </a:cubicBezTo>
                  <a:cubicBezTo>
                    <a:pt x="911" y="436"/>
                    <a:pt x="912" y="436"/>
                    <a:pt x="912" y="436"/>
                  </a:cubicBezTo>
                  <a:cubicBezTo>
                    <a:pt x="914" y="437"/>
                    <a:pt x="916" y="437"/>
                    <a:pt x="919" y="437"/>
                  </a:cubicBezTo>
                  <a:cubicBezTo>
                    <a:pt x="930" y="437"/>
                    <a:pt x="941" y="431"/>
                    <a:pt x="950" y="419"/>
                  </a:cubicBezTo>
                  <a:cubicBezTo>
                    <a:pt x="950" y="419"/>
                    <a:pt x="950" y="419"/>
                    <a:pt x="951" y="418"/>
                  </a:cubicBezTo>
                  <a:cubicBezTo>
                    <a:pt x="952" y="417"/>
                    <a:pt x="953" y="415"/>
                    <a:pt x="954" y="414"/>
                  </a:cubicBezTo>
                  <a:cubicBezTo>
                    <a:pt x="954" y="413"/>
                    <a:pt x="954" y="413"/>
                    <a:pt x="955" y="412"/>
                  </a:cubicBezTo>
                  <a:cubicBezTo>
                    <a:pt x="956" y="409"/>
                    <a:pt x="958" y="406"/>
                    <a:pt x="959" y="402"/>
                  </a:cubicBezTo>
                  <a:cubicBezTo>
                    <a:pt x="959" y="402"/>
                    <a:pt x="959" y="402"/>
                    <a:pt x="959" y="401"/>
                  </a:cubicBezTo>
                  <a:cubicBezTo>
                    <a:pt x="961" y="397"/>
                    <a:pt x="962" y="392"/>
                    <a:pt x="963" y="387"/>
                  </a:cubicBezTo>
                  <a:cubicBezTo>
                    <a:pt x="963" y="386"/>
                    <a:pt x="964" y="385"/>
                    <a:pt x="964" y="384"/>
                  </a:cubicBezTo>
                  <a:cubicBezTo>
                    <a:pt x="964" y="383"/>
                    <a:pt x="964" y="383"/>
                    <a:pt x="964" y="383"/>
                  </a:cubicBezTo>
                  <a:cubicBezTo>
                    <a:pt x="965" y="377"/>
                    <a:pt x="966" y="371"/>
                    <a:pt x="967" y="365"/>
                  </a:cubicBezTo>
                  <a:cubicBezTo>
                    <a:pt x="967" y="364"/>
                    <a:pt x="967" y="364"/>
                    <a:pt x="967" y="364"/>
                  </a:cubicBezTo>
                  <a:cubicBezTo>
                    <a:pt x="967" y="363"/>
                    <a:pt x="967" y="363"/>
                    <a:pt x="967" y="363"/>
                  </a:cubicBezTo>
                  <a:cubicBezTo>
                    <a:pt x="968" y="356"/>
                    <a:pt x="970" y="349"/>
                    <a:pt x="971" y="342"/>
                  </a:cubicBezTo>
                  <a:cubicBezTo>
                    <a:pt x="971" y="342"/>
                    <a:pt x="971" y="341"/>
                    <a:pt x="971" y="341"/>
                  </a:cubicBezTo>
                  <a:cubicBezTo>
                    <a:pt x="972" y="337"/>
                    <a:pt x="972" y="333"/>
                    <a:pt x="973" y="329"/>
                  </a:cubicBezTo>
                  <a:cubicBezTo>
                    <a:pt x="973" y="329"/>
                    <a:pt x="973" y="328"/>
                    <a:pt x="972" y="328"/>
                  </a:cubicBezTo>
                  <a:moveTo>
                    <a:pt x="829" y="346"/>
                  </a:moveTo>
                  <a:cubicBezTo>
                    <a:pt x="829" y="346"/>
                    <a:pt x="829" y="346"/>
                    <a:pt x="829" y="346"/>
                  </a:cubicBezTo>
                  <a:cubicBezTo>
                    <a:pt x="819" y="346"/>
                    <a:pt x="808" y="347"/>
                    <a:pt x="798" y="351"/>
                  </a:cubicBezTo>
                  <a:cubicBezTo>
                    <a:pt x="798" y="351"/>
                    <a:pt x="798" y="351"/>
                    <a:pt x="798" y="352"/>
                  </a:cubicBezTo>
                  <a:cubicBezTo>
                    <a:pt x="808" y="348"/>
                    <a:pt x="819" y="347"/>
                    <a:pt x="829" y="347"/>
                  </a:cubicBezTo>
                  <a:cubicBezTo>
                    <a:pt x="830" y="347"/>
                    <a:pt x="832" y="347"/>
                    <a:pt x="834" y="347"/>
                  </a:cubicBezTo>
                  <a:cubicBezTo>
                    <a:pt x="834" y="347"/>
                    <a:pt x="835" y="347"/>
                    <a:pt x="835" y="347"/>
                  </a:cubicBezTo>
                  <a:cubicBezTo>
                    <a:pt x="841" y="347"/>
                    <a:pt x="847" y="349"/>
                    <a:pt x="851" y="351"/>
                  </a:cubicBezTo>
                  <a:cubicBezTo>
                    <a:pt x="852" y="351"/>
                    <a:pt x="852" y="351"/>
                    <a:pt x="852" y="351"/>
                  </a:cubicBezTo>
                  <a:cubicBezTo>
                    <a:pt x="854" y="352"/>
                    <a:pt x="855" y="353"/>
                    <a:pt x="856" y="353"/>
                  </a:cubicBezTo>
                  <a:cubicBezTo>
                    <a:pt x="856" y="353"/>
                    <a:pt x="856" y="353"/>
                    <a:pt x="856" y="352"/>
                  </a:cubicBezTo>
                  <a:cubicBezTo>
                    <a:pt x="855" y="352"/>
                    <a:pt x="854" y="351"/>
                    <a:pt x="853" y="351"/>
                  </a:cubicBezTo>
                  <a:cubicBezTo>
                    <a:pt x="853" y="350"/>
                    <a:pt x="852" y="350"/>
                    <a:pt x="852" y="350"/>
                  </a:cubicBezTo>
                  <a:cubicBezTo>
                    <a:pt x="847" y="348"/>
                    <a:pt x="842" y="347"/>
                    <a:pt x="836" y="346"/>
                  </a:cubicBezTo>
                  <a:cubicBezTo>
                    <a:pt x="835" y="346"/>
                    <a:pt x="835" y="346"/>
                    <a:pt x="835" y="346"/>
                  </a:cubicBezTo>
                  <a:cubicBezTo>
                    <a:pt x="833" y="346"/>
                    <a:pt x="831" y="346"/>
                    <a:pt x="829" y="346"/>
                  </a:cubicBezTo>
                  <a:moveTo>
                    <a:pt x="797" y="351"/>
                  </a:moveTo>
                  <a:cubicBezTo>
                    <a:pt x="795" y="351"/>
                    <a:pt x="794" y="352"/>
                    <a:pt x="793" y="352"/>
                  </a:cubicBezTo>
                  <a:cubicBezTo>
                    <a:pt x="792" y="352"/>
                    <a:pt x="792" y="352"/>
                    <a:pt x="792" y="353"/>
                  </a:cubicBezTo>
                  <a:cubicBezTo>
                    <a:pt x="791" y="353"/>
                    <a:pt x="791" y="353"/>
                    <a:pt x="791" y="353"/>
                  </a:cubicBezTo>
                  <a:cubicBezTo>
                    <a:pt x="790" y="353"/>
                    <a:pt x="790" y="353"/>
                    <a:pt x="790" y="353"/>
                  </a:cubicBezTo>
                  <a:cubicBezTo>
                    <a:pt x="788" y="354"/>
                    <a:pt x="787" y="354"/>
                    <a:pt x="786" y="355"/>
                  </a:cubicBezTo>
                  <a:cubicBezTo>
                    <a:pt x="785" y="355"/>
                    <a:pt x="784" y="356"/>
                    <a:pt x="782" y="356"/>
                  </a:cubicBezTo>
                  <a:cubicBezTo>
                    <a:pt x="782" y="356"/>
                    <a:pt x="782" y="356"/>
                    <a:pt x="781" y="356"/>
                  </a:cubicBezTo>
                  <a:cubicBezTo>
                    <a:pt x="781" y="357"/>
                    <a:pt x="781" y="357"/>
                    <a:pt x="780" y="357"/>
                  </a:cubicBezTo>
                  <a:cubicBezTo>
                    <a:pt x="779" y="357"/>
                    <a:pt x="778" y="358"/>
                    <a:pt x="777" y="358"/>
                  </a:cubicBezTo>
                  <a:cubicBezTo>
                    <a:pt x="777" y="358"/>
                    <a:pt x="777" y="358"/>
                    <a:pt x="777" y="359"/>
                  </a:cubicBezTo>
                  <a:cubicBezTo>
                    <a:pt x="776" y="359"/>
                    <a:pt x="775" y="359"/>
                    <a:pt x="775" y="359"/>
                  </a:cubicBezTo>
                  <a:cubicBezTo>
                    <a:pt x="775" y="359"/>
                    <a:pt x="774" y="360"/>
                    <a:pt x="774" y="360"/>
                  </a:cubicBezTo>
                  <a:cubicBezTo>
                    <a:pt x="773" y="360"/>
                    <a:pt x="773" y="360"/>
                    <a:pt x="772" y="361"/>
                  </a:cubicBezTo>
                  <a:cubicBezTo>
                    <a:pt x="772" y="361"/>
                    <a:pt x="772" y="361"/>
                    <a:pt x="771" y="361"/>
                  </a:cubicBezTo>
                  <a:cubicBezTo>
                    <a:pt x="771" y="361"/>
                    <a:pt x="770" y="362"/>
                    <a:pt x="770" y="362"/>
                  </a:cubicBezTo>
                  <a:cubicBezTo>
                    <a:pt x="769" y="362"/>
                    <a:pt x="769" y="362"/>
                    <a:pt x="769" y="362"/>
                  </a:cubicBezTo>
                  <a:cubicBezTo>
                    <a:pt x="769" y="362"/>
                    <a:pt x="769" y="362"/>
                    <a:pt x="769" y="362"/>
                  </a:cubicBezTo>
                  <a:cubicBezTo>
                    <a:pt x="768" y="363"/>
                    <a:pt x="767" y="363"/>
                    <a:pt x="766" y="364"/>
                  </a:cubicBezTo>
                  <a:cubicBezTo>
                    <a:pt x="765" y="365"/>
                    <a:pt x="763" y="365"/>
                    <a:pt x="761" y="366"/>
                  </a:cubicBezTo>
                  <a:cubicBezTo>
                    <a:pt x="759" y="368"/>
                    <a:pt x="756" y="370"/>
                    <a:pt x="754" y="371"/>
                  </a:cubicBezTo>
                  <a:cubicBezTo>
                    <a:pt x="753" y="372"/>
                    <a:pt x="753" y="372"/>
                    <a:pt x="752" y="372"/>
                  </a:cubicBezTo>
                  <a:cubicBezTo>
                    <a:pt x="751" y="373"/>
                    <a:pt x="751" y="373"/>
                    <a:pt x="750" y="373"/>
                  </a:cubicBezTo>
                  <a:cubicBezTo>
                    <a:pt x="751" y="373"/>
                    <a:pt x="752" y="373"/>
                    <a:pt x="753" y="373"/>
                  </a:cubicBezTo>
                  <a:cubicBezTo>
                    <a:pt x="753" y="373"/>
                    <a:pt x="754" y="372"/>
                    <a:pt x="754" y="372"/>
                  </a:cubicBezTo>
                  <a:cubicBezTo>
                    <a:pt x="755" y="371"/>
                    <a:pt x="756" y="371"/>
                    <a:pt x="757" y="370"/>
                  </a:cubicBezTo>
                  <a:cubicBezTo>
                    <a:pt x="757" y="370"/>
                    <a:pt x="758" y="370"/>
                    <a:pt x="758" y="369"/>
                  </a:cubicBezTo>
                  <a:cubicBezTo>
                    <a:pt x="760" y="368"/>
                    <a:pt x="762" y="367"/>
                    <a:pt x="764" y="366"/>
                  </a:cubicBezTo>
                  <a:cubicBezTo>
                    <a:pt x="765" y="365"/>
                    <a:pt x="766" y="365"/>
                    <a:pt x="767" y="364"/>
                  </a:cubicBezTo>
                  <a:cubicBezTo>
                    <a:pt x="767" y="364"/>
                    <a:pt x="768" y="364"/>
                    <a:pt x="769" y="364"/>
                  </a:cubicBezTo>
                  <a:cubicBezTo>
                    <a:pt x="769" y="363"/>
                    <a:pt x="770" y="363"/>
                    <a:pt x="770" y="363"/>
                  </a:cubicBezTo>
                  <a:cubicBezTo>
                    <a:pt x="771" y="362"/>
                    <a:pt x="771" y="362"/>
                    <a:pt x="772" y="362"/>
                  </a:cubicBezTo>
                  <a:cubicBezTo>
                    <a:pt x="772" y="362"/>
                    <a:pt x="772" y="362"/>
                    <a:pt x="772" y="362"/>
                  </a:cubicBezTo>
                  <a:cubicBezTo>
                    <a:pt x="772" y="362"/>
                    <a:pt x="773" y="362"/>
                    <a:pt x="773" y="361"/>
                  </a:cubicBezTo>
                  <a:cubicBezTo>
                    <a:pt x="773" y="361"/>
                    <a:pt x="773" y="361"/>
                    <a:pt x="774" y="361"/>
                  </a:cubicBezTo>
                  <a:cubicBezTo>
                    <a:pt x="774" y="361"/>
                    <a:pt x="774" y="361"/>
                    <a:pt x="774" y="361"/>
                  </a:cubicBezTo>
                  <a:cubicBezTo>
                    <a:pt x="775" y="361"/>
                    <a:pt x="775" y="360"/>
                    <a:pt x="776" y="360"/>
                  </a:cubicBezTo>
                  <a:cubicBezTo>
                    <a:pt x="776" y="360"/>
                    <a:pt x="776" y="360"/>
                    <a:pt x="776" y="360"/>
                  </a:cubicBezTo>
                  <a:cubicBezTo>
                    <a:pt x="777" y="359"/>
                    <a:pt x="779" y="359"/>
                    <a:pt x="780" y="358"/>
                  </a:cubicBezTo>
                  <a:cubicBezTo>
                    <a:pt x="781" y="358"/>
                    <a:pt x="782" y="357"/>
                    <a:pt x="783" y="357"/>
                  </a:cubicBezTo>
                  <a:cubicBezTo>
                    <a:pt x="785" y="356"/>
                    <a:pt x="787" y="355"/>
                    <a:pt x="789" y="354"/>
                  </a:cubicBezTo>
                  <a:cubicBezTo>
                    <a:pt x="790" y="354"/>
                    <a:pt x="790" y="354"/>
                    <a:pt x="790" y="354"/>
                  </a:cubicBezTo>
                  <a:cubicBezTo>
                    <a:pt x="791" y="354"/>
                    <a:pt x="791" y="354"/>
                    <a:pt x="792" y="354"/>
                  </a:cubicBezTo>
                  <a:cubicBezTo>
                    <a:pt x="792" y="353"/>
                    <a:pt x="792" y="353"/>
                    <a:pt x="793" y="353"/>
                  </a:cubicBezTo>
                  <a:cubicBezTo>
                    <a:pt x="794" y="353"/>
                    <a:pt x="795" y="352"/>
                    <a:pt x="797" y="352"/>
                  </a:cubicBezTo>
                  <a:cubicBezTo>
                    <a:pt x="797" y="352"/>
                    <a:pt x="797" y="351"/>
                    <a:pt x="797" y="351"/>
                  </a:cubicBezTo>
                  <a:moveTo>
                    <a:pt x="857" y="353"/>
                  </a:moveTo>
                  <a:cubicBezTo>
                    <a:pt x="857" y="353"/>
                    <a:pt x="857" y="354"/>
                    <a:pt x="857" y="354"/>
                  </a:cubicBezTo>
                  <a:cubicBezTo>
                    <a:pt x="858" y="355"/>
                    <a:pt x="858" y="355"/>
                    <a:pt x="859" y="356"/>
                  </a:cubicBezTo>
                  <a:cubicBezTo>
                    <a:pt x="859" y="356"/>
                    <a:pt x="860" y="356"/>
                    <a:pt x="860" y="357"/>
                  </a:cubicBezTo>
                  <a:cubicBezTo>
                    <a:pt x="860" y="357"/>
                    <a:pt x="860" y="357"/>
                    <a:pt x="860" y="357"/>
                  </a:cubicBezTo>
                  <a:cubicBezTo>
                    <a:pt x="864" y="360"/>
                    <a:pt x="867" y="364"/>
                    <a:pt x="868" y="369"/>
                  </a:cubicBezTo>
                  <a:cubicBezTo>
                    <a:pt x="869" y="370"/>
                    <a:pt x="869" y="370"/>
                    <a:pt x="869" y="370"/>
                  </a:cubicBezTo>
                  <a:cubicBezTo>
                    <a:pt x="870" y="374"/>
                    <a:pt x="871" y="378"/>
                    <a:pt x="871" y="382"/>
                  </a:cubicBezTo>
                  <a:cubicBezTo>
                    <a:pt x="871" y="384"/>
                    <a:pt x="871" y="385"/>
                    <a:pt x="872" y="387"/>
                  </a:cubicBezTo>
                  <a:cubicBezTo>
                    <a:pt x="872" y="387"/>
                    <a:pt x="872" y="387"/>
                    <a:pt x="872" y="388"/>
                  </a:cubicBezTo>
                  <a:cubicBezTo>
                    <a:pt x="872" y="388"/>
                    <a:pt x="872" y="389"/>
                    <a:pt x="872" y="389"/>
                  </a:cubicBezTo>
                  <a:cubicBezTo>
                    <a:pt x="877" y="403"/>
                    <a:pt x="883" y="414"/>
                    <a:pt x="889" y="421"/>
                  </a:cubicBezTo>
                  <a:cubicBezTo>
                    <a:pt x="889" y="421"/>
                    <a:pt x="889" y="422"/>
                    <a:pt x="890" y="422"/>
                  </a:cubicBezTo>
                  <a:cubicBezTo>
                    <a:pt x="893" y="426"/>
                    <a:pt x="896" y="429"/>
                    <a:pt x="900" y="431"/>
                  </a:cubicBezTo>
                  <a:cubicBezTo>
                    <a:pt x="900" y="431"/>
                    <a:pt x="900" y="430"/>
                    <a:pt x="900" y="430"/>
                  </a:cubicBezTo>
                  <a:cubicBezTo>
                    <a:pt x="897" y="428"/>
                    <a:pt x="894" y="425"/>
                    <a:pt x="890" y="421"/>
                  </a:cubicBezTo>
                  <a:cubicBezTo>
                    <a:pt x="890" y="421"/>
                    <a:pt x="890" y="421"/>
                    <a:pt x="890" y="421"/>
                  </a:cubicBezTo>
                  <a:cubicBezTo>
                    <a:pt x="883" y="413"/>
                    <a:pt x="878" y="403"/>
                    <a:pt x="873" y="389"/>
                  </a:cubicBezTo>
                  <a:cubicBezTo>
                    <a:pt x="873" y="388"/>
                    <a:pt x="873" y="388"/>
                    <a:pt x="873" y="387"/>
                  </a:cubicBezTo>
                  <a:cubicBezTo>
                    <a:pt x="873" y="387"/>
                    <a:pt x="873" y="386"/>
                    <a:pt x="872" y="386"/>
                  </a:cubicBezTo>
                  <a:cubicBezTo>
                    <a:pt x="872" y="385"/>
                    <a:pt x="872" y="383"/>
                    <a:pt x="872" y="382"/>
                  </a:cubicBezTo>
                  <a:cubicBezTo>
                    <a:pt x="872" y="377"/>
                    <a:pt x="871" y="373"/>
                    <a:pt x="870" y="370"/>
                  </a:cubicBezTo>
                  <a:cubicBezTo>
                    <a:pt x="869" y="369"/>
                    <a:pt x="869" y="369"/>
                    <a:pt x="869" y="368"/>
                  </a:cubicBezTo>
                  <a:cubicBezTo>
                    <a:pt x="867" y="364"/>
                    <a:pt x="865" y="360"/>
                    <a:pt x="861" y="356"/>
                  </a:cubicBezTo>
                  <a:cubicBezTo>
                    <a:pt x="861" y="356"/>
                    <a:pt x="861" y="356"/>
                    <a:pt x="861" y="356"/>
                  </a:cubicBezTo>
                  <a:cubicBezTo>
                    <a:pt x="860" y="356"/>
                    <a:pt x="860" y="355"/>
                    <a:pt x="860" y="355"/>
                  </a:cubicBezTo>
                  <a:cubicBezTo>
                    <a:pt x="859" y="354"/>
                    <a:pt x="858" y="354"/>
                    <a:pt x="857" y="353"/>
                  </a:cubicBezTo>
                  <a:moveTo>
                    <a:pt x="751" y="374"/>
                  </a:moveTo>
                  <a:cubicBezTo>
                    <a:pt x="750" y="375"/>
                    <a:pt x="749" y="375"/>
                    <a:pt x="748" y="375"/>
                  </a:cubicBezTo>
                  <a:cubicBezTo>
                    <a:pt x="747" y="376"/>
                    <a:pt x="746" y="376"/>
                    <a:pt x="746" y="377"/>
                  </a:cubicBezTo>
                  <a:cubicBezTo>
                    <a:pt x="743" y="379"/>
                    <a:pt x="740" y="381"/>
                    <a:pt x="738" y="383"/>
                  </a:cubicBezTo>
                  <a:cubicBezTo>
                    <a:pt x="738" y="384"/>
                    <a:pt x="738" y="384"/>
                    <a:pt x="738" y="384"/>
                  </a:cubicBezTo>
                  <a:cubicBezTo>
                    <a:pt x="740" y="382"/>
                    <a:pt x="743" y="380"/>
                    <a:pt x="746" y="377"/>
                  </a:cubicBezTo>
                  <a:cubicBezTo>
                    <a:pt x="748" y="376"/>
                    <a:pt x="749" y="375"/>
                    <a:pt x="751" y="374"/>
                  </a:cubicBezTo>
                  <a:moveTo>
                    <a:pt x="737" y="384"/>
                  </a:moveTo>
                  <a:cubicBezTo>
                    <a:pt x="736" y="384"/>
                    <a:pt x="736" y="385"/>
                    <a:pt x="735" y="385"/>
                  </a:cubicBezTo>
                  <a:cubicBezTo>
                    <a:pt x="735" y="385"/>
                    <a:pt x="735" y="386"/>
                    <a:pt x="735" y="386"/>
                  </a:cubicBezTo>
                  <a:cubicBezTo>
                    <a:pt x="733" y="387"/>
                    <a:pt x="732" y="388"/>
                    <a:pt x="730" y="390"/>
                  </a:cubicBezTo>
                  <a:cubicBezTo>
                    <a:pt x="730" y="390"/>
                    <a:pt x="729" y="391"/>
                    <a:pt x="728" y="392"/>
                  </a:cubicBezTo>
                  <a:cubicBezTo>
                    <a:pt x="727" y="393"/>
                    <a:pt x="726" y="394"/>
                    <a:pt x="725" y="395"/>
                  </a:cubicBezTo>
                  <a:cubicBezTo>
                    <a:pt x="725" y="396"/>
                    <a:pt x="726" y="396"/>
                    <a:pt x="726" y="396"/>
                  </a:cubicBezTo>
                  <a:cubicBezTo>
                    <a:pt x="727" y="395"/>
                    <a:pt x="728" y="394"/>
                    <a:pt x="729" y="393"/>
                  </a:cubicBezTo>
                  <a:cubicBezTo>
                    <a:pt x="731" y="390"/>
                    <a:pt x="734" y="388"/>
                    <a:pt x="737" y="385"/>
                  </a:cubicBezTo>
                  <a:cubicBezTo>
                    <a:pt x="737" y="385"/>
                    <a:pt x="737" y="384"/>
                    <a:pt x="737" y="384"/>
                  </a:cubicBezTo>
                  <a:moveTo>
                    <a:pt x="724" y="396"/>
                  </a:moveTo>
                  <a:cubicBezTo>
                    <a:pt x="724" y="397"/>
                    <a:pt x="723" y="397"/>
                    <a:pt x="723" y="397"/>
                  </a:cubicBezTo>
                  <a:cubicBezTo>
                    <a:pt x="723" y="398"/>
                    <a:pt x="722" y="398"/>
                    <a:pt x="722" y="399"/>
                  </a:cubicBezTo>
                  <a:cubicBezTo>
                    <a:pt x="722" y="399"/>
                    <a:pt x="721" y="399"/>
                    <a:pt x="721" y="400"/>
                  </a:cubicBezTo>
                  <a:cubicBezTo>
                    <a:pt x="719" y="403"/>
                    <a:pt x="716" y="406"/>
                    <a:pt x="714" y="409"/>
                  </a:cubicBezTo>
                  <a:cubicBezTo>
                    <a:pt x="713" y="411"/>
                    <a:pt x="712" y="412"/>
                    <a:pt x="711" y="414"/>
                  </a:cubicBezTo>
                  <a:cubicBezTo>
                    <a:pt x="711" y="415"/>
                    <a:pt x="710" y="416"/>
                    <a:pt x="709" y="416"/>
                  </a:cubicBezTo>
                  <a:cubicBezTo>
                    <a:pt x="709" y="417"/>
                    <a:pt x="709" y="417"/>
                    <a:pt x="709" y="417"/>
                  </a:cubicBezTo>
                  <a:cubicBezTo>
                    <a:pt x="709" y="417"/>
                    <a:pt x="709" y="417"/>
                    <a:pt x="708" y="418"/>
                  </a:cubicBezTo>
                  <a:cubicBezTo>
                    <a:pt x="708" y="418"/>
                    <a:pt x="708" y="418"/>
                    <a:pt x="708" y="418"/>
                  </a:cubicBezTo>
                  <a:cubicBezTo>
                    <a:pt x="707" y="419"/>
                    <a:pt x="707" y="420"/>
                    <a:pt x="706" y="420"/>
                  </a:cubicBezTo>
                  <a:cubicBezTo>
                    <a:pt x="705" y="422"/>
                    <a:pt x="703" y="424"/>
                    <a:pt x="701" y="426"/>
                  </a:cubicBezTo>
                  <a:cubicBezTo>
                    <a:pt x="701" y="427"/>
                    <a:pt x="700" y="428"/>
                    <a:pt x="700" y="428"/>
                  </a:cubicBezTo>
                  <a:cubicBezTo>
                    <a:pt x="700" y="429"/>
                    <a:pt x="700" y="429"/>
                    <a:pt x="700" y="429"/>
                  </a:cubicBezTo>
                  <a:cubicBezTo>
                    <a:pt x="701" y="428"/>
                    <a:pt x="701" y="428"/>
                    <a:pt x="702" y="427"/>
                  </a:cubicBezTo>
                  <a:cubicBezTo>
                    <a:pt x="702" y="427"/>
                    <a:pt x="702" y="427"/>
                    <a:pt x="702" y="427"/>
                  </a:cubicBezTo>
                  <a:cubicBezTo>
                    <a:pt x="703" y="426"/>
                    <a:pt x="704" y="425"/>
                    <a:pt x="704" y="424"/>
                  </a:cubicBezTo>
                  <a:cubicBezTo>
                    <a:pt x="706" y="423"/>
                    <a:pt x="707" y="421"/>
                    <a:pt x="709" y="419"/>
                  </a:cubicBezTo>
                  <a:cubicBezTo>
                    <a:pt x="709" y="418"/>
                    <a:pt x="710" y="418"/>
                    <a:pt x="710" y="417"/>
                  </a:cubicBezTo>
                  <a:cubicBezTo>
                    <a:pt x="710" y="417"/>
                    <a:pt x="711" y="416"/>
                    <a:pt x="711" y="416"/>
                  </a:cubicBezTo>
                  <a:cubicBezTo>
                    <a:pt x="711" y="415"/>
                    <a:pt x="712" y="415"/>
                    <a:pt x="712" y="414"/>
                  </a:cubicBezTo>
                  <a:cubicBezTo>
                    <a:pt x="713" y="413"/>
                    <a:pt x="713" y="413"/>
                    <a:pt x="714" y="412"/>
                  </a:cubicBezTo>
                  <a:cubicBezTo>
                    <a:pt x="714" y="411"/>
                    <a:pt x="715" y="410"/>
                    <a:pt x="715" y="410"/>
                  </a:cubicBezTo>
                  <a:cubicBezTo>
                    <a:pt x="717" y="407"/>
                    <a:pt x="719" y="404"/>
                    <a:pt x="721" y="401"/>
                  </a:cubicBezTo>
                  <a:cubicBezTo>
                    <a:pt x="722" y="401"/>
                    <a:pt x="722" y="400"/>
                    <a:pt x="722" y="400"/>
                  </a:cubicBezTo>
                  <a:cubicBezTo>
                    <a:pt x="723" y="399"/>
                    <a:pt x="724" y="398"/>
                    <a:pt x="725" y="397"/>
                  </a:cubicBezTo>
                  <a:cubicBezTo>
                    <a:pt x="725" y="397"/>
                    <a:pt x="724" y="396"/>
                    <a:pt x="724" y="396"/>
                  </a:cubicBezTo>
                  <a:moveTo>
                    <a:pt x="699" y="429"/>
                  </a:moveTo>
                  <a:cubicBezTo>
                    <a:pt x="699" y="430"/>
                    <a:pt x="698" y="430"/>
                    <a:pt x="698" y="430"/>
                  </a:cubicBezTo>
                  <a:cubicBezTo>
                    <a:pt x="698" y="430"/>
                    <a:pt x="698" y="430"/>
                    <a:pt x="698" y="430"/>
                  </a:cubicBezTo>
                  <a:cubicBezTo>
                    <a:pt x="697" y="432"/>
                    <a:pt x="695" y="433"/>
                    <a:pt x="694" y="434"/>
                  </a:cubicBezTo>
                  <a:cubicBezTo>
                    <a:pt x="691" y="438"/>
                    <a:pt x="688" y="441"/>
                    <a:pt x="684" y="444"/>
                  </a:cubicBezTo>
                  <a:cubicBezTo>
                    <a:pt x="684" y="445"/>
                    <a:pt x="684" y="445"/>
                    <a:pt x="684" y="445"/>
                  </a:cubicBezTo>
                  <a:cubicBezTo>
                    <a:pt x="686" y="444"/>
                    <a:pt x="687" y="443"/>
                    <a:pt x="689" y="441"/>
                  </a:cubicBezTo>
                  <a:cubicBezTo>
                    <a:pt x="692" y="438"/>
                    <a:pt x="695" y="435"/>
                    <a:pt x="698" y="431"/>
                  </a:cubicBezTo>
                  <a:cubicBezTo>
                    <a:pt x="698" y="431"/>
                    <a:pt x="698" y="431"/>
                    <a:pt x="698" y="431"/>
                  </a:cubicBezTo>
                  <a:cubicBezTo>
                    <a:pt x="699" y="431"/>
                    <a:pt x="699" y="430"/>
                    <a:pt x="700" y="430"/>
                  </a:cubicBezTo>
                  <a:cubicBezTo>
                    <a:pt x="699" y="430"/>
                    <a:pt x="699" y="429"/>
                    <a:pt x="699" y="429"/>
                  </a:cubicBezTo>
                  <a:moveTo>
                    <a:pt x="683" y="445"/>
                  </a:moveTo>
                  <a:cubicBezTo>
                    <a:pt x="683" y="445"/>
                    <a:pt x="683" y="445"/>
                    <a:pt x="683" y="445"/>
                  </a:cubicBezTo>
                  <a:cubicBezTo>
                    <a:pt x="681" y="447"/>
                    <a:pt x="679" y="449"/>
                    <a:pt x="677" y="451"/>
                  </a:cubicBezTo>
                  <a:cubicBezTo>
                    <a:pt x="674" y="453"/>
                    <a:pt x="672" y="455"/>
                    <a:pt x="670" y="457"/>
                  </a:cubicBezTo>
                  <a:cubicBezTo>
                    <a:pt x="667" y="459"/>
                    <a:pt x="664" y="462"/>
                    <a:pt x="661" y="464"/>
                  </a:cubicBezTo>
                  <a:cubicBezTo>
                    <a:pt x="662" y="464"/>
                    <a:pt x="662" y="464"/>
                    <a:pt x="662" y="465"/>
                  </a:cubicBezTo>
                  <a:cubicBezTo>
                    <a:pt x="667" y="460"/>
                    <a:pt x="672" y="456"/>
                    <a:pt x="677" y="452"/>
                  </a:cubicBezTo>
                  <a:cubicBezTo>
                    <a:pt x="679" y="450"/>
                    <a:pt x="681" y="448"/>
                    <a:pt x="683" y="446"/>
                  </a:cubicBezTo>
                  <a:cubicBezTo>
                    <a:pt x="683" y="446"/>
                    <a:pt x="683" y="446"/>
                    <a:pt x="683" y="446"/>
                  </a:cubicBezTo>
                  <a:cubicBezTo>
                    <a:pt x="683" y="446"/>
                    <a:pt x="683" y="446"/>
                    <a:pt x="683" y="445"/>
                  </a:cubicBezTo>
                  <a:moveTo>
                    <a:pt x="661" y="464"/>
                  </a:moveTo>
                  <a:cubicBezTo>
                    <a:pt x="659" y="465"/>
                    <a:pt x="658" y="466"/>
                    <a:pt x="657" y="467"/>
                  </a:cubicBezTo>
                  <a:cubicBezTo>
                    <a:pt x="657" y="467"/>
                    <a:pt x="656" y="468"/>
                    <a:pt x="656" y="468"/>
                  </a:cubicBezTo>
                  <a:cubicBezTo>
                    <a:pt x="651" y="472"/>
                    <a:pt x="646" y="476"/>
                    <a:pt x="640" y="480"/>
                  </a:cubicBezTo>
                  <a:cubicBezTo>
                    <a:pt x="638" y="481"/>
                    <a:pt x="635" y="483"/>
                    <a:pt x="633" y="485"/>
                  </a:cubicBezTo>
                  <a:cubicBezTo>
                    <a:pt x="633" y="485"/>
                    <a:pt x="633" y="485"/>
                    <a:pt x="633" y="486"/>
                  </a:cubicBezTo>
                  <a:cubicBezTo>
                    <a:pt x="633" y="486"/>
                    <a:pt x="634" y="485"/>
                    <a:pt x="634" y="485"/>
                  </a:cubicBezTo>
                  <a:cubicBezTo>
                    <a:pt x="634" y="485"/>
                    <a:pt x="635" y="484"/>
                    <a:pt x="636" y="484"/>
                  </a:cubicBezTo>
                  <a:cubicBezTo>
                    <a:pt x="636" y="483"/>
                    <a:pt x="637" y="483"/>
                    <a:pt x="638" y="482"/>
                  </a:cubicBezTo>
                  <a:cubicBezTo>
                    <a:pt x="639" y="482"/>
                    <a:pt x="640" y="481"/>
                    <a:pt x="641" y="481"/>
                  </a:cubicBezTo>
                  <a:cubicBezTo>
                    <a:pt x="644" y="478"/>
                    <a:pt x="648" y="475"/>
                    <a:pt x="652" y="473"/>
                  </a:cubicBezTo>
                  <a:cubicBezTo>
                    <a:pt x="653" y="471"/>
                    <a:pt x="655" y="470"/>
                    <a:pt x="657" y="468"/>
                  </a:cubicBezTo>
                  <a:cubicBezTo>
                    <a:pt x="657" y="468"/>
                    <a:pt x="657" y="468"/>
                    <a:pt x="658" y="468"/>
                  </a:cubicBezTo>
                  <a:cubicBezTo>
                    <a:pt x="659" y="467"/>
                    <a:pt x="660" y="466"/>
                    <a:pt x="661" y="465"/>
                  </a:cubicBezTo>
                  <a:cubicBezTo>
                    <a:pt x="661" y="465"/>
                    <a:pt x="661" y="465"/>
                    <a:pt x="661" y="464"/>
                  </a:cubicBezTo>
                  <a:moveTo>
                    <a:pt x="632" y="485"/>
                  </a:moveTo>
                  <a:cubicBezTo>
                    <a:pt x="631" y="486"/>
                    <a:pt x="630" y="487"/>
                    <a:pt x="628" y="488"/>
                  </a:cubicBezTo>
                  <a:cubicBezTo>
                    <a:pt x="628" y="488"/>
                    <a:pt x="627" y="488"/>
                    <a:pt x="627" y="489"/>
                  </a:cubicBezTo>
                  <a:cubicBezTo>
                    <a:pt x="624" y="491"/>
                    <a:pt x="621" y="493"/>
                    <a:pt x="618" y="495"/>
                  </a:cubicBezTo>
                  <a:cubicBezTo>
                    <a:pt x="618" y="495"/>
                    <a:pt x="618" y="495"/>
                    <a:pt x="618" y="495"/>
                  </a:cubicBezTo>
                  <a:cubicBezTo>
                    <a:pt x="619" y="495"/>
                    <a:pt x="620" y="495"/>
                    <a:pt x="621" y="494"/>
                  </a:cubicBezTo>
                  <a:cubicBezTo>
                    <a:pt x="621" y="494"/>
                    <a:pt x="621" y="494"/>
                    <a:pt x="622" y="493"/>
                  </a:cubicBezTo>
                  <a:cubicBezTo>
                    <a:pt x="624" y="492"/>
                    <a:pt x="626" y="491"/>
                    <a:pt x="628" y="490"/>
                  </a:cubicBezTo>
                  <a:cubicBezTo>
                    <a:pt x="629" y="488"/>
                    <a:pt x="631" y="487"/>
                    <a:pt x="632" y="486"/>
                  </a:cubicBezTo>
                  <a:cubicBezTo>
                    <a:pt x="632" y="486"/>
                    <a:pt x="632" y="486"/>
                    <a:pt x="632" y="485"/>
                  </a:cubicBezTo>
                  <a:moveTo>
                    <a:pt x="617" y="495"/>
                  </a:moveTo>
                  <a:cubicBezTo>
                    <a:pt x="614" y="497"/>
                    <a:pt x="611" y="499"/>
                    <a:pt x="609" y="501"/>
                  </a:cubicBezTo>
                  <a:cubicBezTo>
                    <a:pt x="600" y="506"/>
                    <a:pt x="592" y="511"/>
                    <a:pt x="583" y="516"/>
                  </a:cubicBezTo>
                  <a:cubicBezTo>
                    <a:pt x="583" y="516"/>
                    <a:pt x="583" y="517"/>
                    <a:pt x="583" y="517"/>
                  </a:cubicBezTo>
                  <a:cubicBezTo>
                    <a:pt x="587" y="514"/>
                    <a:pt x="592" y="512"/>
                    <a:pt x="596" y="509"/>
                  </a:cubicBezTo>
                  <a:cubicBezTo>
                    <a:pt x="601" y="507"/>
                    <a:pt x="605" y="504"/>
                    <a:pt x="609" y="501"/>
                  </a:cubicBezTo>
                  <a:cubicBezTo>
                    <a:pt x="612" y="500"/>
                    <a:pt x="615" y="498"/>
                    <a:pt x="618" y="496"/>
                  </a:cubicBezTo>
                  <a:cubicBezTo>
                    <a:pt x="617" y="496"/>
                    <a:pt x="617" y="496"/>
                    <a:pt x="617" y="495"/>
                  </a:cubicBezTo>
                  <a:moveTo>
                    <a:pt x="582" y="516"/>
                  </a:moveTo>
                  <a:cubicBezTo>
                    <a:pt x="581" y="517"/>
                    <a:pt x="581" y="517"/>
                    <a:pt x="581" y="517"/>
                  </a:cubicBezTo>
                  <a:cubicBezTo>
                    <a:pt x="578" y="518"/>
                    <a:pt x="576" y="520"/>
                    <a:pt x="574" y="521"/>
                  </a:cubicBezTo>
                  <a:cubicBezTo>
                    <a:pt x="574" y="521"/>
                    <a:pt x="575" y="521"/>
                    <a:pt x="575" y="521"/>
                  </a:cubicBezTo>
                  <a:cubicBezTo>
                    <a:pt x="575" y="521"/>
                    <a:pt x="576" y="521"/>
                    <a:pt x="577" y="521"/>
                  </a:cubicBezTo>
                  <a:cubicBezTo>
                    <a:pt x="578" y="520"/>
                    <a:pt x="579" y="519"/>
                    <a:pt x="580" y="519"/>
                  </a:cubicBezTo>
                  <a:cubicBezTo>
                    <a:pt x="580" y="519"/>
                    <a:pt x="581" y="518"/>
                    <a:pt x="581" y="518"/>
                  </a:cubicBezTo>
                  <a:cubicBezTo>
                    <a:pt x="581" y="518"/>
                    <a:pt x="582" y="518"/>
                    <a:pt x="582" y="517"/>
                  </a:cubicBezTo>
                  <a:cubicBezTo>
                    <a:pt x="582" y="517"/>
                    <a:pt x="582" y="517"/>
                    <a:pt x="582" y="516"/>
                  </a:cubicBezTo>
                  <a:moveTo>
                    <a:pt x="573" y="521"/>
                  </a:moveTo>
                  <a:cubicBezTo>
                    <a:pt x="571" y="523"/>
                    <a:pt x="568" y="524"/>
                    <a:pt x="566" y="525"/>
                  </a:cubicBezTo>
                  <a:cubicBezTo>
                    <a:pt x="564" y="526"/>
                    <a:pt x="562" y="527"/>
                    <a:pt x="559" y="529"/>
                  </a:cubicBezTo>
                  <a:cubicBezTo>
                    <a:pt x="554" y="531"/>
                    <a:pt x="549" y="534"/>
                    <a:pt x="544" y="536"/>
                  </a:cubicBezTo>
                  <a:cubicBezTo>
                    <a:pt x="543" y="537"/>
                    <a:pt x="543" y="537"/>
                    <a:pt x="542" y="538"/>
                  </a:cubicBezTo>
                  <a:cubicBezTo>
                    <a:pt x="539" y="539"/>
                    <a:pt x="535" y="541"/>
                    <a:pt x="532" y="542"/>
                  </a:cubicBezTo>
                  <a:cubicBezTo>
                    <a:pt x="532" y="543"/>
                    <a:pt x="532" y="543"/>
                    <a:pt x="532" y="543"/>
                  </a:cubicBezTo>
                  <a:cubicBezTo>
                    <a:pt x="535" y="542"/>
                    <a:pt x="538" y="541"/>
                    <a:pt x="540" y="540"/>
                  </a:cubicBezTo>
                  <a:cubicBezTo>
                    <a:pt x="541" y="539"/>
                    <a:pt x="542" y="539"/>
                    <a:pt x="542" y="538"/>
                  </a:cubicBezTo>
                  <a:cubicBezTo>
                    <a:pt x="544" y="537"/>
                    <a:pt x="546" y="536"/>
                    <a:pt x="548" y="535"/>
                  </a:cubicBezTo>
                  <a:cubicBezTo>
                    <a:pt x="552" y="534"/>
                    <a:pt x="556" y="532"/>
                    <a:pt x="560" y="530"/>
                  </a:cubicBezTo>
                  <a:cubicBezTo>
                    <a:pt x="564" y="527"/>
                    <a:pt x="569" y="525"/>
                    <a:pt x="574" y="522"/>
                  </a:cubicBezTo>
                  <a:cubicBezTo>
                    <a:pt x="574" y="522"/>
                    <a:pt x="573" y="522"/>
                    <a:pt x="573" y="521"/>
                  </a:cubicBezTo>
                  <a:moveTo>
                    <a:pt x="531" y="543"/>
                  </a:moveTo>
                  <a:cubicBezTo>
                    <a:pt x="531" y="543"/>
                    <a:pt x="531" y="543"/>
                    <a:pt x="530" y="543"/>
                  </a:cubicBezTo>
                  <a:cubicBezTo>
                    <a:pt x="531" y="543"/>
                    <a:pt x="531" y="544"/>
                    <a:pt x="531" y="544"/>
                  </a:cubicBezTo>
                  <a:cubicBezTo>
                    <a:pt x="532" y="544"/>
                    <a:pt x="532" y="544"/>
                    <a:pt x="532" y="544"/>
                  </a:cubicBezTo>
                  <a:cubicBezTo>
                    <a:pt x="531" y="543"/>
                    <a:pt x="531" y="543"/>
                    <a:pt x="531" y="543"/>
                  </a:cubicBezTo>
                  <a:moveTo>
                    <a:pt x="529" y="544"/>
                  </a:moveTo>
                  <a:cubicBezTo>
                    <a:pt x="527" y="545"/>
                    <a:pt x="526" y="545"/>
                    <a:pt x="524" y="546"/>
                  </a:cubicBezTo>
                  <a:cubicBezTo>
                    <a:pt x="523" y="547"/>
                    <a:pt x="522" y="547"/>
                    <a:pt x="521" y="548"/>
                  </a:cubicBezTo>
                  <a:cubicBezTo>
                    <a:pt x="520" y="548"/>
                    <a:pt x="520" y="548"/>
                    <a:pt x="520" y="548"/>
                  </a:cubicBezTo>
                  <a:cubicBezTo>
                    <a:pt x="519" y="548"/>
                    <a:pt x="518" y="549"/>
                    <a:pt x="518" y="549"/>
                  </a:cubicBezTo>
                  <a:cubicBezTo>
                    <a:pt x="515" y="550"/>
                    <a:pt x="512" y="552"/>
                    <a:pt x="509" y="553"/>
                  </a:cubicBezTo>
                  <a:cubicBezTo>
                    <a:pt x="508" y="553"/>
                    <a:pt x="508" y="554"/>
                    <a:pt x="507" y="554"/>
                  </a:cubicBezTo>
                  <a:cubicBezTo>
                    <a:pt x="503" y="556"/>
                    <a:pt x="498" y="558"/>
                    <a:pt x="494" y="559"/>
                  </a:cubicBezTo>
                  <a:cubicBezTo>
                    <a:pt x="490" y="561"/>
                    <a:pt x="486" y="563"/>
                    <a:pt x="483" y="564"/>
                  </a:cubicBezTo>
                  <a:cubicBezTo>
                    <a:pt x="483" y="564"/>
                    <a:pt x="484" y="564"/>
                    <a:pt x="484" y="565"/>
                  </a:cubicBezTo>
                  <a:cubicBezTo>
                    <a:pt x="492" y="561"/>
                    <a:pt x="500" y="558"/>
                    <a:pt x="508" y="555"/>
                  </a:cubicBezTo>
                  <a:cubicBezTo>
                    <a:pt x="512" y="553"/>
                    <a:pt x="517" y="550"/>
                    <a:pt x="522" y="548"/>
                  </a:cubicBezTo>
                  <a:cubicBezTo>
                    <a:pt x="525" y="547"/>
                    <a:pt x="527" y="546"/>
                    <a:pt x="530" y="544"/>
                  </a:cubicBezTo>
                  <a:cubicBezTo>
                    <a:pt x="530" y="544"/>
                    <a:pt x="529" y="544"/>
                    <a:pt x="529" y="544"/>
                  </a:cubicBezTo>
                  <a:moveTo>
                    <a:pt x="481" y="565"/>
                  </a:moveTo>
                  <a:cubicBezTo>
                    <a:pt x="481" y="565"/>
                    <a:pt x="481" y="565"/>
                    <a:pt x="482" y="566"/>
                  </a:cubicBezTo>
                  <a:cubicBezTo>
                    <a:pt x="482" y="565"/>
                    <a:pt x="482" y="565"/>
                    <a:pt x="483" y="565"/>
                  </a:cubicBezTo>
                  <a:cubicBezTo>
                    <a:pt x="482" y="565"/>
                    <a:pt x="482" y="565"/>
                    <a:pt x="481" y="565"/>
                  </a:cubicBezTo>
                  <a:moveTo>
                    <a:pt x="480" y="565"/>
                  </a:moveTo>
                  <a:cubicBezTo>
                    <a:pt x="478" y="566"/>
                    <a:pt x="475" y="567"/>
                    <a:pt x="472" y="568"/>
                  </a:cubicBezTo>
                  <a:cubicBezTo>
                    <a:pt x="470" y="569"/>
                    <a:pt x="469" y="569"/>
                    <a:pt x="467" y="570"/>
                  </a:cubicBezTo>
                  <a:cubicBezTo>
                    <a:pt x="458" y="574"/>
                    <a:pt x="448" y="577"/>
                    <a:pt x="439" y="580"/>
                  </a:cubicBezTo>
                  <a:cubicBezTo>
                    <a:pt x="438" y="581"/>
                    <a:pt x="436" y="581"/>
                    <a:pt x="435" y="581"/>
                  </a:cubicBezTo>
                  <a:cubicBezTo>
                    <a:pt x="433" y="582"/>
                    <a:pt x="431" y="583"/>
                    <a:pt x="429" y="583"/>
                  </a:cubicBezTo>
                  <a:cubicBezTo>
                    <a:pt x="429" y="583"/>
                    <a:pt x="430" y="584"/>
                    <a:pt x="431" y="584"/>
                  </a:cubicBezTo>
                  <a:cubicBezTo>
                    <a:pt x="433" y="583"/>
                    <a:pt x="435" y="582"/>
                    <a:pt x="438" y="582"/>
                  </a:cubicBezTo>
                  <a:cubicBezTo>
                    <a:pt x="438" y="581"/>
                    <a:pt x="439" y="581"/>
                    <a:pt x="439" y="581"/>
                  </a:cubicBezTo>
                  <a:cubicBezTo>
                    <a:pt x="441" y="581"/>
                    <a:pt x="442" y="580"/>
                    <a:pt x="444" y="580"/>
                  </a:cubicBezTo>
                  <a:cubicBezTo>
                    <a:pt x="453" y="576"/>
                    <a:pt x="463" y="573"/>
                    <a:pt x="472" y="569"/>
                  </a:cubicBezTo>
                  <a:cubicBezTo>
                    <a:pt x="474" y="569"/>
                    <a:pt x="476" y="568"/>
                    <a:pt x="477" y="567"/>
                  </a:cubicBezTo>
                  <a:cubicBezTo>
                    <a:pt x="478" y="567"/>
                    <a:pt x="480" y="566"/>
                    <a:pt x="481" y="566"/>
                  </a:cubicBezTo>
                  <a:cubicBezTo>
                    <a:pt x="481" y="566"/>
                    <a:pt x="480" y="565"/>
                    <a:pt x="480" y="565"/>
                  </a:cubicBezTo>
                  <a:moveTo>
                    <a:pt x="427" y="584"/>
                  </a:moveTo>
                  <a:cubicBezTo>
                    <a:pt x="426" y="584"/>
                    <a:pt x="425" y="584"/>
                    <a:pt x="424" y="585"/>
                  </a:cubicBezTo>
                  <a:cubicBezTo>
                    <a:pt x="416" y="587"/>
                    <a:pt x="409" y="589"/>
                    <a:pt x="401" y="591"/>
                  </a:cubicBezTo>
                  <a:cubicBezTo>
                    <a:pt x="396" y="592"/>
                    <a:pt x="390" y="594"/>
                    <a:pt x="385" y="595"/>
                  </a:cubicBezTo>
                  <a:cubicBezTo>
                    <a:pt x="384" y="596"/>
                    <a:pt x="383" y="596"/>
                    <a:pt x="382" y="596"/>
                  </a:cubicBezTo>
                  <a:cubicBezTo>
                    <a:pt x="380" y="597"/>
                    <a:pt x="377" y="597"/>
                    <a:pt x="375" y="598"/>
                  </a:cubicBezTo>
                  <a:cubicBezTo>
                    <a:pt x="373" y="599"/>
                    <a:pt x="371" y="599"/>
                    <a:pt x="369" y="600"/>
                  </a:cubicBezTo>
                  <a:cubicBezTo>
                    <a:pt x="368" y="600"/>
                    <a:pt x="368" y="600"/>
                    <a:pt x="367" y="600"/>
                  </a:cubicBezTo>
                  <a:cubicBezTo>
                    <a:pt x="347" y="606"/>
                    <a:pt x="326" y="612"/>
                    <a:pt x="304" y="618"/>
                  </a:cubicBezTo>
                  <a:cubicBezTo>
                    <a:pt x="303" y="619"/>
                    <a:pt x="303" y="619"/>
                    <a:pt x="302" y="619"/>
                  </a:cubicBezTo>
                  <a:cubicBezTo>
                    <a:pt x="286" y="624"/>
                    <a:pt x="270" y="629"/>
                    <a:pt x="254" y="634"/>
                  </a:cubicBezTo>
                  <a:cubicBezTo>
                    <a:pt x="254" y="634"/>
                    <a:pt x="253" y="634"/>
                    <a:pt x="253" y="635"/>
                  </a:cubicBezTo>
                  <a:cubicBezTo>
                    <a:pt x="252" y="635"/>
                    <a:pt x="251" y="635"/>
                    <a:pt x="250" y="635"/>
                  </a:cubicBezTo>
                  <a:cubicBezTo>
                    <a:pt x="249" y="636"/>
                    <a:pt x="248" y="636"/>
                    <a:pt x="247" y="636"/>
                  </a:cubicBezTo>
                  <a:cubicBezTo>
                    <a:pt x="240" y="639"/>
                    <a:pt x="232" y="642"/>
                    <a:pt x="224" y="644"/>
                  </a:cubicBezTo>
                  <a:cubicBezTo>
                    <a:pt x="224" y="644"/>
                    <a:pt x="223" y="645"/>
                    <a:pt x="223" y="645"/>
                  </a:cubicBezTo>
                  <a:cubicBezTo>
                    <a:pt x="221" y="645"/>
                    <a:pt x="219" y="646"/>
                    <a:pt x="217" y="647"/>
                  </a:cubicBezTo>
                  <a:cubicBezTo>
                    <a:pt x="217" y="647"/>
                    <a:pt x="216" y="647"/>
                    <a:pt x="216" y="647"/>
                  </a:cubicBezTo>
                  <a:cubicBezTo>
                    <a:pt x="212" y="648"/>
                    <a:pt x="209" y="650"/>
                    <a:pt x="205" y="651"/>
                  </a:cubicBezTo>
                  <a:cubicBezTo>
                    <a:pt x="205" y="651"/>
                    <a:pt x="204" y="651"/>
                    <a:pt x="204" y="651"/>
                  </a:cubicBezTo>
                  <a:cubicBezTo>
                    <a:pt x="202" y="652"/>
                    <a:pt x="199" y="653"/>
                    <a:pt x="197" y="654"/>
                  </a:cubicBezTo>
                  <a:cubicBezTo>
                    <a:pt x="196" y="654"/>
                    <a:pt x="194" y="655"/>
                    <a:pt x="193" y="655"/>
                  </a:cubicBezTo>
                  <a:cubicBezTo>
                    <a:pt x="192" y="656"/>
                    <a:pt x="191" y="656"/>
                    <a:pt x="189" y="657"/>
                  </a:cubicBezTo>
                  <a:cubicBezTo>
                    <a:pt x="188" y="657"/>
                    <a:pt x="186" y="658"/>
                    <a:pt x="184" y="659"/>
                  </a:cubicBezTo>
                  <a:cubicBezTo>
                    <a:pt x="183" y="659"/>
                    <a:pt x="183" y="659"/>
                    <a:pt x="183" y="659"/>
                  </a:cubicBezTo>
                  <a:cubicBezTo>
                    <a:pt x="180" y="660"/>
                    <a:pt x="177" y="661"/>
                    <a:pt x="175" y="662"/>
                  </a:cubicBezTo>
                  <a:cubicBezTo>
                    <a:pt x="174" y="663"/>
                    <a:pt x="174" y="663"/>
                    <a:pt x="173" y="663"/>
                  </a:cubicBezTo>
                  <a:cubicBezTo>
                    <a:pt x="173" y="663"/>
                    <a:pt x="172" y="663"/>
                    <a:pt x="172" y="664"/>
                  </a:cubicBezTo>
                  <a:cubicBezTo>
                    <a:pt x="170" y="664"/>
                    <a:pt x="168" y="665"/>
                    <a:pt x="166" y="666"/>
                  </a:cubicBezTo>
                  <a:cubicBezTo>
                    <a:pt x="166" y="666"/>
                    <a:pt x="165" y="666"/>
                    <a:pt x="165" y="666"/>
                  </a:cubicBezTo>
                  <a:cubicBezTo>
                    <a:pt x="164" y="667"/>
                    <a:pt x="162" y="667"/>
                    <a:pt x="161" y="668"/>
                  </a:cubicBezTo>
                  <a:cubicBezTo>
                    <a:pt x="161" y="668"/>
                    <a:pt x="161" y="668"/>
                    <a:pt x="160" y="668"/>
                  </a:cubicBezTo>
                  <a:cubicBezTo>
                    <a:pt x="160" y="668"/>
                    <a:pt x="159" y="668"/>
                    <a:pt x="159" y="669"/>
                  </a:cubicBezTo>
                  <a:cubicBezTo>
                    <a:pt x="159" y="669"/>
                    <a:pt x="159" y="669"/>
                    <a:pt x="158" y="669"/>
                  </a:cubicBezTo>
                  <a:cubicBezTo>
                    <a:pt x="158" y="669"/>
                    <a:pt x="157" y="669"/>
                    <a:pt x="156" y="670"/>
                  </a:cubicBezTo>
                  <a:cubicBezTo>
                    <a:pt x="156" y="670"/>
                    <a:pt x="155" y="670"/>
                    <a:pt x="155" y="670"/>
                  </a:cubicBezTo>
                  <a:cubicBezTo>
                    <a:pt x="155" y="670"/>
                    <a:pt x="155" y="670"/>
                    <a:pt x="154" y="670"/>
                  </a:cubicBezTo>
                  <a:cubicBezTo>
                    <a:pt x="154" y="671"/>
                    <a:pt x="153" y="671"/>
                    <a:pt x="153" y="671"/>
                  </a:cubicBezTo>
                  <a:cubicBezTo>
                    <a:pt x="151" y="672"/>
                    <a:pt x="149" y="673"/>
                    <a:pt x="147" y="674"/>
                  </a:cubicBezTo>
                  <a:cubicBezTo>
                    <a:pt x="146" y="674"/>
                    <a:pt x="146" y="674"/>
                    <a:pt x="145" y="674"/>
                  </a:cubicBezTo>
                  <a:cubicBezTo>
                    <a:pt x="145" y="674"/>
                    <a:pt x="145" y="674"/>
                    <a:pt x="145" y="674"/>
                  </a:cubicBezTo>
                  <a:cubicBezTo>
                    <a:pt x="145" y="674"/>
                    <a:pt x="144" y="675"/>
                    <a:pt x="144" y="675"/>
                  </a:cubicBezTo>
                  <a:cubicBezTo>
                    <a:pt x="143" y="675"/>
                    <a:pt x="143" y="675"/>
                    <a:pt x="143" y="675"/>
                  </a:cubicBezTo>
                  <a:cubicBezTo>
                    <a:pt x="142" y="675"/>
                    <a:pt x="142" y="676"/>
                    <a:pt x="141" y="676"/>
                  </a:cubicBezTo>
                  <a:cubicBezTo>
                    <a:pt x="141" y="676"/>
                    <a:pt x="141" y="676"/>
                    <a:pt x="141" y="676"/>
                  </a:cubicBezTo>
                  <a:cubicBezTo>
                    <a:pt x="141" y="676"/>
                    <a:pt x="141" y="676"/>
                    <a:pt x="141" y="676"/>
                  </a:cubicBezTo>
                  <a:cubicBezTo>
                    <a:pt x="139" y="677"/>
                    <a:pt x="138" y="677"/>
                    <a:pt x="137" y="678"/>
                  </a:cubicBezTo>
                  <a:cubicBezTo>
                    <a:pt x="136" y="678"/>
                    <a:pt x="134" y="679"/>
                    <a:pt x="133" y="679"/>
                  </a:cubicBezTo>
                  <a:cubicBezTo>
                    <a:pt x="133" y="680"/>
                    <a:pt x="132" y="680"/>
                    <a:pt x="132" y="680"/>
                  </a:cubicBezTo>
                  <a:cubicBezTo>
                    <a:pt x="131" y="680"/>
                    <a:pt x="130" y="681"/>
                    <a:pt x="129" y="681"/>
                  </a:cubicBezTo>
                  <a:cubicBezTo>
                    <a:pt x="129" y="681"/>
                    <a:pt x="128" y="682"/>
                    <a:pt x="127" y="682"/>
                  </a:cubicBezTo>
                  <a:cubicBezTo>
                    <a:pt x="126" y="683"/>
                    <a:pt x="124" y="684"/>
                    <a:pt x="122" y="684"/>
                  </a:cubicBezTo>
                  <a:cubicBezTo>
                    <a:pt x="121" y="685"/>
                    <a:pt x="121" y="685"/>
                    <a:pt x="121" y="685"/>
                  </a:cubicBezTo>
                  <a:cubicBezTo>
                    <a:pt x="120" y="685"/>
                    <a:pt x="120" y="685"/>
                    <a:pt x="119" y="685"/>
                  </a:cubicBezTo>
                  <a:cubicBezTo>
                    <a:pt x="118" y="686"/>
                    <a:pt x="118" y="686"/>
                    <a:pt x="117" y="687"/>
                  </a:cubicBezTo>
                  <a:cubicBezTo>
                    <a:pt x="108" y="690"/>
                    <a:pt x="101" y="694"/>
                    <a:pt x="93" y="698"/>
                  </a:cubicBezTo>
                  <a:cubicBezTo>
                    <a:pt x="93" y="698"/>
                    <a:pt x="92" y="698"/>
                    <a:pt x="92" y="699"/>
                  </a:cubicBezTo>
                  <a:cubicBezTo>
                    <a:pt x="88" y="701"/>
                    <a:pt x="84" y="703"/>
                    <a:pt x="80" y="705"/>
                  </a:cubicBezTo>
                  <a:cubicBezTo>
                    <a:pt x="80" y="705"/>
                    <a:pt x="79" y="705"/>
                    <a:pt x="79" y="705"/>
                  </a:cubicBezTo>
                  <a:cubicBezTo>
                    <a:pt x="78" y="706"/>
                    <a:pt x="76" y="707"/>
                    <a:pt x="75" y="707"/>
                  </a:cubicBezTo>
                  <a:cubicBezTo>
                    <a:pt x="75" y="707"/>
                    <a:pt x="75" y="707"/>
                    <a:pt x="75" y="708"/>
                  </a:cubicBezTo>
                  <a:cubicBezTo>
                    <a:pt x="74" y="708"/>
                    <a:pt x="74" y="708"/>
                    <a:pt x="73" y="708"/>
                  </a:cubicBezTo>
                  <a:cubicBezTo>
                    <a:pt x="73" y="708"/>
                    <a:pt x="73" y="708"/>
                    <a:pt x="73" y="708"/>
                  </a:cubicBezTo>
                  <a:cubicBezTo>
                    <a:pt x="73" y="709"/>
                    <a:pt x="73" y="709"/>
                    <a:pt x="73" y="709"/>
                  </a:cubicBezTo>
                  <a:cubicBezTo>
                    <a:pt x="72" y="709"/>
                    <a:pt x="72" y="709"/>
                    <a:pt x="71" y="710"/>
                  </a:cubicBezTo>
                  <a:cubicBezTo>
                    <a:pt x="69" y="711"/>
                    <a:pt x="67" y="712"/>
                    <a:pt x="65" y="713"/>
                  </a:cubicBezTo>
                  <a:cubicBezTo>
                    <a:pt x="65" y="713"/>
                    <a:pt x="64" y="714"/>
                    <a:pt x="64" y="714"/>
                  </a:cubicBezTo>
                  <a:cubicBezTo>
                    <a:pt x="62" y="715"/>
                    <a:pt x="60" y="716"/>
                    <a:pt x="59" y="717"/>
                  </a:cubicBezTo>
                  <a:cubicBezTo>
                    <a:pt x="59" y="717"/>
                    <a:pt x="58" y="717"/>
                    <a:pt x="58" y="717"/>
                  </a:cubicBezTo>
                  <a:cubicBezTo>
                    <a:pt x="54" y="720"/>
                    <a:pt x="51" y="722"/>
                    <a:pt x="47" y="724"/>
                  </a:cubicBezTo>
                  <a:cubicBezTo>
                    <a:pt x="46" y="725"/>
                    <a:pt x="44" y="726"/>
                    <a:pt x="42" y="728"/>
                  </a:cubicBezTo>
                  <a:cubicBezTo>
                    <a:pt x="42" y="728"/>
                    <a:pt x="42" y="728"/>
                    <a:pt x="42" y="728"/>
                  </a:cubicBezTo>
                  <a:cubicBezTo>
                    <a:pt x="41" y="729"/>
                    <a:pt x="40" y="729"/>
                    <a:pt x="40" y="729"/>
                  </a:cubicBezTo>
                  <a:cubicBezTo>
                    <a:pt x="39" y="730"/>
                    <a:pt x="39" y="730"/>
                    <a:pt x="38" y="730"/>
                  </a:cubicBezTo>
                  <a:cubicBezTo>
                    <a:pt x="36" y="733"/>
                    <a:pt x="33" y="735"/>
                    <a:pt x="30" y="737"/>
                  </a:cubicBezTo>
                  <a:cubicBezTo>
                    <a:pt x="30" y="737"/>
                    <a:pt x="29" y="737"/>
                    <a:pt x="29" y="738"/>
                  </a:cubicBezTo>
                  <a:cubicBezTo>
                    <a:pt x="26" y="740"/>
                    <a:pt x="23" y="743"/>
                    <a:pt x="21" y="745"/>
                  </a:cubicBezTo>
                  <a:cubicBezTo>
                    <a:pt x="20" y="745"/>
                    <a:pt x="20" y="746"/>
                    <a:pt x="20" y="746"/>
                  </a:cubicBezTo>
                  <a:cubicBezTo>
                    <a:pt x="20" y="746"/>
                    <a:pt x="20" y="746"/>
                    <a:pt x="19" y="747"/>
                  </a:cubicBezTo>
                  <a:cubicBezTo>
                    <a:pt x="19" y="747"/>
                    <a:pt x="19" y="747"/>
                    <a:pt x="18" y="747"/>
                  </a:cubicBezTo>
                  <a:cubicBezTo>
                    <a:pt x="17" y="749"/>
                    <a:pt x="16" y="750"/>
                    <a:pt x="14" y="752"/>
                  </a:cubicBezTo>
                  <a:cubicBezTo>
                    <a:pt x="14" y="752"/>
                    <a:pt x="14" y="752"/>
                    <a:pt x="14" y="753"/>
                  </a:cubicBezTo>
                  <a:cubicBezTo>
                    <a:pt x="13" y="753"/>
                    <a:pt x="12" y="754"/>
                    <a:pt x="12" y="755"/>
                  </a:cubicBezTo>
                  <a:cubicBezTo>
                    <a:pt x="12" y="755"/>
                    <a:pt x="11" y="756"/>
                    <a:pt x="11" y="756"/>
                  </a:cubicBezTo>
                  <a:cubicBezTo>
                    <a:pt x="11" y="756"/>
                    <a:pt x="11" y="756"/>
                    <a:pt x="11" y="756"/>
                  </a:cubicBezTo>
                  <a:cubicBezTo>
                    <a:pt x="11" y="757"/>
                    <a:pt x="10" y="757"/>
                    <a:pt x="10" y="757"/>
                  </a:cubicBezTo>
                  <a:cubicBezTo>
                    <a:pt x="8" y="760"/>
                    <a:pt x="7" y="762"/>
                    <a:pt x="5" y="764"/>
                  </a:cubicBezTo>
                  <a:cubicBezTo>
                    <a:pt x="5" y="765"/>
                    <a:pt x="5" y="765"/>
                    <a:pt x="5" y="765"/>
                  </a:cubicBezTo>
                  <a:cubicBezTo>
                    <a:pt x="2" y="771"/>
                    <a:pt x="0" y="777"/>
                    <a:pt x="0" y="783"/>
                  </a:cubicBezTo>
                  <a:cubicBezTo>
                    <a:pt x="0" y="801"/>
                    <a:pt x="17" y="819"/>
                    <a:pt x="55" y="835"/>
                  </a:cubicBezTo>
                  <a:cubicBezTo>
                    <a:pt x="56" y="835"/>
                    <a:pt x="56" y="835"/>
                    <a:pt x="57" y="835"/>
                  </a:cubicBezTo>
                  <a:cubicBezTo>
                    <a:pt x="59" y="836"/>
                    <a:pt x="62" y="837"/>
                    <a:pt x="64" y="838"/>
                  </a:cubicBezTo>
                  <a:cubicBezTo>
                    <a:pt x="65" y="838"/>
                    <a:pt x="65" y="838"/>
                    <a:pt x="65" y="838"/>
                  </a:cubicBezTo>
                  <a:cubicBezTo>
                    <a:pt x="70" y="840"/>
                    <a:pt x="75" y="842"/>
                    <a:pt x="80" y="843"/>
                  </a:cubicBezTo>
                  <a:cubicBezTo>
                    <a:pt x="80" y="844"/>
                    <a:pt x="81" y="844"/>
                    <a:pt x="81" y="844"/>
                  </a:cubicBezTo>
                  <a:cubicBezTo>
                    <a:pt x="88" y="846"/>
                    <a:pt x="95" y="848"/>
                    <a:pt x="103" y="850"/>
                  </a:cubicBezTo>
                  <a:cubicBezTo>
                    <a:pt x="104" y="850"/>
                    <a:pt x="104" y="851"/>
                    <a:pt x="105" y="851"/>
                  </a:cubicBezTo>
                  <a:cubicBezTo>
                    <a:pt x="116" y="854"/>
                    <a:pt x="129" y="857"/>
                    <a:pt x="143" y="860"/>
                  </a:cubicBezTo>
                  <a:cubicBezTo>
                    <a:pt x="144" y="860"/>
                    <a:pt x="145" y="859"/>
                    <a:pt x="145" y="859"/>
                  </a:cubicBezTo>
                  <a:cubicBezTo>
                    <a:pt x="131" y="856"/>
                    <a:pt x="117" y="853"/>
                    <a:pt x="105" y="850"/>
                  </a:cubicBezTo>
                  <a:cubicBezTo>
                    <a:pt x="105" y="850"/>
                    <a:pt x="105" y="850"/>
                    <a:pt x="104" y="850"/>
                  </a:cubicBezTo>
                  <a:cubicBezTo>
                    <a:pt x="96" y="847"/>
                    <a:pt x="89" y="845"/>
                    <a:pt x="82" y="843"/>
                  </a:cubicBezTo>
                  <a:cubicBezTo>
                    <a:pt x="82" y="843"/>
                    <a:pt x="81" y="843"/>
                    <a:pt x="81" y="843"/>
                  </a:cubicBezTo>
                  <a:cubicBezTo>
                    <a:pt x="76" y="841"/>
                    <a:pt x="71" y="839"/>
                    <a:pt x="66" y="838"/>
                  </a:cubicBezTo>
                  <a:cubicBezTo>
                    <a:pt x="66" y="838"/>
                    <a:pt x="66" y="837"/>
                    <a:pt x="65" y="837"/>
                  </a:cubicBezTo>
                  <a:cubicBezTo>
                    <a:pt x="63" y="836"/>
                    <a:pt x="60" y="835"/>
                    <a:pt x="58" y="834"/>
                  </a:cubicBezTo>
                  <a:cubicBezTo>
                    <a:pt x="57" y="834"/>
                    <a:pt x="57" y="834"/>
                    <a:pt x="57" y="834"/>
                  </a:cubicBezTo>
                  <a:cubicBezTo>
                    <a:pt x="17" y="818"/>
                    <a:pt x="1" y="801"/>
                    <a:pt x="1" y="783"/>
                  </a:cubicBezTo>
                  <a:cubicBezTo>
                    <a:pt x="1" y="777"/>
                    <a:pt x="3" y="771"/>
                    <a:pt x="6" y="766"/>
                  </a:cubicBezTo>
                  <a:cubicBezTo>
                    <a:pt x="6" y="765"/>
                    <a:pt x="6" y="765"/>
                    <a:pt x="6" y="765"/>
                  </a:cubicBezTo>
                  <a:cubicBezTo>
                    <a:pt x="8" y="762"/>
                    <a:pt x="9" y="760"/>
                    <a:pt x="11" y="758"/>
                  </a:cubicBezTo>
                  <a:cubicBezTo>
                    <a:pt x="11" y="758"/>
                    <a:pt x="11" y="757"/>
                    <a:pt x="11" y="757"/>
                  </a:cubicBezTo>
                  <a:cubicBezTo>
                    <a:pt x="11" y="757"/>
                    <a:pt x="12" y="756"/>
                    <a:pt x="12" y="756"/>
                  </a:cubicBezTo>
                  <a:cubicBezTo>
                    <a:pt x="13" y="755"/>
                    <a:pt x="14" y="754"/>
                    <a:pt x="14" y="753"/>
                  </a:cubicBezTo>
                  <a:cubicBezTo>
                    <a:pt x="15" y="753"/>
                    <a:pt x="15" y="753"/>
                    <a:pt x="15" y="752"/>
                  </a:cubicBezTo>
                  <a:cubicBezTo>
                    <a:pt x="16" y="751"/>
                    <a:pt x="18" y="749"/>
                    <a:pt x="20" y="748"/>
                  </a:cubicBezTo>
                  <a:cubicBezTo>
                    <a:pt x="20" y="747"/>
                    <a:pt x="20" y="747"/>
                    <a:pt x="20" y="747"/>
                  </a:cubicBezTo>
                  <a:cubicBezTo>
                    <a:pt x="21" y="747"/>
                    <a:pt x="21" y="746"/>
                    <a:pt x="21" y="746"/>
                  </a:cubicBezTo>
                  <a:cubicBezTo>
                    <a:pt x="21" y="746"/>
                    <a:pt x="21" y="746"/>
                    <a:pt x="22" y="746"/>
                  </a:cubicBezTo>
                  <a:cubicBezTo>
                    <a:pt x="24" y="743"/>
                    <a:pt x="27" y="741"/>
                    <a:pt x="30" y="738"/>
                  </a:cubicBezTo>
                  <a:cubicBezTo>
                    <a:pt x="30" y="738"/>
                    <a:pt x="31" y="738"/>
                    <a:pt x="31" y="737"/>
                  </a:cubicBezTo>
                  <a:cubicBezTo>
                    <a:pt x="34" y="735"/>
                    <a:pt x="37" y="733"/>
                    <a:pt x="40" y="731"/>
                  </a:cubicBezTo>
                  <a:cubicBezTo>
                    <a:pt x="40" y="731"/>
                    <a:pt x="40" y="730"/>
                    <a:pt x="40" y="730"/>
                  </a:cubicBezTo>
                  <a:cubicBezTo>
                    <a:pt x="42" y="729"/>
                    <a:pt x="45" y="727"/>
                    <a:pt x="47" y="725"/>
                  </a:cubicBezTo>
                  <a:cubicBezTo>
                    <a:pt x="51" y="723"/>
                    <a:pt x="55" y="720"/>
                    <a:pt x="59" y="718"/>
                  </a:cubicBezTo>
                  <a:cubicBezTo>
                    <a:pt x="59" y="718"/>
                    <a:pt x="60" y="718"/>
                    <a:pt x="60" y="717"/>
                  </a:cubicBezTo>
                  <a:cubicBezTo>
                    <a:pt x="62" y="716"/>
                    <a:pt x="64" y="715"/>
                    <a:pt x="65" y="714"/>
                  </a:cubicBezTo>
                  <a:cubicBezTo>
                    <a:pt x="66" y="714"/>
                    <a:pt x="66" y="713"/>
                    <a:pt x="67" y="713"/>
                  </a:cubicBezTo>
                  <a:cubicBezTo>
                    <a:pt x="69" y="712"/>
                    <a:pt x="71" y="711"/>
                    <a:pt x="73" y="710"/>
                  </a:cubicBezTo>
                  <a:cubicBezTo>
                    <a:pt x="73" y="709"/>
                    <a:pt x="74" y="709"/>
                    <a:pt x="74" y="709"/>
                  </a:cubicBezTo>
                  <a:cubicBezTo>
                    <a:pt x="75" y="709"/>
                    <a:pt x="75" y="709"/>
                    <a:pt x="75" y="709"/>
                  </a:cubicBezTo>
                  <a:cubicBezTo>
                    <a:pt x="75" y="709"/>
                    <a:pt x="75" y="709"/>
                    <a:pt x="75" y="709"/>
                  </a:cubicBezTo>
                  <a:cubicBezTo>
                    <a:pt x="76" y="708"/>
                    <a:pt x="76" y="708"/>
                    <a:pt x="77" y="708"/>
                  </a:cubicBezTo>
                  <a:cubicBezTo>
                    <a:pt x="77" y="708"/>
                    <a:pt x="77" y="708"/>
                    <a:pt x="77" y="708"/>
                  </a:cubicBezTo>
                  <a:cubicBezTo>
                    <a:pt x="78" y="707"/>
                    <a:pt x="79" y="706"/>
                    <a:pt x="80" y="706"/>
                  </a:cubicBezTo>
                  <a:cubicBezTo>
                    <a:pt x="81" y="706"/>
                    <a:pt x="81" y="705"/>
                    <a:pt x="81" y="705"/>
                  </a:cubicBezTo>
                  <a:cubicBezTo>
                    <a:pt x="85" y="703"/>
                    <a:pt x="89" y="701"/>
                    <a:pt x="93" y="699"/>
                  </a:cubicBezTo>
                  <a:cubicBezTo>
                    <a:pt x="94" y="699"/>
                    <a:pt x="94" y="698"/>
                    <a:pt x="95" y="698"/>
                  </a:cubicBezTo>
                  <a:cubicBezTo>
                    <a:pt x="103" y="694"/>
                    <a:pt x="111" y="690"/>
                    <a:pt x="120" y="686"/>
                  </a:cubicBezTo>
                  <a:cubicBezTo>
                    <a:pt x="121" y="686"/>
                    <a:pt x="121" y="686"/>
                    <a:pt x="122" y="685"/>
                  </a:cubicBezTo>
                  <a:cubicBezTo>
                    <a:pt x="122" y="685"/>
                    <a:pt x="123" y="685"/>
                    <a:pt x="123" y="685"/>
                  </a:cubicBezTo>
                  <a:cubicBezTo>
                    <a:pt x="124" y="684"/>
                    <a:pt x="126" y="684"/>
                    <a:pt x="127" y="683"/>
                  </a:cubicBezTo>
                  <a:cubicBezTo>
                    <a:pt x="127" y="683"/>
                    <a:pt x="128" y="683"/>
                    <a:pt x="128" y="683"/>
                  </a:cubicBezTo>
                  <a:cubicBezTo>
                    <a:pt x="129" y="682"/>
                    <a:pt x="129" y="682"/>
                    <a:pt x="129" y="682"/>
                  </a:cubicBezTo>
                  <a:cubicBezTo>
                    <a:pt x="130" y="682"/>
                    <a:pt x="131" y="682"/>
                    <a:pt x="131" y="681"/>
                  </a:cubicBezTo>
                  <a:cubicBezTo>
                    <a:pt x="133" y="681"/>
                    <a:pt x="135" y="680"/>
                    <a:pt x="137" y="679"/>
                  </a:cubicBezTo>
                  <a:cubicBezTo>
                    <a:pt x="138" y="678"/>
                    <a:pt x="140" y="678"/>
                    <a:pt x="141" y="677"/>
                  </a:cubicBezTo>
                  <a:cubicBezTo>
                    <a:pt x="141" y="677"/>
                    <a:pt x="141" y="677"/>
                    <a:pt x="141" y="677"/>
                  </a:cubicBezTo>
                  <a:cubicBezTo>
                    <a:pt x="142" y="677"/>
                    <a:pt x="142" y="677"/>
                    <a:pt x="142" y="676"/>
                  </a:cubicBezTo>
                  <a:cubicBezTo>
                    <a:pt x="143" y="676"/>
                    <a:pt x="143" y="676"/>
                    <a:pt x="144" y="676"/>
                  </a:cubicBezTo>
                  <a:cubicBezTo>
                    <a:pt x="144" y="676"/>
                    <a:pt x="144" y="676"/>
                    <a:pt x="145" y="676"/>
                  </a:cubicBezTo>
                  <a:cubicBezTo>
                    <a:pt x="145" y="675"/>
                    <a:pt x="146" y="675"/>
                    <a:pt x="146" y="675"/>
                  </a:cubicBezTo>
                  <a:cubicBezTo>
                    <a:pt x="146" y="675"/>
                    <a:pt x="147" y="675"/>
                    <a:pt x="147" y="675"/>
                  </a:cubicBezTo>
                  <a:cubicBezTo>
                    <a:pt x="147" y="675"/>
                    <a:pt x="148" y="674"/>
                    <a:pt x="148" y="674"/>
                  </a:cubicBezTo>
                  <a:cubicBezTo>
                    <a:pt x="150" y="673"/>
                    <a:pt x="152" y="672"/>
                    <a:pt x="155" y="671"/>
                  </a:cubicBezTo>
                  <a:cubicBezTo>
                    <a:pt x="155" y="671"/>
                    <a:pt x="155" y="671"/>
                    <a:pt x="156" y="671"/>
                  </a:cubicBezTo>
                  <a:cubicBezTo>
                    <a:pt x="156" y="671"/>
                    <a:pt x="156" y="671"/>
                    <a:pt x="156" y="671"/>
                  </a:cubicBezTo>
                  <a:cubicBezTo>
                    <a:pt x="157" y="671"/>
                    <a:pt x="157" y="670"/>
                    <a:pt x="158" y="670"/>
                  </a:cubicBezTo>
                  <a:cubicBezTo>
                    <a:pt x="158" y="670"/>
                    <a:pt x="158" y="670"/>
                    <a:pt x="159" y="670"/>
                  </a:cubicBezTo>
                  <a:cubicBezTo>
                    <a:pt x="159" y="670"/>
                    <a:pt x="160" y="669"/>
                    <a:pt x="160" y="669"/>
                  </a:cubicBezTo>
                  <a:cubicBezTo>
                    <a:pt x="161" y="669"/>
                    <a:pt x="161" y="669"/>
                    <a:pt x="162" y="669"/>
                  </a:cubicBezTo>
                  <a:cubicBezTo>
                    <a:pt x="162" y="668"/>
                    <a:pt x="162" y="668"/>
                    <a:pt x="163" y="668"/>
                  </a:cubicBezTo>
                  <a:cubicBezTo>
                    <a:pt x="164" y="668"/>
                    <a:pt x="165" y="667"/>
                    <a:pt x="166" y="667"/>
                  </a:cubicBezTo>
                  <a:cubicBezTo>
                    <a:pt x="167" y="667"/>
                    <a:pt x="167" y="667"/>
                    <a:pt x="167" y="666"/>
                  </a:cubicBezTo>
                  <a:cubicBezTo>
                    <a:pt x="169" y="666"/>
                    <a:pt x="171" y="665"/>
                    <a:pt x="173" y="664"/>
                  </a:cubicBezTo>
                  <a:cubicBezTo>
                    <a:pt x="173" y="664"/>
                    <a:pt x="174" y="664"/>
                    <a:pt x="174" y="664"/>
                  </a:cubicBezTo>
                  <a:cubicBezTo>
                    <a:pt x="175" y="664"/>
                    <a:pt x="175" y="663"/>
                    <a:pt x="175" y="663"/>
                  </a:cubicBezTo>
                  <a:cubicBezTo>
                    <a:pt x="176" y="663"/>
                    <a:pt x="176" y="663"/>
                    <a:pt x="177" y="663"/>
                  </a:cubicBezTo>
                  <a:cubicBezTo>
                    <a:pt x="179" y="662"/>
                    <a:pt x="180" y="661"/>
                    <a:pt x="182" y="661"/>
                  </a:cubicBezTo>
                  <a:cubicBezTo>
                    <a:pt x="182" y="661"/>
                    <a:pt x="183" y="660"/>
                    <a:pt x="183" y="660"/>
                  </a:cubicBezTo>
                  <a:cubicBezTo>
                    <a:pt x="185" y="659"/>
                    <a:pt x="187" y="659"/>
                    <a:pt x="190" y="658"/>
                  </a:cubicBezTo>
                  <a:cubicBezTo>
                    <a:pt x="191" y="657"/>
                    <a:pt x="192" y="657"/>
                    <a:pt x="194" y="656"/>
                  </a:cubicBezTo>
                  <a:cubicBezTo>
                    <a:pt x="197" y="655"/>
                    <a:pt x="200" y="654"/>
                    <a:pt x="204" y="653"/>
                  </a:cubicBezTo>
                  <a:cubicBezTo>
                    <a:pt x="204" y="652"/>
                    <a:pt x="204" y="652"/>
                    <a:pt x="205" y="652"/>
                  </a:cubicBezTo>
                  <a:cubicBezTo>
                    <a:pt x="208" y="651"/>
                    <a:pt x="212" y="650"/>
                    <a:pt x="216" y="648"/>
                  </a:cubicBezTo>
                  <a:cubicBezTo>
                    <a:pt x="216" y="648"/>
                    <a:pt x="217" y="648"/>
                    <a:pt x="217" y="648"/>
                  </a:cubicBezTo>
                  <a:cubicBezTo>
                    <a:pt x="219" y="647"/>
                    <a:pt x="221" y="646"/>
                    <a:pt x="223" y="646"/>
                  </a:cubicBezTo>
                  <a:cubicBezTo>
                    <a:pt x="223" y="646"/>
                    <a:pt x="223" y="646"/>
                    <a:pt x="224" y="645"/>
                  </a:cubicBezTo>
                  <a:cubicBezTo>
                    <a:pt x="233" y="642"/>
                    <a:pt x="242" y="639"/>
                    <a:pt x="250" y="636"/>
                  </a:cubicBezTo>
                  <a:cubicBezTo>
                    <a:pt x="251" y="636"/>
                    <a:pt x="252" y="636"/>
                    <a:pt x="253" y="635"/>
                  </a:cubicBezTo>
                  <a:cubicBezTo>
                    <a:pt x="253" y="635"/>
                    <a:pt x="253" y="635"/>
                    <a:pt x="254" y="635"/>
                  </a:cubicBezTo>
                  <a:cubicBezTo>
                    <a:pt x="254" y="635"/>
                    <a:pt x="254" y="635"/>
                    <a:pt x="255" y="635"/>
                  </a:cubicBezTo>
                  <a:cubicBezTo>
                    <a:pt x="271" y="630"/>
                    <a:pt x="287" y="624"/>
                    <a:pt x="303" y="620"/>
                  </a:cubicBezTo>
                  <a:cubicBezTo>
                    <a:pt x="304" y="619"/>
                    <a:pt x="304" y="619"/>
                    <a:pt x="305" y="619"/>
                  </a:cubicBezTo>
                  <a:cubicBezTo>
                    <a:pt x="327" y="612"/>
                    <a:pt x="348" y="606"/>
                    <a:pt x="368" y="601"/>
                  </a:cubicBezTo>
                  <a:cubicBezTo>
                    <a:pt x="369" y="601"/>
                    <a:pt x="369" y="601"/>
                    <a:pt x="369" y="600"/>
                  </a:cubicBezTo>
                  <a:cubicBezTo>
                    <a:pt x="374" y="599"/>
                    <a:pt x="378" y="598"/>
                    <a:pt x="382" y="597"/>
                  </a:cubicBezTo>
                  <a:cubicBezTo>
                    <a:pt x="385" y="596"/>
                    <a:pt x="387" y="596"/>
                    <a:pt x="390" y="595"/>
                  </a:cubicBezTo>
                  <a:cubicBezTo>
                    <a:pt x="394" y="594"/>
                    <a:pt x="398" y="593"/>
                    <a:pt x="402" y="592"/>
                  </a:cubicBezTo>
                  <a:cubicBezTo>
                    <a:pt x="407" y="591"/>
                    <a:pt x="412" y="589"/>
                    <a:pt x="417" y="588"/>
                  </a:cubicBezTo>
                  <a:cubicBezTo>
                    <a:pt x="418" y="588"/>
                    <a:pt x="419" y="587"/>
                    <a:pt x="420" y="587"/>
                  </a:cubicBezTo>
                  <a:cubicBezTo>
                    <a:pt x="421" y="587"/>
                    <a:pt x="423" y="586"/>
                    <a:pt x="425" y="586"/>
                  </a:cubicBezTo>
                  <a:cubicBezTo>
                    <a:pt x="426" y="585"/>
                    <a:pt x="427" y="585"/>
                    <a:pt x="429" y="584"/>
                  </a:cubicBezTo>
                  <a:cubicBezTo>
                    <a:pt x="428" y="584"/>
                    <a:pt x="428" y="584"/>
                    <a:pt x="427" y="584"/>
                  </a:cubicBezTo>
                  <a:moveTo>
                    <a:pt x="741" y="802"/>
                  </a:moveTo>
                  <a:cubicBezTo>
                    <a:pt x="741" y="802"/>
                    <a:pt x="741" y="802"/>
                    <a:pt x="741" y="802"/>
                  </a:cubicBezTo>
                  <a:cubicBezTo>
                    <a:pt x="736" y="802"/>
                    <a:pt x="731" y="802"/>
                    <a:pt x="725" y="802"/>
                  </a:cubicBezTo>
                  <a:cubicBezTo>
                    <a:pt x="726" y="802"/>
                    <a:pt x="726" y="803"/>
                    <a:pt x="727" y="803"/>
                  </a:cubicBezTo>
                  <a:cubicBezTo>
                    <a:pt x="732" y="803"/>
                    <a:pt x="737" y="803"/>
                    <a:pt x="741" y="803"/>
                  </a:cubicBezTo>
                  <a:cubicBezTo>
                    <a:pt x="744" y="803"/>
                    <a:pt x="748" y="803"/>
                    <a:pt x="751" y="803"/>
                  </a:cubicBezTo>
                  <a:cubicBezTo>
                    <a:pt x="750" y="803"/>
                    <a:pt x="750" y="802"/>
                    <a:pt x="749" y="802"/>
                  </a:cubicBezTo>
                  <a:cubicBezTo>
                    <a:pt x="746" y="802"/>
                    <a:pt x="744" y="802"/>
                    <a:pt x="741" y="802"/>
                  </a:cubicBezTo>
                  <a:moveTo>
                    <a:pt x="751" y="802"/>
                  </a:moveTo>
                  <a:cubicBezTo>
                    <a:pt x="751" y="802"/>
                    <a:pt x="752" y="803"/>
                    <a:pt x="753" y="803"/>
                  </a:cubicBezTo>
                  <a:cubicBezTo>
                    <a:pt x="756" y="803"/>
                    <a:pt x="759" y="803"/>
                    <a:pt x="763" y="804"/>
                  </a:cubicBezTo>
                  <a:cubicBezTo>
                    <a:pt x="762" y="803"/>
                    <a:pt x="761" y="803"/>
                    <a:pt x="760" y="802"/>
                  </a:cubicBezTo>
                  <a:cubicBezTo>
                    <a:pt x="757" y="802"/>
                    <a:pt x="754" y="802"/>
                    <a:pt x="751" y="802"/>
                  </a:cubicBezTo>
                  <a:moveTo>
                    <a:pt x="724" y="802"/>
                  </a:moveTo>
                  <a:cubicBezTo>
                    <a:pt x="721" y="802"/>
                    <a:pt x="718" y="803"/>
                    <a:pt x="714" y="803"/>
                  </a:cubicBezTo>
                  <a:cubicBezTo>
                    <a:pt x="715" y="803"/>
                    <a:pt x="715" y="804"/>
                    <a:pt x="716" y="804"/>
                  </a:cubicBezTo>
                  <a:cubicBezTo>
                    <a:pt x="719" y="804"/>
                    <a:pt x="722" y="803"/>
                    <a:pt x="725" y="803"/>
                  </a:cubicBezTo>
                  <a:cubicBezTo>
                    <a:pt x="725" y="803"/>
                    <a:pt x="724" y="803"/>
                    <a:pt x="724" y="802"/>
                  </a:cubicBezTo>
                  <a:moveTo>
                    <a:pt x="763" y="803"/>
                  </a:moveTo>
                  <a:cubicBezTo>
                    <a:pt x="764" y="803"/>
                    <a:pt x="765" y="804"/>
                    <a:pt x="765" y="804"/>
                  </a:cubicBezTo>
                  <a:cubicBezTo>
                    <a:pt x="768" y="804"/>
                    <a:pt x="771" y="805"/>
                    <a:pt x="774" y="805"/>
                  </a:cubicBezTo>
                  <a:cubicBezTo>
                    <a:pt x="772" y="805"/>
                    <a:pt x="770" y="804"/>
                    <a:pt x="768" y="803"/>
                  </a:cubicBezTo>
                  <a:cubicBezTo>
                    <a:pt x="766" y="803"/>
                    <a:pt x="765" y="803"/>
                    <a:pt x="763" y="803"/>
                  </a:cubicBezTo>
                  <a:moveTo>
                    <a:pt x="713" y="803"/>
                  </a:moveTo>
                  <a:cubicBezTo>
                    <a:pt x="710" y="803"/>
                    <a:pt x="706" y="804"/>
                    <a:pt x="703" y="804"/>
                  </a:cubicBezTo>
                  <a:cubicBezTo>
                    <a:pt x="703" y="804"/>
                    <a:pt x="703" y="805"/>
                    <a:pt x="704" y="805"/>
                  </a:cubicBezTo>
                  <a:cubicBezTo>
                    <a:pt x="707" y="805"/>
                    <a:pt x="711" y="804"/>
                    <a:pt x="714" y="804"/>
                  </a:cubicBezTo>
                  <a:cubicBezTo>
                    <a:pt x="714" y="804"/>
                    <a:pt x="713" y="803"/>
                    <a:pt x="713" y="803"/>
                  </a:cubicBezTo>
                  <a:moveTo>
                    <a:pt x="702" y="804"/>
                  </a:moveTo>
                  <a:cubicBezTo>
                    <a:pt x="698" y="805"/>
                    <a:pt x="695" y="805"/>
                    <a:pt x="691" y="806"/>
                  </a:cubicBezTo>
                  <a:cubicBezTo>
                    <a:pt x="691" y="806"/>
                    <a:pt x="692" y="806"/>
                    <a:pt x="692" y="807"/>
                  </a:cubicBezTo>
                  <a:cubicBezTo>
                    <a:pt x="695" y="806"/>
                    <a:pt x="699" y="806"/>
                    <a:pt x="702" y="805"/>
                  </a:cubicBezTo>
                  <a:cubicBezTo>
                    <a:pt x="702" y="805"/>
                    <a:pt x="702" y="805"/>
                    <a:pt x="702" y="804"/>
                  </a:cubicBezTo>
                  <a:moveTo>
                    <a:pt x="774" y="804"/>
                  </a:moveTo>
                  <a:cubicBezTo>
                    <a:pt x="776" y="805"/>
                    <a:pt x="777" y="806"/>
                    <a:pt x="779" y="806"/>
                  </a:cubicBezTo>
                  <a:cubicBezTo>
                    <a:pt x="789" y="809"/>
                    <a:pt x="798" y="812"/>
                    <a:pt x="806" y="816"/>
                  </a:cubicBezTo>
                  <a:cubicBezTo>
                    <a:pt x="806" y="816"/>
                    <a:pt x="807" y="816"/>
                    <a:pt x="807" y="817"/>
                  </a:cubicBezTo>
                  <a:cubicBezTo>
                    <a:pt x="809" y="818"/>
                    <a:pt x="811" y="819"/>
                    <a:pt x="813" y="820"/>
                  </a:cubicBezTo>
                  <a:cubicBezTo>
                    <a:pt x="815" y="822"/>
                    <a:pt x="818" y="824"/>
                    <a:pt x="820" y="826"/>
                  </a:cubicBezTo>
                  <a:cubicBezTo>
                    <a:pt x="832" y="836"/>
                    <a:pt x="840" y="851"/>
                    <a:pt x="845" y="871"/>
                  </a:cubicBezTo>
                  <a:cubicBezTo>
                    <a:pt x="845" y="871"/>
                    <a:pt x="845" y="872"/>
                    <a:pt x="845" y="872"/>
                  </a:cubicBezTo>
                  <a:cubicBezTo>
                    <a:pt x="846" y="874"/>
                    <a:pt x="846" y="876"/>
                    <a:pt x="846" y="877"/>
                  </a:cubicBezTo>
                  <a:cubicBezTo>
                    <a:pt x="854" y="886"/>
                    <a:pt x="863" y="895"/>
                    <a:pt x="872" y="905"/>
                  </a:cubicBezTo>
                  <a:cubicBezTo>
                    <a:pt x="873" y="905"/>
                    <a:pt x="873" y="905"/>
                    <a:pt x="873" y="906"/>
                  </a:cubicBezTo>
                  <a:cubicBezTo>
                    <a:pt x="884" y="916"/>
                    <a:pt x="895" y="927"/>
                    <a:pt x="907" y="938"/>
                  </a:cubicBezTo>
                  <a:cubicBezTo>
                    <a:pt x="907" y="939"/>
                    <a:pt x="908" y="939"/>
                    <a:pt x="908" y="940"/>
                  </a:cubicBezTo>
                  <a:cubicBezTo>
                    <a:pt x="909" y="940"/>
                    <a:pt x="909" y="941"/>
                    <a:pt x="909" y="941"/>
                  </a:cubicBezTo>
                  <a:cubicBezTo>
                    <a:pt x="912" y="943"/>
                    <a:pt x="915" y="946"/>
                    <a:pt x="917" y="948"/>
                  </a:cubicBezTo>
                  <a:cubicBezTo>
                    <a:pt x="922" y="953"/>
                    <a:pt x="928" y="958"/>
                    <a:pt x="933" y="962"/>
                  </a:cubicBezTo>
                  <a:cubicBezTo>
                    <a:pt x="933" y="963"/>
                    <a:pt x="934" y="964"/>
                    <a:pt x="935" y="964"/>
                  </a:cubicBezTo>
                  <a:cubicBezTo>
                    <a:pt x="939" y="968"/>
                    <a:pt x="944" y="973"/>
                    <a:pt x="949" y="977"/>
                  </a:cubicBezTo>
                  <a:cubicBezTo>
                    <a:pt x="950" y="978"/>
                    <a:pt x="951" y="979"/>
                    <a:pt x="951" y="979"/>
                  </a:cubicBezTo>
                  <a:cubicBezTo>
                    <a:pt x="951" y="979"/>
                    <a:pt x="951" y="979"/>
                    <a:pt x="951" y="979"/>
                  </a:cubicBezTo>
                  <a:cubicBezTo>
                    <a:pt x="953" y="981"/>
                    <a:pt x="955" y="983"/>
                    <a:pt x="957" y="984"/>
                  </a:cubicBezTo>
                  <a:cubicBezTo>
                    <a:pt x="958" y="985"/>
                    <a:pt x="960" y="987"/>
                    <a:pt x="961" y="988"/>
                  </a:cubicBezTo>
                  <a:cubicBezTo>
                    <a:pt x="962" y="988"/>
                    <a:pt x="963" y="989"/>
                    <a:pt x="964" y="990"/>
                  </a:cubicBezTo>
                  <a:cubicBezTo>
                    <a:pt x="965" y="991"/>
                    <a:pt x="965" y="991"/>
                    <a:pt x="966" y="992"/>
                  </a:cubicBezTo>
                  <a:cubicBezTo>
                    <a:pt x="968" y="993"/>
                    <a:pt x="969" y="995"/>
                    <a:pt x="970" y="996"/>
                  </a:cubicBezTo>
                  <a:cubicBezTo>
                    <a:pt x="971" y="996"/>
                    <a:pt x="971" y="996"/>
                    <a:pt x="971" y="996"/>
                  </a:cubicBezTo>
                  <a:cubicBezTo>
                    <a:pt x="1161" y="1161"/>
                    <a:pt x="1446" y="1356"/>
                    <a:pt x="1556" y="1356"/>
                  </a:cubicBezTo>
                  <a:cubicBezTo>
                    <a:pt x="1571" y="1356"/>
                    <a:pt x="1582" y="1353"/>
                    <a:pt x="1590" y="1346"/>
                  </a:cubicBezTo>
                  <a:cubicBezTo>
                    <a:pt x="1593" y="1343"/>
                    <a:pt x="1596" y="1339"/>
                    <a:pt x="1598" y="1335"/>
                  </a:cubicBezTo>
                  <a:cubicBezTo>
                    <a:pt x="1598" y="1334"/>
                    <a:pt x="1598" y="1334"/>
                    <a:pt x="1597" y="1334"/>
                  </a:cubicBezTo>
                  <a:cubicBezTo>
                    <a:pt x="1591" y="1349"/>
                    <a:pt x="1577" y="1355"/>
                    <a:pt x="1556" y="1355"/>
                  </a:cubicBezTo>
                  <a:cubicBezTo>
                    <a:pt x="1556" y="1355"/>
                    <a:pt x="1556" y="1355"/>
                    <a:pt x="1556" y="1355"/>
                  </a:cubicBezTo>
                  <a:cubicBezTo>
                    <a:pt x="1447" y="1355"/>
                    <a:pt x="1165" y="1163"/>
                    <a:pt x="975" y="999"/>
                  </a:cubicBezTo>
                  <a:cubicBezTo>
                    <a:pt x="974" y="998"/>
                    <a:pt x="972" y="996"/>
                    <a:pt x="971" y="995"/>
                  </a:cubicBezTo>
                  <a:cubicBezTo>
                    <a:pt x="970" y="994"/>
                    <a:pt x="968" y="993"/>
                    <a:pt x="967" y="992"/>
                  </a:cubicBezTo>
                  <a:cubicBezTo>
                    <a:pt x="966" y="991"/>
                    <a:pt x="965" y="990"/>
                    <a:pt x="964" y="989"/>
                  </a:cubicBezTo>
                  <a:cubicBezTo>
                    <a:pt x="964" y="989"/>
                    <a:pt x="964" y="989"/>
                    <a:pt x="963" y="989"/>
                  </a:cubicBezTo>
                  <a:cubicBezTo>
                    <a:pt x="962" y="987"/>
                    <a:pt x="960" y="985"/>
                    <a:pt x="958" y="984"/>
                  </a:cubicBezTo>
                  <a:cubicBezTo>
                    <a:pt x="956" y="982"/>
                    <a:pt x="955" y="981"/>
                    <a:pt x="954" y="980"/>
                  </a:cubicBezTo>
                  <a:cubicBezTo>
                    <a:pt x="953" y="980"/>
                    <a:pt x="953" y="979"/>
                    <a:pt x="952" y="978"/>
                  </a:cubicBezTo>
                  <a:cubicBezTo>
                    <a:pt x="947" y="974"/>
                    <a:pt x="942" y="969"/>
                    <a:pt x="937" y="965"/>
                  </a:cubicBezTo>
                  <a:cubicBezTo>
                    <a:pt x="936" y="964"/>
                    <a:pt x="936" y="964"/>
                    <a:pt x="935" y="963"/>
                  </a:cubicBezTo>
                  <a:cubicBezTo>
                    <a:pt x="932" y="960"/>
                    <a:pt x="929" y="957"/>
                    <a:pt x="926" y="955"/>
                  </a:cubicBezTo>
                  <a:cubicBezTo>
                    <a:pt x="923" y="952"/>
                    <a:pt x="920" y="950"/>
                    <a:pt x="917" y="947"/>
                  </a:cubicBezTo>
                  <a:cubicBezTo>
                    <a:pt x="917" y="947"/>
                    <a:pt x="916" y="946"/>
                    <a:pt x="916" y="946"/>
                  </a:cubicBezTo>
                  <a:cubicBezTo>
                    <a:pt x="915" y="945"/>
                    <a:pt x="915" y="945"/>
                    <a:pt x="914" y="944"/>
                  </a:cubicBezTo>
                  <a:cubicBezTo>
                    <a:pt x="913" y="943"/>
                    <a:pt x="911" y="941"/>
                    <a:pt x="910" y="940"/>
                  </a:cubicBezTo>
                  <a:cubicBezTo>
                    <a:pt x="909" y="940"/>
                    <a:pt x="909" y="939"/>
                    <a:pt x="908" y="939"/>
                  </a:cubicBezTo>
                  <a:cubicBezTo>
                    <a:pt x="896" y="927"/>
                    <a:pt x="885" y="916"/>
                    <a:pt x="875" y="906"/>
                  </a:cubicBezTo>
                  <a:cubicBezTo>
                    <a:pt x="874" y="906"/>
                    <a:pt x="874" y="905"/>
                    <a:pt x="874" y="905"/>
                  </a:cubicBezTo>
                  <a:cubicBezTo>
                    <a:pt x="864" y="895"/>
                    <a:pt x="855" y="886"/>
                    <a:pt x="847" y="877"/>
                  </a:cubicBezTo>
                  <a:cubicBezTo>
                    <a:pt x="847" y="875"/>
                    <a:pt x="847" y="874"/>
                    <a:pt x="846" y="872"/>
                  </a:cubicBezTo>
                  <a:cubicBezTo>
                    <a:pt x="846" y="872"/>
                    <a:pt x="846" y="871"/>
                    <a:pt x="846" y="871"/>
                  </a:cubicBezTo>
                  <a:cubicBezTo>
                    <a:pt x="842" y="854"/>
                    <a:pt x="836" y="841"/>
                    <a:pt x="827" y="831"/>
                  </a:cubicBezTo>
                  <a:cubicBezTo>
                    <a:pt x="825" y="829"/>
                    <a:pt x="823" y="827"/>
                    <a:pt x="821" y="825"/>
                  </a:cubicBezTo>
                  <a:cubicBezTo>
                    <a:pt x="817" y="822"/>
                    <a:pt x="812" y="818"/>
                    <a:pt x="808" y="816"/>
                  </a:cubicBezTo>
                  <a:cubicBezTo>
                    <a:pt x="807" y="816"/>
                    <a:pt x="807" y="815"/>
                    <a:pt x="807" y="815"/>
                  </a:cubicBezTo>
                  <a:cubicBezTo>
                    <a:pt x="797" y="810"/>
                    <a:pt x="786" y="806"/>
                    <a:pt x="774" y="804"/>
                  </a:cubicBezTo>
                  <a:moveTo>
                    <a:pt x="690" y="806"/>
                  </a:moveTo>
                  <a:cubicBezTo>
                    <a:pt x="686" y="806"/>
                    <a:pt x="682" y="807"/>
                    <a:pt x="678" y="808"/>
                  </a:cubicBezTo>
                  <a:cubicBezTo>
                    <a:pt x="678" y="808"/>
                    <a:pt x="678" y="808"/>
                    <a:pt x="678" y="809"/>
                  </a:cubicBezTo>
                  <a:cubicBezTo>
                    <a:pt x="682" y="808"/>
                    <a:pt x="687" y="807"/>
                    <a:pt x="691" y="807"/>
                  </a:cubicBezTo>
                  <a:cubicBezTo>
                    <a:pt x="690" y="806"/>
                    <a:pt x="690" y="806"/>
                    <a:pt x="690" y="806"/>
                  </a:cubicBezTo>
                  <a:moveTo>
                    <a:pt x="677" y="808"/>
                  </a:moveTo>
                  <a:cubicBezTo>
                    <a:pt x="672" y="808"/>
                    <a:pt x="668" y="809"/>
                    <a:pt x="664" y="810"/>
                  </a:cubicBezTo>
                  <a:cubicBezTo>
                    <a:pt x="664" y="810"/>
                    <a:pt x="664" y="811"/>
                    <a:pt x="664" y="811"/>
                  </a:cubicBezTo>
                  <a:cubicBezTo>
                    <a:pt x="669" y="810"/>
                    <a:pt x="673" y="809"/>
                    <a:pt x="677" y="809"/>
                  </a:cubicBezTo>
                  <a:cubicBezTo>
                    <a:pt x="677" y="808"/>
                    <a:pt x="677" y="808"/>
                    <a:pt x="677" y="808"/>
                  </a:cubicBezTo>
                  <a:moveTo>
                    <a:pt x="663" y="810"/>
                  </a:moveTo>
                  <a:cubicBezTo>
                    <a:pt x="647" y="813"/>
                    <a:pt x="631" y="816"/>
                    <a:pt x="614" y="820"/>
                  </a:cubicBezTo>
                  <a:cubicBezTo>
                    <a:pt x="613" y="820"/>
                    <a:pt x="613" y="820"/>
                    <a:pt x="612" y="821"/>
                  </a:cubicBezTo>
                  <a:cubicBezTo>
                    <a:pt x="611" y="821"/>
                    <a:pt x="610" y="821"/>
                    <a:pt x="609" y="821"/>
                  </a:cubicBezTo>
                  <a:cubicBezTo>
                    <a:pt x="609" y="821"/>
                    <a:pt x="608" y="821"/>
                    <a:pt x="607" y="822"/>
                  </a:cubicBezTo>
                  <a:cubicBezTo>
                    <a:pt x="606" y="822"/>
                    <a:pt x="605" y="822"/>
                    <a:pt x="604" y="822"/>
                  </a:cubicBezTo>
                  <a:cubicBezTo>
                    <a:pt x="604" y="822"/>
                    <a:pt x="604" y="822"/>
                    <a:pt x="603" y="823"/>
                  </a:cubicBezTo>
                  <a:cubicBezTo>
                    <a:pt x="603" y="823"/>
                    <a:pt x="602" y="823"/>
                    <a:pt x="602" y="823"/>
                  </a:cubicBezTo>
                  <a:cubicBezTo>
                    <a:pt x="601" y="823"/>
                    <a:pt x="601" y="823"/>
                    <a:pt x="600" y="823"/>
                  </a:cubicBezTo>
                  <a:cubicBezTo>
                    <a:pt x="599" y="823"/>
                    <a:pt x="599" y="824"/>
                    <a:pt x="598" y="824"/>
                  </a:cubicBezTo>
                  <a:cubicBezTo>
                    <a:pt x="596" y="824"/>
                    <a:pt x="594" y="825"/>
                    <a:pt x="592" y="825"/>
                  </a:cubicBezTo>
                  <a:cubicBezTo>
                    <a:pt x="591" y="825"/>
                    <a:pt x="591" y="825"/>
                    <a:pt x="591" y="825"/>
                  </a:cubicBezTo>
                  <a:cubicBezTo>
                    <a:pt x="591" y="825"/>
                    <a:pt x="590" y="826"/>
                    <a:pt x="590" y="826"/>
                  </a:cubicBezTo>
                  <a:cubicBezTo>
                    <a:pt x="590" y="826"/>
                    <a:pt x="590" y="826"/>
                    <a:pt x="590" y="826"/>
                  </a:cubicBezTo>
                  <a:cubicBezTo>
                    <a:pt x="589" y="826"/>
                    <a:pt x="588" y="826"/>
                    <a:pt x="587" y="826"/>
                  </a:cubicBezTo>
                  <a:cubicBezTo>
                    <a:pt x="585" y="827"/>
                    <a:pt x="583" y="827"/>
                    <a:pt x="580" y="828"/>
                  </a:cubicBezTo>
                  <a:cubicBezTo>
                    <a:pt x="580" y="828"/>
                    <a:pt x="580" y="828"/>
                    <a:pt x="580" y="828"/>
                  </a:cubicBezTo>
                  <a:cubicBezTo>
                    <a:pt x="577" y="829"/>
                    <a:pt x="573" y="830"/>
                    <a:pt x="570" y="830"/>
                  </a:cubicBezTo>
                  <a:cubicBezTo>
                    <a:pt x="567" y="831"/>
                    <a:pt x="564" y="832"/>
                    <a:pt x="561" y="832"/>
                  </a:cubicBezTo>
                  <a:cubicBezTo>
                    <a:pt x="556" y="834"/>
                    <a:pt x="551" y="835"/>
                    <a:pt x="546" y="836"/>
                  </a:cubicBezTo>
                  <a:cubicBezTo>
                    <a:pt x="541" y="837"/>
                    <a:pt x="536" y="838"/>
                    <a:pt x="531" y="840"/>
                  </a:cubicBezTo>
                  <a:cubicBezTo>
                    <a:pt x="531" y="840"/>
                    <a:pt x="530" y="840"/>
                    <a:pt x="530" y="840"/>
                  </a:cubicBezTo>
                  <a:cubicBezTo>
                    <a:pt x="525" y="841"/>
                    <a:pt x="520" y="842"/>
                    <a:pt x="515" y="843"/>
                  </a:cubicBezTo>
                  <a:cubicBezTo>
                    <a:pt x="508" y="845"/>
                    <a:pt x="501" y="847"/>
                    <a:pt x="494" y="848"/>
                  </a:cubicBezTo>
                  <a:cubicBezTo>
                    <a:pt x="489" y="849"/>
                    <a:pt x="484" y="850"/>
                    <a:pt x="480" y="852"/>
                  </a:cubicBezTo>
                  <a:cubicBezTo>
                    <a:pt x="479" y="852"/>
                    <a:pt x="479" y="852"/>
                    <a:pt x="478" y="852"/>
                  </a:cubicBezTo>
                  <a:cubicBezTo>
                    <a:pt x="460" y="856"/>
                    <a:pt x="442" y="859"/>
                    <a:pt x="424" y="863"/>
                  </a:cubicBezTo>
                  <a:cubicBezTo>
                    <a:pt x="417" y="864"/>
                    <a:pt x="409" y="866"/>
                    <a:pt x="402" y="867"/>
                  </a:cubicBezTo>
                  <a:cubicBezTo>
                    <a:pt x="397" y="868"/>
                    <a:pt x="392" y="868"/>
                    <a:pt x="387" y="869"/>
                  </a:cubicBezTo>
                  <a:cubicBezTo>
                    <a:pt x="386" y="869"/>
                    <a:pt x="384" y="869"/>
                    <a:pt x="383" y="870"/>
                  </a:cubicBezTo>
                  <a:cubicBezTo>
                    <a:pt x="373" y="871"/>
                    <a:pt x="364" y="872"/>
                    <a:pt x="354" y="873"/>
                  </a:cubicBezTo>
                  <a:cubicBezTo>
                    <a:pt x="349" y="874"/>
                    <a:pt x="345" y="875"/>
                    <a:pt x="340" y="876"/>
                  </a:cubicBezTo>
                  <a:cubicBezTo>
                    <a:pt x="353" y="875"/>
                    <a:pt x="366" y="873"/>
                    <a:pt x="379" y="871"/>
                  </a:cubicBezTo>
                  <a:cubicBezTo>
                    <a:pt x="381" y="871"/>
                    <a:pt x="382" y="871"/>
                    <a:pt x="383" y="871"/>
                  </a:cubicBezTo>
                  <a:cubicBezTo>
                    <a:pt x="397" y="869"/>
                    <a:pt x="410" y="866"/>
                    <a:pt x="424" y="864"/>
                  </a:cubicBezTo>
                  <a:cubicBezTo>
                    <a:pt x="432" y="862"/>
                    <a:pt x="441" y="861"/>
                    <a:pt x="449" y="859"/>
                  </a:cubicBezTo>
                  <a:cubicBezTo>
                    <a:pt x="459" y="857"/>
                    <a:pt x="469" y="855"/>
                    <a:pt x="479" y="853"/>
                  </a:cubicBezTo>
                  <a:cubicBezTo>
                    <a:pt x="479" y="853"/>
                    <a:pt x="480" y="852"/>
                    <a:pt x="480" y="852"/>
                  </a:cubicBezTo>
                  <a:cubicBezTo>
                    <a:pt x="492" y="850"/>
                    <a:pt x="504" y="847"/>
                    <a:pt x="515" y="844"/>
                  </a:cubicBezTo>
                  <a:cubicBezTo>
                    <a:pt x="523" y="843"/>
                    <a:pt x="530" y="841"/>
                    <a:pt x="538" y="839"/>
                  </a:cubicBezTo>
                  <a:cubicBezTo>
                    <a:pt x="546" y="837"/>
                    <a:pt x="554" y="835"/>
                    <a:pt x="561" y="833"/>
                  </a:cubicBezTo>
                  <a:cubicBezTo>
                    <a:pt x="566" y="832"/>
                    <a:pt x="571" y="831"/>
                    <a:pt x="576" y="830"/>
                  </a:cubicBezTo>
                  <a:cubicBezTo>
                    <a:pt x="578" y="830"/>
                    <a:pt x="579" y="829"/>
                    <a:pt x="580" y="829"/>
                  </a:cubicBezTo>
                  <a:cubicBezTo>
                    <a:pt x="584" y="828"/>
                    <a:pt x="587" y="827"/>
                    <a:pt x="590" y="827"/>
                  </a:cubicBezTo>
                  <a:cubicBezTo>
                    <a:pt x="592" y="826"/>
                    <a:pt x="593" y="826"/>
                    <a:pt x="594" y="826"/>
                  </a:cubicBezTo>
                  <a:cubicBezTo>
                    <a:pt x="595" y="826"/>
                    <a:pt x="595" y="826"/>
                    <a:pt x="595" y="826"/>
                  </a:cubicBezTo>
                  <a:cubicBezTo>
                    <a:pt x="596" y="825"/>
                    <a:pt x="598" y="825"/>
                    <a:pt x="599" y="824"/>
                  </a:cubicBezTo>
                  <a:cubicBezTo>
                    <a:pt x="600" y="824"/>
                    <a:pt x="600" y="824"/>
                    <a:pt x="600" y="824"/>
                  </a:cubicBezTo>
                  <a:cubicBezTo>
                    <a:pt x="601" y="824"/>
                    <a:pt x="601" y="824"/>
                    <a:pt x="602" y="824"/>
                  </a:cubicBezTo>
                  <a:cubicBezTo>
                    <a:pt x="603" y="824"/>
                    <a:pt x="603" y="824"/>
                    <a:pt x="603" y="824"/>
                  </a:cubicBezTo>
                  <a:cubicBezTo>
                    <a:pt x="604" y="823"/>
                    <a:pt x="605" y="823"/>
                    <a:pt x="605" y="823"/>
                  </a:cubicBezTo>
                  <a:cubicBezTo>
                    <a:pt x="607" y="823"/>
                    <a:pt x="608" y="823"/>
                    <a:pt x="609" y="822"/>
                  </a:cubicBezTo>
                  <a:cubicBezTo>
                    <a:pt x="610" y="822"/>
                    <a:pt x="611" y="822"/>
                    <a:pt x="611" y="822"/>
                  </a:cubicBezTo>
                  <a:cubicBezTo>
                    <a:pt x="612" y="822"/>
                    <a:pt x="613" y="821"/>
                    <a:pt x="614" y="821"/>
                  </a:cubicBezTo>
                  <a:cubicBezTo>
                    <a:pt x="615" y="821"/>
                    <a:pt x="616" y="821"/>
                    <a:pt x="616" y="821"/>
                  </a:cubicBezTo>
                  <a:cubicBezTo>
                    <a:pt x="632" y="817"/>
                    <a:pt x="648" y="814"/>
                    <a:pt x="663" y="811"/>
                  </a:cubicBezTo>
                  <a:cubicBezTo>
                    <a:pt x="663" y="811"/>
                    <a:pt x="663" y="810"/>
                    <a:pt x="663" y="810"/>
                  </a:cubicBezTo>
                  <a:moveTo>
                    <a:pt x="147" y="860"/>
                  </a:moveTo>
                  <a:cubicBezTo>
                    <a:pt x="146" y="860"/>
                    <a:pt x="146" y="860"/>
                    <a:pt x="145" y="860"/>
                  </a:cubicBezTo>
                  <a:cubicBezTo>
                    <a:pt x="146" y="860"/>
                    <a:pt x="147" y="860"/>
                    <a:pt x="147" y="861"/>
                  </a:cubicBezTo>
                  <a:cubicBezTo>
                    <a:pt x="148" y="861"/>
                    <a:pt x="148" y="861"/>
                    <a:pt x="148" y="861"/>
                  </a:cubicBezTo>
                  <a:cubicBezTo>
                    <a:pt x="155" y="862"/>
                    <a:pt x="162" y="863"/>
                    <a:pt x="169" y="865"/>
                  </a:cubicBezTo>
                  <a:cubicBezTo>
                    <a:pt x="170" y="865"/>
                    <a:pt x="170" y="864"/>
                    <a:pt x="171" y="864"/>
                  </a:cubicBezTo>
                  <a:cubicBezTo>
                    <a:pt x="163" y="863"/>
                    <a:pt x="156" y="861"/>
                    <a:pt x="149" y="860"/>
                  </a:cubicBezTo>
                  <a:cubicBezTo>
                    <a:pt x="148" y="860"/>
                    <a:pt x="148" y="860"/>
                    <a:pt x="148" y="860"/>
                  </a:cubicBezTo>
                  <a:cubicBezTo>
                    <a:pt x="148" y="860"/>
                    <a:pt x="147" y="860"/>
                    <a:pt x="147" y="860"/>
                  </a:cubicBezTo>
                  <a:moveTo>
                    <a:pt x="173" y="865"/>
                  </a:moveTo>
                  <a:cubicBezTo>
                    <a:pt x="172" y="865"/>
                    <a:pt x="172" y="865"/>
                    <a:pt x="171" y="865"/>
                  </a:cubicBezTo>
                  <a:cubicBezTo>
                    <a:pt x="178" y="866"/>
                    <a:pt x="185" y="868"/>
                    <a:pt x="193" y="869"/>
                  </a:cubicBezTo>
                  <a:cubicBezTo>
                    <a:pt x="194" y="869"/>
                    <a:pt x="194" y="869"/>
                    <a:pt x="195" y="868"/>
                  </a:cubicBezTo>
                  <a:cubicBezTo>
                    <a:pt x="187" y="867"/>
                    <a:pt x="180" y="866"/>
                    <a:pt x="173" y="865"/>
                  </a:cubicBezTo>
                  <a:moveTo>
                    <a:pt x="197" y="869"/>
                  </a:moveTo>
                  <a:cubicBezTo>
                    <a:pt x="196" y="869"/>
                    <a:pt x="196" y="869"/>
                    <a:pt x="195" y="869"/>
                  </a:cubicBezTo>
                  <a:cubicBezTo>
                    <a:pt x="201" y="870"/>
                    <a:pt x="208" y="871"/>
                    <a:pt x="214" y="872"/>
                  </a:cubicBezTo>
                  <a:cubicBezTo>
                    <a:pt x="214" y="872"/>
                    <a:pt x="215" y="872"/>
                    <a:pt x="215" y="872"/>
                  </a:cubicBezTo>
                  <a:cubicBezTo>
                    <a:pt x="216" y="873"/>
                    <a:pt x="217" y="873"/>
                    <a:pt x="218" y="873"/>
                  </a:cubicBezTo>
                  <a:cubicBezTo>
                    <a:pt x="219" y="873"/>
                    <a:pt x="220" y="872"/>
                    <a:pt x="220" y="872"/>
                  </a:cubicBezTo>
                  <a:cubicBezTo>
                    <a:pt x="219" y="872"/>
                    <a:pt x="217" y="872"/>
                    <a:pt x="215" y="871"/>
                  </a:cubicBezTo>
                  <a:cubicBezTo>
                    <a:pt x="215" y="871"/>
                    <a:pt x="214" y="871"/>
                    <a:pt x="214" y="871"/>
                  </a:cubicBezTo>
                  <a:cubicBezTo>
                    <a:pt x="208" y="870"/>
                    <a:pt x="203" y="870"/>
                    <a:pt x="197" y="869"/>
                  </a:cubicBezTo>
                  <a:moveTo>
                    <a:pt x="223" y="873"/>
                  </a:moveTo>
                  <a:cubicBezTo>
                    <a:pt x="222" y="873"/>
                    <a:pt x="221" y="873"/>
                    <a:pt x="221" y="873"/>
                  </a:cubicBezTo>
                  <a:cubicBezTo>
                    <a:pt x="223" y="874"/>
                    <a:pt x="226" y="874"/>
                    <a:pt x="229" y="874"/>
                  </a:cubicBezTo>
                  <a:cubicBezTo>
                    <a:pt x="232" y="875"/>
                    <a:pt x="235" y="875"/>
                    <a:pt x="239" y="876"/>
                  </a:cubicBezTo>
                  <a:cubicBezTo>
                    <a:pt x="240" y="875"/>
                    <a:pt x="240" y="875"/>
                    <a:pt x="241" y="875"/>
                  </a:cubicBezTo>
                  <a:cubicBezTo>
                    <a:pt x="237" y="874"/>
                    <a:pt x="233" y="874"/>
                    <a:pt x="229" y="873"/>
                  </a:cubicBezTo>
                  <a:cubicBezTo>
                    <a:pt x="227" y="873"/>
                    <a:pt x="225" y="873"/>
                    <a:pt x="223" y="873"/>
                  </a:cubicBezTo>
                  <a:moveTo>
                    <a:pt x="339" y="875"/>
                  </a:moveTo>
                  <a:cubicBezTo>
                    <a:pt x="333" y="875"/>
                    <a:pt x="327" y="876"/>
                    <a:pt x="321" y="876"/>
                  </a:cubicBezTo>
                  <a:cubicBezTo>
                    <a:pt x="319" y="877"/>
                    <a:pt x="316" y="877"/>
                    <a:pt x="314" y="878"/>
                  </a:cubicBezTo>
                  <a:cubicBezTo>
                    <a:pt x="318" y="877"/>
                    <a:pt x="322" y="877"/>
                    <a:pt x="326" y="877"/>
                  </a:cubicBezTo>
                  <a:cubicBezTo>
                    <a:pt x="330" y="876"/>
                    <a:pt x="335" y="876"/>
                    <a:pt x="339" y="875"/>
                  </a:cubicBezTo>
                  <a:moveTo>
                    <a:pt x="244" y="875"/>
                  </a:moveTo>
                  <a:cubicBezTo>
                    <a:pt x="243" y="875"/>
                    <a:pt x="242" y="876"/>
                    <a:pt x="241" y="876"/>
                  </a:cubicBezTo>
                  <a:cubicBezTo>
                    <a:pt x="247" y="877"/>
                    <a:pt x="253" y="877"/>
                    <a:pt x="258" y="877"/>
                  </a:cubicBezTo>
                  <a:cubicBezTo>
                    <a:pt x="259" y="877"/>
                    <a:pt x="260" y="877"/>
                    <a:pt x="261" y="877"/>
                  </a:cubicBezTo>
                  <a:cubicBezTo>
                    <a:pt x="256" y="876"/>
                    <a:pt x="250" y="876"/>
                    <a:pt x="244" y="875"/>
                  </a:cubicBezTo>
                  <a:moveTo>
                    <a:pt x="314" y="877"/>
                  </a:moveTo>
                  <a:cubicBezTo>
                    <a:pt x="310" y="877"/>
                    <a:pt x="306" y="877"/>
                    <a:pt x="303" y="877"/>
                  </a:cubicBezTo>
                  <a:cubicBezTo>
                    <a:pt x="302" y="877"/>
                    <a:pt x="301" y="877"/>
                    <a:pt x="299" y="877"/>
                  </a:cubicBezTo>
                  <a:cubicBezTo>
                    <a:pt x="297" y="877"/>
                    <a:pt x="296" y="877"/>
                    <a:pt x="294" y="877"/>
                  </a:cubicBezTo>
                  <a:cubicBezTo>
                    <a:pt x="292" y="878"/>
                    <a:pt x="291" y="878"/>
                    <a:pt x="289" y="878"/>
                  </a:cubicBezTo>
                  <a:cubicBezTo>
                    <a:pt x="291" y="878"/>
                    <a:pt x="294" y="878"/>
                    <a:pt x="296" y="878"/>
                  </a:cubicBezTo>
                  <a:cubicBezTo>
                    <a:pt x="297" y="878"/>
                    <a:pt x="298" y="878"/>
                    <a:pt x="300" y="878"/>
                  </a:cubicBezTo>
                  <a:cubicBezTo>
                    <a:pt x="302" y="878"/>
                    <a:pt x="304" y="878"/>
                    <a:pt x="307" y="878"/>
                  </a:cubicBezTo>
                  <a:cubicBezTo>
                    <a:pt x="309" y="877"/>
                    <a:pt x="311" y="877"/>
                    <a:pt x="314" y="877"/>
                  </a:cubicBezTo>
                  <a:moveTo>
                    <a:pt x="265" y="877"/>
                  </a:moveTo>
                  <a:cubicBezTo>
                    <a:pt x="264" y="877"/>
                    <a:pt x="263" y="877"/>
                    <a:pt x="262" y="878"/>
                  </a:cubicBezTo>
                  <a:cubicBezTo>
                    <a:pt x="269" y="878"/>
                    <a:pt x="277" y="878"/>
                    <a:pt x="285" y="878"/>
                  </a:cubicBezTo>
                  <a:cubicBezTo>
                    <a:pt x="286" y="878"/>
                    <a:pt x="287" y="878"/>
                    <a:pt x="289" y="877"/>
                  </a:cubicBezTo>
                  <a:cubicBezTo>
                    <a:pt x="288" y="877"/>
                    <a:pt x="288" y="877"/>
                    <a:pt x="287" y="877"/>
                  </a:cubicBezTo>
                  <a:cubicBezTo>
                    <a:pt x="280" y="877"/>
                    <a:pt x="272" y="877"/>
                    <a:pt x="265" y="877"/>
                  </a:cubicBezTo>
                  <a:moveTo>
                    <a:pt x="1494" y="989"/>
                  </a:moveTo>
                  <a:cubicBezTo>
                    <a:pt x="1496" y="999"/>
                    <a:pt x="1497" y="1010"/>
                    <a:pt x="1499" y="1020"/>
                  </a:cubicBezTo>
                  <a:cubicBezTo>
                    <a:pt x="1500" y="1022"/>
                    <a:pt x="1500" y="1024"/>
                    <a:pt x="1501" y="1026"/>
                  </a:cubicBezTo>
                  <a:cubicBezTo>
                    <a:pt x="1500" y="1017"/>
                    <a:pt x="1498" y="1008"/>
                    <a:pt x="1497" y="999"/>
                  </a:cubicBezTo>
                  <a:cubicBezTo>
                    <a:pt x="1496" y="996"/>
                    <a:pt x="1495" y="992"/>
                    <a:pt x="1494" y="989"/>
                  </a:cubicBezTo>
                  <a:moveTo>
                    <a:pt x="1500" y="1026"/>
                  </a:moveTo>
                  <a:cubicBezTo>
                    <a:pt x="1502" y="1038"/>
                    <a:pt x="1504" y="1051"/>
                    <a:pt x="1507" y="1063"/>
                  </a:cubicBezTo>
                  <a:cubicBezTo>
                    <a:pt x="1508" y="1064"/>
                    <a:pt x="1508" y="1066"/>
                    <a:pt x="1509" y="1067"/>
                  </a:cubicBezTo>
                  <a:cubicBezTo>
                    <a:pt x="1506" y="1056"/>
                    <a:pt x="1504" y="1044"/>
                    <a:pt x="1502" y="1032"/>
                  </a:cubicBezTo>
                  <a:cubicBezTo>
                    <a:pt x="1501" y="1030"/>
                    <a:pt x="1501" y="1028"/>
                    <a:pt x="1500" y="1026"/>
                  </a:cubicBezTo>
                  <a:moveTo>
                    <a:pt x="1508" y="1068"/>
                  </a:moveTo>
                  <a:cubicBezTo>
                    <a:pt x="1511" y="1081"/>
                    <a:pt x="1515" y="1095"/>
                    <a:pt x="1519" y="1107"/>
                  </a:cubicBezTo>
                  <a:cubicBezTo>
                    <a:pt x="1520" y="1109"/>
                    <a:pt x="1521" y="1111"/>
                    <a:pt x="1523" y="1113"/>
                  </a:cubicBezTo>
                  <a:cubicBezTo>
                    <a:pt x="1518" y="1100"/>
                    <a:pt x="1514" y="1087"/>
                    <a:pt x="1510" y="1073"/>
                  </a:cubicBezTo>
                  <a:cubicBezTo>
                    <a:pt x="1510" y="1071"/>
                    <a:pt x="1509" y="1069"/>
                    <a:pt x="1508" y="1068"/>
                  </a:cubicBezTo>
                  <a:moveTo>
                    <a:pt x="1522" y="1114"/>
                  </a:moveTo>
                  <a:cubicBezTo>
                    <a:pt x="1526" y="1127"/>
                    <a:pt x="1532" y="1139"/>
                    <a:pt x="1539" y="1151"/>
                  </a:cubicBezTo>
                  <a:cubicBezTo>
                    <a:pt x="1540" y="1154"/>
                    <a:pt x="1542" y="1156"/>
                    <a:pt x="1543" y="1159"/>
                  </a:cubicBezTo>
                  <a:cubicBezTo>
                    <a:pt x="1542" y="1156"/>
                    <a:pt x="1541" y="1154"/>
                    <a:pt x="1540" y="1151"/>
                  </a:cubicBezTo>
                  <a:cubicBezTo>
                    <a:pt x="1540" y="1151"/>
                    <a:pt x="1540" y="1151"/>
                    <a:pt x="1540" y="1150"/>
                  </a:cubicBezTo>
                  <a:cubicBezTo>
                    <a:pt x="1534" y="1141"/>
                    <a:pt x="1530" y="1131"/>
                    <a:pt x="1525" y="1121"/>
                  </a:cubicBezTo>
                  <a:cubicBezTo>
                    <a:pt x="1524" y="1118"/>
                    <a:pt x="1523" y="1116"/>
                    <a:pt x="1522" y="1114"/>
                  </a:cubicBezTo>
                  <a:moveTo>
                    <a:pt x="1544" y="1159"/>
                  </a:moveTo>
                  <a:cubicBezTo>
                    <a:pt x="1546" y="1163"/>
                    <a:pt x="1548" y="1166"/>
                    <a:pt x="1549" y="1170"/>
                  </a:cubicBezTo>
                  <a:cubicBezTo>
                    <a:pt x="1551" y="1174"/>
                    <a:pt x="1553" y="1178"/>
                    <a:pt x="1555" y="1181"/>
                  </a:cubicBezTo>
                  <a:cubicBezTo>
                    <a:pt x="1554" y="1178"/>
                    <a:pt x="1553" y="1175"/>
                    <a:pt x="1552" y="1172"/>
                  </a:cubicBezTo>
                  <a:cubicBezTo>
                    <a:pt x="1549" y="1168"/>
                    <a:pt x="1547" y="1163"/>
                    <a:pt x="1544" y="1159"/>
                  </a:cubicBezTo>
                  <a:moveTo>
                    <a:pt x="1556" y="1181"/>
                  </a:moveTo>
                  <a:cubicBezTo>
                    <a:pt x="1558" y="1186"/>
                    <a:pt x="1560" y="1190"/>
                    <a:pt x="1562" y="1195"/>
                  </a:cubicBezTo>
                  <a:cubicBezTo>
                    <a:pt x="1563" y="1195"/>
                    <a:pt x="1563" y="1196"/>
                    <a:pt x="1563" y="1196"/>
                  </a:cubicBezTo>
                  <a:cubicBezTo>
                    <a:pt x="1564" y="1198"/>
                    <a:pt x="1565" y="1200"/>
                    <a:pt x="1566" y="1201"/>
                  </a:cubicBezTo>
                  <a:cubicBezTo>
                    <a:pt x="1564" y="1197"/>
                    <a:pt x="1562" y="1193"/>
                    <a:pt x="1560" y="1188"/>
                  </a:cubicBezTo>
                  <a:cubicBezTo>
                    <a:pt x="1560" y="1187"/>
                    <a:pt x="1559" y="1186"/>
                    <a:pt x="1558" y="1184"/>
                  </a:cubicBezTo>
                  <a:cubicBezTo>
                    <a:pt x="1558" y="1183"/>
                    <a:pt x="1557" y="1182"/>
                    <a:pt x="1556" y="1181"/>
                  </a:cubicBezTo>
                  <a:moveTo>
                    <a:pt x="1570" y="1208"/>
                  </a:moveTo>
                  <a:cubicBezTo>
                    <a:pt x="1571" y="1211"/>
                    <a:pt x="1572" y="1213"/>
                    <a:pt x="1574" y="1216"/>
                  </a:cubicBezTo>
                  <a:cubicBezTo>
                    <a:pt x="1574" y="1217"/>
                    <a:pt x="1575" y="1218"/>
                    <a:pt x="1575" y="1219"/>
                  </a:cubicBezTo>
                  <a:cubicBezTo>
                    <a:pt x="1574" y="1216"/>
                    <a:pt x="1572" y="1213"/>
                    <a:pt x="1571" y="1210"/>
                  </a:cubicBezTo>
                  <a:cubicBezTo>
                    <a:pt x="1571" y="1210"/>
                    <a:pt x="1570" y="1209"/>
                    <a:pt x="1570" y="1208"/>
                  </a:cubicBezTo>
                  <a:moveTo>
                    <a:pt x="1579" y="1231"/>
                  </a:moveTo>
                  <a:cubicBezTo>
                    <a:pt x="1580" y="1233"/>
                    <a:pt x="1581" y="1236"/>
                    <a:pt x="1582" y="1238"/>
                  </a:cubicBezTo>
                  <a:cubicBezTo>
                    <a:pt x="1584" y="1240"/>
                    <a:pt x="1585" y="1243"/>
                    <a:pt x="1586" y="1245"/>
                  </a:cubicBezTo>
                  <a:cubicBezTo>
                    <a:pt x="1586" y="1245"/>
                    <a:pt x="1586" y="1245"/>
                    <a:pt x="1586" y="1244"/>
                  </a:cubicBezTo>
                  <a:cubicBezTo>
                    <a:pt x="1584" y="1240"/>
                    <a:pt x="1582" y="1236"/>
                    <a:pt x="1580" y="1232"/>
                  </a:cubicBezTo>
                  <a:cubicBezTo>
                    <a:pt x="1580" y="1232"/>
                    <a:pt x="1580" y="1231"/>
                    <a:pt x="1579" y="1231"/>
                  </a:cubicBezTo>
                  <a:moveTo>
                    <a:pt x="1585" y="1245"/>
                  </a:moveTo>
                  <a:cubicBezTo>
                    <a:pt x="1589" y="1254"/>
                    <a:pt x="1591" y="1262"/>
                    <a:pt x="1594" y="1269"/>
                  </a:cubicBezTo>
                  <a:cubicBezTo>
                    <a:pt x="1594" y="1270"/>
                    <a:pt x="1595" y="1271"/>
                    <a:pt x="1596" y="1272"/>
                  </a:cubicBezTo>
                  <a:cubicBezTo>
                    <a:pt x="1594" y="1266"/>
                    <a:pt x="1591" y="1259"/>
                    <a:pt x="1589" y="1251"/>
                  </a:cubicBezTo>
                  <a:cubicBezTo>
                    <a:pt x="1587" y="1249"/>
                    <a:pt x="1586" y="1247"/>
                    <a:pt x="1585" y="1245"/>
                  </a:cubicBezTo>
                  <a:moveTo>
                    <a:pt x="1595" y="1273"/>
                  </a:moveTo>
                  <a:cubicBezTo>
                    <a:pt x="1597" y="1280"/>
                    <a:pt x="1598" y="1286"/>
                    <a:pt x="1599" y="1292"/>
                  </a:cubicBezTo>
                  <a:cubicBezTo>
                    <a:pt x="1600" y="1293"/>
                    <a:pt x="1600" y="1293"/>
                    <a:pt x="1601" y="1294"/>
                  </a:cubicBezTo>
                  <a:cubicBezTo>
                    <a:pt x="1600" y="1288"/>
                    <a:pt x="1598" y="1282"/>
                    <a:pt x="1597" y="1276"/>
                  </a:cubicBezTo>
                  <a:cubicBezTo>
                    <a:pt x="1596" y="1275"/>
                    <a:pt x="1595" y="1274"/>
                    <a:pt x="1595" y="1273"/>
                  </a:cubicBezTo>
                  <a:moveTo>
                    <a:pt x="1600" y="1294"/>
                  </a:moveTo>
                  <a:cubicBezTo>
                    <a:pt x="1601" y="1301"/>
                    <a:pt x="1601" y="1307"/>
                    <a:pt x="1601" y="1312"/>
                  </a:cubicBezTo>
                  <a:cubicBezTo>
                    <a:pt x="1601" y="1313"/>
                    <a:pt x="1601" y="1313"/>
                    <a:pt x="1601" y="1314"/>
                  </a:cubicBezTo>
                  <a:cubicBezTo>
                    <a:pt x="1602" y="1315"/>
                    <a:pt x="1602" y="1315"/>
                    <a:pt x="1602" y="1315"/>
                  </a:cubicBezTo>
                  <a:cubicBezTo>
                    <a:pt x="1602" y="1314"/>
                    <a:pt x="1602" y="1313"/>
                    <a:pt x="1602" y="1312"/>
                  </a:cubicBezTo>
                  <a:cubicBezTo>
                    <a:pt x="1602" y="1307"/>
                    <a:pt x="1602" y="1302"/>
                    <a:pt x="1601" y="1296"/>
                  </a:cubicBezTo>
                  <a:cubicBezTo>
                    <a:pt x="1601" y="1296"/>
                    <a:pt x="1600" y="1295"/>
                    <a:pt x="1600" y="1294"/>
                  </a:cubicBezTo>
                  <a:moveTo>
                    <a:pt x="1601" y="1316"/>
                  </a:moveTo>
                  <a:cubicBezTo>
                    <a:pt x="1601" y="1322"/>
                    <a:pt x="1600" y="1328"/>
                    <a:pt x="1598" y="1333"/>
                  </a:cubicBezTo>
                  <a:cubicBezTo>
                    <a:pt x="1598" y="1333"/>
                    <a:pt x="1598" y="1333"/>
                    <a:pt x="1598" y="1334"/>
                  </a:cubicBezTo>
                  <a:cubicBezTo>
                    <a:pt x="1600" y="1329"/>
                    <a:pt x="1602" y="1323"/>
                    <a:pt x="1602" y="1317"/>
                  </a:cubicBezTo>
                  <a:cubicBezTo>
                    <a:pt x="1602" y="1316"/>
                    <a:pt x="1601" y="1316"/>
                    <a:pt x="1601" y="1316"/>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67" name="Freeform 96"/>
            <p:cNvSpPr>
              <a:spLocks noEditPoints="1"/>
            </p:cNvSpPr>
            <p:nvPr userDrawn="1"/>
          </p:nvSpPr>
          <p:spPr bwMode="auto">
            <a:xfrm>
              <a:off x="1992" y="3882"/>
              <a:ext cx="3352" cy="2783"/>
            </a:xfrm>
            <a:custGeom>
              <a:avLst/>
              <a:gdLst>
                <a:gd name="T0" fmla="*/ 2147483646 w 1654"/>
                <a:gd name="T1" fmla="*/ 2147483646 h 1373"/>
                <a:gd name="T2" fmla="*/ 2147483646 w 1654"/>
                <a:gd name="T3" fmla="*/ 2147483646 h 1373"/>
                <a:gd name="T4" fmla="*/ 2147483646 w 1654"/>
                <a:gd name="T5" fmla="*/ 2147483646 h 1373"/>
                <a:gd name="T6" fmla="*/ 2147483646 w 1654"/>
                <a:gd name="T7" fmla="*/ 2147483646 h 1373"/>
                <a:gd name="T8" fmla="*/ 2147483646 w 1654"/>
                <a:gd name="T9" fmla="*/ 2147483646 h 1373"/>
                <a:gd name="T10" fmla="*/ 2147483646 w 1654"/>
                <a:gd name="T11" fmla="*/ 2147483646 h 1373"/>
                <a:gd name="T12" fmla="*/ 2147483646 w 1654"/>
                <a:gd name="T13" fmla="*/ 2147483646 h 1373"/>
                <a:gd name="T14" fmla="*/ 2147483646 w 1654"/>
                <a:gd name="T15" fmla="*/ 2147483646 h 1373"/>
                <a:gd name="T16" fmla="*/ 2147483646 w 1654"/>
                <a:gd name="T17" fmla="*/ 2147483646 h 1373"/>
                <a:gd name="T18" fmla="*/ 2147483646 w 1654"/>
                <a:gd name="T19" fmla="*/ 2147483646 h 1373"/>
                <a:gd name="T20" fmla="*/ 2147483646 w 1654"/>
                <a:gd name="T21" fmla="*/ 2147483646 h 1373"/>
                <a:gd name="T22" fmla="*/ 2147483646 w 1654"/>
                <a:gd name="T23" fmla="*/ 2147483646 h 1373"/>
                <a:gd name="T24" fmla="*/ 2147483646 w 1654"/>
                <a:gd name="T25" fmla="*/ 2147483646 h 1373"/>
                <a:gd name="T26" fmla="*/ 2147483646 w 1654"/>
                <a:gd name="T27" fmla="*/ 2147483646 h 1373"/>
                <a:gd name="T28" fmla="*/ 2147483646 w 1654"/>
                <a:gd name="T29" fmla="*/ 2147483646 h 1373"/>
                <a:gd name="T30" fmla="*/ 2147483646 w 1654"/>
                <a:gd name="T31" fmla="*/ 2147483646 h 1373"/>
                <a:gd name="T32" fmla="*/ 2147483646 w 1654"/>
                <a:gd name="T33" fmla="*/ 2147483646 h 1373"/>
                <a:gd name="T34" fmla="*/ 2147483646 w 1654"/>
                <a:gd name="T35" fmla="*/ 2147483646 h 1373"/>
                <a:gd name="T36" fmla="*/ 2147483646 w 1654"/>
                <a:gd name="T37" fmla="*/ 2147483646 h 1373"/>
                <a:gd name="T38" fmla="*/ 2147483646 w 1654"/>
                <a:gd name="T39" fmla="*/ 2147483646 h 1373"/>
                <a:gd name="T40" fmla="*/ 2147483646 w 1654"/>
                <a:gd name="T41" fmla="*/ 2147483646 h 1373"/>
                <a:gd name="T42" fmla="*/ 2147483646 w 1654"/>
                <a:gd name="T43" fmla="*/ 2147483646 h 1373"/>
                <a:gd name="T44" fmla="*/ 2147483646 w 1654"/>
                <a:gd name="T45" fmla="*/ 2147483646 h 1373"/>
                <a:gd name="T46" fmla="*/ 2147483646 w 1654"/>
                <a:gd name="T47" fmla="*/ 2147483646 h 1373"/>
                <a:gd name="T48" fmla="*/ 2147483646 w 1654"/>
                <a:gd name="T49" fmla="*/ 2147483646 h 1373"/>
                <a:gd name="T50" fmla="*/ 2147483646 w 1654"/>
                <a:gd name="T51" fmla="*/ 2147483646 h 1373"/>
                <a:gd name="T52" fmla="*/ 2147483646 w 1654"/>
                <a:gd name="T53" fmla="*/ 2147483646 h 1373"/>
                <a:gd name="T54" fmla="*/ 2147483646 w 1654"/>
                <a:gd name="T55" fmla="*/ 2147483646 h 1373"/>
                <a:gd name="T56" fmla="*/ 2147483646 w 1654"/>
                <a:gd name="T57" fmla="*/ 2147483646 h 1373"/>
                <a:gd name="T58" fmla="*/ 2147483646 w 1654"/>
                <a:gd name="T59" fmla="*/ 2147483646 h 1373"/>
                <a:gd name="T60" fmla="*/ 2147483646 w 1654"/>
                <a:gd name="T61" fmla="*/ 2147483646 h 1373"/>
                <a:gd name="T62" fmla="*/ 2147483646 w 1654"/>
                <a:gd name="T63" fmla="*/ 2147483646 h 1373"/>
                <a:gd name="T64" fmla="*/ 2147483646 w 1654"/>
                <a:gd name="T65" fmla="*/ 2147483646 h 1373"/>
                <a:gd name="T66" fmla="*/ 2147483646 w 1654"/>
                <a:gd name="T67" fmla="*/ 2147483646 h 1373"/>
                <a:gd name="T68" fmla="*/ 2147483646 w 1654"/>
                <a:gd name="T69" fmla="*/ 2147483646 h 1373"/>
                <a:gd name="T70" fmla="*/ 2147483646 w 1654"/>
                <a:gd name="T71" fmla="*/ 2147483646 h 1373"/>
                <a:gd name="T72" fmla="*/ 2147483646 w 1654"/>
                <a:gd name="T73" fmla="*/ 2147483646 h 1373"/>
                <a:gd name="T74" fmla="*/ 2147483646 w 1654"/>
                <a:gd name="T75" fmla="*/ 2147483646 h 1373"/>
                <a:gd name="T76" fmla="*/ 2147483646 w 1654"/>
                <a:gd name="T77" fmla="*/ 2147483646 h 1373"/>
                <a:gd name="T78" fmla="*/ 2147483646 w 1654"/>
                <a:gd name="T79" fmla="*/ 2147483646 h 1373"/>
                <a:gd name="T80" fmla="*/ 2147483646 w 1654"/>
                <a:gd name="T81" fmla="*/ 2147483646 h 1373"/>
                <a:gd name="T82" fmla="*/ 2147483646 w 1654"/>
                <a:gd name="T83" fmla="*/ 2147483646 h 1373"/>
                <a:gd name="T84" fmla="*/ 2147483646 w 1654"/>
                <a:gd name="T85" fmla="*/ 2147483646 h 1373"/>
                <a:gd name="T86" fmla="*/ 2147483646 w 1654"/>
                <a:gd name="T87" fmla="*/ 2147483646 h 1373"/>
                <a:gd name="T88" fmla="*/ 2147483646 w 1654"/>
                <a:gd name="T89" fmla="*/ 2147483646 h 1373"/>
                <a:gd name="T90" fmla="*/ 2147483646 w 1654"/>
                <a:gd name="T91" fmla="*/ 2147483646 h 1373"/>
                <a:gd name="T92" fmla="*/ 2147483646 w 1654"/>
                <a:gd name="T93" fmla="*/ 2147483646 h 1373"/>
                <a:gd name="T94" fmla="*/ 2147483646 w 1654"/>
                <a:gd name="T95" fmla="*/ 2147483646 h 1373"/>
                <a:gd name="T96" fmla="*/ 2147483646 w 1654"/>
                <a:gd name="T97" fmla="*/ 2147483646 h 1373"/>
                <a:gd name="T98" fmla="*/ 2147483646 w 1654"/>
                <a:gd name="T99" fmla="*/ 2147483646 h 1373"/>
                <a:gd name="T100" fmla="*/ 2147483646 w 1654"/>
                <a:gd name="T101" fmla="*/ 2147483646 h 1373"/>
                <a:gd name="T102" fmla="*/ 2147483646 w 1654"/>
                <a:gd name="T103" fmla="*/ 2147483646 h 1373"/>
                <a:gd name="T104" fmla="*/ 2147483646 w 1654"/>
                <a:gd name="T105" fmla="*/ 2147483646 h 1373"/>
                <a:gd name="T106" fmla="*/ 2147483646 w 1654"/>
                <a:gd name="T107" fmla="*/ 2147483646 h 1373"/>
                <a:gd name="T108" fmla="*/ 2147483646 w 1654"/>
                <a:gd name="T109" fmla="*/ 2147483646 h 1373"/>
                <a:gd name="T110" fmla="*/ 2147483646 w 1654"/>
                <a:gd name="T111" fmla="*/ 2147483646 h 1373"/>
                <a:gd name="T112" fmla="*/ 2147483646 w 1654"/>
                <a:gd name="T113" fmla="*/ 2147483646 h 1373"/>
                <a:gd name="T114" fmla="*/ 2147483646 w 1654"/>
                <a:gd name="T115" fmla="*/ 2147483646 h 1373"/>
                <a:gd name="T116" fmla="*/ 2147483646 w 1654"/>
                <a:gd name="T117" fmla="*/ 2147483646 h 1373"/>
                <a:gd name="T118" fmla="*/ 2147483646 w 1654"/>
                <a:gd name="T119" fmla="*/ 2147483646 h 137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54" h="1373">
                  <a:moveTo>
                    <a:pt x="1212" y="0"/>
                  </a:moveTo>
                  <a:cubicBezTo>
                    <a:pt x="1210" y="0"/>
                    <a:pt x="1208" y="0"/>
                    <a:pt x="1206" y="0"/>
                  </a:cubicBezTo>
                  <a:cubicBezTo>
                    <a:pt x="1205" y="0"/>
                    <a:pt x="1205" y="0"/>
                    <a:pt x="1204" y="0"/>
                  </a:cubicBezTo>
                  <a:cubicBezTo>
                    <a:pt x="1203" y="0"/>
                    <a:pt x="1202" y="0"/>
                    <a:pt x="1201" y="0"/>
                  </a:cubicBezTo>
                  <a:cubicBezTo>
                    <a:pt x="1201" y="0"/>
                    <a:pt x="1201" y="1"/>
                    <a:pt x="1200" y="1"/>
                  </a:cubicBezTo>
                  <a:cubicBezTo>
                    <a:pt x="1199" y="1"/>
                    <a:pt x="1197" y="1"/>
                    <a:pt x="1196" y="1"/>
                  </a:cubicBezTo>
                  <a:cubicBezTo>
                    <a:pt x="1195" y="1"/>
                    <a:pt x="1195" y="1"/>
                    <a:pt x="1194" y="1"/>
                  </a:cubicBezTo>
                  <a:cubicBezTo>
                    <a:pt x="1192" y="1"/>
                    <a:pt x="1189" y="1"/>
                    <a:pt x="1187" y="1"/>
                  </a:cubicBezTo>
                  <a:cubicBezTo>
                    <a:pt x="1186" y="1"/>
                    <a:pt x="1186" y="1"/>
                    <a:pt x="1185" y="1"/>
                  </a:cubicBezTo>
                  <a:cubicBezTo>
                    <a:pt x="1184" y="2"/>
                    <a:pt x="1183" y="2"/>
                    <a:pt x="1181" y="2"/>
                  </a:cubicBezTo>
                  <a:cubicBezTo>
                    <a:pt x="1181" y="2"/>
                    <a:pt x="1180" y="2"/>
                    <a:pt x="1180" y="2"/>
                  </a:cubicBezTo>
                  <a:cubicBezTo>
                    <a:pt x="1180" y="2"/>
                    <a:pt x="1180" y="2"/>
                    <a:pt x="1180" y="2"/>
                  </a:cubicBezTo>
                  <a:cubicBezTo>
                    <a:pt x="1179" y="2"/>
                    <a:pt x="1179" y="2"/>
                    <a:pt x="1179" y="2"/>
                  </a:cubicBezTo>
                  <a:cubicBezTo>
                    <a:pt x="1179" y="2"/>
                    <a:pt x="1178" y="2"/>
                    <a:pt x="1178" y="2"/>
                  </a:cubicBezTo>
                  <a:cubicBezTo>
                    <a:pt x="1178" y="2"/>
                    <a:pt x="1177" y="2"/>
                    <a:pt x="1177" y="2"/>
                  </a:cubicBezTo>
                  <a:cubicBezTo>
                    <a:pt x="1170" y="3"/>
                    <a:pt x="1162" y="4"/>
                    <a:pt x="1156" y="6"/>
                  </a:cubicBezTo>
                  <a:cubicBezTo>
                    <a:pt x="1155" y="6"/>
                    <a:pt x="1155" y="6"/>
                    <a:pt x="1154" y="6"/>
                  </a:cubicBezTo>
                  <a:cubicBezTo>
                    <a:pt x="1153" y="6"/>
                    <a:pt x="1152" y="6"/>
                    <a:pt x="1152" y="6"/>
                  </a:cubicBezTo>
                  <a:cubicBezTo>
                    <a:pt x="1145" y="8"/>
                    <a:pt x="1138" y="10"/>
                    <a:pt x="1132" y="12"/>
                  </a:cubicBezTo>
                  <a:cubicBezTo>
                    <a:pt x="1131" y="12"/>
                    <a:pt x="1131" y="12"/>
                    <a:pt x="1130" y="12"/>
                  </a:cubicBezTo>
                  <a:cubicBezTo>
                    <a:pt x="1120" y="15"/>
                    <a:pt x="1111" y="19"/>
                    <a:pt x="1103" y="23"/>
                  </a:cubicBezTo>
                  <a:cubicBezTo>
                    <a:pt x="1102" y="23"/>
                    <a:pt x="1101" y="23"/>
                    <a:pt x="1101" y="24"/>
                  </a:cubicBezTo>
                  <a:cubicBezTo>
                    <a:pt x="1092" y="28"/>
                    <a:pt x="1083" y="33"/>
                    <a:pt x="1075" y="38"/>
                  </a:cubicBezTo>
                  <a:cubicBezTo>
                    <a:pt x="1076" y="38"/>
                    <a:pt x="1077" y="38"/>
                    <a:pt x="1078" y="38"/>
                  </a:cubicBezTo>
                  <a:cubicBezTo>
                    <a:pt x="1085" y="33"/>
                    <a:pt x="1092" y="29"/>
                    <a:pt x="1099" y="25"/>
                  </a:cubicBezTo>
                  <a:cubicBezTo>
                    <a:pt x="1100" y="25"/>
                    <a:pt x="1101" y="25"/>
                    <a:pt x="1102" y="24"/>
                  </a:cubicBezTo>
                  <a:cubicBezTo>
                    <a:pt x="1110" y="20"/>
                    <a:pt x="1119" y="17"/>
                    <a:pt x="1129" y="13"/>
                  </a:cubicBezTo>
                  <a:cubicBezTo>
                    <a:pt x="1130" y="13"/>
                    <a:pt x="1130" y="13"/>
                    <a:pt x="1131" y="13"/>
                  </a:cubicBezTo>
                  <a:cubicBezTo>
                    <a:pt x="1137" y="11"/>
                    <a:pt x="1143" y="9"/>
                    <a:pt x="1149" y="8"/>
                  </a:cubicBezTo>
                  <a:cubicBezTo>
                    <a:pt x="1150" y="8"/>
                    <a:pt x="1151" y="7"/>
                    <a:pt x="1152" y="7"/>
                  </a:cubicBezTo>
                  <a:cubicBezTo>
                    <a:pt x="1152" y="7"/>
                    <a:pt x="1153" y="7"/>
                    <a:pt x="1153" y="7"/>
                  </a:cubicBezTo>
                  <a:cubicBezTo>
                    <a:pt x="1154" y="7"/>
                    <a:pt x="1154" y="7"/>
                    <a:pt x="1155" y="7"/>
                  </a:cubicBezTo>
                  <a:cubicBezTo>
                    <a:pt x="1162" y="5"/>
                    <a:pt x="1169" y="4"/>
                    <a:pt x="1176" y="3"/>
                  </a:cubicBezTo>
                  <a:cubicBezTo>
                    <a:pt x="1177" y="3"/>
                    <a:pt x="1177" y="3"/>
                    <a:pt x="1177" y="3"/>
                  </a:cubicBezTo>
                  <a:cubicBezTo>
                    <a:pt x="1178" y="3"/>
                    <a:pt x="1178" y="3"/>
                    <a:pt x="1179" y="3"/>
                  </a:cubicBezTo>
                  <a:cubicBezTo>
                    <a:pt x="1179" y="3"/>
                    <a:pt x="1179" y="3"/>
                    <a:pt x="1179" y="3"/>
                  </a:cubicBezTo>
                  <a:cubicBezTo>
                    <a:pt x="1179" y="3"/>
                    <a:pt x="1180" y="3"/>
                    <a:pt x="1180" y="3"/>
                  </a:cubicBezTo>
                  <a:cubicBezTo>
                    <a:pt x="1182" y="3"/>
                    <a:pt x="1183" y="3"/>
                    <a:pt x="1184" y="2"/>
                  </a:cubicBezTo>
                  <a:cubicBezTo>
                    <a:pt x="1185" y="2"/>
                    <a:pt x="1185" y="2"/>
                    <a:pt x="1186" y="2"/>
                  </a:cubicBezTo>
                  <a:cubicBezTo>
                    <a:pt x="1188" y="2"/>
                    <a:pt x="1191" y="2"/>
                    <a:pt x="1193" y="2"/>
                  </a:cubicBezTo>
                  <a:cubicBezTo>
                    <a:pt x="1194" y="2"/>
                    <a:pt x="1194" y="2"/>
                    <a:pt x="1195" y="2"/>
                  </a:cubicBezTo>
                  <a:cubicBezTo>
                    <a:pt x="1196" y="2"/>
                    <a:pt x="1198" y="2"/>
                    <a:pt x="1200" y="2"/>
                  </a:cubicBezTo>
                  <a:cubicBezTo>
                    <a:pt x="1200" y="2"/>
                    <a:pt x="1200" y="2"/>
                    <a:pt x="1201" y="1"/>
                  </a:cubicBezTo>
                  <a:cubicBezTo>
                    <a:pt x="1202" y="1"/>
                    <a:pt x="1203" y="1"/>
                    <a:pt x="1204" y="1"/>
                  </a:cubicBezTo>
                  <a:cubicBezTo>
                    <a:pt x="1204" y="1"/>
                    <a:pt x="1204" y="1"/>
                    <a:pt x="1205" y="1"/>
                  </a:cubicBezTo>
                  <a:cubicBezTo>
                    <a:pt x="1207" y="1"/>
                    <a:pt x="1209" y="1"/>
                    <a:pt x="1212" y="1"/>
                  </a:cubicBezTo>
                  <a:cubicBezTo>
                    <a:pt x="1212" y="1"/>
                    <a:pt x="1213" y="1"/>
                    <a:pt x="1214" y="1"/>
                  </a:cubicBezTo>
                  <a:cubicBezTo>
                    <a:pt x="1214" y="1"/>
                    <a:pt x="1214" y="1"/>
                    <a:pt x="1215" y="1"/>
                  </a:cubicBezTo>
                  <a:cubicBezTo>
                    <a:pt x="1217" y="1"/>
                    <a:pt x="1220" y="1"/>
                    <a:pt x="1222" y="1"/>
                  </a:cubicBezTo>
                  <a:cubicBezTo>
                    <a:pt x="1223" y="1"/>
                    <a:pt x="1223" y="2"/>
                    <a:pt x="1224" y="2"/>
                  </a:cubicBezTo>
                  <a:cubicBezTo>
                    <a:pt x="1224" y="2"/>
                    <a:pt x="1224" y="2"/>
                    <a:pt x="1224" y="2"/>
                  </a:cubicBezTo>
                  <a:cubicBezTo>
                    <a:pt x="1225" y="2"/>
                    <a:pt x="1225" y="2"/>
                    <a:pt x="1226" y="2"/>
                  </a:cubicBezTo>
                  <a:cubicBezTo>
                    <a:pt x="1226" y="2"/>
                    <a:pt x="1227" y="2"/>
                    <a:pt x="1228" y="2"/>
                  </a:cubicBezTo>
                  <a:cubicBezTo>
                    <a:pt x="1228" y="2"/>
                    <a:pt x="1229" y="2"/>
                    <a:pt x="1229" y="2"/>
                  </a:cubicBezTo>
                  <a:cubicBezTo>
                    <a:pt x="1229" y="2"/>
                    <a:pt x="1230" y="2"/>
                    <a:pt x="1230" y="2"/>
                  </a:cubicBezTo>
                  <a:cubicBezTo>
                    <a:pt x="1230" y="2"/>
                    <a:pt x="1231" y="2"/>
                    <a:pt x="1231" y="2"/>
                  </a:cubicBezTo>
                  <a:cubicBezTo>
                    <a:pt x="1232" y="2"/>
                    <a:pt x="1234" y="2"/>
                    <a:pt x="1235" y="2"/>
                  </a:cubicBezTo>
                  <a:cubicBezTo>
                    <a:pt x="1235" y="2"/>
                    <a:pt x="1236" y="2"/>
                    <a:pt x="1236" y="2"/>
                  </a:cubicBezTo>
                  <a:cubicBezTo>
                    <a:pt x="1237" y="2"/>
                    <a:pt x="1237" y="2"/>
                    <a:pt x="1238" y="2"/>
                  </a:cubicBezTo>
                  <a:cubicBezTo>
                    <a:pt x="1238" y="2"/>
                    <a:pt x="1238" y="2"/>
                    <a:pt x="1239" y="2"/>
                  </a:cubicBezTo>
                  <a:cubicBezTo>
                    <a:pt x="1247" y="3"/>
                    <a:pt x="1255" y="4"/>
                    <a:pt x="1263" y="5"/>
                  </a:cubicBezTo>
                  <a:cubicBezTo>
                    <a:pt x="1271" y="6"/>
                    <a:pt x="1278" y="7"/>
                    <a:pt x="1284" y="8"/>
                  </a:cubicBezTo>
                  <a:cubicBezTo>
                    <a:pt x="1285" y="8"/>
                    <a:pt x="1285" y="8"/>
                    <a:pt x="1285" y="8"/>
                  </a:cubicBezTo>
                  <a:cubicBezTo>
                    <a:pt x="1322" y="14"/>
                    <a:pt x="1353" y="21"/>
                    <a:pt x="1380" y="29"/>
                  </a:cubicBezTo>
                  <a:cubicBezTo>
                    <a:pt x="1380" y="29"/>
                    <a:pt x="1380" y="29"/>
                    <a:pt x="1381" y="29"/>
                  </a:cubicBezTo>
                  <a:cubicBezTo>
                    <a:pt x="1410" y="38"/>
                    <a:pt x="1434" y="48"/>
                    <a:pt x="1453" y="59"/>
                  </a:cubicBezTo>
                  <a:cubicBezTo>
                    <a:pt x="1454" y="59"/>
                    <a:pt x="1454" y="59"/>
                    <a:pt x="1454" y="59"/>
                  </a:cubicBezTo>
                  <a:cubicBezTo>
                    <a:pt x="1474" y="71"/>
                    <a:pt x="1489" y="84"/>
                    <a:pt x="1499" y="97"/>
                  </a:cubicBezTo>
                  <a:cubicBezTo>
                    <a:pt x="1499" y="98"/>
                    <a:pt x="1500" y="98"/>
                    <a:pt x="1500" y="98"/>
                  </a:cubicBezTo>
                  <a:cubicBezTo>
                    <a:pt x="1510" y="112"/>
                    <a:pt x="1516" y="127"/>
                    <a:pt x="1517" y="142"/>
                  </a:cubicBezTo>
                  <a:cubicBezTo>
                    <a:pt x="1517" y="143"/>
                    <a:pt x="1517" y="143"/>
                    <a:pt x="1517" y="144"/>
                  </a:cubicBezTo>
                  <a:cubicBezTo>
                    <a:pt x="1518" y="146"/>
                    <a:pt x="1518" y="149"/>
                    <a:pt x="1518" y="152"/>
                  </a:cubicBezTo>
                  <a:cubicBezTo>
                    <a:pt x="1518" y="164"/>
                    <a:pt x="1515" y="177"/>
                    <a:pt x="1511" y="190"/>
                  </a:cubicBezTo>
                  <a:cubicBezTo>
                    <a:pt x="1511" y="190"/>
                    <a:pt x="1510" y="191"/>
                    <a:pt x="1510" y="192"/>
                  </a:cubicBezTo>
                  <a:cubicBezTo>
                    <a:pt x="1505" y="205"/>
                    <a:pt x="1498" y="219"/>
                    <a:pt x="1489" y="233"/>
                  </a:cubicBezTo>
                  <a:cubicBezTo>
                    <a:pt x="1489" y="234"/>
                    <a:pt x="1488" y="235"/>
                    <a:pt x="1487" y="235"/>
                  </a:cubicBezTo>
                  <a:cubicBezTo>
                    <a:pt x="1465" y="269"/>
                    <a:pt x="1431" y="304"/>
                    <a:pt x="1393" y="335"/>
                  </a:cubicBezTo>
                  <a:cubicBezTo>
                    <a:pt x="1386" y="341"/>
                    <a:pt x="1380" y="348"/>
                    <a:pt x="1374" y="355"/>
                  </a:cubicBezTo>
                  <a:cubicBezTo>
                    <a:pt x="1374" y="356"/>
                    <a:pt x="1373" y="357"/>
                    <a:pt x="1372" y="358"/>
                  </a:cubicBezTo>
                  <a:cubicBezTo>
                    <a:pt x="1357" y="379"/>
                    <a:pt x="1351" y="405"/>
                    <a:pt x="1351" y="435"/>
                  </a:cubicBezTo>
                  <a:cubicBezTo>
                    <a:pt x="1351" y="435"/>
                    <a:pt x="1351" y="435"/>
                    <a:pt x="1351" y="436"/>
                  </a:cubicBezTo>
                  <a:cubicBezTo>
                    <a:pt x="1351" y="436"/>
                    <a:pt x="1351" y="436"/>
                    <a:pt x="1351" y="436"/>
                  </a:cubicBezTo>
                  <a:cubicBezTo>
                    <a:pt x="1351" y="450"/>
                    <a:pt x="1352" y="466"/>
                    <a:pt x="1355" y="481"/>
                  </a:cubicBezTo>
                  <a:cubicBezTo>
                    <a:pt x="1355" y="482"/>
                    <a:pt x="1355" y="482"/>
                    <a:pt x="1355" y="483"/>
                  </a:cubicBezTo>
                  <a:cubicBezTo>
                    <a:pt x="1358" y="496"/>
                    <a:pt x="1361" y="510"/>
                    <a:pt x="1365" y="525"/>
                  </a:cubicBezTo>
                  <a:cubicBezTo>
                    <a:pt x="1365" y="525"/>
                    <a:pt x="1365" y="526"/>
                    <a:pt x="1365" y="526"/>
                  </a:cubicBezTo>
                  <a:cubicBezTo>
                    <a:pt x="1369" y="539"/>
                    <a:pt x="1374" y="553"/>
                    <a:pt x="1379" y="567"/>
                  </a:cubicBezTo>
                  <a:cubicBezTo>
                    <a:pt x="1379" y="568"/>
                    <a:pt x="1379" y="568"/>
                    <a:pt x="1379" y="569"/>
                  </a:cubicBezTo>
                  <a:cubicBezTo>
                    <a:pt x="1384" y="583"/>
                    <a:pt x="1389" y="597"/>
                    <a:pt x="1395" y="611"/>
                  </a:cubicBezTo>
                  <a:cubicBezTo>
                    <a:pt x="1395" y="612"/>
                    <a:pt x="1395" y="612"/>
                    <a:pt x="1396" y="613"/>
                  </a:cubicBezTo>
                  <a:cubicBezTo>
                    <a:pt x="1402" y="628"/>
                    <a:pt x="1408" y="643"/>
                    <a:pt x="1415" y="659"/>
                  </a:cubicBezTo>
                  <a:cubicBezTo>
                    <a:pt x="1415" y="659"/>
                    <a:pt x="1415" y="660"/>
                    <a:pt x="1415" y="660"/>
                  </a:cubicBezTo>
                  <a:cubicBezTo>
                    <a:pt x="1423" y="677"/>
                    <a:pt x="1431" y="695"/>
                    <a:pt x="1438" y="712"/>
                  </a:cubicBezTo>
                  <a:cubicBezTo>
                    <a:pt x="1439" y="713"/>
                    <a:pt x="1439" y="713"/>
                    <a:pt x="1439" y="714"/>
                  </a:cubicBezTo>
                  <a:cubicBezTo>
                    <a:pt x="1449" y="735"/>
                    <a:pt x="1458" y="756"/>
                    <a:pt x="1467" y="777"/>
                  </a:cubicBezTo>
                  <a:cubicBezTo>
                    <a:pt x="1467" y="778"/>
                    <a:pt x="1468" y="779"/>
                    <a:pt x="1468" y="779"/>
                  </a:cubicBezTo>
                  <a:cubicBezTo>
                    <a:pt x="1475" y="796"/>
                    <a:pt x="1482" y="813"/>
                    <a:pt x="1489" y="830"/>
                  </a:cubicBezTo>
                  <a:cubicBezTo>
                    <a:pt x="1494" y="844"/>
                    <a:pt x="1499" y="858"/>
                    <a:pt x="1504" y="873"/>
                  </a:cubicBezTo>
                  <a:cubicBezTo>
                    <a:pt x="1504" y="874"/>
                    <a:pt x="1504" y="875"/>
                    <a:pt x="1505" y="876"/>
                  </a:cubicBezTo>
                  <a:cubicBezTo>
                    <a:pt x="1513" y="903"/>
                    <a:pt x="1520" y="930"/>
                    <a:pt x="1526" y="958"/>
                  </a:cubicBezTo>
                  <a:cubicBezTo>
                    <a:pt x="1527" y="961"/>
                    <a:pt x="1528" y="965"/>
                    <a:pt x="1529" y="968"/>
                  </a:cubicBezTo>
                  <a:cubicBezTo>
                    <a:pt x="1533" y="985"/>
                    <a:pt x="1537" y="1001"/>
                    <a:pt x="1541" y="1018"/>
                  </a:cubicBezTo>
                  <a:cubicBezTo>
                    <a:pt x="1542" y="1022"/>
                    <a:pt x="1544" y="1026"/>
                    <a:pt x="1545" y="1030"/>
                  </a:cubicBezTo>
                  <a:cubicBezTo>
                    <a:pt x="1539" y="1006"/>
                    <a:pt x="1533" y="982"/>
                    <a:pt x="1527" y="958"/>
                  </a:cubicBezTo>
                  <a:cubicBezTo>
                    <a:pt x="1527" y="954"/>
                    <a:pt x="1526" y="951"/>
                    <a:pt x="1525" y="948"/>
                  </a:cubicBezTo>
                  <a:cubicBezTo>
                    <a:pt x="1519" y="923"/>
                    <a:pt x="1512" y="897"/>
                    <a:pt x="1505" y="872"/>
                  </a:cubicBezTo>
                  <a:cubicBezTo>
                    <a:pt x="1504" y="871"/>
                    <a:pt x="1504" y="870"/>
                    <a:pt x="1504" y="869"/>
                  </a:cubicBezTo>
                  <a:cubicBezTo>
                    <a:pt x="1499" y="856"/>
                    <a:pt x="1495" y="842"/>
                    <a:pt x="1490" y="829"/>
                  </a:cubicBezTo>
                  <a:cubicBezTo>
                    <a:pt x="1483" y="812"/>
                    <a:pt x="1475" y="795"/>
                    <a:pt x="1468" y="777"/>
                  </a:cubicBezTo>
                  <a:cubicBezTo>
                    <a:pt x="1468" y="777"/>
                    <a:pt x="1467" y="776"/>
                    <a:pt x="1467" y="775"/>
                  </a:cubicBezTo>
                  <a:cubicBezTo>
                    <a:pt x="1458" y="754"/>
                    <a:pt x="1449" y="733"/>
                    <a:pt x="1439" y="712"/>
                  </a:cubicBezTo>
                  <a:cubicBezTo>
                    <a:pt x="1439" y="712"/>
                    <a:pt x="1439" y="711"/>
                    <a:pt x="1439" y="711"/>
                  </a:cubicBezTo>
                  <a:cubicBezTo>
                    <a:pt x="1431" y="693"/>
                    <a:pt x="1423" y="676"/>
                    <a:pt x="1416" y="658"/>
                  </a:cubicBezTo>
                  <a:cubicBezTo>
                    <a:pt x="1416" y="658"/>
                    <a:pt x="1416" y="658"/>
                    <a:pt x="1415" y="657"/>
                  </a:cubicBezTo>
                  <a:cubicBezTo>
                    <a:pt x="1409" y="642"/>
                    <a:pt x="1402" y="626"/>
                    <a:pt x="1396" y="611"/>
                  </a:cubicBezTo>
                  <a:cubicBezTo>
                    <a:pt x="1396" y="611"/>
                    <a:pt x="1396" y="610"/>
                    <a:pt x="1396" y="610"/>
                  </a:cubicBezTo>
                  <a:cubicBezTo>
                    <a:pt x="1390" y="596"/>
                    <a:pt x="1385" y="581"/>
                    <a:pt x="1380" y="567"/>
                  </a:cubicBezTo>
                  <a:cubicBezTo>
                    <a:pt x="1380" y="567"/>
                    <a:pt x="1379" y="567"/>
                    <a:pt x="1379" y="566"/>
                  </a:cubicBezTo>
                  <a:cubicBezTo>
                    <a:pt x="1374" y="552"/>
                    <a:pt x="1370" y="538"/>
                    <a:pt x="1366" y="525"/>
                  </a:cubicBezTo>
                  <a:cubicBezTo>
                    <a:pt x="1366" y="525"/>
                    <a:pt x="1366" y="524"/>
                    <a:pt x="1366" y="524"/>
                  </a:cubicBezTo>
                  <a:cubicBezTo>
                    <a:pt x="1362" y="509"/>
                    <a:pt x="1358" y="495"/>
                    <a:pt x="1356" y="482"/>
                  </a:cubicBezTo>
                  <a:cubicBezTo>
                    <a:pt x="1356" y="481"/>
                    <a:pt x="1356" y="481"/>
                    <a:pt x="1356" y="481"/>
                  </a:cubicBezTo>
                  <a:cubicBezTo>
                    <a:pt x="1353" y="465"/>
                    <a:pt x="1352" y="450"/>
                    <a:pt x="1352" y="436"/>
                  </a:cubicBezTo>
                  <a:cubicBezTo>
                    <a:pt x="1352" y="435"/>
                    <a:pt x="1352" y="435"/>
                    <a:pt x="1352" y="435"/>
                  </a:cubicBezTo>
                  <a:cubicBezTo>
                    <a:pt x="1352" y="435"/>
                    <a:pt x="1352" y="434"/>
                    <a:pt x="1352" y="434"/>
                  </a:cubicBezTo>
                  <a:cubicBezTo>
                    <a:pt x="1352" y="404"/>
                    <a:pt x="1359" y="377"/>
                    <a:pt x="1375" y="356"/>
                  </a:cubicBezTo>
                  <a:cubicBezTo>
                    <a:pt x="1376" y="355"/>
                    <a:pt x="1376" y="354"/>
                    <a:pt x="1377" y="353"/>
                  </a:cubicBezTo>
                  <a:cubicBezTo>
                    <a:pt x="1382" y="347"/>
                    <a:pt x="1388" y="341"/>
                    <a:pt x="1394" y="336"/>
                  </a:cubicBezTo>
                  <a:cubicBezTo>
                    <a:pt x="1433" y="303"/>
                    <a:pt x="1467" y="268"/>
                    <a:pt x="1490" y="233"/>
                  </a:cubicBezTo>
                  <a:cubicBezTo>
                    <a:pt x="1490" y="233"/>
                    <a:pt x="1491" y="232"/>
                    <a:pt x="1492" y="231"/>
                  </a:cubicBezTo>
                  <a:cubicBezTo>
                    <a:pt x="1500" y="217"/>
                    <a:pt x="1507" y="204"/>
                    <a:pt x="1512" y="191"/>
                  </a:cubicBezTo>
                  <a:cubicBezTo>
                    <a:pt x="1512" y="190"/>
                    <a:pt x="1512" y="189"/>
                    <a:pt x="1512" y="189"/>
                  </a:cubicBezTo>
                  <a:cubicBezTo>
                    <a:pt x="1516" y="176"/>
                    <a:pt x="1519" y="164"/>
                    <a:pt x="1519" y="152"/>
                  </a:cubicBezTo>
                  <a:cubicBezTo>
                    <a:pt x="1519" y="149"/>
                    <a:pt x="1518" y="146"/>
                    <a:pt x="1518" y="143"/>
                  </a:cubicBezTo>
                  <a:cubicBezTo>
                    <a:pt x="1518" y="142"/>
                    <a:pt x="1518" y="142"/>
                    <a:pt x="1518" y="142"/>
                  </a:cubicBezTo>
                  <a:cubicBezTo>
                    <a:pt x="1516" y="126"/>
                    <a:pt x="1511" y="111"/>
                    <a:pt x="1501" y="98"/>
                  </a:cubicBezTo>
                  <a:cubicBezTo>
                    <a:pt x="1500" y="97"/>
                    <a:pt x="1500" y="97"/>
                    <a:pt x="1500" y="97"/>
                  </a:cubicBezTo>
                  <a:cubicBezTo>
                    <a:pt x="1490" y="83"/>
                    <a:pt x="1475" y="70"/>
                    <a:pt x="1455" y="58"/>
                  </a:cubicBezTo>
                  <a:cubicBezTo>
                    <a:pt x="1454" y="58"/>
                    <a:pt x="1454" y="58"/>
                    <a:pt x="1454" y="58"/>
                  </a:cubicBezTo>
                  <a:cubicBezTo>
                    <a:pt x="1435" y="47"/>
                    <a:pt x="1410" y="37"/>
                    <a:pt x="1381" y="28"/>
                  </a:cubicBezTo>
                  <a:cubicBezTo>
                    <a:pt x="1381" y="28"/>
                    <a:pt x="1380" y="28"/>
                    <a:pt x="1380" y="28"/>
                  </a:cubicBezTo>
                  <a:cubicBezTo>
                    <a:pt x="1353" y="20"/>
                    <a:pt x="1322" y="13"/>
                    <a:pt x="1286" y="7"/>
                  </a:cubicBezTo>
                  <a:cubicBezTo>
                    <a:pt x="1285" y="7"/>
                    <a:pt x="1285" y="7"/>
                    <a:pt x="1285" y="7"/>
                  </a:cubicBezTo>
                  <a:cubicBezTo>
                    <a:pt x="1278" y="6"/>
                    <a:pt x="1271" y="5"/>
                    <a:pt x="1264" y="4"/>
                  </a:cubicBezTo>
                  <a:cubicBezTo>
                    <a:pt x="1255" y="3"/>
                    <a:pt x="1247" y="2"/>
                    <a:pt x="1239" y="1"/>
                  </a:cubicBezTo>
                  <a:cubicBezTo>
                    <a:pt x="1239" y="1"/>
                    <a:pt x="1238" y="1"/>
                    <a:pt x="1238" y="1"/>
                  </a:cubicBezTo>
                  <a:cubicBezTo>
                    <a:pt x="1238" y="1"/>
                    <a:pt x="1237" y="1"/>
                    <a:pt x="1237" y="1"/>
                  </a:cubicBezTo>
                  <a:cubicBezTo>
                    <a:pt x="1236" y="1"/>
                    <a:pt x="1236" y="1"/>
                    <a:pt x="1236" y="1"/>
                  </a:cubicBezTo>
                  <a:cubicBezTo>
                    <a:pt x="1234" y="1"/>
                    <a:pt x="1233" y="1"/>
                    <a:pt x="1232" y="1"/>
                  </a:cubicBezTo>
                  <a:cubicBezTo>
                    <a:pt x="1231" y="1"/>
                    <a:pt x="1231" y="1"/>
                    <a:pt x="1230" y="1"/>
                  </a:cubicBezTo>
                  <a:cubicBezTo>
                    <a:pt x="1230" y="1"/>
                    <a:pt x="1230" y="1"/>
                    <a:pt x="1230" y="1"/>
                  </a:cubicBezTo>
                  <a:cubicBezTo>
                    <a:pt x="1229" y="1"/>
                    <a:pt x="1229" y="1"/>
                    <a:pt x="1229" y="1"/>
                  </a:cubicBezTo>
                  <a:cubicBezTo>
                    <a:pt x="1228" y="1"/>
                    <a:pt x="1227" y="1"/>
                    <a:pt x="1226" y="1"/>
                  </a:cubicBezTo>
                  <a:cubicBezTo>
                    <a:pt x="1226" y="1"/>
                    <a:pt x="1225" y="1"/>
                    <a:pt x="1225" y="1"/>
                  </a:cubicBezTo>
                  <a:cubicBezTo>
                    <a:pt x="1225" y="1"/>
                    <a:pt x="1224" y="1"/>
                    <a:pt x="1224" y="1"/>
                  </a:cubicBezTo>
                  <a:cubicBezTo>
                    <a:pt x="1224" y="1"/>
                    <a:pt x="1223" y="1"/>
                    <a:pt x="1223" y="0"/>
                  </a:cubicBezTo>
                  <a:cubicBezTo>
                    <a:pt x="1220" y="0"/>
                    <a:pt x="1218" y="0"/>
                    <a:pt x="1215" y="0"/>
                  </a:cubicBezTo>
                  <a:cubicBezTo>
                    <a:pt x="1215" y="0"/>
                    <a:pt x="1215" y="0"/>
                    <a:pt x="1214" y="0"/>
                  </a:cubicBezTo>
                  <a:cubicBezTo>
                    <a:pt x="1213" y="0"/>
                    <a:pt x="1213" y="0"/>
                    <a:pt x="1212" y="0"/>
                  </a:cubicBezTo>
                  <a:moveTo>
                    <a:pt x="1076" y="39"/>
                  </a:moveTo>
                  <a:cubicBezTo>
                    <a:pt x="1075" y="39"/>
                    <a:pt x="1074" y="39"/>
                    <a:pt x="1073" y="40"/>
                  </a:cubicBezTo>
                  <a:cubicBezTo>
                    <a:pt x="1067" y="44"/>
                    <a:pt x="1061" y="49"/>
                    <a:pt x="1055" y="54"/>
                  </a:cubicBezTo>
                  <a:cubicBezTo>
                    <a:pt x="1054" y="54"/>
                    <a:pt x="1054" y="55"/>
                    <a:pt x="1053" y="55"/>
                  </a:cubicBezTo>
                  <a:cubicBezTo>
                    <a:pt x="1053" y="56"/>
                    <a:pt x="1052" y="57"/>
                    <a:pt x="1051" y="57"/>
                  </a:cubicBezTo>
                  <a:cubicBezTo>
                    <a:pt x="1051" y="58"/>
                    <a:pt x="1050" y="58"/>
                    <a:pt x="1050" y="58"/>
                  </a:cubicBezTo>
                  <a:cubicBezTo>
                    <a:pt x="1050" y="58"/>
                    <a:pt x="1050" y="59"/>
                    <a:pt x="1049" y="59"/>
                  </a:cubicBezTo>
                  <a:cubicBezTo>
                    <a:pt x="1049" y="59"/>
                    <a:pt x="1048" y="60"/>
                    <a:pt x="1048" y="60"/>
                  </a:cubicBezTo>
                  <a:cubicBezTo>
                    <a:pt x="1047" y="61"/>
                    <a:pt x="1047" y="61"/>
                    <a:pt x="1046" y="62"/>
                  </a:cubicBezTo>
                  <a:cubicBezTo>
                    <a:pt x="1046" y="62"/>
                    <a:pt x="1045" y="63"/>
                    <a:pt x="1044" y="64"/>
                  </a:cubicBezTo>
                  <a:cubicBezTo>
                    <a:pt x="1045" y="64"/>
                    <a:pt x="1045" y="64"/>
                    <a:pt x="1046" y="63"/>
                  </a:cubicBezTo>
                  <a:cubicBezTo>
                    <a:pt x="1046" y="63"/>
                    <a:pt x="1047" y="63"/>
                    <a:pt x="1047" y="62"/>
                  </a:cubicBezTo>
                  <a:cubicBezTo>
                    <a:pt x="1048" y="61"/>
                    <a:pt x="1049" y="60"/>
                    <a:pt x="1050" y="60"/>
                  </a:cubicBezTo>
                  <a:cubicBezTo>
                    <a:pt x="1050" y="59"/>
                    <a:pt x="1051" y="59"/>
                    <a:pt x="1051" y="59"/>
                  </a:cubicBezTo>
                  <a:cubicBezTo>
                    <a:pt x="1051" y="58"/>
                    <a:pt x="1052" y="58"/>
                    <a:pt x="1053" y="57"/>
                  </a:cubicBezTo>
                  <a:cubicBezTo>
                    <a:pt x="1053" y="57"/>
                    <a:pt x="1054" y="56"/>
                    <a:pt x="1054" y="56"/>
                  </a:cubicBezTo>
                  <a:cubicBezTo>
                    <a:pt x="1060" y="50"/>
                    <a:pt x="1066" y="46"/>
                    <a:pt x="1073" y="41"/>
                  </a:cubicBezTo>
                  <a:cubicBezTo>
                    <a:pt x="1073" y="41"/>
                    <a:pt x="1074" y="40"/>
                    <a:pt x="1074" y="40"/>
                  </a:cubicBezTo>
                  <a:cubicBezTo>
                    <a:pt x="1075" y="40"/>
                    <a:pt x="1075" y="39"/>
                    <a:pt x="1076" y="39"/>
                  </a:cubicBezTo>
                  <a:moveTo>
                    <a:pt x="1045" y="65"/>
                  </a:moveTo>
                  <a:cubicBezTo>
                    <a:pt x="1044" y="65"/>
                    <a:pt x="1044" y="65"/>
                    <a:pt x="1043" y="65"/>
                  </a:cubicBezTo>
                  <a:cubicBezTo>
                    <a:pt x="1038" y="69"/>
                    <a:pt x="1034" y="74"/>
                    <a:pt x="1030" y="80"/>
                  </a:cubicBezTo>
                  <a:cubicBezTo>
                    <a:pt x="1029" y="80"/>
                    <a:pt x="1029" y="80"/>
                    <a:pt x="1029" y="80"/>
                  </a:cubicBezTo>
                  <a:cubicBezTo>
                    <a:pt x="1025" y="85"/>
                    <a:pt x="1022" y="89"/>
                    <a:pt x="1019" y="94"/>
                  </a:cubicBezTo>
                  <a:cubicBezTo>
                    <a:pt x="1019" y="94"/>
                    <a:pt x="1019" y="94"/>
                    <a:pt x="1020" y="94"/>
                  </a:cubicBezTo>
                  <a:cubicBezTo>
                    <a:pt x="1023" y="89"/>
                    <a:pt x="1026" y="85"/>
                    <a:pt x="1030" y="81"/>
                  </a:cubicBezTo>
                  <a:cubicBezTo>
                    <a:pt x="1030" y="81"/>
                    <a:pt x="1030" y="80"/>
                    <a:pt x="1030" y="80"/>
                  </a:cubicBezTo>
                  <a:cubicBezTo>
                    <a:pt x="1035" y="75"/>
                    <a:pt x="1040" y="70"/>
                    <a:pt x="1045" y="65"/>
                  </a:cubicBezTo>
                  <a:moveTo>
                    <a:pt x="1019" y="95"/>
                  </a:moveTo>
                  <a:cubicBezTo>
                    <a:pt x="1019" y="95"/>
                    <a:pt x="1018" y="95"/>
                    <a:pt x="1018" y="95"/>
                  </a:cubicBezTo>
                  <a:cubicBezTo>
                    <a:pt x="1015" y="99"/>
                    <a:pt x="1012" y="103"/>
                    <a:pt x="1010" y="107"/>
                  </a:cubicBezTo>
                  <a:cubicBezTo>
                    <a:pt x="1009" y="107"/>
                    <a:pt x="1009" y="108"/>
                    <a:pt x="1009" y="108"/>
                  </a:cubicBezTo>
                  <a:cubicBezTo>
                    <a:pt x="1007" y="112"/>
                    <a:pt x="1004" y="116"/>
                    <a:pt x="1002" y="120"/>
                  </a:cubicBezTo>
                  <a:cubicBezTo>
                    <a:pt x="1001" y="121"/>
                    <a:pt x="1001" y="122"/>
                    <a:pt x="1000" y="122"/>
                  </a:cubicBezTo>
                  <a:cubicBezTo>
                    <a:pt x="1001" y="122"/>
                    <a:pt x="1001" y="122"/>
                    <a:pt x="1002" y="122"/>
                  </a:cubicBezTo>
                  <a:cubicBezTo>
                    <a:pt x="1002" y="122"/>
                    <a:pt x="1002" y="121"/>
                    <a:pt x="1003" y="121"/>
                  </a:cubicBezTo>
                  <a:cubicBezTo>
                    <a:pt x="1004" y="119"/>
                    <a:pt x="1005" y="116"/>
                    <a:pt x="1006" y="114"/>
                  </a:cubicBezTo>
                  <a:cubicBezTo>
                    <a:pt x="1007" y="112"/>
                    <a:pt x="1009" y="110"/>
                    <a:pt x="1010" y="108"/>
                  </a:cubicBezTo>
                  <a:cubicBezTo>
                    <a:pt x="1010" y="108"/>
                    <a:pt x="1010" y="108"/>
                    <a:pt x="1011" y="107"/>
                  </a:cubicBezTo>
                  <a:cubicBezTo>
                    <a:pt x="1013" y="103"/>
                    <a:pt x="1016" y="99"/>
                    <a:pt x="1019" y="95"/>
                  </a:cubicBezTo>
                  <a:moveTo>
                    <a:pt x="1001" y="123"/>
                  </a:moveTo>
                  <a:cubicBezTo>
                    <a:pt x="1001" y="123"/>
                    <a:pt x="1000" y="123"/>
                    <a:pt x="1000" y="123"/>
                  </a:cubicBezTo>
                  <a:cubicBezTo>
                    <a:pt x="1000" y="124"/>
                    <a:pt x="999" y="125"/>
                    <a:pt x="999" y="125"/>
                  </a:cubicBezTo>
                  <a:cubicBezTo>
                    <a:pt x="999" y="126"/>
                    <a:pt x="998" y="126"/>
                    <a:pt x="998" y="126"/>
                  </a:cubicBezTo>
                  <a:cubicBezTo>
                    <a:pt x="998" y="127"/>
                    <a:pt x="998" y="128"/>
                    <a:pt x="997" y="128"/>
                  </a:cubicBezTo>
                  <a:cubicBezTo>
                    <a:pt x="996" y="131"/>
                    <a:pt x="995" y="133"/>
                    <a:pt x="994" y="135"/>
                  </a:cubicBezTo>
                  <a:cubicBezTo>
                    <a:pt x="994" y="136"/>
                    <a:pt x="993" y="136"/>
                    <a:pt x="993" y="136"/>
                  </a:cubicBezTo>
                  <a:cubicBezTo>
                    <a:pt x="991" y="142"/>
                    <a:pt x="988" y="147"/>
                    <a:pt x="986" y="153"/>
                  </a:cubicBezTo>
                  <a:cubicBezTo>
                    <a:pt x="986" y="153"/>
                    <a:pt x="986" y="153"/>
                    <a:pt x="987" y="153"/>
                  </a:cubicBezTo>
                  <a:cubicBezTo>
                    <a:pt x="989" y="147"/>
                    <a:pt x="992" y="142"/>
                    <a:pt x="994" y="136"/>
                  </a:cubicBezTo>
                  <a:cubicBezTo>
                    <a:pt x="994" y="136"/>
                    <a:pt x="995" y="136"/>
                    <a:pt x="995" y="136"/>
                  </a:cubicBezTo>
                  <a:cubicBezTo>
                    <a:pt x="996" y="134"/>
                    <a:pt x="996" y="132"/>
                    <a:pt x="997" y="130"/>
                  </a:cubicBezTo>
                  <a:cubicBezTo>
                    <a:pt x="998" y="130"/>
                    <a:pt x="998" y="129"/>
                    <a:pt x="998" y="128"/>
                  </a:cubicBezTo>
                  <a:cubicBezTo>
                    <a:pt x="999" y="127"/>
                    <a:pt x="1000" y="125"/>
                    <a:pt x="1001" y="123"/>
                  </a:cubicBezTo>
                  <a:moveTo>
                    <a:pt x="985" y="154"/>
                  </a:moveTo>
                  <a:cubicBezTo>
                    <a:pt x="984" y="157"/>
                    <a:pt x="983" y="160"/>
                    <a:pt x="981" y="163"/>
                  </a:cubicBezTo>
                  <a:cubicBezTo>
                    <a:pt x="981" y="163"/>
                    <a:pt x="981" y="164"/>
                    <a:pt x="981" y="164"/>
                  </a:cubicBezTo>
                  <a:cubicBezTo>
                    <a:pt x="979" y="169"/>
                    <a:pt x="977" y="175"/>
                    <a:pt x="975" y="180"/>
                  </a:cubicBezTo>
                  <a:cubicBezTo>
                    <a:pt x="975" y="181"/>
                    <a:pt x="975" y="181"/>
                    <a:pt x="974" y="182"/>
                  </a:cubicBezTo>
                  <a:cubicBezTo>
                    <a:pt x="974" y="183"/>
                    <a:pt x="974" y="183"/>
                    <a:pt x="974" y="183"/>
                  </a:cubicBezTo>
                  <a:cubicBezTo>
                    <a:pt x="974" y="184"/>
                    <a:pt x="974" y="184"/>
                    <a:pt x="974" y="184"/>
                  </a:cubicBezTo>
                  <a:cubicBezTo>
                    <a:pt x="973" y="186"/>
                    <a:pt x="972" y="188"/>
                    <a:pt x="972" y="190"/>
                  </a:cubicBezTo>
                  <a:cubicBezTo>
                    <a:pt x="972" y="190"/>
                    <a:pt x="972" y="190"/>
                    <a:pt x="973" y="190"/>
                  </a:cubicBezTo>
                  <a:cubicBezTo>
                    <a:pt x="973" y="189"/>
                    <a:pt x="974" y="187"/>
                    <a:pt x="975" y="185"/>
                  </a:cubicBezTo>
                  <a:cubicBezTo>
                    <a:pt x="975" y="184"/>
                    <a:pt x="975" y="184"/>
                    <a:pt x="975" y="184"/>
                  </a:cubicBezTo>
                  <a:cubicBezTo>
                    <a:pt x="975" y="183"/>
                    <a:pt x="976" y="181"/>
                    <a:pt x="976" y="180"/>
                  </a:cubicBezTo>
                  <a:cubicBezTo>
                    <a:pt x="976" y="180"/>
                    <a:pt x="977" y="179"/>
                    <a:pt x="977" y="178"/>
                  </a:cubicBezTo>
                  <a:cubicBezTo>
                    <a:pt x="978" y="173"/>
                    <a:pt x="980" y="169"/>
                    <a:pt x="982" y="164"/>
                  </a:cubicBezTo>
                  <a:cubicBezTo>
                    <a:pt x="982" y="164"/>
                    <a:pt x="982" y="164"/>
                    <a:pt x="982" y="163"/>
                  </a:cubicBezTo>
                  <a:cubicBezTo>
                    <a:pt x="984" y="160"/>
                    <a:pt x="985" y="157"/>
                    <a:pt x="986" y="154"/>
                  </a:cubicBezTo>
                  <a:cubicBezTo>
                    <a:pt x="986" y="154"/>
                    <a:pt x="985" y="154"/>
                    <a:pt x="985" y="154"/>
                  </a:cubicBezTo>
                  <a:moveTo>
                    <a:pt x="971" y="191"/>
                  </a:moveTo>
                  <a:cubicBezTo>
                    <a:pt x="971" y="191"/>
                    <a:pt x="971" y="191"/>
                    <a:pt x="971" y="192"/>
                  </a:cubicBezTo>
                  <a:cubicBezTo>
                    <a:pt x="970" y="196"/>
                    <a:pt x="969" y="200"/>
                    <a:pt x="967" y="204"/>
                  </a:cubicBezTo>
                  <a:cubicBezTo>
                    <a:pt x="967" y="204"/>
                    <a:pt x="967" y="205"/>
                    <a:pt x="967" y="205"/>
                  </a:cubicBezTo>
                  <a:cubicBezTo>
                    <a:pt x="967" y="205"/>
                    <a:pt x="967" y="206"/>
                    <a:pt x="967" y="206"/>
                  </a:cubicBezTo>
                  <a:cubicBezTo>
                    <a:pt x="966" y="210"/>
                    <a:pt x="965" y="214"/>
                    <a:pt x="964" y="219"/>
                  </a:cubicBezTo>
                  <a:cubicBezTo>
                    <a:pt x="963" y="219"/>
                    <a:pt x="963" y="219"/>
                    <a:pt x="963" y="220"/>
                  </a:cubicBezTo>
                  <a:cubicBezTo>
                    <a:pt x="963" y="222"/>
                    <a:pt x="962" y="224"/>
                    <a:pt x="962" y="226"/>
                  </a:cubicBezTo>
                  <a:cubicBezTo>
                    <a:pt x="962" y="226"/>
                    <a:pt x="962" y="226"/>
                    <a:pt x="963" y="226"/>
                  </a:cubicBezTo>
                  <a:cubicBezTo>
                    <a:pt x="963" y="224"/>
                    <a:pt x="964" y="222"/>
                    <a:pt x="964" y="220"/>
                  </a:cubicBezTo>
                  <a:cubicBezTo>
                    <a:pt x="964" y="220"/>
                    <a:pt x="964" y="219"/>
                    <a:pt x="964" y="219"/>
                  </a:cubicBezTo>
                  <a:cubicBezTo>
                    <a:pt x="966" y="215"/>
                    <a:pt x="967" y="210"/>
                    <a:pt x="968" y="206"/>
                  </a:cubicBezTo>
                  <a:cubicBezTo>
                    <a:pt x="968" y="205"/>
                    <a:pt x="968" y="205"/>
                    <a:pt x="968" y="205"/>
                  </a:cubicBezTo>
                  <a:cubicBezTo>
                    <a:pt x="969" y="204"/>
                    <a:pt x="969" y="204"/>
                    <a:pt x="969" y="203"/>
                  </a:cubicBezTo>
                  <a:cubicBezTo>
                    <a:pt x="970" y="199"/>
                    <a:pt x="971" y="196"/>
                    <a:pt x="972" y="192"/>
                  </a:cubicBezTo>
                  <a:cubicBezTo>
                    <a:pt x="972" y="192"/>
                    <a:pt x="972" y="192"/>
                    <a:pt x="972" y="191"/>
                  </a:cubicBezTo>
                  <a:cubicBezTo>
                    <a:pt x="972" y="191"/>
                    <a:pt x="972" y="191"/>
                    <a:pt x="971" y="191"/>
                  </a:cubicBezTo>
                  <a:moveTo>
                    <a:pt x="961" y="227"/>
                  </a:moveTo>
                  <a:cubicBezTo>
                    <a:pt x="960" y="234"/>
                    <a:pt x="958" y="241"/>
                    <a:pt x="957" y="248"/>
                  </a:cubicBezTo>
                  <a:cubicBezTo>
                    <a:pt x="957" y="249"/>
                    <a:pt x="957" y="249"/>
                    <a:pt x="956" y="249"/>
                  </a:cubicBezTo>
                  <a:cubicBezTo>
                    <a:pt x="955" y="255"/>
                    <a:pt x="954" y="261"/>
                    <a:pt x="953" y="267"/>
                  </a:cubicBezTo>
                  <a:cubicBezTo>
                    <a:pt x="953" y="267"/>
                    <a:pt x="954" y="267"/>
                    <a:pt x="954" y="267"/>
                  </a:cubicBezTo>
                  <a:cubicBezTo>
                    <a:pt x="955" y="261"/>
                    <a:pt x="956" y="256"/>
                    <a:pt x="957" y="250"/>
                  </a:cubicBezTo>
                  <a:cubicBezTo>
                    <a:pt x="957" y="250"/>
                    <a:pt x="957" y="249"/>
                    <a:pt x="958" y="249"/>
                  </a:cubicBezTo>
                  <a:cubicBezTo>
                    <a:pt x="959" y="242"/>
                    <a:pt x="961" y="234"/>
                    <a:pt x="962" y="227"/>
                  </a:cubicBezTo>
                  <a:cubicBezTo>
                    <a:pt x="962" y="227"/>
                    <a:pt x="962" y="227"/>
                    <a:pt x="961" y="227"/>
                  </a:cubicBezTo>
                  <a:moveTo>
                    <a:pt x="953" y="268"/>
                  </a:moveTo>
                  <a:cubicBezTo>
                    <a:pt x="952" y="273"/>
                    <a:pt x="951" y="277"/>
                    <a:pt x="951" y="282"/>
                  </a:cubicBezTo>
                  <a:cubicBezTo>
                    <a:pt x="950" y="283"/>
                    <a:pt x="950" y="283"/>
                    <a:pt x="950" y="284"/>
                  </a:cubicBezTo>
                  <a:cubicBezTo>
                    <a:pt x="949" y="293"/>
                    <a:pt x="948" y="302"/>
                    <a:pt x="947" y="310"/>
                  </a:cubicBezTo>
                  <a:cubicBezTo>
                    <a:pt x="946" y="311"/>
                    <a:pt x="946" y="312"/>
                    <a:pt x="946" y="312"/>
                  </a:cubicBezTo>
                  <a:cubicBezTo>
                    <a:pt x="945" y="321"/>
                    <a:pt x="944" y="329"/>
                    <a:pt x="943" y="336"/>
                  </a:cubicBezTo>
                  <a:cubicBezTo>
                    <a:pt x="943" y="337"/>
                    <a:pt x="943" y="338"/>
                    <a:pt x="943" y="339"/>
                  </a:cubicBezTo>
                  <a:cubicBezTo>
                    <a:pt x="942" y="352"/>
                    <a:pt x="941" y="364"/>
                    <a:pt x="939" y="374"/>
                  </a:cubicBezTo>
                  <a:cubicBezTo>
                    <a:pt x="939" y="376"/>
                    <a:pt x="939" y="377"/>
                    <a:pt x="939" y="379"/>
                  </a:cubicBezTo>
                  <a:cubicBezTo>
                    <a:pt x="939" y="379"/>
                    <a:pt x="939" y="380"/>
                    <a:pt x="938" y="380"/>
                  </a:cubicBezTo>
                  <a:cubicBezTo>
                    <a:pt x="937" y="387"/>
                    <a:pt x="935" y="394"/>
                    <a:pt x="932" y="399"/>
                  </a:cubicBezTo>
                  <a:cubicBezTo>
                    <a:pt x="932" y="399"/>
                    <a:pt x="932" y="400"/>
                    <a:pt x="932" y="400"/>
                  </a:cubicBezTo>
                  <a:cubicBezTo>
                    <a:pt x="928" y="408"/>
                    <a:pt x="922" y="414"/>
                    <a:pt x="916" y="417"/>
                  </a:cubicBezTo>
                  <a:cubicBezTo>
                    <a:pt x="914" y="419"/>
                    <a:pt x="911" y="420"/>
                    <a:pt x="909" y="421"/>
                  </a:cubicBezTo>
                  <a:cubicBezTo>
                    <a:pt x="906" y="422"/>
                    <a:pt x="903" y="422"/>
                    <a:pt x="901" y="422"/>
                  </a:cubicBezTo>
                  <a:cubicBezTo>
                    <a:pt x="900" y="422"/>
                    <a:pt x="900" y="422"/>
                    <a:pt x="900" y="422"/>
                  </a:cubicBezTo>
                  <a:cubicBezTo>
                    <a:pt x="894" y="422"/>
                    <a:pt x="887" y="420"/>
                    <a:pt x="881" y="415"/>
                  </a:cubicBezTo>
                  <a:cubicBezTo>
                    <a:pt x="881" y="416"/>
                    <a:pt x="881" y="416"/>
                    <a:pt x="881" y="416"/>
                  </a:cubicBezTo>
                  <a:cubicBezTo>
                    <a:pt x="887" y="421"/>
                    <a:pt x="894" y="423"/>
                    <a:pt x="901" y="423"/>
                  </a:cubicBezTo>
                  <a:cubicBezTo>
                    <a:pt x="902" y="423"/>
                    <a:pt x="903" y="423"/>
                    <a:pt x="904" y="423"/>
                  </a:cubicBezTo>
                  <a:cubicBezTo>
                    <a:pt x="906" y="422"/>
                    <a:pt x="908" y="422"/>
                    <a:pt x="909" y="422"/>
                  </a:cubicBezTo>
                  <a:cubicBezTo>
                    <a:pt x="912" y="421"/>
                    <a:pt x="914" y="420"/>
                    <a:pt x="917" y="418"/>
                  </a:cubicBezTo>
                  <a:cubicBezTo>
                    <a:pt x="918" y="417"/>
                    <a:pt x="920" y="416"/>
                    <a:pt x="921" y="415"/>
                  </a:cubicBezTo>
                  <a:cubicBezTo>
                    <a:pt x="926" y="411"/>
                    <a:pt x="929" y="407"/>
                    <a:pt x="933" y="401"/>
                  </a:cubicBezTo>
                  <a:cubicBezTo>
                    <a:pt x="933" y="400"/>
                    <a:pt x="933" y="400"/>
                    <a:pt x="933" y="400"/>
                  </a:cubicBezTo>
                  <a:cubicBezTo>
                    <a:pt x="936" y="394"/>
                    <a:pt x="938" y="387"/>
                    <a:pt x="940" y="379"/>
                  </a:cubicBezTo>
                  <a:cubicBezTo>
                    <a:pt x="940" y="379"/>
                    <a:pt x="940" y="378"/>
                    <a:pt x="940" y="378"/>
                  </a:cubicBezTo>
                  <a:cubicBezTo>
                    <a:pt x="940" y="377"/>
                    <a:pt x="940" y="375"/>
                    <a:pt x="940" y="374"/>
                  </a:cubicBezTo>
                  <a:cubicBezTo>
                    <a:pt x="941" y="365"/>
                    <a:pt x="943" y="354"/>
                    <a:pt x="944" y="342"/>
                  </a:cubicBezTo>
                  <a:cubicBezTo>
                    <a:pt x="944" y="341"/>
                    <a:pt x="944" y="340"/>
                    <a:pt x="944" y="339"/>
                  </a:cubicBezTo>
                  <a:cubicBezTo>
                    <a:pt x="945" y="330"/>
                    <a:pt x="946" y="321"/>
                    <a:pt x="947" y="311"/>
                  </a:cubicBezTo>
                  <a:cubicBezTo>
                    <a:pt x="948" y="310"/>
                    <a:pt x="948" y="310"/>
                    <a:pt x="948" y="309"/>
                  </a:cubicBezTo>
                  <a:cubicBezTo>
                    <a:pt x="949" y="301"/>
                    <a:pt x="950" y="293"/>
                    <a:pt x="951" y="285"/>
                  </a:cubicBezTo>
                  <a:cubicBezTo>
                    <a:pt x="951" y="285"/>
                    <a:pt x="951" y="284"/>
                    <a:pt x="951" y="284"/>
                  </a:cubicBezTo>
                  <a:cubicBezTo>
                    <a:pt x="952" y="279"/>
                    <a:pt x="953" y="273"/>
                    <a:pt x="954" y="268"/>
                  </a:cubicBezTo>
                  <a:cubicBezTo>
                    <a:pt x="954" y="268"/>
                    <a:pt x="953" y="268"/>
                    <a:pt x="953" y="268"/>
                  </a:cubicBezTo>
                  <a:moveTo>
                    <a:pt x="807" y="340"/>
                  </a:moveTo>
                  <a:cubicBezTo>
                    <a:pt x="806" y="340"/>
                    <a:pt x="806" y="340"/>
                    <a:pt x="806" y="340"/>
                  </a:cubicBezTo>
                  <a:cubicBezTo>
                    <a:pt x="805" y="340"/>
                    <a:pt x="803" y="340"/>
                    <a:pt x="801" y="340"/>
                  </a:cubicBezTo>
                  <a:cubicBezTo>
                    <a:pt x="801" y="340"/>
                    <a:pt x="800" y="340"/>
                    <a:pt x="800" y="340"/>
                  </a:cubicBezTo>
                  <a:cubicBezTo>
                    <a:pt x="800" y="340"/>
                    <a:pt x="799" y="340"/>
                    <a:pt x="799" y="340"/>
                  </a:cubicBezTo>
                  <a:cubicBezTo>
                    <a:pt x="799" y="340"/>
                    <a:pt x="799" y="340"/>
                    <a:pt x="798" y="340"/>
                  </a:cubicBezTo>
                  <a:cubicBezTo>
                    <a:pt x="798" y="340"/>
                    <a:pt x="798" y="340"/>
                    <a:pt x="798" y="340"/>
                  </a:cubicBezTo>
                  <a:cubicBezTo>
                    <a:pt x="797" y="340"/>
                    <a:pt x="797" y="340"/>
                    <a:pt x="797" y="340"/>
                  </a:cubicBezTo>
                  <a:cubicBezTo>
                    <a:pt x="796" y="340"/>
                    <a:pt x="796" y="340"/>
                    <a:pt x="796" y="340"/>
                  </a:cubicBezTo>
                  <a:cubicBezTo>
                    <a:pt x="795" y="340"/>
                    <a:pt x="793" y="340"/>
                    <a:pt x="792" y="341"/>
                  </a:cubicBezTo>
                  <a:cubicBezTo>
                    <a:pt x="792" y="341"/>
                    <a:pt x="791" y="341"/>
                    <a:pt x="790" y="341"/>
                  </a:cubicBezTo>
                  <a:cubicBezTo>
                    <a:pt x="790" y="341"/>
                    <a:pt x="790" y="341"/>
                    <a:pt x="790" y="341"/>
                  </a:cubicBezTo>
                  <a:cubicBezTo>
                    <a:pt x="789" y="341"/>
                    <a:pt x="789" y="341"/>
                    <a:pt x="789" y="341"/>
                  </a:cubicBezTo>
                  <a:cubicBezTo>
                    <a:pt x="787" y="341"/>
                    <a:pt x="786" y="342"/>
                    <a:pt x="785" y="342"/>
                  </a:cubicBezTo>
                  <a:cubicBezTo>
                    <a:pt x="785" y="342"/>
                    <a:pt x="785" y="342"/>
                    <a:pt x="785" y="342"/>
                  </a:cubicBezTo>
                  <a:cubicBezTo>
                    <a:pt x="784" y="342"/>
                    <a:pt x="783" y="342"/>
                    <a:pt x="782" y="342"/>
                  </a:cubicBezTo>
                  <a:cubicBezTo>
                    <a:pt x="782" y="343"/>
                    <a:pt x="781" y="343"/>
                    <a:pt x="781" y="343"/>
                  </a:cubicBezTo>
                  <a:cubicBezTo>
                    <a:pt x="780" y="343"/>
                    <a:pt x="780" y="343"/>
                    <a:pt x="780" y="343"/>
                  </a:cubicBezTo>
                  <a:cubicBezTo>
                    <a:pt x="779" y="343"/>
                    <a:pt x="779" y="343"/>
                    <a:pt x="778" y="343"/>
                  </a:cubicBezTo>
                  <a:cubicBezTo>
                    <a:pt x="775" y="344"/>
                    <a:pt x="772" y="345"/>
                    <a:pt x="769" y="346"/>
                  </a:cubicBezTo>
                  <a:cubicBezTo>
                    <a:pt x="769" y="346"/>
                    <a:pt x="769" y="347"/>
                    <a:pt x="769" y="347"/>
                  </a:cubicBezTo>
                  <a:cubicBezTo>
                    <a:pt x="772" y="346"/>
                    <a:pt x="775" y="345"/>
                    <a:pt x="778" y="344"/>
                  </a:cubicBezTo>
                  <a:cubicBezTo>
                    <a:pt x="779" y="344"/>
                    <a:pt x="779" y="344"/>
                    <a:pt x="779" y="344"/>
                  </a:cubicBezTo>
                  <a:cubicBezTo>
                    <a:pt x="780" y="344"/>
                    <a:pt x="780" y="344"/>
                    <a:pt x="780" y="344"/>
                  </a:cubicBezTo>
                  <a:cubicBezTo>
                    <a:pt x="781" y="344"/>
                    <a:pt x="782" y="344"/>
                    <a:pt x="783" y="343"/>
                  </a:cubicBezTo>
                  <a:cubicBezTo>
                    <a:pt x="783" y="343"/>
                    <a:pt x="783" y="343"/>
                    <a:pt x="783" y="343"/>
                  </a:cubicBezTo>
                  <a:cubicBezTo>
                    <a:pt x="785" y="343"/>
                    <a:pt x="787" y="343"/>
                    <a:pt x="788" y="342"/>
                  </a:cubicBezTo>
                  <a:cubicBezTo>
                    <a:pt x="789" y="342"/>
                    <a:pt x="789" y="342"/>
                    <a:pt x="789" y="342"/>
                  </a:cubicBezTo>
                  <a:cubicBezTo>
                    <a:pt x="790" y="342"/>
                    <a:pt x="790" y="342"/>
                    <a:pt x="791" y="342"/>
                  </a:cubicBezTo>
                  <a:cubicBezTo>
                    <a:pt x="792" y="342"/>
                    <a:pt x="793" y="341"/>
                    <a:pt x="795" y="341"/>
                  </a:cubicBezTo>
                  <a:cubicBezTo>
                    <a:pt x="795" y="341"/>
                    <a:pt x="796" y="341"/>
                    <a:pt x="796" y="341"/>
                  </a:cubicBezTo>
                  <a:cubicBezTo>
                    <a:pt x="796" y="341"/>
                    <a:pt x="797" y="341"/>
                    <a:pt x="797" y="341"/>
                  </a:cubicBezTo>
                  <a:cubicBezTo>
                    <a:pt x="797" y="341"/>
                    <a:pt x="797" y="341"/>
                    <a:pt x="798" y="341"/>
                  </a:cubicBezTo>
                  <a:cubicBezTo>
                    <a:pt x="798" y="341"/>
                    <a:pt x="798" y="341"/>
                    <a:pt x="798" y="341"/>
                  </a:cubicBezTo>
                  <a:cubicBezTo>
                    <a:pt x="798" y="341"/>
                    <a:pt x="799" y="341"/>
                    <a:pt x="799" y="341"/>
                  </a:cubicBezTo>
                  <a:cubicBezTo>
                    <a:pt x="799" y="341"/>
                    <a:pt x="799" y="341"/>
                    <a:pt x="799" y="341"/>
                  </a:cubicBezTo>
                  <a:cubicBezTo>
                    <a:pt x="800" y="341"/>
                    <a:pt x="800" y="341"/>
                    <a:pt x="800" y="341"/>
                  </a:cubicBezTo>
                  <a:cubicBezTo>
                    <a:pt x="800" y="341"/>
                    <a:pt x="800" y="341"/>
                    <a:pt x="800" y="341"/>
                  </a:cubicBezTo>
                  <a:cubicBezTo>
                    <a:pt x="802" y="341"/>
                    <a:pt x="804" y="341"/>
                    <a:pt x="806" y="341"/>
                  </a:cubicBezTo>
                  <a:cubicBezTo>
                    <a:pt x="807" y="341"/>
                    <a:pt x="808" y="341"/>
                    <a:pt x="809" y="341"/>
                  </a:cubicBezTo>
                  <a:cubicBezTo>
                    <a:pt x="809" y="341"/>
                    <a:pt x="810" y="341"/>
                    <a:pt x="810" y="341"/>
                  </a:cubicBezTo>
                  <a:cubicBezTo>
                    <a:pt x="811" y="341"/>
                    <a:pt x="811" y="341"/>
                    <a:pt x="812" y="341"/>
                  </a:cubicBezTo>
                  <a:cubicBezTo>
                    <a:pt x="812" y="341"/>
                    <a:pt x="812" y="341"/>
                    <a:pt x="813" y="341"/>
                  </a:cubicBezTo>
                  <a:cubicBezTo>
                    <a:pt x="814" y="341"/>
                    <a:pt x="816" y="341"/>
                    <a:pt x="817" y="341"/>
                  </a:cubicBezTo>
                  <a:cubicBezTo>
                    <a:pt x="818" y="341"/>
                    <a:pt x="818" y="341"/>
                    <a:pt x="818" y="341"/>
                  </a:cubicBezTo>
                  <a:cubicBezTo>
                    <a:pt x="822" y="342"/>
                    <a:pt x="825" y="343"/>
                    <a:pt x="828" y="344"/>
                  </a:cubicBezTo>
                  <a:cubicBezTo>
                    <a:pt x="828" y="344"/>
                    <a:pt x="828" y="343"/>
                    <a:pt x="828" y="343"/>
                  </a:cubicBezTo>
                  <a:cubicBezTo>
                    <a:pt x="825" y="342"/>
                    <a:pt x="822" y="341"/>
                    <a:pt x="819" y="341"/>
                  </a:cubicBezTo>
                  <a:cubicBezTo>
                    <a:pt x="818" y="340"/>
                    <a:pt x="818" y="340"/>
                    <a:pt x="818" y="340"/>
                  </a:cubicBezTo>
                  <a:cubicBezTo>
                    <a:pt x="816" y="340"/>
                    <a:pt x="815" y="340"/>
                    <a:pt x="814" y="340"/>
                  </a:cubicBezTo>
                  <a:cubicBezTo>
                    <a:pt x="813" y="340"/>
                    <a:pt x="813" y="340"/>
                    <a:pt x="812" y="340"/>
                  </a:cubicBezTo>
                  <a:cubicBezTo>
                    <a:pt x="812" y="340"/>
                    <a:pt x="811" y="340"/>
                    <a:pt x="811" y="340"/>
                  </a:cubicBezTo>
                  <a:cubicBezTo>
                    <a:pt x="810" y="340"/>
                    <a:pt x="810" y="340"/>
                    <a:pt x="810" y="340"/>
                  </a:cubicBezTo>
                  <a:cubicBezTo>
                    <a:pt x="809" y="340"/>
                    <a:pt x="808" y="340"/>
                    <a:pt x="807" y="340"/>
                  </a:cubicBezTo>
                  <a:moveTo>
                    <a:pt x="829" y="343"/>
                  </a:moveTo>
                  <a:cubicBezTo>
                    <a:pt x="829" y="344"/>
                    <a:pt x="829" y="344"/>
                    <a:pt x="829" y="345"/>
                  </a:cubicBezTo>
                  <a:cubicBezTo>
                    <a:pt x="831" y="345"/>
                    <a:pt x="833" y="346"/>
                    <a:pt x="834" y="347"/>
                  </a:cubicBezTo>
                  <a:cubicBezTo>
                    <a:pt x="834" y="347"/>
                    <a:pt x="835" y="347"/>
                    <a:pt x="835" y="348"/>
                  </a:cubicBezTo>
                  <a:cubicBezTo>
                    <a:pt x="842" y="352"/>
                    <a:pt x="847" y="359"/>
                    <a:pt x="850" y="369"/>
                  </a:cubicBezTo>
                  <a:cubicBezTo>
                    <a:pt x="850" y="370"/>
                    <a:pt x="850" y="370"/>
                    <a:pt x="850" y="371"/>
                  </a:cubicBezTo>
                  <a:cubicBezTo>
                    <a:pt x="850" y="371"/>
                    <a:pt x="850" y="372"/>
                    <a:pt x="850" y="372"/>
                  </a:cubicBezTo>
                  <a:cubicBezTo>
                    <a:pt x="850" y="373"/>
                    <a:pt x="850" y="374"/>
                    <a:pt x="851" y="374"/>
                  </a:cubicBezTo>
                  <a:cubicBezTo>
                    <a:pt x="851" y="374"/>
                    <a:pt x="851" y="375"/>
                    <a:pt x="851" y="375"/>
                  </a:cubicBezTo>
                  <a:cubicBezTo>
                    <a:pt x="851" y="376"/>
                    <a:pt x="851" y="377"/>
                    <a:pt x="852" y="378"/>
                  </a:cubicBezTo>
                  <a:cubicBezTo>
                    <a:pt x="852" y="378"/>
                    <a:pt x="852" y="379"/>
                    <a:pt x="852" y="379"/>
                  </a:cubicBezTo>
                  <a:cubicBezTo>
                    <a:pt x="852" y="379"/>
                    <a:pt x="852" y="379"/>
                    <a:pt x="852" y="379"/>
                  </a:cubicBezTo>
                  <a:cubicBezTo>
                    <a:pt x="854" y="382"/>
                    <a:pt x="855" y="385"/>
                    <a:pt x="856" y="387"/>
                  </a:cubicBezTo>
                  <a:cubicBezTo>
                    <a:pt x="856" y="387"/>
                    <a:pt x="856" y="388"/>
                    <a:pt x="857" y="388"/>
                  </a:cubicBezTo>
                  <a:cubicBezTo>
                    <a:pt x="858" y="390"/>
                    <a:pt x="858" y="391"/>
                    <a:pt x="859" y="393"/>
                  </a:cubicBezTo>
                  <a:cubicBezTo>
                    <a:pt x="860" y="393"/>
                    <a:pt x="860" y="393"/>
                    <a:pt x="860" y="394"/>
                  </a:cubicBezTo>
                  <a:cubicBezTo>
                    <a:pt x="860" y="394"/>
                    <a:pt x="861" y="395"/>
                    <a:pt x="861" y="395"/>
                  </a:cubicBezTo>
                  <a:cubicBezTo>
                    <a:pt x="861" y="396"/>
                    <a:pt x="861" y="396"/>
                    <a:pt x="862" y="396"/>
                  </a:cubicBezTo>
                  <a:cubicBezTo>
                    <a:pt x="867" y="404"/>
                    <a:pt x="873" y="411"/>
                    <a:pt x="878" y="415"/>
                  </a:cubicBezTo>
                  <a:cubicBezTo>
                    <a:pt x="879" y="415"/>
                    <a:pt x="879" y="415"/>
                    <a:pt x="879" y="416"/>
                  </a:cubicBezTo>
                  <a:cubicBezTo>
                    <a:pt x="879" y="416"/>
                    <a:pt x="880" y="416"/>
                    <a:pt x="880" y="416"/>
                  </a:cubicBezTo>
                  <a:cubicBezTo>
                    <a:pt x="880" y="416"/>
                    <a:pt x="880" y="416"/>
                    <a:pt x="880" y="416"/>
                  </a:cubicBezTo>
                  <a:cubicBezTo>
                    <a:pt x="880" y="416"/>
                    <a:pt x="880" y="415"/>
                    <a:pt x="880" y="415"/>
                  </a:cubicBezTo>
                  <a:cubicBezTo>
                    <a:pt x="880" y="415"/>
                    <a:pt x="880" y="415"/>
                    <a:pt x="879" y="414"/>
                  </a:cubicBezTo>
                  <a:cubicBezTo>
                    <a:pt x="874" y="410"/>
                    <a:pt x="868" y="404"/>
                    <a:pt x="862" y="396"/>
                  </a:cubicBezTo>
                  <a:cubicBezTo>
                    <a:pt x="862" y="395"/>
                    <a:pt x="862" y="395"/>
                    <a:pt x="862" y="395"/>
                  </a:cubicBezTo>
                  <a:cubicBezTo>
                    <a:pt x="861" y="394"/>
                    <a:pt x="861" y="394"/>
                    <a:pt x="861" y="393"/>
                  </a:cubicBezTo>
                  <a:cubicBezTo>
                    <a:pt x="861" y="393"/>
                    <a:pt x="860" y="392"/>
                    <a:pt x="860" y="392"/>
                  </a:cubicBezTo>
                  <a:cubicBezTo>
                    <a:pt x="859" y="390"/>
                    <a:pt x="858" y="389"/>
                    <a:pt x="857" y="387"/>
                  </a:cubicBezTo>
                  <a:cubicBezTo>
                    <a:pt x="857" y="387"/>
                    <a:pt x="857" y="387"/>
                    <a:pt x="857" y="386"/>
                  </a:cubicBezTo>
                  <a:cubicBezTo>
                    <a:pt x="856" y="384"/>
                    <a:pt x="855" y="381"/>
                    <a:pt x="853" y="379"/>
                  </a:cubicBezTo>
                  <a:cubicBezTo>
                    <a:pt x="853" y="379"/>
                    <a:pt x="853" y="378"/>
                    <a:pt x="853" y="378"/>
                  </a:cubicBezTo>
                  <a:cubicBezTo>
                    <a:pt x="853" y="378"/>
                    <a:pt x="853" y="377"/>
                    <a:pt x="853" y="377"/>
                  </a:cubicBezTo>
                  <a:cubicBezTo>
                    <a:pt x="852" y="376"/>
                    <a:pt x="852" y="375"/>
                    <a:pt x="852" y="374"/>
                  </a:cubicBezTo>
                  <a:cubicBezTo>
                    <a:pt x="852" y="374"/>
                    <a:pt x="851" y="374"/>
                    <a:pt x="851" y="373"/>
                  </a:cubicBezTo>
                  <a:cubicBezTo>
                    <a:pt x="851" y="373"/>
                    <a:pt x="851" y="372"/>
                    <a:pt x="851" y="372"/>
                  </a:cubicBezTo>
                  <a:cubicBezTo>
                    <a:pt x="851" y="371"/>
                    <a:pt x="851" y="370"/>
                    <a:pt x="851" y="369"/>
                  </a:cubicBezTo>
                  <a:cubicBezTo>
                    <a:pt x="851" y="369"/>
                    <a:pt x="851" y="369"/>
                    <a:pt x="850" y="368"/>
                  </a:cubicBezTo>
                  <a:cubicBezTo>
                    <a:pt x="848" y="359"/>
                    <a:pt x="843" y="352"/>
                    <a:pt x="836" y="347"/>
                  </a:cubicBezTo>
                  <a:cubicBezTo>
                    <a:pt x="835" y="347"/>
                    <a:pt x="835" y="347"/>
                    <a:pt x="835" y="346"/>
                  </a:cubicBezTo>
                  <a:cubicBezTo>
                    <a:pt x="833" y="345"/>
                    <a:pt x="831" y="344"/>
                    <a:pt x="829" y="343"/>
                  </a:cubicBezTo>
                  <a:moveTo>
                    <a:pt x="768" y="346"/>
                  </a:moveTo>
                  <a:cubicBezTo>
                    <a:pt x="767" y="347"/>
                    <a:pt x="766" y="347"/>
                    <a:pt x="765" y="347"/>
                  </a:cubicBezTo>
                  <a:cubicBezTo>
                    <a:pt x="765" y="347"/>
                    <a:pt x="765" y="348"/>
                    <a:pt x="765" y="348"/>
                  </a:cubicBezTo>
                  <a:cubicBezTo>
                    <a:pt x="764" y="348"/>
                    <a:pt x="764" y="348"/>
                    <a:pt x="764" y="348"/>
                  </a:cubicBezTo>
                  <a:cubicBezTo>
                    <a:pt x="763" y="348"/>
                    <a:pt x="762" y="349"/>
                    <a:pt x="761" y="349"/>
                  </a:cubicBezTo>
                  <a:cubicBezTo>
                    <a:pt x="757" y="351"/>
                    <a:pt x="752" y="353"/>
                    <a:pt x="747" y="355"/>
                  </a:cubicBezTo>
                  <a:cubicBezTo>
                    <a:pt x="747" y="355"/>
                    <a:pt x="747" y="355"/>
                    <a:pt x="746" y="355"/>
                  </a:cubicBezTo>
                  <a:cubicBezTo>
                    <a:pt x="740" y="358"/>
                    <a:pt x="734" y="362"/>
                    <a:pt x="728" y="366"/>
                  </a:cubicBezTo>
                  <a:cubicBezTo>
                    <a:pt x="728" y="366"/>
                    <a:pt x="728" y="366"/>
                    <a:pt x="728" y="366"/>
                  </a:cubicBezTo>
                  <a:cubicBezTo>
                    <a:pt x="727" y="367"/>
                    <a:pt x="726" y="367"/>
                    <a:pt x="725" y="368"/>
                  </a:cubicBezTo>
                  <a:cubicBezTo>
                    <a:pt x="726" y="368"/>
                    <a:pt x="727" y="367"/>
                    <a:pt x="728" y="367"/>
                  </a:cubicBezTo>
                  <a:cubicBezTo>
                    <a:pt x="728" y="367"/>
                    <a:pt x="728" y="367"/>
                    <a:pt x="728" y="367"/>
                  </a:cubicBezTo>
                  <a:cubicBezTo>
                    <a:pt x="728" y="367"/>
                    <a:pt x="729" y="367"/>
                    <a:pt x="729" y="366"/>
                  </a:cubicBezTo>
                  <a:cubicBezTo>
                    <a:pt x="735" y="363"/>
                    <a:pt x="741" y="359"/>
                    <a:pt x="747" y="356"/>
                  </a:cubicBezTo>
                  <a:cubicBezTo>
                    <a:pt x="747" y="356"/>
                    <a:pt x="748" y="356"/>
                    <a:pt x="748" y="356"/>
                  </a:cubicBezTo>
                  <a:cubicBezTo>
                    <a:pt x="751" y="354"/>
                    <a:pt x="755" y="352"/>
                    <a:pt x="759" y="351"/>
                  </a:cubicBezTo>
                  <a:cubicBezTo>
                    <a:pt x="760" y="351"/>
                    <a:pt x="761" y="350"/>
                    <a:pt x="762" y="350"/>
                  </a:cubicBezTo>
                  <a:cubicBezTo>
                    <a:pt x="763" y="349"/>
                    <a:pt x="764" y="349"/>
                    <a:pt x="765" y="349"/>
                  </a:cubicBezTo>
                  <a:cubicBezTo>
                    <a:pt x="765" y="349"/>
                    <a:pt x="765" y="348"/>
                    <a:pt x="766" y="348"/>
                  </a:cubicBezTo>
                  <a:cubicBezTo>
                    <a:pt x="767" y="348"/>
                    <a:pt x="767" y="348"/>
                    <a:pt x="768" y="347"/>
                  </a:cubicBezTo>
                  <a:cubicBezTo>
                    <a:pt x="768" y="347"/>
                    <a:pt x="768" y="347"/>
                    <a:pt x="768" y="346"/>
                  </a:cubicBezTo>
                  <a:moveTo>
                    <a:pt x="726" y="369"/>
                  </a:moveTo>
                  <a:cubicBezTo>
                    <a:pt x="725" y="369"/>
                    <a:pt x="724" y="369"/>
                    <a:pt x="723" y="369"/>
                  </a:cubicBezTo>
                  <a:cubicBezTo>
                    <a:pt x="718" y="373"/>
                    <a:pt x="714" y="376"/>
                    <a:pt x="710" y="380"/>
                  </a:cubicBezTo>
                  <a:cubicBezTo>
                    <a:pt x="710" y="380"/>
                    <a:pt x="710" y="381"/>
                    <a:pt x="710" y="381"/>
                  </a:cubicBezTo>
                  <a:cubicBezTo>
                    <a:pt x="715" y="377"/>
                    <a:pt x="720" y="373"/>
                    <a:pt x="726" y="369"/>
                  </a:cubicBezTo>
                  <a:moveTo>
                    <a:pt x="709" y="381"/>
                  </a:moveTo>
                  <a:cubicBezTo>
                    <a:pt x="706" y="383"/>
                    <a:pt x="703" y="386"/>
                    <a:pt x="700" y="389"/>
                  </a:cubicBezTo>
                  <a:cubicBezTo>
                    <a:pt x="700" y="389"/>
                    <a:pt x="700" y="389"/>
                    <a:pt x="700" y="389"/>
                  </a:cubicBezTo>
                  <a:cubicBezTo>
                    <a:pt x="701" y="389"/>
                    <a:pt x="701" y="389"/>
                    <a:pt x="702" y="389"/>
                  </a:cubicBezTo>
                  <a:cubicBezTo>
                    <a:pt x="704" y="387"/>
                    <a:pt x="706" y="384"/>
                    <a:pt x="709" y="382"/>
                  </a:cubicBezTo>
                  <a:cubicBezTo>
                    <a:pt x="709" y="382"/>
                    <a:pt x="709" y="381"/>
                    <a:pt x="709" y="381"/>
                  </a:cubicBezTo>
                  <a:moveTo>
                    <a:pt x="699" y="390"/>
                  </a:moveTo>
                  <a:cubicBezTo>
                    <a:pt x="698" y="392"/>
                    <a:pt x="696" y="394"/>
                    <a:pt x="695" y="395"/>
                  </a:cubicBezTo>
                  <a:cubicBezTo>
                    <a:pt x="695" y="396"/>
                    <a:pt x="694" y="396"/>
                    <a:pt x="694" y="397"/>
                  </a:cubicBezTo>
                  <a:cubicBezTo>
                    <a:pt x="694" y="397"/>
                    <a:pt x="694" y="397"/>
                    <a:pt x="693" y="397"/>
                  </a:cubicBezTo>
                  <a:cubicBezTo>
                    <a:pt x="688" y="404"/>
                    <a:pt x="682" y="411"/>
                    <a:pt x="675" y="418"/>
                  </a:cubicBezTo>
                  <a:cubicBezTo>
                    <a:pt x="675" y="418"/>
                    <a:pt x="675" y="418"/>
                    <a:pt x="676" y="419"/>
                  </a:cubicBezTo>
                  <a:cubicBezTo>
                    <a:pt x="683" y="411"/>
                    <a:pt x="690" y="404"/>
                    <a:pt x="695" y="397"/>
                  </a:cubicBezTo>
                  <a:cubicBezTo>
                    <a:pt x="695" y="397"/>
                    <a:pt x="695" y="396"/>
                    <a:pt x="696" y="396"/>
                  </a:cubicBezTo>
                  <a:cubicBezTo>
                    <a:pt x="696" y="395"/>
                    <a:pt x="697" y="394"/>
                    <a:pt x="698" y="394"/>
                  </a:cubicBezTo>
                  <a:cubicBezTo>
                    <a:pt x="699" y="393"/>
                    <a:pt x="700" y="391"/>
                    <a:pt x="701" y="390"/>
                  </a:cubicBezTo>
                  <a:cubicBezTo>
                    <a:pt x="701" y="390"/>
                    <a:pt x="701" y="390"/>
                    <a:pt x="701" y="390"/>
                  </a:cubicBezTo>
                  <a:cubicBezTo>
                    <a:pt x="700" y="390"/>
                    <a:pt x="700" y="390"/>
                    <a:pt x="699" y="390"/>
                  </a:cubicBezTo>
                  <a:moveTo>
                    <a:pt x="674" y="419"/>
                  </a:moveTo>
                  <a:cubicBezTo>
                    <a:pt x="674" y="419"/>
                    <a:pt x="674" y="419"/>
                    <a:pt x="673" y="419"/>
                  </a:cubicBezTo>
                  <a:cubicBezTo>
                    <a:pt x="673" y="420"/>
                    <a:pt x="673" y="420"/>
                    <a:pt x="672" y="421"/>
                  </a:cubicBezTo>
                  <a:cubicBezTo>
                    <a:pt x="671" y="422"/>
                    <a:pt x="670" y="423"/>
                    <a:pt x="669" y="423"/>
                  </a:cubicBezTo>
                  <a:cubicBezTo>
                    <a:pt x="666" y="427"/>
                    <a:pt x="662" y="430"/>
                    <a:pt x="658" y="433"/>
                  </a:cubicBezTo>
                  <a:cubicBezTo>
                    <a:pt x="658" y="433"/>
                    <a:pt x="659" y="433"/>
                    <a:pt x="659" y="434"/>
                  </a:cubicBezTo>
                  <a:cubicBezTo>
                    <a:pt x="663" y="430"/>
                    <a:pt x="667" y="427"/>
                    <a:pt x="671" y="423"/>
                  </a:cubicBezTo>
                  <a:cubicBezTo>
                    <a:pt x="671" y="423"/>
                    <a:pt x="672" y="422"/>
                    <a:pt x="673" y="422"/>
                  </a:cubicBezTo>
                  <a:cubicBezTo>
                    <a:pt x="673" y="421"/>
                    <a:pt x="674" y="420"/>
                    <a:pt x="675" y="419"/>
                  </a:cubicBezTo>
                  <a:cubicBezTo>
                    <a:pt x="675" y="419"/>
                    <a:pt x="674" y="419"/>
                    <a:pt x="674" y="419"/>
                  </a:cubicBezTo>
                  <a:moveTo>
                    <a:pt x="657" y="433"/>
                  </a:moveTo>
                  <a:cubicBezTo>
                    <a:pt x="655" y="435"/>
                    <a:pt x="652" y="438"/>
                    <a:pt x="650" y="440"/>
                  </a:cubicBezTo>
                  <a:cubicBezTo>
                    <a:pt x="647" y="442"/>
                    <a:pt x="644" y="444"/>
                    <a:pt x="641" y="446"/>
                  </a:cubicBezTo>
                  <a:cubicBezTo>
                    <a:pt x="641" y="446"/>
                    <a:pt x="641" y="447"/>
                    <a:pt x="640" y="447"/>
                  </a:cubicBezTo>
                  <a:cubicBezTo>
                    <a:pt x="639" y="448"/>
                    <a:pt x="637" y="449"/>
                    <a:pt x="636" y="450"/>
                  </a:cubicBezTo>
                  <a:cubicBezTo>
                    <a:pt x="636" y="450"/>
                    <a:pt x="635" y="450"/>
                    <a:pt x="635" y="451"/>
                  </a:cubicBezTo>
                  <a:cubicBezTo>
                    <a:pt x="635" y="451"/>
                    <a:pt x="636" y="451"/>
                    <a:pt x="636" y="451"/>
                  </a:cubicBezTo>
                  <a:cubicBezTo>
                    <a:pt x="638" y="450"/>
                    <a:pt x="639" y="449"/>
                    <a:pt x="641" y="448"/>
                  </a:cubicBezTo>
                  <a:cubicBezTo>
                    <a:pt x="642" y="447"/>
                    <a:pt x="644" y="446"/>
                    <a:pt x="645" y="444"/>
                  </a:cubicBezTo>
                  <a:cubicBezTo>
                    <a:pt x="647" y="443"/>
                    <a:pt x="649" y="442"/>
                    <a:pt x="650" y="440"/>
                  </a:cubicBezTo>
                  <a:cubicBezTo>
                    <a:pt x="653" y="439"/>
                    <a:pt x="655" y="437"/>
                    <a:pt x="657" y="435"/>
                  </a:cubicBezTo>
                  <a:cubicBezTo>
                    <a:pt x="657" y="435"/>
                    <a:pt x="657" y="435"/>
                    <a:pt x="658" y="434"/>
                  </a:cubicBezTo>
                  <a:cubicBezTo>
                    <a:pt x="658" y="434"/>
                    <a:pt x="658" y="434"/>
                    <a:pt x="657" y="433"/>
                  </a:cubicBezTo>
                  <a:moveTo>
                    <a:pt x="634" y="451"/>
                  </a:moveTo>
                  <a:cubicBezTo>
                    <a:pt x="626" y="457"/>
                    <a:pt x="617" y="463"/>
                    <a:pt x="608" y="469"/>
                  </a:cubicBezTo>
                  <a:cubicBezTo>
                    <a:pt x="608" y="469"/>
                    <a:pt x="609" y="469"/>
                    <a:pt x="609" y="470"/>
                  </a:cubicBezTo>
                  <a:cubicBezTo>
                    <a:pt x="609" y="470"/>
                    <a:pt x="609" y="469"/>
                    <a:pt x="610" y="469"/>
                  </a:cubicBezTo>
                  <a:cubicBezTo>
                    <a:pt x="619" y="463"/>
                    <a:pt x="627" y="458"/>
                    <a:pt x="635" y="452"/>
                  </a:cubicBezTo>
                  <a:cubicBezTo>
                    <a:pt x="635" y="452"/>
                    <a:pt x="635" y="451"/>
                    <a:pt x="634" y="451"/>
                  </a:cubicBezTo>
                  <a:moveTo>
                    <a:pt x="607" y="469"/>
                  </a:moveTo>
                  <a:cubicBezTo>
                    <a:pt x="606" y="470"/>
                    <a:pt x="605" y="471"/>
                    <a:pt x="604" y="472"/>
                  </a:cubicBezTo>
                  <a:cubicBezTo>
                    <a:pt x="602" y="473"/>
                    <a:pt x="600" y="474"/>
                    <a:pt x="599" y="475"/>
                  </a:cubicBezTo>
                  <a:cubicBezTo>
                    <a:pt x="597" y="476"/>
                    <a:pt x="595" y="477"/>
                    <a:pt x="593" y="478"/>
                  </a:cubicBezTo>
                  <a:cubicBezTo>
                    <a:pt x="592" y="479"/>
                    <a:pt x="591" y="479"/>
                    <a:pt x="590" y="480"/>
                  </a:cubicBezTo>
                  <a:cubicBezTo>
                    <a:pt x="591" y="480"/>
                    <a:pt x="591" y="480"/>
                    <a:pt x="591" y="481"/>
                  </a:cubicBezTo>
                  <a:cubicBezTo>
                    <a:pt x="592" y="480"/>
                    <a:pt x="593" y="480"/>
                    <a:pt x="594" y="479"/>
                  </a:cubicBezTo>
                  <a:cubicBezTo>
                    <a:pt x="597" y="477"/>
                    <a:pt x="601" y="475"/>
                    <a:pt x="605" y="472"/>
                  </a:cubicBezTo>
                  <a:cubicBezTo>
                    <a:pt x="606" y="472"/>
                    <a:pt x="607" y="471"/>
                    <a:pt x="608" y="470"/>
                  </a:cubicBezTo>
                  <a:cubicBezTo>
                    <a:pt x="608" y="470"/>
                    <a:pt x="608" y="470"/>
                    <a:pt x="607" y="469"/>
                  </a:cubicBezTo>
                  <a:moveTo>
                    <a:pt x="589" y="481"/>
                  </a:moveTo>
                  <a:cubicBezTo>
                    <a:pt x="582" y="485"/>
                    <a:pt x="575" y="489"/>
                    <a:pt x="567" y="494"/>
                  </a:cubicBezTo>
                  <a:cubicBezTo>
                    <a:pt x="565" y="495"/>
                    <a:pt x="563" y="495"/>
                    <a:pt x="562" y="496"/>
                  </a:cubicBezTo>
                  <a:cubicBezTo>
                    <a:pt x="560" y="497"/>
                    <a:pt x="559" y="498"/>
                    <a:pt x="558" y="498"/>
                  </a:cubicBezTo>
                  <a:cubicBezTo>
                    <a:pt x="558" y="499"/>
                    <a:pt x="558" y="499"/>
                    <a:pt x="559" y="499"/>
                  </a:cubicBezTo>
                  <a:cubicBezTo>
                    <a:pt x="562" y="498"/>
                    <a:pt x="565" y="496"/>
                    <a:pt x="567" y="494"/>
                  </a:cubicBezTo>
                  <a:cubicBezTo>
                    <a:pt x="569" y="493"/>
                    <a:pt x="571" y="492"/>
                    <a:pt x="573" y="491"/>
                  </a:cubicBezTo>
                  <a:cubicBezTo>
                    <a:pt x="578" y="489"/>
                    <a:pt x="582" y="486"/>
                    <a:pt x="587" y="483"/>
                  </a:cubicBezTo>
                  <a:cubicBezTo>
                    <a:pt x="588" y="483"/>
                    <a:pt x="589" y="482"/>
                    <a:pt x="590" y="481"/>
                  </a:cubicBezTo>
                  <a:cubicBezTo>
                    <a:pt x="590" y="481"/>
                    <a:pt x="590" y="481"/>
                    <a:pt x="589" y="481"/>
                  </a:cubicBezTo>
                  <a:moveTo>
                    <a:pt x="557" y="499"/>
                  </a:moveTo>
                  <a:cubicBezTo>
                    <a:pt x="554" y="501"/>
                    <a:pt x="550" y="503"/>
                    <a:pt x="546" y="505"/>
                  </a:cubicBezTo>
                  <a:cubicBezTo>
                    <a:pt x="547" y="505"/>
                    <a:pt x="547" y="505"/>
                    <a:pt x="547" y="505"/>
                  </a:cubicBezTo>
                  <a:cubicBezTo>
                    <a:pt x="551" y="503"/>
                    <a:pt x="554" y="502"/>
                    <a:pt x="558" y="500"/>
                  </a:cubicBezTo>
                  <a:cubicBezTo>
                    <a:pt x="557" y="499"/>
                    <a:pt x="557" y="499"/>
                    <a:pt x="557" y="499"/>
                  </a:cubicBezTo>
                  <a:moveTo>
                    <a:pt x="545" y="505"/>
                  </a:moveTo>
                  <a:cubicBezTo>
                    <a:pt x="540" y="508"/>
                    <a:pt x="535" y="510"/>
                    <a:pt x="530" y="513"/>
                  </a:cubicBezTo>
                  <a:cubicBezTo>
                    <a:pt x="528" y="514"/>
                    <a:pt x="527" y="515"/>
                    <a:pt x="525" y="515"/>
                  </a:cubicBezTo>
                  <a:cubicBezTo>
                    <a:pt x="519" y="518"/>
                    <a:pt x="513" y="521"/>
                    <a:pt x="508" y="524"/>
                  </a:cubicBezTo>
                  <a:cubicBezTo>
                    <a:pt x="508" y="524"/>
                    <a:pt x="508" y="524"/>
                    <a:pt x="508" y="524"/>
                  </a:cubicBezTo>
                  <a:cubicBezTo>
                    <a:pt x="516" y="521"/>
                    <a:pt x="523" y="517"/>
                    <a:pt x="531" y="514"/>
                  </a:cubicBezTo>
                  <a:cubicBezTo>
                    <a:pt x="532" y="513"/>
                    <a:pt x="534" y="512"/>
                    <a:pt x="536" y="511"/>
                  </a:cubicBezTo>
                  <a:cubicBezTo>
                    <a:pt x="539" y="509"/>
                    <a:pt x="543" y="508"/>
                    <a:pt x="546" y="506"/>
                  </a:cubicBezTo>
                  <a:cubicBezTo>
                    <a:pt x="546" y="506"/>
                    <a:pt x="546" y="505"/>
                    <a:pt x="545" y="505"/>
                  </a:cubicBezTo>
                  <a:moveTo>
                    <a:pt x="507" y="524"/>
                  </a:moveTo>
                  <a:cubicBezTo>
                    <a:pt x="504" y="525"/>
                    <a:pt x="502" y="526"/>
                    <a:pt x="499" y="528"/>
                  </a:cubicBezTo>
                  <a:cubicBezTo>
                    <a:pt x="499" y="528"/>
                    <a:pt x="500" y="528"/>
                    <a:pt x="500" y="528"/>
                  </a:cubicBezTo>
                  <a:cubicBezTo>
                    <a:pt x="503" y="527"/>
                    <a:pt x="505" y="526"/>
                    <a:pt x="507" y="525"/>
                  </a:cubicBezTo>
                  <a:cubicBezTo>
                    <a:pt x="507" y="525"/>
                    <a:pt x="507" y="524"/>
                    <a:pt x="507" y="524"/>
                  </a:cubicBezTo>
                  <a:moveTo>
                    <a:pt x="498" y="528"/>
                  </a:moveTo>
                  <a:cubicBezTo>
                    <a:pt x="496" y="529"/>
                    <a:pt x="495" y="529"/>
                    <a:pt x="493" y="530"/>
                  </a:cubicBezTo>
                  <a:cubicBezTo>
                    <a:pt x="491" y="531"/>
                    <a:pt x="490" y="532"/>
                    <a:pt x="488" y="532"/>
                  </a:cubicBezTo>
                  <a:cubicBezTo>
                    <a:pt x="486" y="533"/>
                    <a:pt x="484" y="534"/>
                    <a:pt x="482" y="535"/>
                  </a:cubicBezTo>
                  <a:cubicBezTo>
                    <a:pt x="481" y="535"/>
                    <a:pt x="480" y="536"/>
                    <a:pt x="478" y="537"/>
                  </a:cubicBezTo>
                  <a:cubicBezTo>
                    <a:pt x="472" y="539"/>
                    <a:pt x="466" y="542"/>
                    <a:pt x="460" y="544"/>
                  </a:cubicBezTo>
                  <a:cubicBezTo>
                    <a:pt x="459" y="544"/>
                    <a:pt x="458" y="545"/>
                    <a:pt x="457" y="545"/>
                  </a:cubicBezTo>
                  <a:cubicBezTo>
                    <a:pt x="456" y="546"/>
                    <a:pt x="455" y="546"/>
                    <a:pt x="454" y="546"/>
                  </a:cubicBezTo>
                  <a:cubicBezTo>
                    <a:pt x="452" y="547"/>
                    <a:pt x="450" y="548"/>
                    <a:pt x="448" y="549"/>
                  </a:cubicBezTo>
                  <a:cubicBezTo>
                    <a:pt x="448" y="549"/>
                    <a:pt x="449" y="549"/>
                    <a:pt x="449" y="549"/>
                  </a:cubicBezTo>
                  <a:cubicBezTo>
                    <a:pt x="451" y="549"/>
                    <a:pt x="453" y="548"/>
                    <a:pt x="454" y="547"/>
                  </a:cubicBezTo>
                  <a:cubicBezTo>
                    <a:pt x="456" y="547"/>
                    <a:pt x="458" y="546"/>
                    <a:pt x="460" y="545"/>
                  </a:cubicBezTo>
                  <a:cubicBezTo>
                    <a:pt x="460" y="545"/>
                    <a:pt x="460" y="545"/>
                    <a:pt x="461" y="545"/>
                  </a:cubicBezTo>
                  <a:cubicBezTo>
                    <a:pt x="462" y="544"/>
                    <a:pt x="463" y="544"/>
                    <a:pt x="464" y="543"/>
                  </a:cubicBezTo>
                  <a:cubicBezTo>
                    <a:pt x="470" y="541"/>
                    <a:pt x="477" y="538"/>
                    <a:pt x="483" y="536"/>
                  </a:cubicBezTo>
                  <a:cubicBezTo>
                    <a:pt x="484" y="535"/>
                    <a:pt x="485" y="535"/>
                    <a:pt x="487" y="534"/>
                  </a:cubicBezTo>
                  <a:cubicBezTo>
                    <a:pt x="489" y="533"/>
                    <a:pt x="491" y="532"/>
                    <a:pt x="493" y="531"/>
                  </a:cubicBezTo>
                  <a:cubicBezTo>
                    <a:pt x="495" y="530"/>
                    <a:pt x="497" y="530"/>
                    <a:pt x="499" y="529"/>
                  </a:cubicBezTo>
                  <a:cubicBezTo>
                    <a:pt x="499" y="529"/>
                    <a:pt x="499" y="529"/>
                    <a:pt x="499" y="529"/>
                  </a:cubicBezTo>
                  <a:cubicBezTo>
                    <a:pt x="499" y="528"/>
                    <a:pt x="498" y="528"/>
                    <a:pt x="498" y="528"/>
                  </a:cubicBezTo>
                  <a:moveTo>
                    <a:pt x="446" y="549"/>
                  </a:moveTo>
                  <a:cubicBezTo>
                    <a:pt x="445" y="550"/>
                    <a:pt x="443" y="551"/>
                    <a:pt x="441" y="551"/>
                  </a:cubicBezTo>
                  <a:cubicBezTo>
                    <a:pt x="440" y="552"/>
                    <a:pt x="439" y="552"/>
                    <a:pt x="438" y="552"/>
                  </a:cubicBezTo>
                  <a:cubicBezTo>
                    <a:pt x="436" y="553"/>
                    <a:pt x="434" y="554"/>
                    <a:pt x="433" y="554"/>
                  </a:cubicBezTo>
                  <a:cubicBezTo>
                    <a:pt x="432" y="554"/>
                    <a:pt x="431" y="555"/>
                    <a:pt x="431" y="555"/>
                  </a:cubicBezTo>
                  <a:cubicBezTo>
                    <a:pt x="420" y="559"/>
                    <a:pt x="408" y="562"/>
                    <a:pt x="397" y="566"/>
                  </a:cubicBezTo>
                  <a:cubicBezTo>
                    <a:pt x="397" y="566"/>
                    <a:pt x="397" y="566"/>
                    <a:pt x="396" y="566"/>
                  </a:cubicBezTo>
                  <a:cubicBezTo>
                    <a:pt x="394" y="567"/>
                    <a:pt x="392" y="567"/>
                    <a:pt x="390" y="568"/>
                  </a:cubicBezTo>
                  <a:cubicBezTo>
                    <a:pt x="389" y="568"/>
                    <a:pt x="389" y="568"/>
                    <a:pt x="388" y="568"/>
                  </a:cubicBezTo>
                  <a:cubicBezTo>
                    <a:pt x="387" y="569"/>
                    <a:pt x="385" y="569"/>
                    <a:pt x="384" y="570"/>
                  </a:cubicBezTo>
                  <a:cubicBezTo>
                    <a:pt x="368" y="574"/>
                    <a:pt x="350" y="579"/>
                    <a:pt x="332" y="585"/>
                  </a:cubicBezTo>
                  <a:cubicBezTo>
                    <a:pt x="332" y="585"/>
                    <a:pt x="331" y="585"/>
                    <a:pt x="331" y="585"/>
                  </a:cubicBezTo>
                  <a:cubicBezTo>
                    <a:pt x="315" y="590"/>
                    <a:pt x="299" y="595"/>
                    <a:pt x="283" y="601"/>
                  </a:cubicBezTo>
                  <a:cubicBezTo>
                    <a:pt x="283" y="601"/>
                    <a:pt x="282" y="601"/>
                    <a:pt x="282" y="601"/>
                  </a:cubicBezTo>
                  <a:cubicBezTo>
                    <a:pt x="279" y="602"/>
                    <a:pt x="276" y="603"/>
                    <a:pt x="273" y="604"/>
                  </a:cubicBezTo>
                  <a:cubicBezTo>
                    <a:pt x="272" y="604"/>
                    <a:pt x="271" y="605"/>
                    <a:pt x="270" y="605"/>
                  </a:cubicBezTo>
                  <a:cubicBezTo>
                    <a:pt x="266" y="607"/>
                    <a:pt x="261" y="608"/>
                    <a:pt x="256" y="610"/>
                  </a:cubicBezTo>
                  <a:cubicBezTo>
                    <a:pt x="256" y="610"/>
                    <a:pt x="255" y="610"/>
                    <a:pt x="255" y="610"/>
                  </a:cubicBezTo>
                  <a:cubicBezTo>
                    <a:pt x="253" y="611"/>
                    <a:pt x="252" y="612"/>
                    <a:pt x="250" y="612"/>
                  </a:cubicBezTo>
                  <a:cubicBezTo>
                    <a:pt x="249" y="612"/>
                    <a:pt x="249" y="613"/>
                    <a:pt x="249" y="613"/>
                  </a:cubicBezTo>
                  <a:cubicBezTo>
                    <a:pt x="245" y="614"/>
                    <a:pt x="242" y="615"/>
                    <a:pt x="238" y="616"/>
                  </a:cubicBezTo>
                  <a:cubicBezTo>
                    <a:pt x="238" y="616"/>
                    <a:pt x="238" y="617"/>
                    <a:pt x="237" y="617"/>
                  </a:cubicBezTo>
                  <a:cubicBezTo>
                    <a:pt x="235" y="618"/>
                    <a:pt x="233" y="618"/>
                    <a:pt x="231" y="619"/>
                  </a:cubicBezTo>
                  <a:cubicBezTo>
                    <a:pt x="230" y="619"/>
                    <a:pt x="230" y="619"/>
                    <a:pt x="229" y="620"/>
                  </a:cubicBezTo>
                  <a:cubicBezTo>
                    <a:pt x="226" y="621"/>
                    <a:pt x="222" y="622"/>
                    <a:pt x="219" y="624"/>
                  </a:cubicBezTo>
                  <a:cubicBezTo>
                    <a:pt x="218" y="624"/>
                    <a:pt x="218" y="624"/>
                    <a:pt x="217" y="624"/>
                  </a:cubicBezTo>
                  <a:cubicBezTo>
                    <a:pt x="214" y="625"/>
                    <a:pt x="212" y="626"/>
                    <a:pt x="209" y="627"/>
                  </a:cubicBezTo>
                  <a:cubicBezTo>
                    <a:pt x="208" y="628"/>
                    <a:pt x="207" y="628"/>
                    <a:pt x="206" y="628"/>
                  </a:cubicBezTo>
                  <a:cubicBezTo>
                    <a:pt x="204" y="629"/>
                    <a:pt x="203" y="630"/>
                    <a:pt x="201" y="630"/>
                  </a:cubicBezTo>
                  <a:cubicBezTo>
                    <a:pt x="201" y="630"/>
                    <a:pt x="200" y="631"/>
                    <a:pt x="200" y="631"/>
                  </a:cubicBezTo>
                  <a:cubicBezTo>
                    <a:pt x="199" y="631"/>
                    <a:pt x="199" y="631"/>
                    <a:pt x="198" y="632"/>
                  </a:cubicBezTo>
                  <a:cubicBezTo>
                    <a:pt x="197" y="632"/>
                    <a:pt x="197" y="632"/>
                    <a:pt x="196" y="632"/>
                  </a:cubicBezTo>
                  <a:cubicBezTo>
                    <a:pt x="195" y="633"/>
                    <a:pt x="195" y="633"/>
                    <a:pt x="194" y="633"/>
                  </a:cubicBezTo>
                  <a:cubicBezTo>
                    <a:pt x="194" y="633"/>
                    <a:pt x="193" y="633"/>
                    <a:pt x="193" y="634"/>
                  </a:cubicBezTo>
                  <a:cubicBezTo>
                    <a:pt x="191" y="634"/>
                    <a:pt x="190" y="635"/>
                    <a:pt x="188" y="635"/>
                  </a:cubicBezTo>
                  <a:cubicBezTo>
                    <a:pt x="188" y="636"/>
                    <a:pt x="187" y="636"/>
                    <a:pt x="187" y="636"/>
                  </a:cubicBezTo>
                  <a:cubicBezTo>
                    <a:pt x="187" y="636"/>
                    <a:pt x="187" y="636"/>
                    <a:pt x="186" y="636"/>
                  </a:cubicBezTo>
                  <a:cubicBezTo>
                    <a:pt x="186" y="636"/>
                    <a:pt x="185" y="637"/>
                    <a:pt x="184" y="637"/>
                  </a:cubicBezTo>
                  <a:cubicBezTo>
                    <a:pt x="184" y="637"/>
                    <a:pt x="183" y="637"/>
                    <a:pt x="183" y="638"/>
                  </a:cubicBezTo>
                  <a:cubicBezTo>
                    <a:pt x="182" y="638"/>
                    <a:pt x="182" y="638"/>
                    <a:pt x="182" y="638"/>
                  </a:cubicBezTo>
                  <a:cubicBezTo>
                    <a:pt x="181" y="638"/>
                    <a:pt x="181" y="638"/>
                    <a:pt x="181" y="638"/>
                  </a:cubicBezTo>
                  <a:cubicBezTo>
                    <a:pt x="180" y="639"/>
                    <a:pt x="179" y="639"/>
                    <a:pt x="178" y="639"/>
                  </a:cubicBezTo>
                  <a:cubicBezTo>
                    <a:pt x="178" y="640"/>
                    <a:pt x="177" y="640"/>
                    <a:pt x="176" y="640"/>
                  </a:cubicBezTo>
                  <a:cubicBezTo>
                    <a:pt x="175" y="641"/>
                    <a:pt x="175" y="641"/>
                    <a:pt x="175" y="641"/>
                  </a:cubicBezTo>
                  <a:cubicBezTo>
                    <a:pt x="175" y="641"/>
                    <a:pt x="175" y="641"/>
                    <a:pt x="175" y="641"/>
                  </a:cubicBezTo>
                  <a:cubicBezTo>
                    <a:pt x="174" y="641"/>
                    <a:pt x="174" y="641"/>
                    <a:pt x="173" y="641"/>
                  </a:cubicBezTo>
                  <a:cubicBezTo>
                    <a:pt x="173" y="641"/>
                    <a:pt x="173" y="641"/>
                    <a:pt x="173" y="641"/>
                  </a:cubicBezTo>
                  <a:cubicBezTo>
                    <a:pt x="173" y="642"/>
                    <a:pt x="172" y="642"/>
                    <a:pt x="172" y="642"/>
                  </a:cubicBezTo>
                  <a:cubicBezTo>
                    <a:pt x="172" y="642"/>
                    <a:pt x="171" y="642"/>
                    <a:pt x="171" y="643"/>
                  </a:cubicBezTo>
                  <a:cubicBezTo>
                    <a:pt x="170" y="643"/>
                    <a:pt x="170" y="643"/>
                    <a:pt x="170" y="643"/>
                  </a:cubicBezTo>
                  <a:cubicBezTo>
                    <a:pt x="169" y="643"/>
                    <a:pt x="169" y="643"/>
                    <a:pt x="169" y="643"/>
                  </a:cubicBezTo>
                  <a:cubicBezTo>
                    <a:pt x="166" y="645"/>
                    <a:pt x="163" y="646"/>
                    <a:pt x="160" y="647"/>
                  </a:cubicBezTo>
                  <a:cubicBezTo>
                    <a:pt x="159" y="647"/>
                    <a:pt x="159" y="647"/>
                    <a:pt x="158" y="648"/>
                  </a:cubicBezTo>
                  <a:cubicBezTo>
                    <a:pt x="158" y="648"/>
                    <a:pt x="158" y="648"/>
                    <a:pt x="158" y="648"/>
                  </a:cubicBezTo>
                  <a:cubicBezTo>
                    <a:pt x="157" y="648"/>
                    <a:pt x="156" y="649"/>
                    <a:pt x="155" y="649"/>
                  </a:cubicBezTo>
                  <a:cubicBezTo>
                    <a:pt x="154" y="649"/>
                    <a:pt x="154" y="650"/>
                    <a:pt x="153" y="650"/>
                  </a:cubicBezTo>
                  <a:cubicBezTo>
                    <a:pt x="152" y="651"/>
                    <a:pt x="151" y="651"/>
                    <a:pt x="149" y="652"/>
                  </a:cubicBezTo>
                  <a:cubicBezTo>
                    <a:pt x="149" y="652"/>
                    <a:pt x="149" y="652"/>
                    <a:pt x="148" y="652"/>
                  </a:cubicBezTo>
                  <a:cubicBezTo>
                    <a:pt x="146" y="653"/>
                    <a:pt x="145" y="654"/>
                    <a:pt x="143" y="654"/>
                  </a:cubicBezTo>
                  <a:cubicBezTo>
                    <a:pt x="142" y="655"/>
                    <a:pt x="142" y="655"/>
                    <a:pt x="141" y="655"/>
                  </a:cubicBezTo>
                  <a:cubicBezTo>
                    <a:pt x="138" y="657"/>
                    <a:pt x="134" y="659"/>
                    <a:pt x="130" y="660"/>
                  </a:cubicBezTo>
                  <a:cubicBezTo>
                    <a:pt x="129" y="661"/>
                    <a:pt x="128" y="661"/>
                    <a:pt x="127" y="662"/>
                  </a:cubicBezTo>
                  <a:cubicBezTo>
                    <a:pt x="124" y="663"/>
                    <a:pt x="121" y="664"/>
                    <a:pt x="118" y="666"/>
                  </a:cubicBezTo>
                  <a:cubicBezTo>
                    <a:pt x="118" y="666"/>
                    <a:pt x="117" y="666"/>
                    <a:pt x="117" y="667"/>
                  </a:cubicBezTo>
                  <a:cubicBezTo>
                    <a:pt x="113" y="668"/>
                    <a:pt x="110" y="670"/>
                    <a:pt x="107" y="671"/>
                  </a:cubicBezTo>
                  <a:cubicBezTo>
                    <a:pt x="106" y="672"/>
                    <a:pt x="106" y="672"/>
                    <a:pt x="106" y="672"/>
                  </a:cubicBezTo>
                  <a:cubicBezTo>
                    <a:pt x="103" y="673"/>
                    <a:pt x="101" y="674"/>
                    <a:pt x="99" y="675"/>
                  </a:cubicBezTo>
                  <a:cubicBezTo>
                    <a:pt x="99" y="676"/>
                    <a:pt x="98" y="676"/>
                    <a:pt x="98" y="676"/>
                  </a:cubicBezTo>
                  <a:cubicBezTo>
                    <a:pt x="98" y="676"/>
                    <a:pt x="98" y="676"/>
                    <a:pt x="98" y="676"/>
                  </a:cubicBezTo>
                  <a:cubicBezTo>
                    <a:pt x="97" y="676"/>
                    <a:pt x="97" y="676"/>
                    <a:pt x="97" y="676"/>
                  </a:cubicBezTo>
                  <a:cubicBezTo>
                    <a:pt x="97" y="676"/>
                    <a:pt x="97" y="676"/>
                    <a:pt x="97" y="676"/>
                  </a:cubicBezTo>
                  <a:cubicBezTo>
                    <a:pt x="96" y="677"/>
                    <a:pt x="96" y="677"/>
                    <a:pt x="95" y="677"/>
                  </a:cubicBezTo>
                  <a:cubicBezTo>
                    <a:pt x="93" y="679"/>
                    <a:pt x="91" y="680"/>
                    <a:pt x="88" y="681"/>
                  </a:cubicBezTo>
                  <a:cubicBezTo>
                    <a:pt x="88" y="681"/>
                    <a:pt x="87" y="682"/>
                    <a:pt x="87" y="682"/>
                  </a:cubicBezTo>
                  <a:cubicBezTo>
                    <a:pt x="86" y="682"/>
                    <a:pt x="85" y="683"/>
                    <a:pt x="85" y="683"/>
                  </a:cubicBezTo>
                  <a:cubicBezTo>
                    <a:pt x="84" y="683"/>
                    <a:pt x="84" y="683"/>
                    <a:pt x="84" y="684"/>
                  </a:cubicBezTo>
                  <a:cubicBezTo>
                    <a:pt x="78" y="687"/>
                    <a:pt x="73" y="690"/>
                    <a:pt x="67" y="693"/>
                  </a:cubicBezTo>
                  <a:cubicBezTo>
                    <a:pt x="67" y="693"/>
                    <a:pt x="67" y="693"/>
                    <a:pt x="66" y="694"/>
                  </a:cubicBezTo>
                  <a:cubicBezTo>
                    <a:pt x="64" y="695"/>
                    <a:pt x="62" y="696"/>
                    <a:pt x="61" y="697"/>
                  </a:cubicBezTo>
                  <a:cubicBezTo>
                    <a:pt x="60" y="697"/>
                    <a:pt x="60" y="698"/>
                    <a:pt x="59" y="698"/>
                  </a:cubicBezTo>
                  <a:cubicBezTo>
                    <a:pt x="57" y="699"/>
                    <a:pt x="56" y="700"/>
                    <a:pt x="54" y="701"/>
                  </a:cubicBezTo>
                  <a:cubicBezTo>
                    <a:pt x="54" y="702"/>
                    <a:pt x="53" y="702"/>
                    <a:pt x="53" y="702"/>
                  </a:cubicBezTo>
                  <a:cubicBezTo>
                    <a:pt x="51" y="703"/>
                    <a:pt x="50" y="704"/>
                    <a:pt x="48" y="705"/>
                  </a:cubicBezTo>
                  <a:cubicBezTo>
                    <a:pt x="47" y="706"/>
                    <a:pt x="47" y="706"/>
                    <a:pt x="46" y="706"/>
                  </a:cubicBezTo>
                  <a:cubicBezTo>
                    <a:pt x="46" y="707"/>
                    <a:pt x="45" y="708"/>
                    <a:pt x="44" y="708"/>
                  </a:cubicBezTo>
                  <a:cubicBezTo>
                    <a:pt x="44" y="708"/>
                    <a:pt x="44" y="708"/>
                    <a:pt x="43" y="709"/>
                  </a:cubicBezTo>
                  <a:cubicBezTo>
                    <a:pt x="41" y="710"/>
                    <a:pt x="40" y="711"/>
                    <a:pt x="38" y="713"/>
                  </a:cubicBezTo>
                  <a:cubicBezTo>
                    <a:pt x="38" y="713"/>
                    <a:pt x="37" y="713"/>
                    <a:pt x="37" y="713"/>
                  </a:cubicBezTo>
                  <a:cubicBezTo>
                    <a:pt x="37" y="713"/>
                    <a:pt x="37" y="713"/>
                    <a:pt x="37" y="714"/>
                  </a:cubicBezTo>
                  <a:cubicBezTo>
                    <a:pt x="36" y="714"/>
                    <a:pt x="36" y="714"/>
                    <a:pt x="36" y="714"/>
                  </a:cubicBezTo>
                  <a:cubicBezTo>
                    <a:pt x="36" y="714"/>
                    <a:pt x="36" y="714"/>
                    <a:pt x="36" y="715"/>
                  </a:cubicBezTo>
                  <a:cubicBezTo>
                    <a:pt x="29" y="720"/>
                    <a:pt x="22" y="725"/>
                    <a:pt x="17" y="731"/>
                  </a:cubicBezTo>
                  <a:cubicBezTo>
                    <a:pt x="17" y="731"/>
                    <a:pt x="17" y="731"/>
                    <a:pt x="17" y="732"/>
                  </a:cubicBezTo>
                  <a:cubicBezTo>
                    <a:pt x="6" y="743"/>
                    <a:pt x="0" y="755"/>
                    <a:pt x="0" y="766"/>
                  </a:cubicBezTo>
                  <a:cubicBezTo>
                    <a:pt x="0" y="786"/>
                    <a:pt x="18" y="804"/>
                    <a:pt x="61" y="819"/>
                  </a:cubicBezTo>
                  <a:cubicBezTo>
                    <a:pt x="62" y="820"/>
                    <a:pt x="62" y="820"/>
                    <a:pt x="63" y="820"/>
                  </a:cubicBezTo>
                  <a:cubicBezTo>
                    <a:pt x="66" y="821"/>
                    <a:pt x="70" y="822"/>
                    <a:pt x="74" y="824"/>
                  </a:cubicBezTo>
                  <a:cubicBezTo>
                    <a:pt x="74" y="824"/>
                    <a:pt x="75" y="824"/>
                    <a:pt x="75" y="824"/>
                  </a:cubicBezTo>
                  <a:cubicBezTo>
                    <a:pt x="81" y="826"/>
                    <a:pt x="87" y="827"/>
                    <a:pt x="93" y="829"/>
                  </a:cubicBezTo>
                  <a:cubicBezTo>
                    <a:pt x="93" y="829"/>
                    <a:pt x="94" y="829"/>
                    <a:pt x="94" y="829"/>
                  </a:cubicBezTo>
                  <a:cubicBezTo>
                    <a:pt x="102" y="832"/>
                    <a:pt x="111" y="834"/>
                    <a:pt x="121" y="836"/>
                  </a:cubicBezTo>
                  <a:cubicBezTo>
                    <a:pt x="121" y="836"/>
                    <a:pt x="121" y="836"/>
                    <a:pt x="122" y="836"/>
                  </a:cubicBezTo>
                  <a:cubicBezTo>
                    <a:pt x="128" y="837"/>
                    <a:pt x="135" y="839"/>
                    <a:pt x="142" y="840"/>
                  </a:cubicBezTo>
                  <a:cubicBezTo>
                    <a:pt x="143" y="840"/>
                    <a:pt x="143" y="840"/>
                    <a:pt x="144" y="839"/>
                  </a:cubicBezTo>
                  <a:cubicBezTo>
                    <a:pt x="136" y="838"/>
                    <a:pt x="129" y="837"/>
                    <a:pt x="122" y="835"/>
                  </a:cubicBezTo>
                  <a:cubicBezTo>
                    <a:pt x="122" y="835"/>
                    <a:pt x="122" y="835"/>
                    <a:pt x="121" y="835"/>
                  </a:cubicBezTo>
                  <a:cubicBezTo>
                    <a:pt x="112" y="833"/>
                    <a:pt x="103" y="831"/>
                    <a:pt x="95" y="829"/>
                  </a:cubicBezTo>
                  <a:cubicBezTo>
                    <a:pt x="95" y="829"/>
                    <a:pt x="94" y="828"/>
                    <a:pt x="94" y="828"/>
                  </a:cubicBezTo>
                  <a:cubicBezTo>
                    <a:pt x="88" y="827"/>
                    <a:pt x="82" y="825"/>
                    <a:pt x="76" y="823"/>
                  </a:cubicBezTo>
                  <a:cubicBezTo>
                    <a:pt x="76" y="823"/>
                    <a:pt x="75" y="823"/>
                    <a:pt x="75" y="823"/>
                  </a:cubicBezTo>
                  <a:cubicBezTo>
                    <a:pt x="71" y="822"/>
                    <a:pt x="67" y="820"/>
                    <a:pt x="64" y="819"/>
                  </a:cubicBezTo>
                  <a:cubicBezTo>
                    <a:pt x="63" y="819"/>
                    <a:pt x="63" y="819"/>
                    <a:pt x="62" y="819"/>
                  </a:cubicBezTo>
                  <a:cubicBezTo>
                    <a:pt x="19" y="803"/>
                    <a:pt x="1" y="785"/>
                    <a:pt x="1" y="766"/>
                  </a:cubicBezTo>
                  <a:cubicBezTo>
                    <a:pt x="1" y="755"/>
                    <a:pt x="7" y="744"/>
                    <a:pt x="18" y="732"/>
                  </a:cubicBezTo>
                  <a:cubicBezTo>
                    <a:pt x="18" y="732"/>
                    <a:pt x="18" y="731"/>
                    <a:pt x="19" y="731"/>
                  </a:cubicBezTo>
                  <a:cubicBezTo>
                    <a:pt x="24" y="726"/>
                    <a:pt x="29" y="720"/>
                    <a:pt x="36" y="715"/>
                  </a:cubicBezTo>
                  <a:cubicBezTo>
                    <a:pt x="37" y="715"/>
                    <a:pt x="37" y="715"/>
                    <a:pt x="37" y="715"/>
                  </a:cubicBezTo>
                  <a:cubicBezTo>
                    <a:pt x="37" y="714"/>
                    <a:pt x="38" y="714"/>
                    <a:pt x="38" y="714"/>
                  </a:cubicBezTo>
                  <a:cubicBezTo>
                    <a:pt x="38" y="714"/>
                    <a:pt x="38" y="714"/>
                    <a:pt x="39" y="713"/>
                  </a:cubicBezTo>
                  <a:cubicBezTo>
                    <a:pt x="40" y="712"/>
                    <a:pt x="42" y="711"/>
                    <a:pt x="44" y="709"/>
                  </a:cubicBezTo>
                  <a:cubicBezTo>
                    <a:pt x="44" y="709"/>
                    <a:pt x="45" y="709"/>
                    <a:pt x="45" y="709"/>
                  </a:cubicBezTo>
                  <a:cubicBezTo>
                    <a:pt x="45" y="709"/>
                    <a:pt x="45" y="708"/>
                    <a:pt x="46" y="708"/>
                  </a:cubicBezTo>
                  <a:cubicBezTo>
                    <a:pt x="46" y="708"/>
                    <a:pt x="47" y="708"/>
                    <a:pt x="47" y="707"/>
                  </a:cubicBezTo>
                  <a:cubicBezTo>
                    <a:pt x="49" y="706"/>
                    <a:pt x="52" y="704"/>
                    <a:pt x="54" y="703"/>
                  </a:cubicBezTo>
                  <a:cubicBezTo>
                    <a:pt x="54" y="702"/>
                    <a:pt x="55" y="702"/>
                    <a:pt x="55" y="702"/>
                  </a:cubicBezTo>
                  <a:cubicBezTo>
                    <a:pt x="57" y="701"/>
                    <a:pt x="59" y="699"/>
                    <a:pt x="61" y="698"/>
                  </a:cubicBezTo>
                  <a:cubicBezTo>
                    <a:pt x="61" y="698"/>
                    <a:pt x="62" y="698"/>
                    <a:pt x="62" y="697"/>
                  </a:cubicBezTo>
                  <a:cubicBezTo>
                    <a:pt x="64" y="696"/>
                    <a:pt x="66" y="695"/>
                    <a:pt x="67" y="694"/>
                  </a:cubicBezTo>
                  <a:cubicBezTo>
                    <a:pt x="68" y="694"/>
                    <a:pt x="68" y="694"/>
                    <a:pt x="68" y="693"/>
                  </a:cubicBezTo>
                  <a:cubicBezTo>
                    <a:pt x="74" y="690"/>
                    <a:pt x="79" y="687"/>
                    <a:pt x="85" y="684"/>
                  </a:cubicBezTo>
                  <a:cubicBezTo>
                    <a:pt x="85" y="684"/>
                    <a:pt x="86" y="684"/>
                    <a:pt x="86" y="684"/>
                  </a:cubicBezTo>
                  <a:cubicBezTo>
                    <a:pt x="87" y="683"/>
                    <a:pt x="88" y="683"/>
                    <a:pt x="89" y="682"/>
                  </a:cubicBezTo>
                  <a:cubicBezTo>
                    <a:pt x="89" y="682"/>
                    <a:pt x="90" y="681"/>
                    <a:pt x="90" y="681"/>
                  </a:cubicBezTo>
                  <a:cubicBezTo>
                    <a:pt x="92" y="680"/>
                    <a:pt x="95" y="679"/>
                    <a:pt x="97" y="678"/>
                  </a:cubicBezTo>
                  <a:cubicBezTo>
                    <a:pt x="98" y="677"/>
                    <a:pt x="98" y="677"/>
                    <a:pt x="99" y="677"/>
                  </a:cubicBezTo>
                  <a:cubicBezTo>
                    <a:pt x="99" y="677"/>
                    <a:pt x="99" y="677"/>
                    <a:pt x="99" y="677"/>
                  </a:cubicBezTo>
                  <a:cubicBezTo>
                    <a:pt x="99" y="677"/>
                    <a:pt x="99" y="676"/>
                    <a:pt x="99" y="676"/>
                  </a:cubicBezTo>
                  <a:cubicBezTo>
                    <a:pt x="99" y="676"/>
                    <a:pt x="99" y="676"/>
                    <a:pt x="99" y="676"/>
                  </a:cubicBezTo>
                  <a:cubicBezTo>
                    <a:pt x="100" y="676"/>
                    <a:pt x="100" y="676"/>
                    <a:pt x="101" y="676"/>
                  </a:cubicBezTo>
                  <a:cubicBezTo>
                    <a:pt x="101" y="676"/>
                    <a:pt x="101" y="676"/>
                    <a:pt x="101" y="676"/>
                  </a:cubicBezTo>
                  <a:cubicBezTo>
                    <a:pt x="103" y="675"/>
                    <a:pt x="105" y="674"/>
                    <a:pt x="107" y="673"/>
                  </a:cubicBezTo>
                  <a:cubicBezTo>
                    <a:pt x="107" y="672"/>
                    <a:pt x="108" y="672"/>
                    <a:pt x="108" y="672"/>
                  </a:cubicBezTo>
                  <a:cubicBezTo>
                    <a:pt x="111" y="670"/>
                    <a:pt x="115" y="669"/>
                    <a:pt x="118" y="667"/>
                  </a:cubicBezTo>
                  <a:cubicBezTo>
                    <a:pt x="119" y="667"/>
                    <a:pt x="119" y="666"/>
                    <a:pt x="120" y="666"/>
                  </a:cubicBezTo>
                  <a:cubicBezTo>
                    <a:pt x="123" y="665"/>
                    <a:pt x="127" y="663"/>
                    <a:pt x="130" y="661"/>
                  </a:cubicBezTo>
                  <a:cubicBezTo>
                    <a:pt x="131" y="661"/>
                    <a:pt x="132" y="660"/>
                    <a:pt x="133" y="660"/>
                  </a:cubicBezTo>
                  <a:cubicBezTo>
                    <a:pt x="183" y="637"/>
                    <a:pt x="241" y="616"/>
                    <a:pt x="295" y="598"/>
                  </a:cubicBezTo>
                  <a:cubicBezTo>
                    <a:pt x="308" y="594"/>
                    <a:pt x="320" y="590"/>
                    <a:pt x="332" y="586"/>
                  </a:cubicBezTo>
                  <a:cubicBezTo>
                    <a:pt x="332" y="586"/>
                    <a:pt x="333" y="586"/>
                    <a:pt x="333" y="586"/>
                  </a:cubicBezTo>
                  <a:cubicBezTo>
                    <a:pt x="353" y="580"/>
                    <a:pt x="371" y="574"/>
                    <a:pt x="389" y="569"/>
                  </a:cubicBezTo>
                  <a:cubicBezTo>
                    <a:pt x="389" y="569"/>
                    <a:pt x="389" y="569"/>
                    <a:pt x="390" y="569"/>
                  </a:cubicBezTo>
                  <a:cubicBezTo>
                    <a:pt x="392" y="568"/>
                    <a:pt x="394" y="568"/>
                    <a:pt x="396" y="567"/>
                  </a:cubicBezTo>
                  <a:cubicBezTo>
                    <a:pt x="396" y="567"/>
                    <a:pt x="397" y="567"/>
                    <a:pt x="397" y="567"/>
                  </a:cubicBezTo>
                  <a:cubicBezTo>
                    <a:pt x="398" y="567"/>
                    <a:pt x="398" y="567"/>
                    <a:pt x="398" y="567"/>
                  </a:cubicBezTo>
                  <a:cubicBezTo>
                    <a:pt x="410" y="563"/>
                    <a:pt x="421" y="559"/>
                    <a:pt x="433" y="555"/>
                  </a:cubicBezTo>
                  <a:cubicBezTo>
                    <a:pt x="434" y="555"/>
                    <a:pt x="434" y="555"/>
                    <a:pt x="435" y="554"/>
                  </a:cubicBezTo>
                  <a:cubicBezTo>
                    <a:pt x="437" y="554"/>
                    <a:pt x="439" y="553"/>
                    <a:pt x="441" y="552"/>
                  </a:cubicBezTo>
                  <a:cubicBezTo>
                    <a:pt x="442" y="552"/>
                    <a:pt x="443" y="551"/>
                    <a:pt x="444" y="551"/>
                  </a:cubicBezTo>
                  <a:cubicBezTo>
                    <a:pt x="446" y="551"/>
                    <a:pt x="447" y="550"/>
                    <a:pt x="448" y="550"/>
                  </a:cubicBezTo>
                  <a:cubicBezTo>
                    <a:pt x="447" y="550"/>
                    <a:pt x="447" y="549"/>
                    <a:pt x="446" y="549"/>
                  </a:cubicBezTo>
                  <a:moveTo>
                    <a:pt x="754" y="765"/>
                  </a:moveTo>
                  <a:cubicBezTo>
                    <a:pt x="754" y="765"/>
                    <a:pt x="754" y="765"/>
                    <a:pt x="754" y="765"/>
                  </a:cubicBezTo>
                  <a:cubicBezTo>
                    <a:pt x="752" y="765"/>
                    <a:pt x="750" y="765"/>
                    <a:pt x="748" y="766"/>
                  </a:cubicBezTo>
                  <a:cubicBezTo>
                    <a:pt x="749" y="766"/>
                    <a:pt x="749" y="766"/>
                    <a:pt x="750" y="766"/>
                  </a:cubicBezTo>
                  <a:cubicBezTo>
                    <a:pt x="751" y="766"/>
                    <a:pt x="753" y="766"/>
                    <a:pt x="754" y="766"/>
                  </a:cubicBezTo>
                  <a:cubicBezTo>
                    <a:pt x="761" y="766"/>
                    <a:pt x="768" y="767"/>
                    <a:pt x="775" y="768"/>
                  </a:cubicBezTo>
                  <a:cubicBezTo>
                    <a:pt x="774" y="767"/>
                    <a:pt x="773" y="767"/>
                    <a:pt x="772" y="766"/>
                  </a:cubicBezTo>
                  <a:cubicBezTo>
                    <a:pt x="767" y="766"/>
                    <a:pt x="761" y="765"/>
                    <a:pt x="754" y="765"/>
                  </a:cubicBezTo>
                  <a:moveTo>
                    <a:pt x="746" y="766"/>
                  </a:moveTo>
                  <a:cubicBezTo>
                    <a:pt x="744" y="766"/>
                    <a:pt x="741" y="766"/>
                    <a:pt x="739" y="766"/>
                  </a:cubicBezTo>
                  <a:cubicBezTo>
                    <a:pt x="739" y="766"/>
                    <a:pt x="740" y="767"/>
                    <a:pt x="740" y="767"/>
                  </a:cubicBezTo>
                  <a:cubicBezTo>
                    <a:pt x="743" y="767"/>
                    <a:pt x="745" y="767"/>
                    <a:pt x="748" y="767"/>
                  </a:cubicBezTo>
                  <a:cubicBezTo>
                    <a:pt x="747" y="766"/>
                    <a:pt x="747" y="766"/>
                    <a:pt x="746" y="766"/>
                  </a:cubicBezTo>
                  <a:moveTo>
                    <a:pt x="737" y="766"/>
                  </a:moveTo>
                  <a:cubicBezTo>
                    <a:pt x="734" y="766"/>
                    <a:pt x="731" y="766"/>
                    <a:pt x="728" y="767"/>
                  </a:cubicBezTo>
                  <a:cubicBezTo>
                    <a:pt x="729" y="767"/>
                    <a:pt x="729" y="767"/>
                    <a:pt x="729" y="768"/>
                  </a:cubicBezTo>
                  <a:cubicBezTo>
                    <a:pt x="732" y="767"/>
                    <a:pt x="736" y="767"/>
                    <a:pt x="739" y="767"/>
                  </a:cubicBezTo>
                  <a:cubicBezTo>
                    <a:pt x="738" y="767"/>
                    <a:pt x="738" y="766"/>
                    <a:pt x="737" y="766"/>
                  </a:cubicBezTo>
                  <a:moveTo>
                    <a:pt x="775" y="767"/>
                  </a:moveTo>
                  <a:cubicBezTo>
                    <a:pt x="776" y="767"/>
                    <a:pt x="777" y="767"/>
                    <a:pt x="778" y="768"/>
                  </a:cubicBezTo>
                  <a:cubicBezTo>
                    <a:pt x="781" y="768"/>
                    <a:pt x="784" y="769"/>
                    <a:pt x="786" y="769"/>
                  </a:cubicBezTo>
                  <a:cubicBezTo>
                    <a:pt x="784" y="768"/>
                    <a:pt x="783" y="768"/>
                    <a:pt x="781" y="767"/>
                  </a:cubicBezTo>
                  <a:cubicBezTo>
                    <a:pt x="779" y="767"/>
                    <a:pt x="777" y="767"/>
                    <a:pt x="775" y="767"/>
                  </a:cubicBezTo>
                  <a:moveTo>
                    <a:pt x="727" y="767"/>
                  </a:moveTo>
                  <a:cubicBezTo>
                    <a:pt x="724" y="767"/>
                    <a:pt x="721" y="767"/>
                    <a:pt x="718" y="768"/>
                  </a:cubicBezTo>
                  <a:cubicBezTo>
                    <a:pt x="718" y="768"/>
                    <a:pt x="719" y="768"/>
                    <a:pt x="719" y="769"/>
                  </a:cubicBezTo>
                  <a:cubicBezTo>
                    <a:pt x="722" y="768"/>
                    <a:pt x="725" y="768"/>
                    <a:pt x="728" y="768"/>
                  </a:cubicBezTo>
                  <a:cubicBezTo>
                    <a:pt x="728" y="767"/>
                    <a:pt x="727" y="767"/>
                    <a:pt x="727" y="767"/>
                  </a:cubicBezTo>
                  <a:moveTo>
                    <a:pt x="717" y="768"/>
                  </a:moveTo>
                  <a:cubicBezTo>
                    <a:pt x="715" y="768"/>
                    <a:pt x="712" y="768"/>
                    <a:pt x="710" y="769"/>
                  </a:cubicBezTo>
                  <a:cubicBezTo>
                    <a:pt x="709" y="769"/>
                    <a:pt x="708" y="769"/>
                    <a:pt x="707" y="769"/>
                  </a:cubicBezTo>
                  <a:cubicBezTo>
                    <a:pt x="706" y="769"/>
                    <a:pt x="706" y="769"/>
                    <a:pt x="706" y="769"/>
                  </a:cubicBezTo>
                  <a:cubicBezTo>
                    <a:pt x="706" y="770"/>
                    <a:pt x="706" y="770"/>
                    <a:pt x="706" y="770"/>
                  </a:cubicBezTo>
                  <a:cubicBezTo>
                    <a:pt x="706" y="770"/>
                    <a:pt x="707" y="770"/>
                    <a:pt x="707" y="770"/>
                  </a:cubicBezTo>
                  <a:cubicBezTo>
                    <a:pt x="710" y="770"/>
                    <a:pt x="714" y="769"/>
                    <a:pt x="718" y="769"/>
                  </a:cubicBezTo>
                  <a:cubicBezTo>
                    <a:pt x="717" y="768"/>
                    <a:pt x="717" y="768"/>
                    <a:pt x="717" y="768"/>
                  </a:cubicBezTo>
                  <a:moveTo>
                    <a:pt x="787" y="768"/>
                  </a:moveTo>
                  <a:cubicBezTo>
                    <a:pt x="788" y="769"/>
                    <a:pt x="790" y="769"/>
                    <a:pt x="791" y="770"/>
                  </a:cubicBezTo>
                  <a:cubicBezTo>
                    <a:pt x="794" y="771"/>
                    <a:pt x="797" y="772"/>
                    <a:pt x="800" y="772"/>
                  </a:cubicBezTo>
                  <a:cubicBezTo>
                    <a:pt x="802" y="773"/>
                    <a:pt x="804" y="774"/>
                    <a:pt x="806" y="774"/>
                  </a:cubicBezTo>
                  <a:cubicBezTo>
                    <a:pt x="810" y="776"/>
                    <a:pt x="814" y="777"/>
                    <a:pt x="817" y="779"/>
                  </a:cubicBezTo>
                  <a:cubicBezTo>
                    <a:pt x="818" y="780"/>
                    <a:pt x="819" y="781"/>
                    <a:pt x="820" y="781"/>
                  </a:cubicBezTo>
                  <a:cubicBezTo>
                    <a:pt x="825" y="784"/>
                    <a:pt x="829" y="787"/>
                    <a:pt x="833" y="791"/>
                  </a:cubicBezTo>
                  <a:cubicBezTo>
                    <a:pt x="833" y="791"/>
                    <a:pt x="834" y="791"/>
                    <a:pt x="834" y="791"/>
                  </a:cubicBezTo>
                  <a:cubicBezTo>
                    <a:pt x="841" y="799"/>
                    <a:pt x="848" y="808"/>
                    <a:pt x="852" y="820"/>
                  </a:cubicBezTo>
                  <a:cubicBezTo>
                    <a:pt x="853" y="821"/>
                    <a:pt x="853" y="823"/>
                    <a:pt x="854" y="825"/>
                  </a:cubicBezTo>
                  <a:cubicBezTo>
                    <a:pt x="855" y="829"/>
                    <a:pt x="857" y="834"/>
                    <a:pt x="858" y="840"/>
                  </a:cubicBezTo>
                  <a:cubicBezTo>
                    <a:pt x="858" y="840"/>
                    <a:pt x="858" y="840"/>
                    <a:pt x="858" y="841"/>
                  </a:cubicBezTo>
                  <a:cubicBezTo>
                    <a:pt x="858" y="842"/>
                    <a:pt x="859" y="844"/>
                    <a:pt x="859" y="846"/>
                  </a:cubicBezTo>
                  <a:cubicBezTo>
                    <a:pt x="865" y="854"/>
                    <a:pt x="872" y="862"/>
                    <a:pt x="879" y="870"/>
                  </a:cubicBezTo>
                  <a:cubicBezTo>
                    <a:pt x="880" y="871"/>
                    <a:pt x="880" y="871"/>
                    <a:pt x="880" y="871"/>
                  </a:cubicBezTo>
                  <a:cubicBezTo>
                    <a:pt x="883" y="875"/>
                    <a:pt x="886" y="879"/>
                    <a:pt x="890" y="882"/>
                  </a:cubicBezTo>
                  <a:cubicBezTo>
                    <a:pt x="891" y="883"/>
                    <a:pt x="892" y="884"/>
                    <a:pt x="893" y="885"/>
                  </a:cubicBezTo>
                  <a:cubicBezTo>
                    <a:pt x="897" y="890"/>
                    <a:pt x="902" y="895"/>
                    <a:pt x="907" y="900"/>
                  </a:cubicBezTo>
                  <a:cubicBezTo>
                    <a:pt x="907" y="901"/>
                    <a:pt x="907" y="901"/>
                    <a:pt x="908" y="902"/>
                  </a:cubicBezTo>
                  <a:cubicBezTo>
                    <a:pt x="908" y="902"/>
                    <a:pt x="908" y="902"/>
                    <a:pt x="909" y="903"/>
                  </a:cubicBezTo>
                  <a:cubicBezTo>
                    <a:pt x="909" y="903"/>
                    <a:pt x="910" y="904"/>
                    <a:pt x="910" y="904"/>
                  </a:cubicBezTo>
                  <a:cubicBezTo>
                    <a:pt x="912" y="906"/>
                    <a:pt x="913" y="907"/>
                    <a:pt x="914" y="908"/>
                  </a:cubicBezTo>
                  <a:cubicBezTo>
                    <a:pt x="915" y="909"/>
                    <a:pt x="916" y="910"/>
                    <a:pt x="917" y="911"/>
                  </a:cubicBezTo>
                  <a:cubicBezTo>
                    <a:pt x="919" y="913"/>
                    <a:pt x="920" y="914"/>
                    <a:pt x="922" y="916"/>
                  </a:cubicBezTo>
                  <a:cubicBezTo>
                    <a:pt x="922" y="917"/>
                    <a:pt x="923" y="917"/>
                    <a:pt x="923" y="918"/>
                  </a:cubicBezTo>
                  <a:cubicBezTo>
                    <a:pt x="925" y="919"/>
                    <a:pt x="926" y="920"/>
                    <a:pt x="928" y="922"/>
                  </a:cubicBezTo>
                  <a:cubicBezTo>
                    <a:pt x="928" y="923"/>
                    <a:pt x="929" y="924"/>
                    <a:pt x="930" y="924"/>
                  </a:cubicBezTo>
                  <a:cubicBezTo>
                    <a:pt x="931" y="925"/>
                    <a:pt x="931" y="926"/>
                    <a:pt x="932" y="926"/>
                  </a:cubicBezTo>
                  <a:cubicBezTo>
                    <a:pt x="932" y="926"/>
                    <a:pt x="932" y="926"/>
                    <a:pt x="932" y="926"/>
                  </a:cubicBezTo>
                  <a:cubicBezTo>
                    <a:pt x="933" y="927"/>
                    <a:pt x="934" y="928"/>
                    <a:pt x="934" y="929"/>
                  </a:cubicBezTo>
                  <a:cubicBezTo>
                    <a:pt x="1119" y="1113"/>
                    <a:pt x="1476" y="1373"/>
                    <a:pt x="1605" y="1373"/>
                  </a:cubicBezTo>
                  <a:cubicBezTo>
                    <a:pt x="1620" y="1373"/>
                    <a:pt x="1633" y="1369"/>
                    <a:pt x="1641" y="1361"/>
                  </a:cubicBezTo>
                  <a:cubicBezTo>
                    <a:pt x="1648" y="1354"/>
                    <a:pt x="1653" y="1344"/>
                    <a:pt x="1654" y="1330"/>
                  </a:cubicBezTo>
                  <a:cubicBezTo>
                    <a:pt x="1653" y="1330"/>
                    <a:pt x="1653" y="1329"/>
                    <a:pt x="1653" y="1329"/>
                  </a:cubicBezTo>
                  <a:cubicBezTo>
                    <a:pt x="1651" y="1359"/>
                    <a:pt x="1634" y="1372"/>
                    <a:pt x="1605" y="1372"/>
                  </a:cubicBezTo>
                  <a:cubicBezTo>
                    <a:pt x="1605" y="1372"/>
                    <a:pt x="1605" y="1372"/>
                    <a:pt x="1605" y="1372"/>
                  </a:cubicBezTo>
                  <a:cubicBezTo>
                    <a:pt x="1477" y="1372"/>
                    <a:pt x="1122" y="1114"/>
                    <a:pt x="937" y="930"/>
                  </a:cubicBezTo>
                  <a:cubicBezTo>
                    <a:pt x="936" y="929"/>
                    <a:pt x="935" y="928"/>
                    <a:pt x="935" y="928"/>
                  </a:cubicBezTo>
                  <a:cubicBezTo>
                    <a:pt x="934" y="928"/>
                    <a:pt x="934" y="927"/>
                    <a:pt x="934" y="927"/>
                  </a:cubicBezTo>
                  <a:cubicBezTo>
                    <a:pt x="934" y="927"/>
                    <a:pt x="933" y="926"/>
                    <a:pt x="933" y="926"/>
                  </a:cubicBezTo>
                  <a:cubicBezTo>
                    <a:pt x="932" y="925"/>
                    <a:pt x="931" y="924"/>
                    <a:pt x="931" y="924"/>
                  </a:cubicBezTo>
                  <a:cubicBezTo>
                    <a:pt x="929" y="922"/>
                    <a:pt x="927" y="920"/>
                    <a:pt x="925" y="919"/>
                  </a:cubicBezTo>
                  <a:cubicBezTo>
                    <a:pt x="925" y="918"/>
                    <a:pt x="924" y="917"/>
                    <a:pt x="924" y="917"/>
                  </a:cubicBezTo>
                  <a:cubicBezTo>
                    <a:pt x="923" y="916"/>
                    <a:pt x="922" y="915"/>
                    <a:pt x="920" y="913"/>
                  </a:cubicBezTo>
                  <a:cubicBezTo>
                    <a:pt x="920" y="912"/>
                    <a:pt x="919" y="911"/>
                    <a:pt x="918" y="911"/>
                  </a:cubicBezTo>
                  <a:cubicBezTo>
                    <a:pt x="916" y="909"/>
                    <a:pt x="914" y="907"/>
                    <a:pt x="912" y="905"/>
                  </a:cubicBezTo>
                  <a:cubicBezTo>
                    <a:pt x="911" y="904"/>
                    <a:pt x="911" y="904"/>
                    <a:pt x="911" y="903"/>
                  </a:cubicBezTo>
                  <a:cubicBezTo>
                    <a:pt x="910" y="903"/>
                    <a:pt x="910" y="902"/>
                    <a:pt x="910" y="902"/>
                  </a:cubicBezTo>
                  <a:cubicBezTo>
                    <a:pt x="909" y="902"/>
                    <a:pt x="909" y="901"/>
                    <a:pt x="908" y="901"/>
                  </a:cubicBezTo>
                  <a:cubicBezTo>
                    <a:pt x="904" y="896"/>
                    <a:pt x="900" y="892"/>
                    <a:pt x="896" y="888"/>
                  </a:cubicBezTo>
                  <a:cubicBezTo>
                    <a:pt x="895" y="887"/>
                    <a:pt x="894" y="886"/>
                    <a:pt x="893" y="885"/>
                  </a:cubicBezTo>
                  <a:cubicBezTo>
                    <a:pt x="889" y="880"/>
                    <a:pt x="885" y="876"/>
                    <a:pt x="882" y="872"/>
                  </a:cubicBezTo>
                  <a:cubicBezTo>
                    <a:pt x="881" y="871"/>
                    <a:pt x="881" y="871"/>
                    <a:pt x="881" y="870"/>
                  </a:cubicBezTo>
                  <a:cubicBezTo>
                    <a:pt x="873" y="862"/>
                    <a:pt x="866" y="853"/>
                    <a:pt x="860" y="845"/>
                  </a:cubicBezTo>
                  <a:cubicBezTo>
                    <a:pt x="859" y="844"/>
                    <a:pt x="859" y="842"/>
                    <a:pt x="859" y="841"/>
                  </a:cubicBezTo>
                  <a:cubicBezTo>
                    <a:pt x="859" y="840"/>
                    <a:pt x="859" y="840"/>
                    <a:pt x="859" y="840"/>
                  </a:cubicBezTo>
                  <a:cubicBezTo>
                    <a:pt x="858" y="836"/>
                    <a:pt x="857" y="833"/>
                    <a:pt x="856" y="829"/>
                  </a:cubicBezTo>
                  <a:cubicBezTo>
                    <a:pt x="856" y="827"/>
                    <a:pt x="855" y="826"/>
                    <a:pt x="855" y="824"/>
                  </a:cubicBezTo>
                  <a:cubicBezTo>
                    <a:pt x="850" y="810"/>
                    <a:pt x="843" y="799"/>
                    <a:pt x="834" y="791"/>
                  </a:cubicBezTo>
                  <a:cubicBezTo>
                    <a:pt x="834" y="791"/>
                    <a:pt x="834" y="790"/>
                    <a:pt x="834" y="790"/>
                  </a:cubicBezTo>
                  <a:cubicBezTo>
                    <a:pt x="831" y="787"/>
                    <a:pt x="827" y="784"/>
                    <a:pt x="823" y="782"/>
                  </a:cubicBezTo>
                  <a:cubicBezTo>
                    <a:pt x="822" y="781"/>
                    <a:pt x="821" y="781"/>
                    <a:pt x="821" y="780"/>
                  </a:cubicBezTo>
                  <a:cubicBezTo>
                    <a:pt x="818" y="778"/>
                    <a:pt x="814" y="777"/>
                    <a:pt x="811" y="775"/>
                  </a:cubicBezTo>
                  <a:cubicBezTo>
                    <a:pt x="809" y="775"/>
                    <a:pt x="808" y="774"/>
                    <a:pt x="806" y="773"/>
                  </a:cubicBezTo>
                  <a:cubicBezTo>
                    <a:pt x="800" y="771"/>
                    <a:pt x="793" y="769"/>
                    <a:pt x="787" y="768"/>
                  </a:cubicBezTo>
                  <a:moveTo>
                    <a:pt x="704" y="769"/>
                  </a:moveTo>
                  <a:cubicBezTo>
                    <a:pt x="700" y="770"/>
                    <a:pt x="696" y="771"/>
                    <a:pt x="692" y="771"/>
                  </a:cubicBezTo>
                  <a:cubicBezTo>
                    <a:pt x="692" y="772"/>
                    <a:pt x="693" y="772"/>
                    <a:pt x="693" y="772"/>
                  </a:cubicBezTo>
                  <a:cubicBezTo>
                    <a:pt x="696" y="772"/>
                    <a:pt x="699" y="771"/>
                    <a:pt x="702" y="771"/>
                  </a:cubicBezTo>
                  <a:cubicBezTo>
                    <a:pt x="703" y="771"/>
                    <a:pt x="704" y="770"/>
                    <a:pt x="705" y="770"/>
                  </a:cubicBezTo>
                  <a:cubicBezTo>
                    <a:pt x="705" y="770"/>
                    <a:pt x="705" y="770"/>
                    <a:pt x="704" y="769"/>
                  </a:cubicBezTo>
                  <a:moveTo>
                    <a:pt x="691" y="771"/>
                  </a:moveTo>
                  <a:cubicBezTo>
                    <a:pt x="685" y="772"/>
                    <a:pt x="679" y="774"/>
                    <a:pt x="673" y="775"/>
                  </a:cubicBezTo>
                  <a:cubicBezTo>
                    <a:pt x="671" y="775"/>
                    <a:pt x="669" y="775"/>
                    <a:pt x="668" y="776"/>
                  </a:cubicBezTo>
                  <a:cubicBezTo>
                    <a:pt x="666" y="776"/>
                    <a:pt x="665" y="776"/>
                    <a:pt x="663" y="777"/>
                  </a:cubicBezTo>
                  <a:cubicBezTo>
                    <a:pt x="663" y="777"/>
                    <a:pt x="662" y="777"/>
                    <a:pt x="662" y="777"/>
                  </a:cubicBezTo>
                  <a:cubicBezTo>
                    <a:pt x="651" y="779"/>
                    <a:pt x="639" y="782"/>
                    <a:pt x="627" y="785"/>
                  </a:cubicBezTo>
                  <a:cubicBezTo>
                    <a:pt x="627" y="785"/>
                    <a:pt x="626" y="785"/>
                    <a:pt x="625" y="785"/>
                  </a:cubicBezTo>
                  <a:cubicBezTo>
                    <a:pt x="625" y="785"/>
                    <a:pt x="625" y="785"/>
                    <a:pt x="624" y="785"/>
                  </a:cubicBezTo>
                  <a:cubicBezTo>
                    <a:pt x="624" y="785"/>
                    <a:pt x="623" y="786"/>
                    <a:pt x="622" y="786"/>
                  </a:cubicBezTo>
                  <a:cubicBezTo>
                    <a:pt x="621" y="786"/>
                    <a:pt x="621" y="786"/>
                    <a:pt x="620" y="786"/>
                  </a:cubicBezTo>
                  <a:cubicBezTo>
                    <a:pt x="619" y="787"/>
                    <a:pt x="618" y="787"/>
                    <a:pt x="618" y="787"/>
                  </a:cubicBezTo>
                  <a:cubicBezTo>
                    <a:pt x="617" y="787"/>
                    <a:pt x="617" y="787"/>
                    <a:pt x="616" y="787"/>
                  </a:cubicBezTo>
                  <a:cubicBezTo>
                    <a:pt x="615" y="787"/>
                    <a:pt x="615" y="788"/>
                    <a:pt x="614" y="788"/>
                  </a:cubicBezTo>
                  <a:cubicBezTo>
                    <a:pt x="614" y="788"/>
                    <a:pt x="614" y="788"/>
                    <a:pt x="614" y="788"/>
                  </a:cubicBezTo>
                  <a:cubicBezTo>
                    <a:pt x="613" y="788"/>
                    <a:pt x="613" y="788"/>
                    <a:pt x="613" y="788"/>
                  </a:cubicBezTo>
                  <a:cubicBezTo>
                    <a:pt x="609" y="789"/>
                    <a:pt x="606" y="790"/>
                    <a:pt x="602" y="791"/>
                  </a:cubicBezTo>
                  <a:cubicBezTo>
                    <a:pt x="601" y="791"/>
                    <a:pt x="600" y="791"/>
                    <a:pt x="599" y="791"/>
                  </a:cubicBezTo>
                  <a:cubicBezTo>
                    <a:pt x="598" y="792"/>
                    <a:pt x="597" y="792"/>
                    <a:pt x="595" y="792"/>
                  </a:cubicBezTo>
                  <a:cubicBezTo>
                    <a:pt x="594" y="793"/>
                    <a:pt x="593" y="793"/>
                    <a:pt x="592" y="793"/>
                  </a:cubicBezTo>
                  <a:cubicBezTo>
                    <a:pt x="590" y="794"/>
                    <a:pt x="588" y="794"/>
                    <a:pt x="587" y="794"/>
                  </a:cubicBezTo>
                  <a:cubicBezTo>
                    <a:pt x="585" y="795"/>
                    <a:pt x="584" y="795"/>
                    <a:pt x="583" y="796"/>
                  </a:cubicBezTo>
                  <a:cubicBezTo>
                    <a:pt x="580" y="796"/>
                    <a:pt x="578" y="797"/>
                    <a:pt x="576" y="797"/>
                  </a:cubicBezTo>
                  <a:cubicBezTo>
                    <a:pt x="574" y="798"/>
                    <a:pt x="572" y="798"/>
                    <a:pt x="570" y="799"/>
                  </a:cubicBezTo>
                  <a:cubicBezTo>
                    <a:pt x="567" y="800"/>
                    <a:pt x="563" y="801"/>
                    <a:pt x="559" y="801"/>
                  </a:cubicBezTo>
                  <a:cubicBezTo>
                    <a:pt x="557" y="802"/>
                    <a:pt x="555" y="803"/>
                    <a:pt x="553" y="803"/>
                  </a:cubicBezTo>
                  <a:cubicBezTo>
                    <a:pt x="547" y="805"/>
                    <a:pt x="541" y="806"/>
                    <a:pt x="535" y="808"/>
                  </a:cubicBezTo>
                  <a:cubicBezTo>
                    <a:pt x="532" y="808"/>
                    <a:pt x="529" y="809"/>
                    <a:pt x="527" y="810"/>
                  </a:cubicBezTo>
                  <a:cubicBezTo>
                    <a:pt x="520" y="812"/>
                    <a:pt x="514" y="813"/>
                    <a:pt x="507" y="815"/>
                  </a:cubicBezTo>
                  <a:cubicBezTo>
                    <a:pt x="507" y="815"/>
                    <a:pt x="506" y="815"/>
                    <a:pt x="506" y="815"/>
                  </a:cubicBezTo>
                  <a:cubicBezTo>
                    <a:pt x="504" y="816"/>
                    <a:pt x="502" y="816"/>
                    <a:pt x="501" y="816"/>
                  </a:cubicBezTo>
                  <a:cubicBezTo>
                    <a:pt x="498" y="817"/>
                    <a:pt x="494" y="818"/>
                    <a:pt x="491" y="819"/>
                  </a:cubicBezTo>
                  <a:cubicBezTo>
                    <a:pt x="480" y="821"/>
                    <a:pt x="469" y="824"/>
                    <a:pt x="457" y="827"/>
                  </a:cubicBezTo>
                  <a:cubicBezTo>
                    <a:pt x="454" y="828"/>
                    <a:pt x="451" y="828"/>
                    <a:pt x="448" y="829"/>
                  </a:cubicBezTo>
                  <a:cubicBezTo>
                    <a:pt x="443" y="830"/>
                    <a:pt x="438" y="831"/>
                    <a:pt x="433" y="832"/>
                  </a:cubicBezTo>
                  <a:cubicBezTo>
                    <a:pt x="431" y="833"/>
                    <a:pt x="430" y="833"/>
                    <a:pt x="428" y="833"/>
                  </a:cubicBezTo>
                  <a:cubicBezTo>
                    <a:pt x="421" y="835"/>
                    <a:pt x="415" y="836"/>
                    <a:pt x="408" y="837"/>
                  </a:cubicBezTo>
                  <a:cubicBezTo>
                    <a:pt x="405" y="838"/>
                    <a:pt x="402" y="838"/>
                    <a:pt x="399" y="839"/>
                  </a:cubicBezTo>
                  <a:cubicBezTo>
                    <a:pt x="390" y="841"/>
                    <a:pt x="380" y="842"/>
                    <a:pt x="371" y="844"/>
                  </a:cubicBezTo>
                  <a:cubicBezTo>
                    <a:pt x="367" y="845"/>
                    <a:pt x="362" y="845"/>
                    <a:pt x="358" y="846"/>
                  </a:cubicBezTo>
                  <a:cubicBezTo>
                    <a:pt x="349" y="847"/>
                    <a:pt x="340" y="848"/>
                    <a:pt x="332" y="849"/>
                  </a:cubicBezTo>
                  <a:cubicBezTo>
                    <a:pt x="327" y="850"/>
                    <a:pt x="322" y="851"/>
                    <a:pt x="317" y="852"/>
                  </a:cubicBezTo>
                  <a:cubicBezTo>
                    <a:pt x="335" y="850"/>
                    <a:pt x="353" y="848"/>
                    <a:pt x="372" y="845"/>
                  </a:cubicBezTo>
                  <a:cubicBezTo>
                    <a:pt x="377" y="844"/>
                    <a:pt x="381" y="843"/>
                    <a:pt x="386" y="842"/>
                  </a:cubicBezTo>
                  <a:cubicBezTo>
                    <a:pt x="394" y="841"/>
                    <a:pt x="401" y="840"/>
                    <a:pt x="408" y="838"/>
                  </a:cubicBezTo>
                  <a:cubicBezTo>
                    <a:pt x="411" y="838"/>
                    <a:pt x="414" y="837"/>
                    <a:pt x="417" y="836"/>
                  </a:cubicBezTo>
                  <a:cubicBezTo>
                    <a:pt x="419" y="836"/>
                    <a:pt x="421" y="836"/>
                    <a:pt x="423" y="835"/>
                  </a:cubicBezTo>
                  <a:cubicBezTo>
                    <a:pt x="425" y="835"/>
                    <a:pt x="426" y="835"/>
                    <a:pt x="428" y="834"/>
                  </a:cubicBezTo>
                  <a:cubicBezTo>
                    <a:pt x="438" y="832"/>
                    <a:pt x="448" y="830"/>
                    <a:pt x="457" y="828"/>
                  </a:cubicBezTo>
                  <a:cubicBezTo>
                    <a:pt x="461" y="827"/>
                    <a:pt x="464" y="826"/>
                    <a:pt x="467" y="826"/>
                  </a:cubicBezTo>
                  <a:cubicBezTo>
                    <a:pt x="479" y="823"/>
                    <a:pt x="490" y="820"/>
                    <a:pt x="501" y="817"/>
                  </a:cubicBezTo>
                  <a:cubicBezTo>
                    <a:pt x="504" y="817"/>
                    <a:pt x="507" y="816"/>
                    <a:pt x="510" y="815"/>
                  </a:cubicBezTo>
                  <a:cubicBezTo>
                    <a:pt x="519" y="813"/>
                    <a:pt x="527" y="811"/>
                    <a:pt x="535" y="809"/>
                  </a:cubicBezTo>
                  <a:cubicBezTo>
                    <a:pt x="538" y="808"/>
                    <a:pt x="541" y="807"/>
                    <a:pt x="544" y="807"/>
                  </a:cubicBezTo>
                  <a:cubicBezTo>
                    <a:pt x="548" y="805"/>
                    <a:pt x="553" y="804"/>
                    <a:pt x="557" y="803"/>
                  </a:cubicBezTo>
                  <a:cubicBezTo>
                    <a:pt x="557" y="803"/>
                    <a:pt x="558" y="803"/>
                    <a:pt x="558" y="803"/>
                  </a:cubicBezTo>
                  <a:cubicBezTo>
                    <a:pt x="559" y="803"/>
                    <a:pt x="559" y="803"/>
                    <a:pt x="560" y="802"/>
                  </a:cubicBezTo>
                  <a:cubicBezTo>
                    <a:pt x="562" y="802"/>
                    <a:pt x="564" y="801"/>
                    <a:pt x="567" y="801"/>
                  </a:cubicBezTo>
                  <a:cubicBezTo>
                    <a:pt x="570" y="800"/>
                    <a:pt x="573" y="799"/>
                    <a:pt x="576" y="798"/>
                  </a:cubicBezTo>
                  <a:cubicBezTo>
                    <a:pt x="578" y="798"/>
                    <a:pt x="579" y="797"/>
                    <a:pt x="581" y="797"/>
                  </a:cubicBezTo>
                  <a:cubicBezTo>
                    <a:pt x="583" y="796"/>
                    <a:pt x="585" y="796"/>
                    <a:pt x="587" y="796"/>
                  </a:cubicBezTo>
                  <a:cubicBezTo>
                    <a:pt x="588" y="795"/>
                    <a:pt x="590" y="795"/>
                    <a:pt x="591" y="794"/>
                  </a:cubicBezTo>
                  <a:cubicBezTo>
                    <a:pt x="592" y="794"/>
                    <a:pt x="594" y="794"/>
                    <a:pt x="595" y="793"/>
                  </a:cubicBezTo>
                  <a:cubicBezTo>
                    <a:pt x="596" y="793"/>
                    <a:pt x="597" y="793"/>
                    <a:pt x="599" y="793"/>
                  </a:cubicBezTo>
                  <a:cubicBezTo>
                    <a:pt x="600" y="792"/>
                    <a:pt x="601" y="792"/>
                    <a:pt x="602" y="792"/>
                  </a:cubicBezTo>
                  <a:cubicBezTo>
                    <a:pt x="603" y="792"/>
                    <a:pt x="604" y="791"/>
                    <a:pt x="605" y="791"/>
                  </a:cubicBezTo>
                  <a:cubicBezTo>
                    <a:pt x="608" y="790"/>
                    <a:pt x="611" y="790"/>
                    <a:pt x="613" y="789"/>
                  </a:cubicBezTo>
                  <a:cubicBezTo>
                    <a:pt x="614" y="789"/>
                    <a:pt x="614" y="789"/>
                    <a:pt x="615" y="789"/>
                  </a:cubicBezTo>
                  <a:cubicBezTo>
                    <a:pt x="615" y="789"/>
                    <a:pt x="615" y="788"/>
                    <a:pt x="616" y="788"/>
                  </a:cubicBezTo>
                  <a:cubicBezTo>
                    <a:pt x="616" y="788"/>
                    <a:pt x="617" y="788"/>
                    <a:pt x="618" y="788"/>
                  </a:cubicBezTo>
                  <a:cubicBezTo>
                    <a:pt x="618" y="788"/>
                    <a:pt x="619" y="788"/>
                    <a:pt x="620" y="787"/>
                  </a:cubicBezTo>
                  <a:cubicBezTo>
                    <a:pt x="620" y="787"/>
                    <a:pt x="621" y="787"/>
                    <a:pt x="622" y="787"/>
                  </a:cubicBezTo>
                  <a:cubicBezTo>
                    <a:pt x="622" y="787"/>
                    <a:pt x="623" y="787"/>
                    <a:pt x="624" y="786"/>
                  </a:cubicBezTo>
                  <a:cubicBezTo>
                    <a:pt x="625" y="786"/>
                    <a:pt x="626" y="786"/>
                    <a:pt x="626" y="786"/>
                  </a:cubicBezTo>
                  <a:cubicBezTo>
                    <a:pt x="627" y="786"/>
                    <a:pt x="627" y="786"/>
                    <a:pt x="627" y="786"/>
                  </a:cubicBezTo>
                  <a:cubicBezTo>
                    <a:pt x="628" y="785"/>
                    <a:pt x="629" y="785"/>
                    <a:pt x="629" y="785"/>
                  </a:cubicBezTo>
                  <a:cubicBezTo>
                    <a:pt x="640" y="783"/>
                    <a:pt x="650" y="780"/>
                    <a:pt x="660" y="778"/>
                  </a:cubicBezTo>
                  <a:cubicBezTo>
                    <a:pt x="661" y="778"/>
                    <a:pt x="661" y="778"/>
                    <a:pt x="662" y="778"/>
                  </a:cubicBezTo>
                  <a:cubicBezTo>
                    <a:pt x="666" y="777"/>
                    <a:pt x="669" y="776"/>
                    <a:pt x="673" y="776"/>
                  </a:cubicBezTo>
                  <a:cubicBezTo>
                    <a:pt x="676" y="775"/>
                    <a:pt x="678" y="775"/>
                    <a:pt x="680" y="774"/>
                  </a:cubicBezTo>
                  <a:cubicBezTo>
                    <a:pt x="684" y="774"/>
                    <a:pt x="688" y="773"/>
                    <a:pt x="692" y="772"/>
                  </a:cubicBezTo>
                  <a:cubicBezTo>
                    <a:pt x="692" y="772"/>
                    <a:pt x="691" y="772"/>
                    <a:pt x="691" y="771"/>
                  </a:cubicBezTo>
                  <a:moveTo>
                    <a:pt x="146" y="840"/>
                  </a:moveTo>
                  <a:cubicBezTo>
                    <a:pt x="145" y="840"/>
                    <a:pt x="145" y="840"/>
                    <a:pt x="144" y="840"/>
                  </a:cubicBezTo>
                  <a:cubicBezTo>
                    <a:pt x="152" y="842"/>
                    <a:pt x="160" y="843"/>
                    <a:pt x="168" y="844"/>
                  </a:cubicBezTo>
                  <a:cubicBezTo>
                    <a:pt x="169" y="844"/>
                    <a:pt x="169" y="844"/>
                    <a:pt x="170" y="844"/>
                  </a:cubicBezTo>
                  <a:cubicBezTo>
                    <a:pt x="170" y="844"/>
                    <a:pt x="170" y="844"/>
                    <a:pt x="170" y="844"/>
                  </a:cubicBezTo>
                  <a:cubicBezTo>
                    <a:pt x="162" y="842"/>
                    <a:pt x="154" y="841"/>
                    <a:pt x="146" y="840"/>
                  </a:cubicBezTo>
                  <a:moveTo>
                    <a:pt x="172" y="844"/>
                  </a:moveTo>
                  <a:cubicBezTo>
                    <a:pt x="172" y="844"/>
                    <a:pt x="171" y="845"/>
                    <a:pt x="170" y="845"/>
                  </a:cubicBezTo>
                  <a:cubicBezTo>
                    <a:pt x="170" y="845"/>
                    <a:pt x="170" y="845"/>
                    <a:pt x="170" y="845"/>
                  </a:cubicBezTo>
                  <a:cubicBezTo>
                    <a:pt x="177" y="846"/>
                    <a:pt x="185" y="847"/>
                    <a:pt x="192" y="848"/>
                  </a:cubicBezTo>
                  <a:cubicBezTo>
                    <a:pt x="193" y="848"/>
                    <a:pt x="193" y="848"/>
                    <a:pt x="194" y="847"/>
                  </a:cubicBezTo>
                  <a:cubicBezTo>
                    <a:pt x="187" y="846"/>
                    <a:pt x="179" y="845"/>
                    <a:pt x="172" y="844"/>
                  </a:cubicBezTo>
                  <a:moveTo>
                    <a:pt x="197" y="848"/>
                  </a:moveTo>
                  <a:cubicBezTo>
                    <a:pt x="196" y="848"/>
                    <a:pt x="195" y="848"/>
                    <a:pt x="194" y="848"/>
                  </a:cubicBezTo>
                  <a:cubicBezTo>
                    <a:pt x="201" y="849"/>
                    <a:pt x="207" y="850"/>
                    <a:pt x="214" y="851"/>
                  </a:cubicBezTo>
                  <a:cubicBezTo>
                    <a:pt x="215" y="851"/>
                    <a:pt x="216" y="851"/>
                    <a:pt x="217" y="851"/>
                  </a:cubicBezTo>
                  <a:cubicBezTo>
                    <a:pt x="218" y="851"/>
                    <a:pt x="219" y="851"/>
                    <a:pt x="220" y="851"/>
                  </a:cubicBezTo>
                  <a:cubicBezTo>
                    <a:pt x="218" y="850"/>
                    <a:pt x="216" y="850"/>
                    <a:pt x="214" y="850"/>
                  </a:cubicBezTo>
                  <a:cubicBezTo>
                    <a:pt x="208" y="849"/>
                    <a:pt x="202" y="848"/>
                    <a:pt x="197" y="848"/>
                  </a:cubicBezTo>
                  <a:moveTo>
                    <a:pt x="317" y="851"/>
                  </a:moveTo>
                  <a:cubicBezTo>
                    <a:pt x="316" y="851"/>
                    <a:pt x="316" y="851"/>
                    <a:pt x="315" y="851"/>
                  </a:cubicBezTo>
                  <a:cubicBezTo>
                    <a:pt x="309" y="851"/>
                    <a:pt x="304" y="852"/>
                    <a:pt x="298" y="852"/>
                  </a:cubicBezTo>
                  <a:cubicBezTo>
                    <a:pt x="296" y="853"/>
                    <a:pt x="294" y="853"/>
                    <a:pt x="291" y="853"/>
                  </a:cubicBezTo>
                  <a:cubicBezTo>
                    <a:pt x="295" y="853"/>
                    <a:pt x="299" y="853"/>
                    <a:pt x="303" y="853"/>
                  </a:cubicBezTo>
                  <a:cubicBezTo>
                    <a:pt x="308" y="852"/>
                    <a:pt x="312" y="851"/>
                    <a:pt x="317" y="851"/>
                  </a:cubicBezTo>
                  <a:moveTo>
                    <a:pt x="223" y="851"/>
                  </a:moveTo>
                  <a:cubicBezTo>
                    <a:pt x="222" y="851"/>
                    <a:pt x="221" y="851"/>
                    <a:pt x="220" y="852"/>
                  </a:cubicBezTo>
                  <a:cubicBezTo>
                    <a:pt x="226" y="852"/>
                    <a:pt x="232" y="853"/>
                    <a:pt x="238" y="853"/>
                  </a:cubicBezTo>
                  <a:cubicBezTo>
                    <a:pt x="239" y="853"/>
                    <a:pt x="240" y="853"/>
                    <a:pt x="242" y="852"/>
                  </a:cubicBezTo>
                  <a:cubicBezTo>
                    <a:pt x="235" y="852"/>
                    <a:pt x="229" y="852"/>
                    <a:pt x="223" y="851"/>
                  </a:cubicBezTo>
                  <a:moveTo>
                    <a:pt x="291" y="852"/>
                  </a:moveTo>
                  <a:cubicBezTo>
                    <a:pt x="283" y="853"/>
                    <a:pt x="275" y="853"/>
                    <a:pt x="266" y="853"/>
                  </a:cubicBezTo>
                  <a:cubicBezTo>
                    <a:pt x="265" y="853"/>
                    <a:pt x="263" y="854"/>
                    <a:pt x="262" y="854"/>
                  </a:cubicBezTo>
                  <a:cubicBezTo>
                    <a:pt x="263" y="854"/>
                    <a:pt x="265" y="854"/>
                    <a:pt x="266" y="854"/>
                  </a:cubicBezTo>
                  <a:cubicBezTo>
                    <a:pt x="272" y="854"/>
                    <a:pt x="278" y="854"/>
                    <a:pt x="284" y="854"/>
                  </a:cubicBezTo>
                  <a:cubicBezTo>
                    <a:pt x="287" y="853"/>
                    <a:pt x="289" y="853"/>
                    <a:pt x="291" y="852"/>
                  </a:cubicBezTo>
                  <a:moveTo>
                    <a:pt x="245" y="853"/>
                  </a:moveTo>
                  <a:cubicBezTo>
                    <a:pt x="244" y="853"/>
                    <a:pt x="243" y="853"/>
                    <a:pt x="242" y="853"/>
                  </a:cubicBezTo>
                  <a:cubicBezTo>
                    <a:pt x="246" y="854"/>
                    <a:pt x="250" y="854"/>
                    <a:pt x="254" y="854"/>
                  </a:cubicBezTo>
                  <a:cubicBezTo>
                    <a:pt x="254" y="854"/>
                    <a:pt x="255" y="854"/>
                    <a:pt x="256" y="854"/>
                  </a:cubicBezTo>
                  <a:cubicBezTo>
                    <a:pt x="256" y="854"/>
                    <a:pt x="257" y="854"/>
                    <a:pt x="258" y="854"/>
                  </a:cubicBezTo>
                  <a:cubicBezTo>
                    <a:pt x="259" y="854"/>
                    <a:pt x="260" y="853"/>
                    <a:pt x="262" y="853"/>
                  </a:cubicBezTo>
                  <a:cubicBezTo>
                    <a:pt x="259" y="853"/>
                    <a:pt x="257" y="853"/>
                    <a:pt x="254" y="853"/>
                  </a:cubicBezTo>
                  <a:cubicBezTo>
                    <a:pt x="253" y="853"/>
                    <a:pt x="253" y="853"/>
                    <a:pt x="252" y="853"/>
                  </a:cubicBezTo>
                  <a:cubicBezTo>
                    <a:pt x="250" y="853"/>
                    <a:pt x="247" y="853"/>
                    <a:pt x="245" y="853"/>
                  </a:cubicBezTo>
                  <a:moveTo>
                    <a:pt x="1544" y="1030"/>
                  </a:moveTo>
                  <a:cubicBezTo>
                    <a:pt x="1547" y="1041"/>
                    <a:pt x="1550" y="1052"/>
                    <a:pt x="1553" y="1063"/>
                  </a:cubicBezTo>
                  <a:cubicBezTo>
                    <a:pt x="1554" y="1066"/>
                    <a:pt x="1555" y="1068"/>
                    <a:pt x="1556" y="1071"/>
                  </a:cubicBezTo>
                  <a:cubicBezTo>
                    <a:pt x="1553" y="1062"/>
                    <a:pt x="1551" y="1053"/>
                    <a:pt x="1548" y="1043"/>
                  </a:cubicBezTo>
                  <a:cubicBezTo>
                    <a:pt x="1547" y="1039"/>
                    <a:pt x="1545" y="1034"/>
                    <a:pt x="1544" y="1030"/>
                  </a:cubicBezTo>
                  <a:moveTo>
                    <a:pt x="1555" y="1071"/>
                  </a:moveTo>
                  <a:cubicBezTo>
                    <a:pt x="1558" y="1082"/>
                    <a:pt x="1562" y="1093"/>
                    <a:pt x="1566" y="1103"/>
                  </a:cubicBezTo>
                  <a:cubicBezTo>
                    <a:pt x="1567" y="1105"/>
                    <a:pt x="1568" y="1108"/>
                    <a:pt x="1569" y="1110"/>
                  </a:cubicBezTo>
                  <a:cubicBezTo>
                    <a:pt x="1565" y="1100"/>
                    <a:pt x="1562" y="1090"/>
                    <a:pt x="1559" y="1079"/>
                  </a:cubicBezTo>
                  <a:cubicBezTo>
                    <a:pt x="1558" y="1077"/>
                    <a:pt x="1556" y="1074"/>
                    <a:pt x="1555" y="1071"/>
                  </a:cubicBezTo>
                  <a:moveTo>
                    <a:pt x="1568" y="1110"/>
                  </a:moveTo>
                  <a:cubicBezTo>
                    <a:pt x="1569" y="1114"/>
                    <a:pt x="1571" y="1117"/>
                    <a:pt x="1572" y="1120"/>
                  </a:cubicBezTo>
                  <a:cubicBezTo>
                    <a:pt x="1573" y="1123"/>
                    <a:pt x="1574" y="1125"/>
                    <a:pt x="1575" y="1128"/>
                  </a:cubicBezTo>
                  <a:cubicBezTo>
                    <a:pt x="1580" y="1138"/>
                    <a:pt x="1584" y="1148"/>
                    <a:pt x="1589" y="1157"/>
                  </a:cubicBezTo>
                  <a:cubicBezTo>
                    <a:pt x="1591" y="1160"/>
                    <a:pt x="1592" y="1162"/>
                    <a:pt x="1594" y="1165"/>
                  </a:cubicBezTo>
                  <a:cubicBezTo>
                    <a:pt x="1592" y="1162"/>
                    <a:pt x="1591" y="1158"/>
                    <a:pt x="1589" y="1154"/>
                  </a:cubicBezTo>
                  <a:cubicBezTo>
                    <a:pt x="1586" y="1149"/>
                    <a:pt x="1584" y="1144"/>
                    <a:pt x="1581" y="1139"/>
                  </a:cubicBezTo>
                  <a:cubicBezTo>
                    <a:pt x="1580" y="1135"/>
                    <a:pt x="1578" y="1132"/>
                    <a:pt x="1576" y="1128"/>
                  </a:cubicBezTo>
                  <a:cubicBezTo>
                    <a:pt x="1575" y="1125"/>
                    <a:pt x="1574" y="1122"/>
                    <a:pt x="1573" y="1119"/>
                  </a:cubicBezTo>
                  <a:cubicBezTo>
                    <a:pt x="1571" y="1116"/>
                    <a:pt x="1570" y="1113"/>
                    <a:pt x="1568" y="1110"/>
                  </a:cubicBezTo>
                  <a:moveTo>
                    <a:pt x="1595" y="1164"/>
                  </a:moveTo>
                  <a:cubicBezTo>
                    <a:pt x="1598" y="1171"/>
                    <a:pt x="1601" y="1178"/>
                    <a:pt x="1604" y="1184"/>
                  </a:cubicBezTo>
                  <a:cubicBezTo>
                    <a:pt x="1602" y="1179"/>
                    <a:pt x="1600" y="1175"/>
                    <a:pt x="1598" y="1170"/>
                  </a:cubicBezTo>
                  <a:cubicBezTo>
                    <a:pt x="1597" y="1169"/>
                    <a:pt x="1596" y="1167"/>
                    <a:pt x="1595" y="1165"/>
                  </a:cubicBezTo>
                  <a:cubicBezTo>
                    <a:pt x="1595" y="1165"/>
                    <a:pt x="1595" y="1165"/>
                    <a:pt x="1595" y="1164"/>
                  </a:cubicBezTo>
                  <a:moveTo>
                    <a:pt x="1606" y="1185"/>
                  </a:moveTo>
                  <a:cubicBezTo>
                    <a:pt x="1608" y="1190"/>
                    <a:pt x="1611" y="1196"/>
                    <a:pt x="1613" y="1201"/>
                  </a:cubicBezTo>
                  <a:cubicBezTo>
                    <a:pt x="1616" y="1206"/>
                    <a:pt x="1619" y="1212"/>
                    <a:pt x="1621" y="1216"/>
                  </a:cubicBezTo>
                  <a:cubicBezTo>
                    <a:pt x="1617" y="1207"/>
                    <a:pt x="1612" y="1198"/>
                    <a:pt x="1607" y="1188"/>
                  </a:cubicBezTo>
                  <a:cubicBezTo>
                    <a:pt x="1607" y="1187"/>
                    <a:pt x="1606" y="1186"/>
                    <a:pt x="1606" y="1185"/>
                  </a:cubicBezTo>
                  <a:moveTo>
                    <a:pt x="1627" y="1232"/>
                  </a:moveTo>
                  <a:cubicBezTo>
                    <a:pt x="1631" y="1240"/>
                    <a:pt x="1634" y="1249"/>
                    <a:pt x="1637" y="1257"/>
                  </a:cubicBezTo>
                  <a:cubicBezTo>
                    <a:pt x="1638" y="1258"/>
                    <a:pt x="1639" y="1259"/>
                    <a:pt x="1640" y="1261"/>
                  </a:cubicBezTo>
                  <a:cubicBezTo>
                    <a:pt x="1637" y="1254"/>
                    <a:pt x="1635" y="1248"/>
                    <a:pt x="1632" y="1241"/>
                  </a:cubicBezTo>
                  <a:cubicBezTo>
                    <a:pt x="1630" y="1238"/>
                    <a:pt x="1629" y="1235"/>
                    <a:pt x="1627" y="1232"/>
                  </a:cubicBezTo>
                  <a:moveTo>
                    <a:pt x="1639" y="1261"/>
                  </a:moveTo>
                  <a:cubicBezTo>
                    <a:pt x="1641" y="1268"/>
                    <a:pt x="1643" y="1275"/>
                    <a:pt x="1645" y="1281"/>
                  </a:cubicBezTo>
                  <a:cubicBezTo>
                    <a:pt x="1646" y="1282"/>
                    <a:pt x="1646" y="1283"/>
                    <a:pt x="1647" y="1283"/>
                  </a:cubicBezTo>
                  <a:cubicBezTo>
                    <a:pt x="1645" y="1278"/>
                    <a:pt x="1644" y="1272"/>
                    <a:pt x="1641" y="1265"/>
                  </a:cubicBezTo>
                  <a:cubicBezTo>
                    <a:pt x="1641" y="1264"/>
                    <a:pt x="1640" y="1263"/>
                    <a:pt x="1639" y="1261"/>
                  </a:cubicBezTo>
                  <a:moveTo>
                    <a:pt x="1646" y="1284"/>
                  </a:moveTo>
                  <a:cubicBezTo>
                    <a:pt x="1648" y="1292"/>
                    <a:pt x="1650" y="1299"/>
                    <a:pt x="1651" y="1305"/>
                  </a:cubicBezTo>
                  <a:cubicBezTo>
                    <a:pt x="1651" y="1306"/>
                    <a:pt x="1652" y="1307"/>
                    <a:pt x="1652" y="1307"/>
                  </a:cubicBezTo>
                  <a:cubicBezTo>
                    <a:pt x="1651" y="1301"/>
                    <a:pt x="1650" y="1294"/>
                    <a:pt x="1648" y="1286"/>
                  </a:cubicBezTo>
                  <a:cubicBezTo>
                    <a:pt x="1647" y="1286"/>
                    <a:pt x="1647" y="1285"/>
                    <a:pt x="1646" y="1284"/>
                  </a:cubicBezTo>
                  <a:moveTo>
                    <a:pt x="1651" y="1308"/>
                  </a:moveTo>
                  <a:cubicBezTo>
                    <a:pt x="1652" y="1314"/>
                    <a:pt x="1653" y="1320"/>
                    <a:pt x="1653" y="1325"/>
                  </a:cubicBezTo>
                  <a:cubicBezTo>
                    <a:pt x="1653" y="1326"/>
                    <a:pt x="1653" y="1327"/>
                    <a:pt x="1653" y="1328"/>
                  </a:cubicBezTo>
                  <a:cubicBezTo>
                    <a:pt x="1653" y="1328"/>
                    <a:pt x="1653" y="1328"/>
                    <a:pt x="1654" y="1329"/>
                  </a:cubicBezTo>
                  <a:cubicBezTo>
                    <a:pt x="1654" y="1327"/>
                    <a:pt x="1654" y="1326"/>
                    <a:pt x="1654" y="1325"/>
                  </a:cubicBezTo>
                  <a:cubicBezTo>
                    <a:pt x="1654" y="1320"/>
                    <a:pt x="1653" y="1315"/>
                    <a:pt x="1653" y="1309"/>
                  </a:cubicBezTo>
                  <a:cubicBezTo>
                    <a:pt x="1652" y="1309"/>
                    <a:pt x="1652" y="1308"/>
                    <a:pt x="1651" y="1308"/>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68" name="Freeform 97"/>
            <p:cNvSpPr>
              <a:spLocks noEditPoints="1"/>
            </p:cNvSpPr>
            <p:nvPr userDrawn="1"/>
          </p:nvSpPr>
          <p:spPr bwMode="auto">
            <a:xfrm>
              <a:off x="1926" y="3946"/>
              <a:ext cx="3457" cy="2815"/>
            </a:xfrm>
            <a:custGeom>
              <a:avLst/>
              <a:gdLst>
                <a:gd name="T0" fmla="*/ 2147483646 w 1706"/>
                <a:gd name="T1" fmla="*/ 2147483646 h 1388"/>
                <a:gd name="T2" fmla="*/ 2147483646 w 1706"/>
                <a:gd name="T3" fmla="*/ 2147483646 h 1388"/>
                <a:gd name="T4" fmla="*/ 2147483646 w 1706"/>
                <a:gd name="T5" fmla="*/ 2147483646 h 1388"/>
                <a:gd name="T6" fmla="*/ 2147483646 w 1706"/>
                <a:gd name="T7" fmla="*/ 2147483646 h 1388"/>
                <a:gd name="T8" fmla="*/ 2147483646 w 1706"/>
                <a:gd name="T9" fmla="*/ 2147483646 h 1388"/>
                <a:gd name="T10" fmla="*/ 2147483646 w 1706"/>
                <a:gd name="T11" fmla="*/ 2147483646 h 1388"/>
                <a:gd name="T12" fmla="*/ 2147483646 w 1706"/>
                <a:gd name="T13" fmla="*/ 2147483646 h 1388"/>
                <a:gd name="T14" fmla="*/ 2147483646 w 1706"/>
                <a:gd name="T15" fmla="*/ 2147483646 h 1388"/>
                <a:gd name="T16" fmla="*/ 2147483646 w 1706"/>
                <a:gd name="T17" fmla="*/ 2147483646 h 1388"/>
                <a:gd name="T18" fmla="*/ 2147483646 w 1706"/>
                <a:gd name="T19" fmla="*/ 2147483646 h 1388"/>
                <a:gd name="T20" fmla="*/ 2147483646 w 1706"/>
                <a:gd name="T21" fmla="*/ 2147483646 h 1388"/>
                <a:gd name="T22" fmla="*/ 2147483646 w 1706"/>
                <a:gd name="T23" fmla="*/ 2147483646 h 1388"/>
                <a:gd name="T24" fmla="*/ 2147483646 w 1706"/>
                <a:gd name="T25" fmla="*/ 2147483646 h 1388"/>
                <a:gd name="T26" fmla="*/ 2147483646 w 1706"/>
                <a:gd name="T27" fmla="*/ 2147483646 h 1388"/>
                <a:gd name="T28" fmla="*/ 2147483646 w 1706"/>
                <a:gd name="T29" fmla="*/ 2147483646 h 1388"/>
                <a:gd name="T30" fmla="*/ 2147483646 w 1706"/>
                <a:gd name="T31" fmla="*/ 2147483646 h 1388"/>
                <a:gd name="T32" fmla="*/ 2147483646 w 1706"/>
                <a:gd name="T33" fmla="*/ 2147483646 h 1388"/>
                <a:gd name="T34" fmla="*/ 2147483646 w 1706"/>
                <a:gd name="T35" fmla="*/ 2147483646 h 1388"/>
                <a:gd name="T36" fmla="*/ 2147483646 w 1706"/>
                <a:gd name="T37" fmla="*/ 2147483646 h 1388"/>
                <a:gd name="T38" fmla="*/ 2147483646 w 1706"/>
                <a:gd name="T39" fmla="*/ 2147483646 h 1388"/>
                <a:gd name="T40" fmla="*/ 2147483646 w 1706"/>
                <a:gd name="T41" fmla="*/ 2147483646 h 1388"/>
                <a:gd name="T42" fmla="*/ 2147483646 w 1706"/>
                <a:gd name="T43" fmla="*/ 2147483646 h 1388"/>
                <a:gd name="T44" fmla="*/ 2147483646 w 1706"/>
                <a:gd name="T45" fmla="*/ 2147483646 h 1388"/>
                <a:gd name="T46" fmla="*/ 2147483646 w 1706"/>
                <a:gd name="T47" fmla="*/ 2147483646 h 1388"/>
                <a:gd name="T48" fmla="*/ 2147483646 w 1706"/>
                <a:gd name="T49" fmla="*/ 2147483646 h 1388"/>
                <a:gd name="T50" fmla="*/ 2147483646 w 1706"/>
                <a:gd name="T51" fmla="*/ 2147483646 h 1388"/>
                <a:gd name="T52" fmla="*/ 2147483646 w 1706"/>
                <a:gd name="T53" fmla="*/ 2147483646 h 1388"/>
                <a:gd name="T54" fmla="*/ 2147483646 w 1706"/>
                <a:gd name="T55" fmla="*/ 2147483646 h 1388"/>
                <a:gd name="T56" fmla="*/ 2147483646 w 1706"/>
                <a:gd name="T57" fmla="*/ 2147483646 h 1388"/>
                <a:gd name="T58" fmla="*/ 2147483646 w 1706"/>
                <a:gd name="T59" fmla="*/ 2147483646 h 1388"/>
                <a:gd name="T60" fmla="*/ 2147483646 w 1706"/>
                <a:gd name="T61" fmla="*/ 2147483646 h 1388"/>
                <a:gd name="T62" fmla="*/ 2147483646 w 1706"/>
                <a:gd name="T63" fmla="*/ 2147483646 h 1388"/>
                <a:gd name="T64" fmla="*/ 2147483646 w 1706"/>
                <a:gd name="T65" fmla="*/ 2147483646 h 1388"/>
                <a:gd name="T66" fmla="*/ 2147483646 w 1706"/>
                <a:gd name="T67" fmla="*/ 2147483646 h 1388"/>
                <a:gd name="T68" fmla="*/ 2147483646 w 1706"/>
                <a:gd name="T69" fmla="*/ 2147483646 h 1388"/>
                <a:gd name="T70" fmla="*/ 2147483646 w 1706"/>
                <a:gd name="T71" fmla="*/ 2147483646 h 1388"/>
                <a:gd name="T72" fmla="*/ 2147483646 w 1706"/>
                <a:gd name="T73" fmla="*/ 2147483646 h 1388"/>
                <a:gd name="T74" fmla="*/ 0 w 1706"/>
                <a:gd name="T75" fmla="*/ 2147483646 h 1388"/>
                <a:gd name="T76" fmla="*/ 2147483646 w 1706"/>
                <a:gd name="T77" fmla="*/ 2147483646 h 1388"/>
                <a:gd name="T78" fmla="*/ 2147483646 w 1706"/>
                <a:gd name="T79" fmla="*/ 2147483646 h 1388"/>
                <a:gd name="T80" fmla="*/ 2147483646 w 1706"/>
                <a:gd name="T81" fmla="*/ 2147483646 h 1388"/>
                <a:gd name="T82" fmla="*/ 2147483646 w 1706"/>
                <a:gd name="T83" fmla="*/ 2147483646 h 1388"/>
                <a:gd name="T84" fmla="*/ 2147483646 w 1706"/>
                <a:gd name="T85" fmla="*/ 2147483646 h 1388"/>
                <a:gd name="T86" fmla="*/ 2147483646 w 1706"/>
                <a:gd name="T87" fmla="*/ 2147483646 h 1388"/>
                <a:gd name="T88" fmla="*/ 2147483646 w 1706"/>
                <a:gd name="T89" fmla="*/ 2147483646 h 1388"/>
                <a:gd name="T90" fmla="*/ 2147483646 w 1706"/>
                <a:gd name="T91" fmla="*/ 2147483646 h 1388"/>
                <a:gd name="T92" fmla="*/ 2147483646 w 1706"/>
                <a:gd name="T93" fmla="*/ 2147483646 h 1388"/>
                <a:gd name="T94" fmla="*/ 2147483646 w 1706"/>
                <a:gd name="T95" fmla="*/ 2147483646 h 1388"/>
                <a:gd name="T96" fmla="*/ 2147483646 w 1706"/>
                <a:gd name="T97" fmla="*/ 2147483646 h 1388"/>
                <a:gd name="T98" fmla="*/ 2147483646 w 1706"/>
                <a:gd name="T99" fmla="*/ 2147483646 h 1388"/>
                <a:gd name="T100" fmla="*/ 2147483646 w 1706"/>
                <a:gd name="T101" fmla="*/ 2147483646 h 1388"/>
                <a:gd name="T102" fmla="*/ 2147483646 w 1706"/>
                <a:gd name="T103" fmla="*/ 2147483646 h 1388"/>
                <a:gd name="T104" fmla="*/ 2147483646 w 1706"/>
                <a:gd name="T105" fmla="*/ 2147483646 h 1388"/>
                <a:gd name="T106" fmla="*/ 2147483646 w 1706"/>
                <a:gd name="T107" fmla="*/ 2147483646 h 1388"/>
                <a:gd name="T108" fmla="*/ 2147483646 w 1706"/>
                <a:gd name="T109" fmla="*/ 2147483646 h 1388"/>
                <a:gd name="T110" fmla="*/ 2147483646 w 1706"/>
                <a:gd name="T111" fmla="*/ 2147483646 h 1388"/>
                <a:gd name="T112" fmla="*/ 2147483646 w 1706"/>
                <a:gd name="T113" fmla="*/ 2147483646 h 1388"/>
                <a:gd name="T114" fmla="*/ 2147483646 w 1706"/>
                <a:gd name="T115" fmla="*/ 2147483646 h 1388"/>
                <a:gd name="T116" fmla="*/ 2147483646 w 1706"/>
                <a:gd name="T117" fmla="*/ 2147483646 h 1388"/>
                <a:gd name="T118" fmla="*/ 2147483646 w 1706"/>
                <a:gd name="T119" fmla="*/ 2147483646 h 13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706" h="1388">
                  <a:moveTo>
                    <a:pt x="1174" y="0"/>
                  </a:moveTo>
                  <a:cubicBezTo>
                    <a:pt x="1173" y="0"/>
                    <a:pt x="1171" y="0"/>
                    <a:pt x="1169" y="0"/>
                  </a:cubicBezTo>
                  <a:cubicBezTo>
                    <a:pt x="1169" y="0"/>
                    <a:pt x="1169" y="0"/>
                    <a:pt x="1168" y="0"/>
                  </a:cubicBezTo>
                  <a:cubicBezTo>
                    <a:pt x="1163" y="0"/>
                    <a:pt x="1159" y="0"/>
                    <a:pt x="1154" y="0"/>
                  </a:cubicBezTo>
                  <a:cubicBezTo>
                    <a:pt x="1154" y="0"/>
                    <a:pt x="1153" y="0"/>
                    <a:pt x="1153" y="0"/>
                  </a:cubicBezTo>
                  <a:cubicBezTo>
                    <a:pt x="1151" y="0"/>
                    <a:pt x="1150" y="0"/>
                    <a:pt x="1149" y="1"/>
                  </a:cubicBezTo>
                  <a:cubicBezTo>
                    <a:pt x="1148" y="1"/>
                    <a:pt x="1148" y="1"/>
                    <a:pt x="1148" y="1"/>
                  </a:cubicBezTo>
                  <a:cubicBezTo>
                    <a:pt x="1140" y="1"/>
                    <a:pt x="1133" y="2"/>
                    <a:pt x="1126" y="3"/>
                  </a:cubicBezTo>
                  <a:cubicBezTo>
                    <a:pt x="1126" y="3"/>
                    <a:pt x="1125" y="3"/>
                    <a:pt x="1125" y="3"/>
                  </a:cubicBezTo>
                  <a:cubicBezTo>
                    <a:pt x="1120" y="4"/>
                    <a:pt x="1115" y="5"/>
                    <a:pt x="1111" y="6"/>
                  </a:cubicBezTo>
                  <a:cubicBezTo>
                    <a:pt x="1110" y="6"/>
                    <a:pt x="1109" y="6"/>
                    <a:pt x="1108" y="6"/>
                  </a:cubicBezTo>
                  <a:cubicBezTo>
                    <a:pt x="1108" y="6"/>
                    <a:pt x="1108" y="6"/>
                    <a:pt x="1107" y="6"/>
                  </a:cubicBezTo>
                  <a:cubicBezTo>
                    <a:pt x="1107" y="6"/>
                    <a:pt x="1107" y="7"/>
                    <a:pt x="1106" y="7"/>
                  </a:cubicBezTo>
                  <a:cubicBezTo>
                    <a:pt x="1103" y="7"/>
                    <a:pt x="1101" y="8"/>
                    <a:pt x="1098" y="9"/>
                  </a:cubicBezTo>
                  <a:cubicBezTo>
                    <a:pt x="1097" y="9"/>
                    <a:pt x="1097" y="9"/>
                    <a:pt x="1096" y="9"/>
                  </a:cubicBezTo>
                  <a:cubicBezTo>
                    <a:pt x="1095" y="10"/>
                    <a:pt x="1093" y="10"/>
                    <a:pt x="1092" y="10"/>
                  </a:cubicBezTo>
                  <a:cubicBezTo>
                    <a:pt x="1091" y="11"/>
                    <a:pt x="1091" y="11"/>
                    <a:pt x="1090" y="11"/>
                  </a:cubicBezTo>
                  <a:cubicBezTo>
                    <a:pt x="1089" y="11"/>
                    <a:pt x="1088" y="11"/>
                    <a:pt x="1087" y="12"/>
                  </a:cubicBezTo>
                  <a:cubicBezTo>
                    <a:pt x="1087" y="12"/>
                    <a:pt x="1087" y="12"/>
                    <a:pt x="1086" y="12"/>
                  </a:cubicBezTo>
                  <a:cubicBezTo>
                    <a:pt x="1085" y="12"/>
                    <a:pt x="1084" y="13"/>
                    <a:pt x="1083" y="13"/>
                  </a:cubicBezTo>
                  <a:cubicBezTo>
                    <a:pt x="1082" y="13"/>
                    <a:pt x="1082" y="13"/>
                    <a:pt x="1082" y="13"/>
                  </a:cubicBezTo>
                  <a:cubicBezTo>
                    <a:pt x="1071" y="17"/>
                    <a:pt x="1062" y="21"/>
                    <a:pt x="1053" y="26"/>
                  </a:cubicBezTo>
                  <a:cubicBezTo>
                    <a:pt x="1052" y="26"/>
                    <a:pt x="1052" y="26"/>
                    <a:pt x="1051" y="26"/>
                  </a:cubicBezTo>
                  <a:cubicBezTo>
                    <a:pt x="1048" y="28"/>
                    <a:pt x="1045" y="30"/>
                    <a:pt x="1042" y="32"/>
                  </a:cubicBezTo>
                  <a:cubicBezTo>
                    <a:pt x="1041" y="32"/>
                    <a:pt x="1040" y="33"/>
                    <a:pt x="1039" y="33"/>
                  </a:cubicBezTo>
                  <a:cubicBezTo>
                    <a:pt x="1037" y="35"/>
                    <a:pt x="1034" y="36"/>
                    <a:pt x="1032" y="38"/>
                  </a:cubicBezTo>
                  <a:cubicBezTo>
                    <a:pt x="1033" y="38"/>
                    <a:pt x="1034" y="38"/>
                    <a:pt x="1034" y="37"/>
                  </a:cubicBezTo>
                  <a:cubicBezTo>
                    <a:pt x="1035" y="37"/>
                    <a:pt x="1036" y="36"/>
                    <a:pt x="1038" y="35"/>
                  </a:cubicBezTo>
                  <a:cubicBezTo>
                    <a:pt x="1038" y="35"/>
                    <a:pt x="1039" y="34"/>
                    <a:pt x="1040" y="34"/>
                  </a:cubicBezTo>
                  <a:cubicBezTo>
                    <a:pt x="1044" y="32"/>
                    <a:pt x="1047" y="30"/>
                    <a:pt x="1051" y="28"/>
                  </a:cubicBezTo>
                  <a:cubicBezTo>
                    <a:pt x="1051" y="28"/>
                    <a:pt x="1052" y="27"/>
                    <a:pt x="1052" y="27"/>
                  </a:cubicBezTo>
                  <a:cubicBezTo>
                    <a:pt x="1061" y="22"/>
                    <a:pt x="1071" y="18"/>
                    <a:pt x="1082" y="14"/>
                  </a:cubicBezTo>
                  <a:cubicBezTo>
                    <a:pt x="1082" y="14"/>
                    <a:pt x="1083" y="14"/>
                    <a:pt x="1083" y="14"/>
                  </a:cubicBezTo>
                  <a:cubicBezTo>
                    <a:pt x="1084" y="14"/>
                    <a:pt x="1085" y="14"/>
                    <a:pt x="1086" y="13"/>
                  </a:cubicBezTo>
                  <a:cubicBezTo>
                    <a:pt x="1086" y="13"/>
                    <a:pt x="1086" y="13"/>
                    <a:pt x="1087" y="13"/>
                  </a:cubicBezTo>
                  <a:cubicBezTo>
                    <a:pt x="1088" y="12"/>
                    <a:pt x="1089" y="12"/>
                    <a:pt x="1090" y="12"/>
                  </a:cubicBezTo>
                  <a:cubicBezTo>
                    <a:pt x="1090" y="12"/>
                    <a:pt x="1091" y="12"/>
                    <a:pt x="1091" y="11"/>
                  </a:cubicBezTo>
                  <a:cubicBezTo>
                    <a:pt x="1093" y="11"/>
                    <a:pt x="1094" y="11"/>
                    <a:pt x="1095" y="10"/>
                  </a:cubicBezTo>
                  <a:cubicBezTo>
                    <a:pt x="1096" y="10"/>
                    <a:pt x="1096" y="10"/>
                    <a:pt x="1097" y="10"/>
                  </a:cubicBezTo>
                  <a:cubicBezTo>
                    <a:pt x="1100" y="9"/>
                    <a:pt x="1103" y="8"/>
                    <a:pt x="1106" y="8"/>
                  </a:cubicBezTo>
                  <a:cubicBezTo>
                    <a:pt x="1107" y="7"/>
                    <a:pt x="1108" y="7"/>
                    <a:pt x="1109" y="7"/>
                  </a:cubicBezTo>
                  <a:cubicBezTo>
                    <a:pt x="1114" y="6"/>
                    <a:pt x="1119" y="5"/>
                    <a:pt x="1124" y="4"/>
                  </a:cubicBezTo>
                  <a:cubicBezTo>
                    <a:pt x="1125" y="4"/>
                    <a:pt x="1125" y="4"/>
                    <a:pt x="1126" y="4"/>
                  </a:cubicBezTo>
                  <a:cubicBezTo>
                    <a:pt x="1132" y="3"/>
                    <a:pt x="1139" y="2"/>
                    <a:pt x="1147" y="2"/>
                  </a:cubicBezTo>
                  <a:cubicBezTo>
                    <a:pt x="1147" y="2"/>
                    <a:pt x="1148" y="2"/>
                    <a:pt x="1148" y="2"/>
                  </a:cubicBezTo>
                  <a:cubicBezTo>
                    <a:pt x="1149" y="1"/>
                    <a:pt x="1150" y="1"/>
                    <a:pt x="1152" y="1"/>
                  </a:cubicBezTo>
                  <a:cubicBezTo>
                    <a:pt x="1152" y="1"/>
                    <a:pt x="1153" y="1"/>
                    <a:pt x="1153" y="1"/>
                  </a:cubicBezTo>
                  <a:cubicBezTo>
                    <a:pt x="1158" y="1"/>
                    <a:pt x="1163" y="1"/>
                    <a:pt x="1167" y="1"/>
                  </a:cubicBezTo>
                  <a:cubicBezTo>
                    <a:pt x="1168" y="1"/>
                    <a:pt x="1168" y="1"/>
                    <a:pt x="1169" y="1"/>
                  </a:cubicBezTo>
                  <a:cubicBezTo>
                    <a:pt x="1171" y="1"/>
                    <a:pt x="1172" y="1"/>
                    <a:pt x="1174" y="1"/>
                  </a:cubicBezTo>
                  <a:cubicBezTo>
                    <a:pt x="1178" y="1"/>
                    <a:pt x="1181" y="1"/>
                    <a:pt x="1185" y="1"/>
                  </a:cubicBezTo>
                  <a:cubicBezTo>
                    <a:pt x="1185" y="1"/>
                    <a:pt x="1186" y="1"/>
                    <a:pt x="1186" y="1"/>
                  </a:cubicBezTo>
                  <a:cubicBezTo>
                    <a:pt x="1187" y="1"/>
                    <a:pt x="1188" y="1"/>
                    <a:pt x="1188" y="1"/>
                  </a:cubicBezTo>
                  <a:cubicBezTo>
                    <a:pt x="1189" y="1"/>
                    <a:pt x="1189" y="1"/>
                    <a:pt x="1189" y="1"/>
                  </a:cubicBezTo>
                  <a:cubicBezTo>
                    <a:pt x="1191" y="1"/>
                    <a:pt x="1193" y="1"/>
                    <a:pt x="1195" y="1"/>
                  </a:cubicBezTo>
                  <a:cubicBezTo>
                    <a:pt x="1195" y="1"/>
                    <a:pt x="1196" y="1"/>
                    <a:pt x="1196" y="1"/>
                  </a:cubicBezTo>
                  <a:cubicBezTo>
                    <a:pt x="1199" y="1"/>
                    <a:pt x="1202" y="2"/>
                    <a:pt x="1206" y="2"/>
                  </a:cubicBezTo>
                  <a:cubicBezTo>
                    <a:pt x="1206" y="2"/>
                    <a:pt x="1207" y="2"/>
                    <a:pt x="1207" y="2"/>
                  </a:cubicBezTo>
                  <a:cubicBezTo>
                    <a:pt x="1207" y="2"/>
                    <a:pt x="1207" y="2"/>
                    <a:pt x="1208" y="2"/>
                  </a:cubicBezTo>
                  <a:cubicBezTo>
                    <a:pt x="1208" y="2"/>
                    <a:pt x="1208" y="2"/>
                    <a:pt x="1209" y="2"/>
                  </a:cubicBezTo>
                  <a:cubicBezTo>
                    <a:pt x="1209" y="2"/>
                    <a:pt x="1210" y="2"/>
                    <a:pt x="1211" y="2"/>
                  </a:cubicBezTo>
                  <a:cubicBezTo>
                    <a:pt x="1211" y="2"/>
                    <a:pt x="1211" y="2"/>
                    <a:pt x="1212" y="2"/>
                  </a:cubicBezTo>
                  <a:cubicBezTo>
                    <a:pt x="1213" y="2"/>
                    <a:pt x="1215" y="3"/>
                    <a:pt x="1217" y="3"/>
                  </a:cubicBezTo>
                  <a:cubicBezTo>
                    <a:pt x="1217" y="3"/>
                    <a:pt x="1217" y="3"/>
                    <a:pt x="1218" y="3"/>
                  </a:cubicBezTo>
                  <a:cubicBezTo>
                    <a:pt x="1218" y="3"/>
                    <a:pt x="1218" y="3"/>
                    <a:pt x="1219" y="3"/>
                  </a:cubicBezTo>
                  <a:cubicBezTo>
                    <a:pt x="1221" y="3"/>
                    <a:pt x="1224" y="4"/>
                    <a:pt x="1227" y="4"/>
                  </a:cubicBezTo>
                  <a:cubicBezTo>
                    <a:pt x="1227" y="4"/>
                    <a:pt x="1227" y="4"/>
                    <a:pt x="1228" y="4"/>
                  </a:cubicBezTo>
                  <a:cubicBezTo>
                    <a:pt x="1230" y="4"/>
                    <a:pt x="1233" y="5"/>
                    <a:pt x="1235" y="5"/>
                  </a:cubicBezTo>
                  <a:cubicBezTo>
                    <a:pt x="1235" y="5"/>
                    <a:pt x="1235" y="5"/>
                    <a:pt x="1236" y="5"/>
                  </a:cubicBezTo>
                  <a:cubicBezTo>
                    <a:pt x="1236" y="5"/>
                    <a:pt x="1236" y="5"/>
                    <a:pt x="1237" y="5"/>
                  </a:cubicBezTo>
                  <a:cubicBezTo>
                    <a:pt x="1238" y="5"/>
                    <a:pt x="1239" y="5"/>
                    <a:pt x="1240" y="5"/>
                  </a:cubicBezTo>
                  <a:cubicBezTo>
                    <a:pt x="1240" y="5"/>
                    <a:pt x="1240" y="5"/>
                    <a:pt x="1241" y="5"/>
                  </a:cubicBezTo>
                  <a:cubicBezTo>
                    <a:pt x="1241" y="6"/>
                    <a:pt x="1241" y="6"/>
                    <a:pt x="1241" y="6"/>
                  </a:cubicBezTo>
                  <a:cubicBezTo>
                    <a:pt x="1242" y="6"/>
                    <a:pt x="1242" y="6"/>
                    <a:pt x="1242" y="6"/>
                  </a:cubicBezTo>
                  <a:cubicBezTo>
                    <a:pt x="1242" y="6"/>
                    <a:pt x="1243" y="6"/>
                    <a:pt x="1243" y="6"/>
                  </a:cubicBezTo>
                  <a:cubicBezTo>
                    <a:pt x="1243" y="6"/>
                    <a:pt x="1243" y="6"/>
                    <a:pt x="1244" y="6"/>
                  </a:cubicBezTo>
                  <a:cubicBezTo>
                    <a:pt x="1245" y="6"/>
                    <a:pt x="1246" y="6"/>
                    <a:pt x="1248" y="6"/>
                  </a:cubicBezTo>
                  <a:cubicBezTo>
                    <a:pt x="1248" y="6"/>
                    <a:pt x="1248" y="6"/>
                    <a:pt x="1249" y="7"/>
                  </a:cubicBezTo>
                  <a:cubicBezTo>
                    <a:pt x="1249" y="7"/>
                    <a:pt x="1249" y="7"/>
                    <a:pt x="1250" y="7"/>
                  </a:cubicBezTo>
                  <a:cubicBezTo>
                    <a:pt x="1250" y="7"/>
                    <a:pt x="1250" y="7"/>
                    <a:pt x="1251" y="7"/>
                  </a:cubicBezTo>
                  <a:cubicBezTo>
                    <a:pt x="1271" y="10"/>
                    <a:pt x="1291" y="13"/>
                    <a:pt x="1308" y="16"/>
                  </a:cubicBezTo>
                  <a:cubicBezTo>
                    <a:pt x="1309" y="16"/>
                    <a:pt x="1309" y="16"/>
                    <a:pt x="1309" y="16"/>
                  </a:cubicBezTo>
                  <a:cubicBezTo>
                    <a:pt x="1342" y="23"/>
                    <a:pt x="1370" y="31"/>
                    <a:pt x="1394" y="40"/>
                  </a:cubicBezTo>
                  <a:cubicBezTo>
                    <a:pt x="1394" y="40"/>
                    <a:pt x="1394" y="41"/>
                    <a:pt x="1394" y="41"/>
                  </a:cubicBezTo>
                  <a:cubicBezTo>
                    <a:pt x="1419" y="51"/>
                    <a:pt x="1439" y="62"/>
                    <a:pt x="1453" y="74"/>
                  </a:cubicBezTo>
                  <a:cubicBezTo>
                    <a:pt x="1454" y="75"/>
                    <a:pt x="1454" y="75"/>
                    <a:pt x="1454" y="75"/>
                  </a:cubicBezTo>
                  <a:cubicBezTo>
                    <a:pt x="1469" y="88"/>
                    <a:pt x="1479" y="102"/>
                    <a:pt x="1484" y="116"/>
                  </a:cubicBezTo>
                  <a:cubicBezTo>
                    <a:pt x="1484" y="117"/>
                    <a:pt x="1484" y="117"/>
                    <a:pt x="1485" y="117"/>
                  </a:cubicBezTo>
                  <a:cubicBezTo>
                    <a:pt x="1488" y="126"/>
                    <a:pt x="1489" y="135"/>
                    <a:pt x="1489" y="145"/>
                  </a:cubicBezTo>
                  <a:cubicBezTo>
                    <a:pt x="1489" y="151"/>
                    <a:pt x="1488" y="157"/>
                    <a:pt x="1487" y="163"/>
                  </a:cubicBezTo>
                  <a:cubicBezTo>
                    <a:pt x="1487" y="163"/>
                    <a:pt x="1487" y="164"/>
                    <a:pt x="1487" y="164"/>
                  </a:cubicBezTo>
                  <a:cubicBezTo>
                    <a:pt x="1484" y="178"/>
                    <a:pt x="1479" y="193"/>
                    <a:pt x="1471" y="207"/>
                  </a:cubicBezTo>
                  <a:cubicBezTo>
                    <a:pt x="1470" y="208"/>
                    <a:pt x="1470" y="208"/>
                    <a:pt x="1470" y="209"/>
                  </a:cubicBezTo>
                  <a:cubicBezTo>
                    <a:pt x="1457" y="232"/>
                    <a:pt x="1438" y="255"/>
                    <a:pt x="1416" y="278"/>
                  </a:cubicBezTo>
                  <a:cubicBezTo>
                    <a:pt x="1414" y="279"/>
                    <a:pt x="1413" y="280"/>
                    <a:pt x="1412" y="281"/>
                  </a:cubicBezTo>
                  <a:cubicBezTo>
                    <a:pt x="1398" y="296"/>
                    <a:pt x="1382" y="310"/>
                    <a:pt x="1365" y="323"/>
                  </a:cubicBezTo>
                  <a:cubicBezTo>
                    <a:pt x="1348" y="337"/>
                    <a:pt x="1337" y="355"/>
                    <a:pt x="1332" y="376"/>
                  </a:cubicBezTo>
                  <a:cubicBezTo>
                    <a:pt x="1332" y="376"/>
                    <a:pt x="1331" y="376"/>
                    <a:pt x="1331" y="377"/>
                  </a:cubicBezTo>
                  <a:cubicBezTo>
                    <a:pt x="1329" y="387"/>
                    <a:pt x="1328" y="397"/>
                    <a:pt x="1328" y="408"/>
                  </a:cubicBezTo>
                  <a:cubicBezTo>
                    <a:pt x="1328" y="419"/>
                    <a:pt x="1329" y="431"/>
                    <a:pt x="1331" y="444"/>
                  </a:cubicBezTo>
                  <a:cubicBezTo>
                    <a:pt x="1331" y="444"/>
                    <a:pt x="1332" y="445"/>
                    <a:pt x="1332" y="445"/>
                  </a:cubicBezTo>
                  <a:cubicBezTo>
                    <a:pt x="1334" y="460"/>
                    <a:pt x="1338" y="475"/>
                    <a:pt x="1344" y="492"/>
                  </a:cubicBezTo>
                  <a:cubicBezTo>
                    <a:pt x="1344" y="492"/>
                    <a:pt x="1344" y="492"/>
                    <a:pt x="1344" y="493"/>
                  </a:cubicBezTo>
                  <a:cubicBezTo>
                    <a:pt x="1349" y="507"/>
                    <a:pt x="1354" y="522"/>
                    <a:pt x="1361" y="537"/>
                  </a:cubicBezTo>
                  <a:cubicBezTo>
                    <a:pt x="1361" y="537"/>
                    <a:pt x="1361" y="538"/>
                    <a:pt x="1361" y="538"/>
                  </a:cubicBezTo>
                  <a:cubicBezTo>
                    <a:pt x="1367" y="552"/>
                    <a:pt x="1374" y="567"/>
                    <a:pt x="1381" y="582"/>
                  </a:cubicBezTo>
                  <a:cubicBezTo>
                    <a:pt x="1381" y="582"/>
                    <a:pt x="1381" y="583"/>
                    <a:pt x="1381" y="583"/>
                  </a:cubicBezTo>
                  <a:cubicBezTo>
                    <a:pt x="1388" y="598"/>
                    <a:pt x="1396" y="613"/>
                    <a:pt x="1404" y="629"/>
                  </a:cubicBezTo>
                  <a:cubicBezTo>
                    <a:pt x="1404" y="629"/>
                    <a:pt x="1404" y="629"/>
                    <a:pt x="1404" y="630"/>
                  </a:cubicBezTo>
                  <a:cubicBezTo>
                    <a:pt x="1413" y="646"/>
                    <a:pt x="1421" y="662"/>
                    <a:pt x="1430" y="678"/>
                  </a:cubicBezTo>
                  <a:cubicBezTo>
                    <a:pt x="1430" y="679"/>
                    <a:pt x="1431" y="679"/>
                    <a:pt x="1431" y="679"/>
                  </a:cubicBezTo>
                  <a:cubicBezTo>
                    <a:pt x="1440" y="697"/>
                    <a:pt x="1450" y="715"/>
                    <a:pt x="1460" y="733"/>
                  </a:cubicBezTo>
                  <a:cubicBezTo>
                    <a:pt x="1460" y="734"/>
                    <a:pt x="1460" y="734"/>
                    <a:pt x="1461" y="735"/>
                  </a:cubicBezTo>
                  <a:cubicBezTo>
                    <a:pt x="1472" y="756"/>
                    <a:pt x="1484" y="777"/>
                    <a:pt x="1494" y="798"/>
                  </a:cubicBezTo>
                  <a:cubicBezTo>
                    <a:pt x="1495" y="798"/>
                    <a:pt x="1495" y="799"/>
                    <a:pt x="1495" y="799"/>
                  </a:cubicBezTo>
                  <a:cubicBezTo>
                    <a:pt x="1500" y="809"/>
                    <a:pt x="1505" y="819"/>
                    <a:pt x="1510" y="828"/>
                  </a:cubicBezTo>
                  <a:cubicBezTo>
                    <a:pt x="1520" y="848"/>
                    <a:pt x="1529" y="868"/>
                    <a:pt x="1537" y="889"/>
                  </a:cubicBezTo>
                  <a:cubicBezTo>
                    <a:pt x="1538" y="889"/>
                    <a:pt x="1538" y="890"/>
                    <a:pt x="1538" y="891"/>
                  </a:cubicBezTo>
                  <a:cubicBezTo>
                    <a:pt x="1548" y="915"/>
                    <a:pt x="1557" y="939"/>
                    <a:pt x="1565" y="963"/>
                  </a:cubicBezTo>
                  <a:cubicBezTo>
                    <a:pt x="1566" y="965"/>
                    <a:pt x="1566" y="967"/>
                    <a:pt x="1567" y="969"/>
                  </a:cubicBezTo>
                  <a:cubicBezTo>
                    <a:pt x="1570" y="978"/>
                    <a:pt x="1574" y="988"/>
                    <a:pt x="1577" y="998"/>
                  </a:cubicBezTo>
                  <a:cubicBezTo>
                    <a:pt x="1578" y="1002"/>
                    <a:pt x="1580" y="1007"/>
                    <a:pt x="1581" y="1011"/>
                  </a:cubicBezTo>
                  <a:cubicBezTo>
                    <a:pt x="1587" y="1027"/>
                    <a:pt x="1592" y="1043"/>
                    <a:pt x="1598" y="1059"/>
                  </a:cubicBezTo>
                  <a:cubicBezTo>
                    <a:pt x="1600" y="1064"/>
                    <a:pt x="1602" y="1069"/>
                    <a:pt x="1604" y="1074"/>
                  </a:cubicBezTo>
                  <a:cubicBezTo>
                    <a:pt x="1595" y="1050"/>
                    <a:pt x="1587" y="1024"/>
                    <a:pt x="1578" y="998"/>
                  </a:cubicBezTo>
                  <a:cubicBezTo>
                    <a:pt x="1577" y="994"/>
                    <a:pt x="1575" y="990"/>
                    <a:pt x="1574" y="986"/>
                  </a:cubicBezTo>
                  <a:cubicBezTo>
                    <a:pt x="1571" y="978"/>
                    <a:pt x="1569" y="971"/>
                    <a:pt x="1566" y="963"/>
                  </a:cubicBezTo>
                  <a:cubicBezTo>
                    <a:pt x="1565" y="961"/>
                    <a:pt x="1565" y="959"/>
                    <a:pt x="1564" y="957"/>
                  </a:cubicBezTo>
                  <a:cubicBezTo>
                    <a:pt x="1556" y="934"/>
                    <a:pt x="1548" y="911"/>
                    <a:pt x="1538" y="888"/>
                  </a:cubicBezTo>
                  <a:cubicBezTo>
                    <a:pt x="1538" y="888"/>
                    <a:pt x="1538" y="887"/>
                    <a:pt x="1537" y="886"/>
                  </a:cubicBezTo>
                  <a:cubicBezTo>
                    <a:pt x="1529" y="866"/>
                    <a:pt x="1520" y="847"/>
                    <a:pt x="1511" y="828"/>
                  </a:cubicBezTo>
                  <a:cubicBezTo>
                    <a:pt x="1506" y="818"/>
                    <a:pt x="1501" y="808"/>
                    <a:pt x="1495" y="798"/>
                  </a:cubicBezTo>
                  <a:cubicBezTo>
                    <a:pt x="1495" y="797"/>
                    <a:pt x="1495" y="797"/>
                    <a:pt x="1495" y="796"/>
                  </a:cubicBezTo>
                  <a:cubicBezTo>
                    <a:pt x="1484" y="775"/>
                    <a:pt x="1472" y="754"/>
                    <a:pt x="1461" y="733"/>
                  </a:cubicBezTo>
                  <a:cubicBezTo>
                    <a:pt x="1461" y="733"/>
                    <a:pt x="1461" y="732"/>
                    <a:pt x="1460" y="732"/>
                  </a:cubicBezTo>
                  <a:cubicBezTo>
                    <a:pt x="1451" y="714"/>
                    <a:pt x="1441" y="696"/>
                    <a:pt x="1431" y="678"/>
                  </a:cubicBezTo>
                  <a:cubicBezTo>
                    <a:pt x="1431" y="678"/>
                    <a:pt x="1431" y="677"/>
                    <a:pt x="1431" y="677"/>
                  </a:cubicBezTo>
                  <a:cubicBezTo>
                    <a:pt x="1422" y="661"/>
                    <a:pt x="1413" y="645"/>
                    <a:pt x="1405" y="629"/>
                  </a:cubicBezTo>
                  <a:cubicBezTo>
                    <a:pt x="1405" y="628"/>
                    <a:pt x="1405" y="628"/>
                    <a:pt x="1405" y="627"/>
                  </a:cubicBezTo>
                  <a:cubicBezTo>
                    <a:pt x="1397" y="612"/>
                    <a:pt x="1389" y="597"/>
                    <a:pt x="1382" y="582"/>
                  </a:cubicBezTo>
                  <a:cubicBezTo>
                    <a:pt x="1382" y="582"/>
                    <a:pt x="1382" y="581"/>
                    <a:pt x="1381" y="581"/>
                  </a:cubicBezTo>
                  <a:cubicBezTo>
                    <a:pt x="1374" y="566"/>
                    <a:pt x="1368" y="552"/>
                    <a:pt x="1362" y="537"/>
                  </a:cubicBezTo>
                  <a:cubicBezTo>
                    <a:pt x="1362" y="537"/>
                    <a:pt x="1362" y="537"/>
                    <a:pt x="1361" y="536"/>
                  </a:cubicBezTo>
                  <a:cubicBezTo>
                    <a:pt x="1355" y="521"/>
                    <a:pt x="1349" y="506"/>
                    <a:pt x="1345" y="492"/>
                  </a:cubicBezTo>
                  <a:cubicBezTo>
                    <a:pt x="1345" y="492"/>
                    <a:pt x="1345" y="491"/>
                    <a:pt x="1344" y="491"/>
                  </a:cubicBezTo>
                  <a:cubicBezTo>
                    <a:pt x="1339" y="475"/>
                    <a:pt x="1335" y="459"/>
                    <a:pt x="1332" y="444"/>
                  </a:cubicBezTo>
                  <a:cubicBezTo>
                    <a:pt x="1332" y="444"/>
                    <a:pt x="1332" y="444"/>
                    <a:pt x="1332" y="443"/>
                  </a:cubicBezTo>
                  <a:cubicBezTo>
                    <a:pt x="1330" y="431"/>
                    <a:pt x="1329" y="419"/>
                    <a:pt x="1329" y="408"/>
                  </a:cubicBezTo>
                  <a:cubicBezTo>
                    <a:pt x="1329" y="397"/>
                    <a:pt x="1330" y="386"/>
                    <a:pt x="1333" y="376"/>
                  </a:cubicBezTo>
                  <a:cubicBezTo>
                    <a:pt x="1333" y="376"/>
                    <a:pt x="1333" y="375"/>
                    <a:pt x="1333" y="375"/>
                  </a:cubicBezTo>
                  <a:cubicBezTo>
                    <a:pt x="1338" y="355"/>
                    <a:pt x="1349" y="337"/>
                    <a:pt x="1366" y="324"/>
                  </a:cubicBezTo>
                  <a:cubicBezTo>
                    <a:pt x="1384" y="309"/>
                    <a:pt x="1401" y="294"/>
                    <a:pt x="1416" y="279"/>
                  </a:cubicBezTo>
                  <a:cubicBezTo>
                    <a:pt x="1417" y="278"/>
                    <a:pt x="1419" y="276"/>
                    <a:pt x="1420" y="275"/>
                  </a:cubicBezTo>
                  <a:cubicBezTo>
                    <a:pt x="1441" y="253"/>
                    <a:pt x="1459" y="230"/>
                    <a:pt x="1472" y="208"/>
                  </a:cubicBezTo>
                  <a:cubicBezTo>
                    <a:pt x="1472" y="207"/>
                    <a:pt x="1472" y="207"/>
                    <a:pt x="1472" y="206"/>
                  </a:cubicBezTo>
                  <a:cubicBezTo>
                    <a:pt x="1480" y="192"/>
                    <a:pt x="1486" y="177"/>
                    <a:pt x="1488" y="163"/>
                  </a:cubicBezTo>
                  <a:cubicBezTo>
                    <a:pt x="1488" y="163"/>
                    <a:pt x="1488" y="162"/>
                    <a:pt x="1489" y="162"/>
                  </a:cubicBezTo>
                  <a:cubicBezTo>
                    <a:pt x="1489" y="156"/>
                    <a:pt x="1490" y="150"/>
                    <a:pt x="1490" y="145"/>
                  </a:cubicBezTo>
                  <a:cubicBezTo>
                    <a:pt x="1490" y="135"/>
                    <a:pt x="1488" y="126"/>
                    <a:pt x="1485" y="117"/>
                  </a:cubicBezTo>
                  <a:cubicBezTo>
                    <a:pt x="1485" y="116"/>
                    <a:pt x="1485" y="116"/>
                    <a:pt x="1485" y="116"/>
                  </a:cubicBezTo>
                  <a:cubicBezTo>
                    <a:pt x="1480" y="101"/>
                    <a:pt x="1470" y="87"/>
                    <a:pt x="1455" y="74"/>
                  </a:cubicBezTo>
                  <a:cubicBezTo>
                    <a:pt x="1455" y="74"/>
                    <a:pt x="1454" y="74"/>
                    <a:pt x="1454" y="73"/>
                  </a:cubicBezTo>
                  <a:cubicBezTo>
                    <a:pt x="1439" y="61"/>
                    <a:pt x="1420" y="50"/>
                    <a:pt x="1395" y="40"/>
                  </a:cubicBezTo>
                  <a:cubicBezTo>
                    <a:pt x="1395" y="40"/>
                    <a:pt x="1394" y="40"/>
                    <a:pt x="1394" y="39"/>
                  </a:cubicBezTo>
                  <a:cubicBezTo>
                    <a:pt x="1371" y="30"/>
                    <a:pt x="1343" y="22"/>
                    <a:pt x="1310" y="15"/>
                  </a:cubicBezTo>
                  <a:cubicBezTo>
                    <a:pt x="1309" y="15"/>
                    <a:pt x="1309" y="15"/>
                    <a:pt x="1309" y="15"/>
                  </a:cubicBezTo>
                  <a:cubicBezTo>
                    <a:pt x="1291" y="12"/>
                    <a:pt x="1272" y="9"/>
                    <a:pt x="1251" y="6"/>
                  </a:cubicBezTo>
                  <a:cubicBezTo>
                    <a:pt x="1251" y="6"/>
                    <a:pt x="1251" y="6"/>
                    <a:pt x="1250" y="6"/>
                  </a:cubicBezTo>
                  <a:cubicBezTo>
                    <a:pt x="1250" y="6"/>
                    <a:pt x="1250" y="6"/>
                    <a:pt x="1249" y="6"/>
                  </a:cubicBezTo>
                  <a:cubicBezTo>
                    <a:pt x="1249" y="6"/>
                    <a:pt x="1248" y="5"/>
                    <a:pt x="1248" y="5"/>
                  </a:cubicBezTo>
                  <a:cubicBezTo>
                    <a:pt x="1247" y="5"/>
                    <a:pt x="1246" y="5"/>
                    <a:pt x="1244" y="5"/>
                  </a:cubicBezTo>
                  <a:cubicBezTo>
                    <a:pt x="1244" y="5"/>
                    <a:pt x="1244" y="5"/>
                    <a:pt x="1243" y="5"/>
                  </a:cubicBezTo>
                  <a:cubicBezTo>
                    <a:pt x="1243" y="5"/>
                    <a:pt x="1243" y="5"/>
                    <a:pt x="1243" y="5"/>
                  </a:cubicBezTo>
                  <a:cubicBezTo>
                    <a:pt x="1242" y="5"/>
                    <a:pt x="1242" y="5"/>
                    <a:pt x="1242" y="5"/>
                  </a:cubicBezTo>
                  <a:cubicBezTo>
                    <a:pt x="1242" y="5"/>
                    <a:pt x="1241" y="5"/>
                    <a:pt x="1241" y="5"/>
                  </a:cubicBezTo>
                  <a:cubicBezTo>
                    <a:pt x="1241" y="4"/>
                    <a:pt x="1240" y="4"/>
                    <a:pt x="1240" y="4"/>
                  </a:cubicBezTo>
                  <a:cubicBezTo>
                    <a:pt x="1239" y="4"/>
                    <a:pt x="1238" y="4"/>
                    <a:pt x="1237" y="4"/>
                  </a:cubicBezTo>
                  <a:cubicBezTo>
                    <a:pt x="1237" y="4"/>
                    <a:pt x="1236" y="4"/>
                    <a:pt x="1236" y="4"/>
                  </a:cubicBezTo>
                  <a:cubicBezTo>
                    <a:pt x="1236" y="4"/>
                    <a:pt x="1236" y="4"/>
                    <a:pt x="1236" y="4"/>
                  </a:cubicBezTo>
                  <a:cubicBezTo>
                    <a:pt x="1233" y="4"/>
                    <a:pt x="1231" y="3"/>
                    <a:pt x="1228" y="3"/>
                  </a:cubicBezTo>
                  <a:cubicBezTo>
                    <a:pt x="1228" y="3"/>
                    <a:pt x="1228" y="3"/>
                    <a:pt x="1227" y="3"/>
                  </a:cubicBezTo>
                  <a:cubicBezTo>
                    <a:pt x="1224" y="3"/>
                    <a:pt x="1222" y="2"/>
                    <a:pt x="1219" y="2"/>
                  </a:cubicBezTo>
                  <a:cubicBezTo>
                    <a:pt x="1219" y="2"/>
                    <a:pt x="1218" y="2"/>
                    <a:pt x="1218" y="2"/>
                  </a:cubicBezTo>
                  <a:cubicBezTo>
                    <a:pt x="1218" y="2"/>
                    <a:pt x="1218" y="2"/>
                    <a:pt x="1217" y="2"/>
                  </a:cubicBezTo>
                  <a:cubicBezTo>
                    <a:pt x="1216" y="2"/>
                    <a:pt x="1214" y="2"/>
                    <a:pt x="1212" y="1"/>
                  </a:cubicBezTo>
                  <a:cubicBezTo>
                    <a:pt x="1212" y="1"/>
                    <a:pt x="1212" y="1"/>
                    <a:pt x="1211" y="1"/>
                  </a:cubicBezTo>
                  <a:cubicBezTo>
                    <a:pt x="1210" y="1"/>
                    <a:pt x="1210" y="1"/>
                    <a:pt x="1209" y="1"/>
                  </a:cubicBezTo>
                  <a:cubicBezTo>
                    <a:pt x="1208" y="1"/>
                    <a:pt x="1208" y="1"/>
                    <a:pt x="1208" y="1"/>
                  </a:cubicBezTo>
                  <a:cubicBezTo>
                    <a:pt x="1208" y="1"/>
                    <a:pt x="1208" y="1"/>
                    <a:pt x="1207" y="1"/>
                  </a:cubicBezTo>
                  <a:cubicBezTo>
                    <a:pt x="1207" y="1"/>
                    <a:pt x="1207" y="1"/>
                    <a:pt x="1206" y="1"/>
                  </a:cubicBezTo>
                  <a:cubicBezTo>
                    <a:pt x="1203" y="1"/>
                    <a:pt x="1200" y="0"/>
                    <a:pt x="1197" y="0"/>
                  </a:cubicBezTo>
                  <a:cubicBezTo>
                    <a:pt x="1196" y="0"/>
                    <a:pt x="1196" y="0"/>
                    <a:pt x="1195" y="0"/>
                  </a:cubicBezTo>
                  <a:cubicBezTo>
                    <a:pt x="1194" y="0"/>
                    <a:pt x="1192" y="0"/>
                    <a:pt x="1190" y="0"/>
                  </a:cubicBezTo>
                  <a:cubicBezTo>
                    <a:pt x="1190" y="0"/>
                    <a:pt x="1189" y="0"/>
                    <a:pt x="1189" y="0"/>
                  </a:cubicBezTo>
                  <a:cubicBezTo>
                    <a:pt x="1188" y="0"/>
                    <a:pt x="1188" y="0"/>
                    <a:pt x="1187" y="0"/>
                  </a:cubicBezTo>
                  <a:cubicBezTo>
                    <a:pt x="1187" y="0"/>
                    <a:pt x="1186" y="0"/>
                    <a:pt x="1186" y="0"/>
                  </a:cubicBezTo>
                  <a:cubicBezTo>
                    <a:pt x="1182" y="0"/>
                    <a:pt x="1178" y="0"/>
                    <a:pt x="1174" y="0"/>
                  </a:cubicBezTo>
                  <a:moveTo>
                    <a:pt x="1032" y="39"/>
                  </a:moveTo>
                  <a:cubicBezTo>
                    <a:pt x="1031" y="39"/>
                    <a:pt x="1030" y="39"/>
                    <a:pt x="1030" y="39"/>
                  </a:cubicBezTo>
                  <a:cubicBezTo>
                    <a:pt x="1029" y="40"/>
                    <a:pt x="1029" y="40"/>
                    <a:pt x="1028" y="41"/>
                  </a:cubicBezTo>
                  <a:cubicBezTo>
                    <a:pt x="1027" y="41"/>
                    <a:pt x="1027" y="41"/>
                    <a:pt x="1026" y="42"/>
                  </a:cubicBezTo>
                  <a:cubicBezTo>
                    <a:pt x="1020" y="46"/>
                    <a:pt x="1015" y="50"/>
                    <a:pt x="1010" y="55"/>
                  </a:cubicBezTo>
                  <a:cubicBezTo>
                    <a:pt x="1009" y="56"/>
                    <a:pt x="1008" y="56"/>
                    <a:pt x="1008" y="57"/>
                  </a:cubicBezTo>
                  <a:cubicBezTo>
                    <a:pt x="1004" y="61"/>
                    <a:pt x="1000" y="64"/>
                    <a:pt x="997" y="68"/>
                  </a:cubicBezTo>
                  <a:cubicBezTo>
                    <a:pt x="997" y="68"/>
                    <a:pt x="998" y="68"/>
                    <a:pt x="998" y="68"/>
                  </a:cubicBezTo>
                  <a:cubicBezTo>
                    <a:pt x="1001" y="65"/>
                    <a:pt x="1004" y="62"/>
                    <a:pt x="1006" y="60"/>
                  </a:cubicBezTo>
                  <a:cubicBezTo>
                    <a:pt x="1007" y="59"/>
                    <a:pt x="1008" y="58"/>
                    <a:pt x="1009" y="58"/>
                  </a:cubicBezTo>
                  <a:cubicBezTo>
                    <a:pt x="1015" y="52"/>
                    <a:pt x="1021" y="47"/>
                    <a:pt x="1028" y="42"/>
                  </a:cubicBezTo>
                  <a:cubicBezTo>
                    <a:pt x="1029" y="41"/>
                    <a:pt x="1029" y="41"/>
                    <a:pt x="1030" y="40"/>
                  </a:cubicBezTo>
                  <a:cubicBezTo>
                    <a:pt x="1031" y="40"/>
                    <a:pt x="1031" y="39"/>
                    <a:pt x="1032" y="39"/>
                  </a:cubicBezTo>
                  <a:moveTo>
                    <a:pt x="997" y="69"/>
                  </a:moveTo>
                  <a:cubicBezTo>
                    <a:pt x="997" y="69"/>
                    <a:pt x="996" y="69"/>
                    <a:pt x="995" y="70"/>
                  </a:cubicBezTo>
                  <a:cubicBezTo>
                    <a:pt x="992" y="73"/>
                    <a:pt x="989" y="77"/>
                    <a:pt x="986" y="81"/>
                  </a:cubicBezTo>
                  <a:cubicBezTo>
                    <a:pt x="985" y="82"/>
                    <a:pt x="985" y="82"/>
                    <a:pt x="984" y="83"/>
                  </a:cubicBezTo>
                  <a:cubicBezTo>
                    <a:pt x="982" y="86"/>
                    <a:pt x="980" y="89"/>
                    <a:pt x="977" y="93"/>
                  </a:cubicBezTo>
                  <a:cubicBezTo>
                    <a:pt x="978" y="93"/>
                    <a:pt x="978" y="93"/>
                    <a:pt x="979" y="93"/>
                  </a:cubicBezTo>
                  <a:cubicBezTo>
                    <a:pt x="981" y="89"/>
                    <a:pt x="984" y="86"/>
                    <a:pt x="986" y="82"/>
                  </a:cubicBezTo>
                  <a:cubicBezTo>
                    <a:pt x="987" y="82"/>
                    <a:pt x="987" y="81"/>
                    <a:pt x="987" y="81"/>
                  </a:cubicBezTo>
                  <a:cubicBezTo>
                    <a:pt x="990" y="77"/>
                    <a:pt x="994" y="73"/>
                    <a:pt x="997" y="69"/>
                  </a:cubicBezTo>
                  <a:moveTo>
                    <a:pt x="978" y="94"/>
                  </a:moveTo>
                  <a:cubicBezTo>
                    <a:pt x="977" y="94"/>
                    <a:pt x="977" y="94"/>
                    <a:pt x="977" y="94"/>
                  </a:cubicBezTo>
                  <a:cubicBezTo>
                    <a:pt x="972" y="101"/>
                    <a:pt x="968" y="108"/>
                    <a:pt x="964" y="115"/>
                  </a:cubicBezTo>
                  <a:cubicBezTo>
                    <a:pt x="964" y="116"/>
                    <a:pt x="963" y="116"/>
                    <a:pt x="963" y="117"/>
                  </a:cubicBezTo>
                  <a:cubicBezTo>
                    <a:pt x="962" y="118"/>
                    <a:pt x="962" y="119"/>
                    <a:pt x="961" y="121"/>
                  </a:cubicBezTo>
                  <a:cubicBezTo>
                    <a:pt x="961" y="121"/>
                    <a:pt x="962" y="121"/>
                    <a:pt x="962" y="121"/>
                  </a:cubicBezTo>
                  <a:cubicBezTo>
                    <a:pt x="963" y="119"/>
                    <a:pt x="964" y="118"/>
                    <a:pt x="964" y="116"/>
                  </a:cubicBezTo>
                  <a:cubicBezTo>
                    <a:pt x="965" y="115"/>
                    <a:pt x="965" y="115"/>
                    <a:pt x="965" y="114"/>
                  </a:cubicBezTo>
                  <a:cubicBezTo>
                    <a:pt x="969" y="107"/>
                    <a:pt x="973" y="100"/>
                    <a:pt x="978" y="94"/>
                  </a:cubicBezTo>
                  <a:moveTo>
                    <a:pt x="961" y="122"/>
                  </a:moveTo>
                  <a:cubicBezTo>
                    <a:pt x="961" y="122"/>
                    <a:pt x="961" y="122"/>
                    <a:pt x="960" y="122"/>
                  </a:cubicBezTo>
                  <a:cubicBezTo>
                    <a:pt x="957" y="128"/>
                    <a:pt x="954" y="134"/>
                    <a:pt x="952" y="141"/>
                  </a:cubicBezTo>
                  <a:cubicBezTo>
                    <a:pt x="952" y="141"/>
                    <a:pt x="951" y="142"/>
                    <a:pt x="951" y="143"/>
                  </a:cubicBezTo>
                  <a:cubicBezTo>
                    <a:pt x="951" y="144"/>
                    <a:pt x="951" y="144"/>
                    <a:pt x="950" y="144"/>
                  </a:cubicBezTo>
                  <a:cubicBezTo>
                    <a:pt x="949" y="147"/>
                    <a:pt x="948" y="150"/>
                    <a:pt x="947" y="153"/>
                  </a:cubicBezTo>
                  <a:cubicBezTo>
                    <a:pt x="947" y="153"/>
                    <a:pt x="948" y="154"/>
                    <a:pt x="948" y="154"/>
                  </a:cubicBezTo>
                  <a:cubicBezTo>
                    <a:pt x="949" y="150"/>
                    <a:pt x="950" y="147"/>
                    <a:pt x="952" y="144"/>
                  </a:cubicBezTo>
                  <a:cubicBezTo>
                    <a:pt x="952" y="143"/>
                    <a:pt x="952" y="143"/>
                    <a:pt x="952" y="142"/>
                  </a:cubicBezTo>
                  <a:cubicBezTo>
                    <a:pt x="952" y="142"/>
                    <a:pt x="953" y="142"/>
                    <a:pt x="953" y="141"/>
                  </a:cubicBezTo>
                  <a:cubicBezTo>
                    <a:pt x="953" y="140"/>
                    <a:pt x="954" y="139"/>
                    <a:pt x="954" y="138"/>
                  </a:cubicBezTo>
                  <a:cubicBezTo>
                    <a:pt x="956" y="133"/>
                    <a:pt x="959" y="127"/>
                    <a:pt x="961" y="122"/>
                  </a:cubicBezTo>
                  <a:moveTo>
                    <a:pt x="947" y="154"/>
                  </a:moveTo>
                  <a:cubicBezTo>
                    <a:pt x="946" y="155"/>
                    <a:pt x="946" y="155"/>
                    <a:pt x="946" y="156"/>
                  </a:cubicBezTo>
                  <a:cubicBezTo>
                    <a:pt x="945" y="160"/>
                    <a:pt x="943" y="164"/>
                    <a:pt x="942" y="168"/>
                  </a:cubicBezTo>
                  <a:cubicBezTo>
                    <a:pt x="942" y="168"/>
                    <a:pt x="942" y="168"/>
                    <a:pt x="942" y="169"/>
                  </a:cubicBezTo>
                  <a:cubicBezTo>
                    <a:pt x="942" y="169"/>
                    <a:pt x="942" y="169"/>
                    <a:pt x="941" y="170"/>
                  </a:cubicBezTo>
                  <a:cubicBezTo>
                    <a:pt x="941" y="171"/>
                    <a:pt x="941" y="171"/>
                    <a:pt x="941" y="172"/>
                  </a:cubicBezTo>
                  <a:cubicBezTo>
                    <a:pt x="939" y="177"/>
                    <a:pt x="938" y="181"/>
                    <a:pt x="937" y="186"/>
                  </a:cubicBezTo>
                  <a:cubicBezTo>
                    <a:pt x="937" y="186"/>
                    <a:pt x="938" y="186"/>
                    <a:pt x="938" y="186"/>
                  </a:cubicBezTo>
                  <a:cubicBezTo>
                    <a:pt x="939" y="181"/>
                    <a:pt x="941" y="175"/>
                    <a:pt x="942" y="170"/>
                  </a:cubicBezTo>
                  <a:cubicBezTo>
                    <a:pt x="943" y="170"/>
                    <a:pt x="943" y="169"/>
                    <a:pt x="943" y="168"/>
                  </a:cubicBezTo>
                  <a:cubicBezTo>
                    <a:pt x="943" y="168"/>
                    <a:pt x="943" y="167"/>
                    <a:pt x="943" y="167"/>
                  </a:cubicBezTo>
                  <a:cubicBezTo>
                    <a:pt x="944" y="164"/>
                    <a:pt x="945" y="160"/>
                    <a:pt x="947" y="157"/>
                  </a:cubicBezTo>
                  <a:cubicBezTo>
                    <a:pt x="947" y="157"/>
                    <a:pt x="947" y="156"/>
                    <a:pt x="947" y="156"/>
                  </a:cubicBezTo>
                  <a:cubicBezTo>
                    <a:pt x="947" y="155"/>
                    <a:pt x="947" y="155"/>
                    <a:pt x="948" y="155"/>
                  </a:cubicBezTo>
                  <a:cubicBezTo>
                    <a:pt x="947" y="154"/>
                    <a:pt x="947" y="154"/>
                    <a:pt x="947" y="154"/>
                  </a:cubicBezTo>
                  <a:moveTo>
                    <a:pt x="937" y="186"/>
                  </a:moveTo>
                  <a:cubicBezTo>
                    <a:pt x="936" y="188"/>
                    <a:pt x="936" y="189"/>
                    <a:pt x="936" y="190"/>
                  </a:cubicBezTo>
                  <a:cubicBezTo>
                    <a:pt x="936" y="191"/>
                    <a:pt x="936" y="191"/>
                    <a:pt x="935" y="192"/>
                  </a:cubicBezTo>
                  <a:cubicBezTo>
                    <a:pt x="935" y="194"/>
                    <a:pt x="934" y="197"/>
                    <a:pt x="934" y="199"/>
                  </a:cubicBezTo>
                  <a:cubicBezTo>
                    <a:pt x="934" y="199"/>
                    <a:pt x="934" y="200"/>
                    <a:pt x="933" y="200"/>
                  </a:cubicBezTo>
                  <a:cubicBezTo>
                    <a:pt x="933" y="201"/>
                    <a:pt x="933" y="201"/>
                    <a:pt x="933" y="202"/>
                  </a:cubicBezTo>
                  <a:cubicBezTo>
                    <a:pt x="933" y="202"/>
                    <a:pt x="933" y="203"/>
                    <a:pt x="933" y="203"/>
                  </a:cubicBezTo>
                  <a:cubicBezTo>
                    <a:pt x="932" y="206"/>
                    <a:pt x="932" y="208"/>
                    <a:pt x="931" y="211"/>
                  </a:cubicBezTo>
                  <a:cubicBezTo>
                    <a:pt x="931" y="211"/>
                    <a:pt x="931" y="211"/>
                    <a:pt x="931" y="212"/>
                  </a:cubicBezTo>
                  <a:cubicBezTo>
                    <a:pt x="931" y="212"/>
                    <a:pt x="931" y="212"/>
                    <a:pt x="931" y="213"/>
                  </a:cubicBezTo>
                  <a:cubicBezTo>
                    <a:pt x="931" y="213"/>
                    <a:pt x="931" y="214"/>
                    <a:pt x="931" y="214"/>
                  </a:cubicBezTo>
                  <a:cubicBezTo>
                    <a:pt x="930" y="216"/>
                    <a:pt x="930" y="218"/>
                    <a:pt x="929" y="220"/>
                  </a:cubicBezTo>
                  <a:cubicBezTo>
                    <a:pt x="930" y="220"/>
                    <a:pt x="930" y="220"/>
                    <a:pt x="930" y="220"/>
                  </a:cubicBezTo>
                  <a:cubicBezTo>
                    <a:pt x="931" y="218"/>
                    <a:pt x="931" y="216"/>
                    <a:pt x="932" y="214"/>
                  </a:cubicBezTo>
                  <a:cubicBezTo>
                    <a:pt x="932" y="213"/>
                    <a:pt x="932" y="213"/>
                    <a:pt x="932" y="212"/>
                  </a:cubicBezTo>
                  <a:cubicBezTo>
                    <a:pt x="932" y="212"/>
                    <a:pt x="932" y="212"/>
                    <a:pt x="932" y="211"/>
                  </a:cubicBezTo>
                  <a:cubicBezTo>
                    <a:pt x="932" y="211"/>
                    <a:pt x="932" y="210"/>
                    <a:pt x="932" y="210"/>
                  </a:cubicBezTo>
                  <a:cubicBezTo>
                    <a:pt x="933" y="207"/>
                    <a:pt x="933" y="205"/>
                    <a:pt x="934" y="202"/>
                  </a:cubicBezTo>
                  <a:cubicBezTo>
                    <a:pt x="934" y="202"/>
                    <a:pt x="934" y="201"/>
                    <a:pt x="934" y="200"/>
                  </a:cubicBezTo>
                  <a:cubicBezTo>
                    <a:pt x="934" y="200"/>
                    <a:pt x="934" y="200"/>
                    <a:pt x="934" y="200"/>
                  </a:cubicBezTo>
                  <a:cubicBezTo>
                    <a:pt x="935" y="200"/>
                    <a:pt x="935" y="199"/>
                    <a:pt x="935" y="199"/>
                  </a:cubicBezTo>
                  <a:cubicBezTo>
                    <a:pt x="935" y="196"/>
                    <a:pt x="936" y="194"/>
                    <a:pt x="937" y="191"/>
                  </a:cubicBezTo>
                  <a:cubicBezTo>
                    <a:pt x="937" y="191"/>
                    <a:pt x="937" y="190"/>
                    <a:pt x="937" y="190"/>
                  </a:cubicBezTo>
                  <a:cubicBezTo>
                    <a:pt x="937" y="189"/>
                    <a:pt x="937" y="188"/>
                    <a:pt x="938" y="187"/>
                  </a:cubicBezTo>
                  <a:cubicBezTo>
                    <a:pt x="937" y="187"/>
                    <a:pt x="937" y="187"/>
                    <a:pt x="937" y="186"/>
                  </a:cubicBezTo>
                  <a:moveTo>
                    <a:pt x="929" y="221"/>
                  </a:moveTo>
                  <a:cubicBezTo>
                    <a:pt x="928" y="226"/>
                    <a:pt x="928" y="231"/>
                    <a:pt x="927" y="235"/>
                  </a:cubicBezTo>
                  <a:cubicBezTo>
                    <a:pt x="927" y="236"/>
                    <a:pt x="927" y="236"/>
                    <a:pt x="927" y="236"/>
                  </a:cubicBezTo>
                  <a:cubicBezTo>
                    <a:pt x="926" y="243"/>
                    <a:pt x="925" y="249"/>
                    <a:pt x="924" y="256"/>
                  </a:cubicBezTo>
                  <a:cubicBezTo>
                    <a:pt x="924" y="256"/>
                    <a:pt x="924" y="257"/>
                    <a:pt x="924" y="257"/>
                  </a:cubicBezTo>
                  <a:cubicBezTo>
                    <a:pt x="924" y="258"/>
                    <a:pt x="924" y="258"/>
                    <a:pt x="924" y="258"/>
                  </a:cubicBezTo>
                  <a:cubicBezTo>
                    <a:pt x="924" y="259"/>
                    <a:pt x="924" y="259"/>
                    <a:pt x="924" y="259"/>
                  </a:cubicBezTo>
                  <a:cubicBezTo>
                    <a:pt x="923" y="266"/>
                    <a:pt x="922" y="273"/>
                    <a:pt x="922" y="280"/>
                  </a:cubicBezTo>
                  <a:cubicBezTo>
                    <a:pt x="922" y="280"/>
                    <a:pt x="922" y="281"/>
                    <a:pt x="922" y="282"/>
                  </a:cubicBezTo>
                  <a:cubicBezTo>
                    <a:pt x="921" y="284"/>
                    <a:pt x="921" y="287"/>
                    <a:pt x="921" y="289"/>
                  </a:cubicBezTo>
                  <a:cubicBezTo>
                    <a:pt x="921" y="290"/>
                    <a:pt x="921" y="290"/>
                    <a:pt x="921" y="290"/>
                  </a:cubicBezTo>
                  <a:cubicBezTo>
                    <a:pt x="921" y="293"/>
                    <a:pt x="921" y="296"/>
                    <a:pt x="920" y="298"/>
                  </a:cubicBezTo>
                  <a:cubicBezTo>
                    <a:pt x="920" y="298"/>
                    <a:pt x="920" y="298"/>
                    <a:pt x="920" y="299"/>
                  </a:cubicBezTo>
                  <a:cubicBezTo>
                    <a:pt x="920" y="299"/>
                    <a:pt x="920" y="300"/>
                    <a:pt x="920" y="301"/>
                  </a:cubicBezTo>
                  <a:cubicBezTo>
                    <a:pt x="920" y="308"/>
                    <a:pt x="919" y="316"/>
                    <a:pt x="919" y="323"/>
                  </a:cubicBezTo>
                  <a:cubicBezTo>
                    <a:pt x="919" y="324"/>
                    <a:pt x="919" y="324"/>
                    <a:pt x="919" y="325"/>
                  </a:cubicBezTo>
                  <a:cubicBezTo>
                    <a:pt x="919" y="330"/>
                    <a:pt x="919" y="335"/>
                    <a:pt x="918" y="340"/>
                  </a:cubicBezTo>
                  <a:cubicBezTo>
                    <a:pt x="918" y="340"/>
                    <a:pt x="918" y="341"/>
                    <a:pt x="918" y="341"/>
                  </a:cubicBezTo>
                  <a:cubicBezTo>
                    <a:pt x="918" y="343"/>
                    <a:pt x="918" y="344"/>
                    <a:pt x="918" y="345"/>
                  </a:cubicBezTo>
                  <a:cubicBezTo>
                    <a:pt x="918" y="346"/>
                    <a:pt x="918" y="346"/>
                    <a:pt x="918" y="346"/>
                  </a:cubicBezTo>
                  <a:cubicBezTo>
                    <a:pt x="918" y="351"/>
                    <a:pt x="918" y="356"/>
                    <a:pt x="918" y="360"/>
                  </a:cubicBezTo>
                  <a:cubicBezTo>
                    <a:pt x="917" y="368"/>
                    <a:pt x="916" y="375"/>
                    <a:pt x="914" y="381"/>
                  </a:cubicBezTo>
                  <a:cubicBezTo>
                    <a:pt x="914" y="381"/>
                    <a:pt x="914" y="381"/>
                    <a:pt x="914" y="382"/>
                  </a:cubicBezTo>
                  <a:cubicBezTo>
                    <a:pt x="913" y="382"/>
                    <a:pt x="913" y="383"/>
                    <a:pt x="913" y="383"/>
                  </a:cubicBezTo>
                  <a:cubicBezTo>
                    <a:pt x="913" y="383"/>
                    <a:pt x="913" y="384"/>
                    <a:pt x="913" y="384"/>
                  </a:cubicBezTo>
                  <a:cubicBezTo>
                    <a:pt x="908" y="395"/>
                    <a:pt x="901" y="402"/>
                    <a:pt x="893" y="405"/>
                  </a:cubicBezTo>
                  <a:cubicBezTo>
                    <a:pt x="892" y="406"/>
                    <a:pt x="891" y="406"/>
                    <a:pt x="891" y="406"/>
                  </a:cubicBezTo>
                  <a:cubicBezTo>
                    <a:pt x="888" y="407"/>
                    <a:pt x="886" y="407"/>
                    <a:pt x="883" y="407"/>
                  </a:cubicBezTo>
                  <a:cubicBezTo>
                    <a:pt x="879" y="407"/>
                    <a:pt x="875" y="406"/>
                    <a:pt x="870" y="404"/>
                  </a:cubicBezTo>
                  <a:cubicBezTo>
                    <a:pt x="870" y="404"/>
                    <a:pt x="870" y="404"/>
                    <a:pt x="869" y="404"/>
                  </a:cubicBezTo>
                  <a:cubicBezTo>
                    <a:pt x="867" y="402"/>
                    <a:pt x="864" y="401"/>
                    <a:pt x="862" y="399"/>
                  </a:cubicBezTo>
                  <a:cubicBezTo>
                    <a:pt x="862" y="400"/>
                    <a:pt x="861" y="400"/>
                    <a:pt x="861" y="400"/>
                  </a:cubicBezTo>
                  <a:cubicBezTo>
                    <a:pt x="864" y="402"/>
                    <a:pt x="866" y="403"/>
                    <a:pt x="868" y="404"/>
                  </a:cubicBezTo>
                  <a:cubicBezTo>
                    <a:pt x="868" y="404"/>
                    <a:pt x="869" y="404"/>
                    <a:pt x="869" y="405"/>
                  </a:cubicBezTo>
                  <a:cubicBezTo>
                    <a:pt x="874" y="407"/>
                    <a:pt x="879" y="408"/>
                    <a:pt x="883" y="408"/>
                  </a:cubicBezTo>
                  <a:cubicBezTo>
                    <a:pt x="885" y="408"/>
                    <a:pt x="887" y="408"/>
                    <a:pt x="889" y="407"/>
                  </a:cubicBezTo>
                  <a:cubicBezTo>
                    <a:pt x="890" y="407"/>
                    <a:pt x="891" y="407"/>
                    <a:pt x="891" y="407"/>
                  </a:cubicBezTo>
                  <a:cubicBezTo>
                    <a:pt x="901" y="404"/>
                    <a:pt x="909" y="396"/>
                    <a:pt x="914" y="384"/>
                  </a:cubicBezTo>
                  <a:cubicBezTo>
                    <a:pt x="914" y="384"/>
                    <a:pt x="914" y="384"/>
                    <a:pt x="914" y="383"/>
                  </a:cubicBezTo>
                  <a:cubicBezTo>
                    <a:pt x="914" y="383"/>
                    <a:pt x="914" y="383"/>
                    <a:pt x="914" y="382"/>
                  </a:cubicBezTo>
                  <a:cubicBezTo>
                    <a:pt x="915" y="382"/>
                    <a:pt x="915" y="382"/>
                    <a:pt x="915" y="381"/>
                  </a:cubicBezTo>
                  <a:cubicBezTo>
                    <a:pt x="915" y="380"/>
                    <a:pt x="915" y="379"/>
                    <a:pt x="916" y="379"/>
                  </a:cubicBezTo>
                  <a:cubicBezTo>
                    <a:pt x="917" y="373"/>
                    <a:pt x="918" y="367"/>
                    <a:pt x="919" y="360"/>
                  </a:cubicBezTo>
                  <a:cubicBezTo>
                    <a:pt x="919" y="356"/>
                    <a:pt x="919" y="351"/>
                    <a:pt x="919" y="346"/>
                  </a:cubicBezTo>
                  <a:cubicBezTo>
                    <a:pt x="919" y="345"/>
                    <a:pt x="919" y="345"/>
                    <a:pt x="919" y="345"/>
                  </a:cubicBezTo>
                  <a:cubicBezTo>
                    <a:pt x="919" y="343"/>
                    <a:pt x="919" y="342"/>
                    <a:pt x="919" y="340"/>
                  </a:cubicBezTo>
                  <a:cubicBezTo>
                    <a:pt x="919" y="340"/>
                    <a:pt x="919" y="339"/>
                    <a:pt x="919" y="339"/>
                  </a:cubicBezTo>
                  <a:cubicBezTo>
                    <a:pt x="920" y="334"/>
                    <a:pt x="920" y="329"/>
                    <a:pt x="920" y="324"/>
                  </a:cubicBezTo>
                  <a:cubicBezTo>
                    <a:pt x="920" y="323"/>
                    <a:pt x="920" y="323"/>
                    <a:pt x="920" y="322"/>
                  </a:cubicBezTo>
                  <a:cubicBezTo>
                    <a:pt x="921" y="315"/>
                    <a:pt x="921" y="307"/>
                    <a:pt x="921" y="299"/>
                  </a:cubicBezTo>
                  <a:cubicBezTo>
                    <a:pt x="921" y="298"/>
                    <a:pt x="921" y="298"/>
                    <a:pt x="922" y="297"/>
                  </a:cubicBezTo>
                  <a:cubicBezTo>
                    <a:pt x="922" y="295"/>
                    <a:pt x="922" y="293"/>
                    <a:pt x="922" y="291"/>
                  </a:cubicBezTo>
                  <a:cubicBezTo>
                    <a:pt x="922" y="291"/>
                    <a:pt x="922" y="290"/>
                    <a:pt x="922" y="290"/>
                  </a:cubicBezTo>
                  <a:cubicBezTo>
                    <a:pt x="922" y="287"/>
                    <a:pt x="923" y="283"/>
                    <a:pt x="923" y="280"/>
                  </a:cubicBezTo>
                  <a:cubicBezTo>
                    <a:pt x="923" y="279"/>
                    <a:pt x="923" y="279"/>
                    <a:pt x="923" y="278"/>
                  </a:cubicBezTo>
                  <a:cubicBezTo>
                    <a:pt x="923" y="272"/>
                    <a:pt x="924" y="266"/>
                    <a:pt x="925" y="259"/>
                  </a:cubicBezTo>
                  <a:cubicBezTo>
                    <a:pt x="925" y="259"/>
                    <a:pt x="925" y="259"/>
                    <a:pt x="925" y="258"/>
                  </a:cubicBezTo>
                  <a:cubicBezTo>
                    <a:pt x="925" y="257"/>
                    <a:pt x="925" y="257"/>
                    <a:pt x="925" y="256"/>
                  </a:cubicBezTo>
                  <a:cubicBezTo>
                    <a:pt x="925" y="255"/>
                    <a:pt x="925" y="255"/>
                    <a:pt x="925" y="254"/>
                  </a:cubicBezTo>
                  <a:cubicBezTo>
                    <a:pt x="926" y="248"/>
                    <a:pt x="927" y="242"/>
                    <a:pt x="928" y="236"/>
                  </a:cubicBezTo>
                  <a:cubicBezTo>
                    <a:pt x="928" y="236"/>
                    <a:pt x="928" y="235"/>
                    <a:pt x="928" y="235"/>
                  </a:cubicBezTo>
                  <a:cubicBezTo>
                    <a:pt x="929" y="230"/>
                    <a:pt x="929" y="226"/>
                    <a:pt x="930" y="221"/>
                  </a:cubicBezTo>
                  <a:cubicBezTo>
                    <a:pt x="930" y="221"/>
                    <a:pt x="930" y="221"/>
                    <a:pt x="929" y="221"/>
                  </a:cubicBezTo>
                  <a:moveTo>
                    <a:pt x="785" y="332"/>
                  </a:moveTo>
                  <a:cubicBezTo>
                    <a:pt x="785" y="332"/>
                    <a:pt x="785" y="332"/>
                    <a:pt x="785" y="332"/>
                  </a:cubicBezTo>
                  <a:cubicBezTo>
                    <a:pt x="785" y="332"/>
                    <a:pt x="785" y="332"/>
                    <a:pt x="784" y="332"/>
                  </a:cubicBezTo>
                  <a:cubicBezTo>
                    <a:pt x="781" y="332"/>
                    <a:pt x="778" y="333"/>
                    <a:pt x="775" y="333"/>
                  </a:cubicBezTo>
                  <a:cubicBezTo>
                    <a:pt x="775" y="333"/>
                    <a:pt x="774" y="333"/>
                    <a:pt x="773" y="333"/>
                  </a:cubicBezTo>
                  <a:cubicBezTo>
                    <a:pt x="770" y="333"/>
                    <a:pt x="766" y="334"/>
                    <a:pt x="762" y="335"/>
                  </a:cubicBezTo>
                  <a:cubicBezTo>
                    <a:pt x="762" y="335"/>
                    <a:pt x="762" y="335"/>
                    <a:pt x="761" y="335"/>
                  </a:cubicBezTo>
                  <a:cubicBezTo>
                    <a:pt x="761" y="335"/>
                    <a:pt x="761" y="335"/>
                    <a:pt x="761" y="335"/>
                  </a:cubicBezTo>
                  <a:cubicBezTo>
                    <a:pt x="760" y="335"/>
                    <a:pt x="759" y="336"/>
                    <a:pt x="758" y="336"/>
                  </a:cubicBezTo>
                  <a:cubicBezTo>
                    <a:pt x="754" y="337"/>
                    <a:pt x="750" y="338"/>
                    <a:pt x="746" y="339"/>
                  </a:cubicBezTo>
                  <a:cubicBezTo>
                    <a:pt x="746" y="339"/>
                    <a:pt x="745" y="339"/>
                    <a:pt x="744" y="340"/>
                  </a:cubicBezTo>
                  <a:cubicBezTo>
                    <a:pt x="743" y="340"/>
                    <a:pt x="742" y="340"/>
                    <a:pt x="741" y="341"/>
                  </a:cubicBezTo>
                  <a:cubicBezTo>
                    <a:pt x="741" y="341"/>
                    <a:pt x="741" y="341"/>
                    <a:pt x="741" y="342"/>
                  </a:cubicBezTo>
                  <a:cubicBezTo>
                    <a:pt x="742" y="342"/>
                    <a:pt x="742" y="341"/>
                    <a:pt x="743" y="341"/>
                  </a:cubicBezTo>
                  <a:cubicBezTo>
                    <a:pt x="743" y="341"/>
                    <a:pt x="744" y="341"/>
                    <a:pt x="745" y="341"/>
                  </a:cubicBezTo>
                  <a:cubicBezTo>
                    <a:pt x="749" y="339"/>
                    <a:pt x="752" y="338"/>
                    <a:pt x="756" y="337"/>
                  </a:cubicBezTo>
                  <a:cubicBezTo>
                    <a:pt x="757" y="337"/>
                    <a:pt x="758" y="337"/>
                    <a:pt x="759" y="337"/>
                  </a:cubicBezTo>
                  <a:cubicBezTo>
                    <a:pt x="760" y="336"/>
                    <a:pt x="761" y="336"/>
                    <a:pt x="762" y="336"/>
                  </a:cubicBezTo>
                  <a:cubicBezTo>
                    <a:pt x="762" y="336"/>
                    <a:pt x="763" y="336"/>
                    <a:pt x="763" y="336"/>
                  </a:cubicBezTo>
                  <a:cubicBezTo>
                    <a:pt x="766" y="335"/>
                    <a:pt x="769" y="335"/>
                    <a:pt x="772" y="334"/>
                  </a:cubicBezTo>
                  <a:cubicBezTo>
                    <a:pt x="772" y="334"/>
                    <a:pt x="773" y="334"/>
                    <a:pt x="774" y="334"/>
                  </a:cubicBezTo>
                  <a:cubicBezTo>
                    <a:pt x="778" y="334"/>
                    <a:pt x="781" y="333"/>
                    <a:pt x="785" y="333"/>
                  </a:cubicBezTo>
                  <a:cubicBezTo>
                    <a:pt x="785" y="333"/>
                    <a:pt x="785" y="333"/>
                    <a:pt x="785" y="333"/>
                  </a:cubicBezTo>
                  <a:cubicBezTo>
                    <a:pt x="785" y="333"/>
                    <a:pt x="786" y="333"/>
                    <a:pt x="786" y="333"/>
                  </a:cubicBezTo>
                  <a:cubicBezTo>
                    <a:pt x="786" y="333"/>
                    <a:pt x="787" y="333"/>
                    <a:pt x="787" y="333"/>
                  </a:cubicBezTo>
                  <a:cubicBezTo>
                    <a:pt x="787" y="333"/>
                    <a:pt x="787" y="333"/>
                    <a:pt x="788" y="333"/>
                  </a:cubicBezTo>
                  <a:cubicBezTo>
                    <a:pt x="788" y="333"/>
                    <a:pt x="788" y="333"/>
                    <a:pt x="789" y="333"/>
                  </a:cubicBezTo>
                  <a:cubicBezTo>
                    <a:pt x="789" y="333"/>
                    <a:pt x="790" y="334"/>
                    <a:pt x="790" y="334"/>
                  </a:cubicBezTo>
                  <a:cubicBezTo>
                    <a:pt x="792" y="334"/>
                    <a:pt x="794" y="334"/>
                    <a:pt x="796" y="334"/>
                  </a:cubicBezTo>
                  <a:cubicBezTo>
                    <a:pt x="797" y="334"/>
                    <a:pt x="797" y="334"/>
                    <a:pt x="798" y="334"/>
                  </a:cubicBezTo>
                  <a:cubicBezTo>
                    <a:pt x="799" y="335"/>
                    <a:pt x="799" y="335"/>
                    <a:pt x="800" y="335"/>
                  </a:cubicBezTo>
                  <a:cubicBezTo>
                    <a:pt x="800" y="335"/>
                    <a:pt x="801" y="335"/>
                    <a:pt x="801" y="335"/>
                  </a:cubicBezTo>
                  <a:cubicBezTo>
                    <a:pt x="801" y="335"/>
                    <a:pt x="802" y="335"/>
                    <a:pt x="802" y="335"/>
                  </a:cubicBezTo>
                  <a:cubicBezTo>
                    <a:pt x="802" y="335"/>
                    <a:pt x="802" y="335"/>
                    <a:pt x="803" y="335"/>
                  </a:cubicBezTo>
                  <a:cubicBezTo>
                    <a:pt x="803" y="335"/>
                    <a:pt x="803" y="335"/>
                    <a:pt x="803" y="334"/>
                  </a:cubicBezTo>
                  <a:cubicBezTo>
                    <a:pt x="802" y="334"/>
                    <a:pt x="802" y="334"/>
                    <a:pt x="802" y="334"/>
                  </a:cubicBezTo>
                  <a:cubicBezTo>
                    <a:pt x="802" y="334"/>
                    <a:pt x="801" y="334"/>
                    <a:pt x="801" y="334"/>
                  </a:cubicBezTo>
                  <a:cubicBezTo>
                    <a:pt x="801" y="334"/>
                    <a:pt x="801" y="334"/>
                    <a:pt x="800" y="334"/>
                  </a:cubicBezTo>
                  <a:cubicBezTo>
                    <a:pt x="800" y="334"/>
                    <a:pt x="799" y="334"/>
                    <a:pt x="799" y="334"/>
                  </a:cubicBezTo>
                  <a:cubicBezTo>
                    <a:pt x="798" y="333"/>
                    <a:pt x="798" y="333"/>
                    <a:pt x="797" y="333"/>
                  </a:cubicBezTo>
                  <a:cubicBezTo>
                    <a:pt x="795" y="333"/>
                    <a:pt x="793" y="333"/>
                    <a:pt x="791" y="333"/>
                  </a:cubicBezTo>
                  <a:cubicBezTo>
                    <a:pt x="791" y="333"/>
                    <a:pt x="790" y="333"/>
                    <a:pt x="790" y="332"/>
                  </a:cubicBezTo>
                  <a:cubicBezTo>
                    <a:pt x="789" y="332"/>
                    <a:pt x="789" y="332"/>
                    <a:pt x="789" y="332"/>
                  </a:cubicBezTo>
                  <a:cubicBezTo>
                    <a:pt x="789" y="332"/>
                    <a:pt x="788" y="332"/>
                    <a:pt x="788" y="332"/>
                  </a:cubicBezTo>
                  <a:cubicBezTo>
                    <a:pt x="787" y="332"/>
                    <a:pt x="786" y="332"/>
                    <a:pt x="785" y="332"/>
                  </a:cubicBezTo>
                  <a:cubicBezTo>
                    <a:pt x="785" y="332"/>
                    <a:pt x="785" y="332"/>
                    <a:pt x="785" y="332"/>
                  </a:cubicBezTo>
                  <a:moveTo>
                    <a:pt x="804" y="335"/>
                  </a:moveTo>
                  <a:cubicBezTo>
                    <a:pt x="804" y="335"/>
                    <a:pt x="804" y="335"/>
                    <a:pt x="804" y="336"/>
                  </a:cubicBezTo>
                  <a:cubicBezTo>
                    <a:pt x="804" y="336"/>
                    <a:pt x="805" y="336"/>
                    <a:pt x="805" y="336"/>
                  </a:cubicBezTo>
                  <a:cubicBezTo>
                    <a:pt x="806" y="336"/>
                    <a:pt x="806" y="336"/>
                    <a:pt x="806" y="337"/>
                  </a:cubicBezTo>
                  <a:cubicBezTo>
                    <a:pt x="807" y="337"/>
                    <a:pt x="807" y="337"/>
                    <a:pt x="808" y="337"/>
                  </a:cubicBezTo>
                  <a:cubicBezTo>
                    <a:pt x="808" y="337"/>
                    <a:pt x="809" y="337"/>
                    <a:pt x="809" y="337"/>
                  </a:cubicBezTo>
                  <a:cubicBezTo>
                    <a:pt x="809" y="337"/>
                    <a:pt x="809" y="338"/>
                    <a:pt x="809" y="338"/>
                  </a:cubicBezTo>
                  <a:cubicBezTo>
                    <a:pt x="809" y="338"/>
                    <a:pt x="809" y="338"/>
                    <a:pt x="810" y="338"/>
                  </a:cubicBezTo>
                  <a:cubicBezTo>
                    <a:pt x="810" y="338"/>
                    <a:pt x="810" y="338"/>
                    <a:pt x="811" y="338"/>
                  </a:cubicBezTo>
                  <a:cubicBezTo>
                    <a:pt x="811" y="338"/>
                    <a:pt x="811" y="338"/>
                    <a:pt x="811" y="338"/>
                  </a:cubicBezTo>
                  <a:cubicBezTo>
                    <a:pt x="811" y="338"/>
                    <a:pt x="811" y="338"/>
                    <a:pt x="811" y="338"/>
                  </a:cubicBezTo>
                  <a:cubicBezTo>
                    <a:pt x="811" y="339"/>
                    <a:pt x="812" y="339"/>
                    <a:pt x="812" y="339"/>
                  </a:cubicBezTo>
                  <a:cubicBezTo>
                    <a:pt x="812" y="339"/>
                    <a:pt x="812" y="339"/>
                    <a:pt x="812" y="339"/>
                  </a:cubicBezTo>
                  <a:cubicBezTo>
                    <a:pt x="813" y="339"/>
                    <a:pt x="813" y="339"/>
                    <a:pt x="813" y="339"/>
                  </a:cubicBezTo>
                  <a:cubicBezTo>
                    <a:pt x="814" y="340"/>
                    <a:pt x="814" y="340"/>
                    <a:pt x="815" y="340"/>
                  </a:cubicBezTo>
                  <a:cubicBezTo>
                    <a:pt x="815" y="340"/>
                    <a:pt x="815" y="341"/>
                    <a:pt x="816" y="341"/>
                  </a:cubicBezTo>
                  <a:cubicBezTo>
                    <a:pt x="819" y="343"/>
                    <a:pt x="822" y="346"/>
                    <a:pt x="825" y="349"/>
                  </a:cubicBezTo>
                  <a:cubicBezTo>
                    <a:pt x="825" y="349"/>
                    <a:pt x="825" y="350"/>
                    <a:pt x="825" y="350"/>
                  </a:cubicBezTo>
                  <a:cubicBezTo>
                    <a:pt x="828" y="353"/>
                    <a:pt x="829" y="357"/>
                    <a:pt x="831" y="362"/>
                  </a:cubicBezTo>
                  <a:cubicBezTo>
                    <a:pt x="831" y="364"/>
                    <a:pt x="832" y="366"/>
                    <a:pt x="834" y="368"/>
                  </a:cubicBezTo>
                  <a:cubicBezTo>
                    <a:pt x="838" y="375"/>
                    <a:pt x="842" y="381"/>
                    <a:pt x="846" y="386"/>
                  </a:cubicBezTo>
                  <a:cubicBezTo>
                    <a:pt x="846" y="386"/>
                    <a:pt x="846" y="386"/>
                    <a:pt x="846" y="386"/>
                  </a:cubicBezTo>
                  <a:cubicBezTo>
                    <a:pt x="847" y="387"/>
                    <a:pt x="847" y="387"/>
                    <a:pt x="847" y="387"/>
                  </a:cubicBezTo>
                  <a:cubicBezTo>
                    <a:pt x="847" y="387"/>
                    <a:pt x="847" y="387"/>
                    <a:pt x="847" y="387"/>
                  </a:cubicBezTo>
                  <a:cubicBezTo>
                    <a:pt x="848" y="388"/>
                    <a:pt x="849" y="389"/>
                    <a:pt x="849" y="390"/>
                  </a:cubicBezTo>
                  <a:cubicBezTo>
                    <a:pt x="849" y="390"/>
                    <a:pt x="850" y="390"/>
                    <a:pt x="850" y="390"/>
                  </a:cubicBezTo>
                  <a:cubicBezTo>
                    <a:pt x="850" y="390"/>
                    <a:pt x="850" y="390"/>
                    <a:pt x="850" y="390"/>
                  </a:cubicBezTo>
                  <a:cubicBezTo>
                    <a:pt x="852" y="393"/>
                    <a:pt x="854" y="395"/>
                    <a:pt x="857" y="397"/>
                  </a:cubicBezTo>
                  <a:cubicBezTo>
                    <a:pt x="857" y="397"/>
                    <a:pt x="857" y="397"/>
                    <a:pt x="857" y="397"/>
                  </a:cubicBezTo>
                  <a:cubicBezTo>
                    <a:pt x="858" y="398"/>
                    <a:pt x="859" y="399"/>
                    <a:pt x="860" y="400"/>
                  </a:cubicBezTo>
                  <a:cubicBezTo>
                    <a:pt x="861" y="399"/>
                    <a:pt x="861" y="399"/>
                    <a:pt x="861" y="399"/>
                  </a:cubicBezTo>
                  <a:cubicBezTo>
                    <a:pt x="860" y="398"/>
                    <a:pt x="859" y="397"/>
                    <a:pt x="858" y="397"/>
                  </a:cubicBezTo>
                  <a:cubicBezTo>
                    <a:pt x="858" y="396"/>
                    <a:pt x="858" y="396"/>
                    <a:pt x="857" y="396"/>
                  </a:cubicBezTo>
                  <a:cubicBezTo>
                    <a:pt x="855" y="394"/>
                    <a:pt x="853" y="392"/>
                    <a:pt x="851" y="390"/>
                  </a:cubicBezTo>
                  <a:cubicBezTo>
                    <a:pt x="851" y="390"/>
                    <a:pt x="851" y="390"/>
                    <a:pt x="851" y="390"/>
                  </a:cubicBezTo>
                  <a:cubicBezTo>
                    <a:pt x="851" y="389"/>
                    <a:pt x="850" y="389"/>
                    <a:pt x="850" y="389"/>
                  </a:cubicBezTo>
                  <a:cubicBezTo>
                    <a:pt x="849" y="388"/>
                    <a:pt x="849" y="387"/>
                    <a:pt x="848" y="386"/>
                  </a:cubicBezTo>
                  <a:cubicBezTo>
                    <a:pt x="848" y="386"/>
                    <a:pt x="848" y="386"/>
                    <a:pt x="848" y="386"/>
                  </a:cubicBezTo>
                  <a:cubicBezTo>
                    <a:pt x="848" y="386"/>
                    <a:pt x="847" y="386"/>
                    <a:pt x="847" y="386"/>
                  </a:cubicBezTo>
                  <a:cubicBezTo>
                    <a:pt x="847" y="385"/>
                    <a:pt x="847" y="385"/>
                    <a:pt x="847" y="385"/>
                  </a:cubicBezTo>
                  <a:cubicBezTo>
                    <a:pt x="842" y="380"/>
                    <a:pt x="838" y="374"/>
                    <a:pt x="834" y="367"/>
                  </a:cubicBezTo>
                  <a:cubicBezTo>
                    <a:pt x="833" y="365"/>
                    <a:pt x="832" y="364"/>
                    <a:pt x="832" y="361"/>
                  </a:cubicBezTo>
                  <a:cubicBezTo>
                    <a:pt x="830" y="357"/>
                    <a:pt x="828" y="353"/>
                    <a:pt x="826" y="349"/>
                  </a:cubicBezTo>
                  <a:cubicBezTo>
                    <a:pt x="826" y="349"/>
                    <a:pt x="826" y="349"/>
                    <a:pt x="825" y="349"/>
                  </a:cubicBezTo>
                  <a:cubicBezTo>
                    <a:pt x="823" y="345"/>
                    <a:pt x="820" y="343"/>
                    <a:pt x="817" y="340"/>
                  </a:cubicBezTo>
                  <a:cubicBezTo>
                    <a:pt x="816" y="340"/>
                    <a:pt x="816" y="340"/>
                    <a:pt x="816" y="340"/>
                  </a:cubicBezTo>
                  <a:cubicBezTo>
                    <a:pt x="815" y="339"/>
                    <a:pt x="815" y="339"/>
                    <a:pt x="814" y="339"/>
                  </a:cubicBezTo>
                  <a:cubicBezTo>
                    <a:pt x="814" y="339"/>
                    <a:pt x="813" y="338"/>
                    <a:pt x="813" y="338"/>
                  </a:cubicBezTo>
                  <a:cubicBezTo>
                    <a:pt x="813" y="338"/>
                    <a:pt x="813" y="338"/>
                    <a:pt x="813" y="338"/>
                  </a:cubicBezTo>
                  <a:cubicBezTo>
                    <a:pt x="812" y="338"/>
                    <a:pt x="812" y="338"/>
                    <a:pt x="812" y="338"/>
                  </a:cubicBezTo>
                  <a:cubicBezTo>
                    <a:pt x="812" y="338"/>
                    <a:pt x="811" y="337"/>
                    <a:pt x="811" y="337"/>
                  </a:cubicBezTo>
                  <a:cubicBezTo>
                    <a:pt x="811" y="337"/>
                    <a:pt x="811" y="337"/>
                    <a:pt x="811" y="337"/>
                  </a:cubicBezTo>
                  <a:cubicBezTo>
                    <a:pt x="811" y="337"/>
                    <a:pt x="811" y="337"/>
                    <a:pt x="810" y="337"/>
                  </a:cubicBezTo>
                  <a:cubicBezTo>
                    <a:pt x="810" y="337"/>
                    <a:pt x="810" y="337"/>
                    <a:pt x="810" y="337"/>
                  </a:cubicBezTo>
                  <a:cubicBezTo>
                    <a:pt x="810" y="337"/>
                    <a:pt x="810" y="337"/>
                    <a:pt x="810" y="337"/>
                  </a:cubicBezTo>
                  <a:cubicBezTo>
                    <a:pt x="809" y="337"/>
                    <a:pt x="809" y="336"/>
                    <a:pt x="809" y="336"/>
                  </a:cubicBezTo>
                  <a:cubicBezTo>
                    <a:pt x="808" y="336"/>
                    <a:pt x="808" y="336"/>
                    <a:pt x="807" y="336"/>
                  </a:cubicBezTo>
                  <a:cubicBezTo>
                    <a:pt x="807" y="336"/>
                    <a:pt x="807" y="336"/>
                    <a:pt x="806" y="335"/>
                  </a:cubicBezTo>
                  <a:cubicBezTo>
                    <a:pt x="806" y="335"/>
                    <a:pt x="805" y="335"/>
                    <a:pt x="805" y="335"/>
                  </a:cubicBezTo>
                  <a:cubicBezTo>
                    <a:pt x="804" y="335"/>
                    <a:pt x="804" y="335"/>
                    <a:pt x="804" y="335"/>
                  </a:cubicBezTo>
                  <a:cubicBezTo>
                    <a:pt x="804" y="335"/>
                    <a:pt x="804" y="335"/>
                    <a:pt x="804" y="335"/>
                  </a:cubicBezTo>
                  <a:moveTo>
                    <a:pt x="740" y="341"/>
                  </a:moveTo>
                  <a:cubicBezTo>
                    <a:pt x="734" y="343"/>
                    <a:pt x="727" y="346"/>
                    <a:pt x="721" y="349"/>
                  </a:cubicBezTo>
                  <a:cubicBezTo>
                    <a:pt x="721" y="349"/>
                    <a:pt x="720" y="350"/>
                    <a:pt x="720" y="350"/>
                  </a:cubicBezTo>
                  <a:cubicBezTo>
                    <a:pt x="716" y="352"/>
                    <a:pt x="713" y="353"/>
                    <a:pt x="710" y="355"/>
                  </a:cubicBezTo>
                  <a:cubicBezTo>
                    <a:pt x="709" y="356"/>
                    <a:pt x="709" y="356"/>
                    <a:pt x="708" y="356"/>
                  </a:cubicBezTo>
                  <a:cubicBezTo>
                    <a:pt x="706" y="358"/>
                    <a:pt x="703" y="359"/>
                    <a:pt x="701" y="361"/>
                  </a:cubicBezTo>
                  <a:cubicBezTo>
                    <a:pt x="702" y="361"/>
                    <a:pt x="702" y="361"/>
                    <a:pt x="703" y="360"/>
                  </a:cubicBezTo>
                  <a:cubicBezTo>
                    <a:pt x="705" y="360"/>
                    <a:pt x="706" y="359"/>
                    <a:pt x="708" y="358"/>
                  </a:cubicBezTo>
                  <a:cubicBezTo>
                    <a:pt x="708" y="358"/>
                    <a:pt x="708" y="357"/>
                    <a:pt x="709" y="357"/>
                  </a:cubicBezTo>
                  <a:cubicBezTo>
                    <a:pt x="713" y="355"/>
                    <a:pt x="717" y="353"/>
                    <a:pt x="721" y="350"/>
                  </a:cubicBezTo>
                  <a:cubicBezTo>
                    <a:pt x="721" y="350"/>
                    <a:pt x="721" y="350"/>
                    <a:pt x="722" y="350"/>
                  </a:cubicBezTo>
                  <a:cubicBezTo>
                    <a:pt x="728" y="347"/>
                    <a:pt x="734" y="344"/>
                    <a:pt x="741" y="342"/>
                  </a:cubicBezTo>
                  <a:cubicBezTo>
                    <a:pt x="740" y="342"/>
                    <a:pt x="740" y="341"/>
                    <a:pt x="740" y="341"/>
                  </a:cubicBezTo>
                  <a:moveTo>
                    <a:pt x="701" y="362"/>
                  </a:moveTo>
                  <a:cubicBezTo>
                    <a:pt x="700" y="362"/>
                    <a:pt x="699" y="362"/>
                    <a:pt x="698" y="363"/>
                  </a:cubicBezTo>
                  <a:cubicBezTo>
                    <a:pt x="693" y="366"/>
                    <a:pt x="688" y="370"/>
                    <a:pt x="683" y="374"/>
                  </a:cubicBezTo>
                  <a:cubicBezTo>
                    <a:pt x="684" y="375"/>
                    <a:pt x="684" y="375"/>
                    <a:pt x="684" y="375"/>
                  </a:cubicBezTo>
                  <a:cubicBezTo>
                    <a:pt x="689" y="371"/>
                    <a:pt x="695" y="366"/>
                    <a:pt x="701" y="362"/>
                  </a:cubicBezTo>
                  <a:moveTo>
                    <a:pt x="683" y="375"/>
                  </a:moveTo>
                  <a:cubicBezTo>
                    <a:pt x="681" y="377"/>
                    <a:pt x="679" y="379"/>
                    <a:pt x="677" y="381"/>
                  </a:cubicBezTo>
                  <a:cubicBezTo>
                    <a:pt x="677" y="381"/>
                    <a:pt x="678" y="381"/>
                    <a:pt x="678" y="381"/>
                  </a:cubicBezTo>
                  <a:cubicBezTo>
                    <a:pt x="678" y="381"/>
                    <a:pt x="678" y="381"/>
                    <a:pt x="678" y="381"/>
                  </a:cubicBezTo>
                  <a:cubicBezTo>
                    <a:pt x="680" y="379"/>
                    <a:pt x="681" y="378"/>
                    <a:pt x="683" y="376"/>
                  </a:cubicBezTo>
                  <a:cubicBezTo>
                    <a:pt x="683" y="376"/>
                    <a:pt x="683" y="376"/>
                    <a:pt x="683" y="375"/>
                  </a:cubicBezTo>
                  <a:moveTo>
                    <a:pt x="677" y="382"/>
                  </a:moveTo>
                  <a:cubicBezTo>
                    <a:pt x="677" y="382"/>
                    <a:pt x="676" y="382"/>
                    <a:pt x="676" y="382"/>
                  </a:cubicBezTo>
                  <a:cubicBezTo>
                    <a:pt x="676" y="382"/>
                    <a:pt x="675" y="383"/>
                    <a:pt x="675" y="383"/>
                  </a:cubicBezTo>
                  <a:cubicBezTo>
                    <a:pt x="670" y="388"/>
                    <a:pt x="665" y="393"/>
                    <a:pt x="659" y="399"/>
                  </a:cubicBezTo>
                  <a:cubicBezTo>
                    <a:pt x="658" y="399"/>
                    <a:pt x="658" y="400"/>
                    <a:pt x="657" y="401"/>
                  </a:cubicBezTo>
                  <a:cubicBezTo>
                    <a:pt x="654" y="403"/>
                    <a:pt x="650" y="406"/>
                    <a:pt x="647" y="409"/>
                  </a:cubicBezTo>
                  <a:cubicBezTo>
                    <a:pt x="647" y="409"/>
                    <a:pt x="648" y="409"/>
                    <a:pt x="648" y="409"/>
                  </a:cubicBezTo>
                  <a:cubicBezTo>
                    <a:pt x="652" y="406"/>
                    <a:pt x="656" y="403"/>
                    <a:pt x="660" y="399"/>
                  </a:cubicBezTo>
                  <a:cubicBezTo>
                    <a:pt x="660" y="399"/>
                    <a:pt x="661" y="398"/>
                    <a:pt x="662" y="397"/>
                  </a:cubicBezTo>
                  <a:cubicBezTo>
                    <a:pt x="667" y="393"/>
                    <a:pt x="672" y="388"/>
                    <a:pt x="676" y="384"/>
                  </a:cubicBezTo>
                  <a:cubicBezTo>
                    <a:pt x="676" y="383"/>
                    <a:pt x="677" y="382"/>
                    <a:pt x="677" y="382"/>
                  </a:cubicBezTo>
                  <a:moveTo>
                    <a:pt x="646" y="410"/>
                  </a:moveTo>
                  <a:cubicBezTo>
                    <a:pt x="642" y="413"/>
                    <a:pt x="638" y="416"/>
                    <a:pt x="634" y="419"/>
                  </a:cubicBezTo>
                  <a:cubicBezTo>
                    <a:pt x="634" y="419"/>
                    <a:pt x="634" y="420"/>
                    <a:pt x="634" y="420"/>
                  </a:cubicBezTo>
                  <a:cubicBezTo>
                    <a:pt x="639" y="417"/>
                    <a:pt x="643" y="413"/>
                    <a:pt x="647" y="410"/>
                  </a:cubicBezTo>
                  <a:cubicBezTo>
                    <a:pt x="647" y="410"/>
                    <a:pt x="646" y="410"/>
                    <a:pt x="646" y="410"/>
                  </a:cubicBezTo>
                  <a:moveTo>
                    <a:pt x="633" y="420"/>
                  </a:moveTo>
                  <a:cubicBezTo>
                    <a:pt x="631" y="422"/>
                    <a:pt x="628" y="423"/>
                    <a:pt x="626" y="425"/>
                  </a:cubicBezTo>
                  <a:cubicBezTo>
                    <a:pt x="625" y="426"/>
                    <a:pt x="624" y="427"/>
                    <a:pt x="623" y="427"/>
                  </a:cubicBezTo>
                  <a:cubicBezTo>
                    <a:pt x="618" y="431"/>
                    <a:pt x="612" y="434"/>
                    <a:pt x="607" y="438"/>
                  </a:cubicBezTo>
                  <a:cubicBezTo>
                    <a:pt x="607" y="438"/>
                    <a:pt x="608" y="438"/>
                    <a:pt x="608" y="438"/>
                  </a:cubicBezTo>
                  <a:cubicBezTo>
                    <a:pt x="614" y="434"/>
                    <a:pt x="620" y="430"/>
                    <a:pt x="626" y="426"/>
                  </a:cubicBezTo>
                  <a:cubicBezTo>
                    <a:pt x="627" y="425"/>
                    <a:pt x="628" y="425"/>
                    <a:pt x="629" y="424"/>
                  </a:cubicBezTo>
                  <a:cubicBezTo>
                    <a:pt x="631" y="423"/>
                    <a:pt x="632" y="422"/>
                    <a:pt x="633" y="421"/>
                  </a:cubicBezTo>
                  <a:cubicBezTo>
                    <a:pt x="633" y="420"/>
                    <a:pt x="633" y="420"/>
                    <a:pt x="633" y="420"/>
                  </a:cubicBezTo>
                  <a:moveTo>
                    <a:pt x="606" y="439"/>
                  </a:moveTo>
                  <a:cubicBezTo>
                    <a:pt x="601" y="441"/>
                    <a:pt x="597" y="444"/>
                    <a:pt x="592" y="447"/>
                  </a:cubicBezTo>
                  <a:cubicBezTo>
                    <a:pt x="591" y="448"/>
                    <a:pt x="590" y="449"/>
                    <a:pt x="589" y="449"/>
                  </a:cubicBezTo>
                  <a:cubicBezTo>
                    <a:pt x="587" y="450"/>
                    <a:pt x="585" y="451"/>
                    <a:pt x="584" y="452"/>
                  </a:cubicBezTo>
                  <a:cubicBezTo>
                    <a:pt x="584" y="453"/>
                    <a:pt x="584" y="453"/>
                    <a:pt x="584" y="453"/>
                  </a:cubicBezTo>
                  <a:cubicBezTo>
                    <a:pt x="587" y="452"/>
                    <a:pt x="590" y="450"/>
                    <a:pt x="592" y="448"/>
                  </a:cubicBezTo>
                  <a:cubicBezTo>
                    <a:pt x="593" y="448"/>
                    <a:pt x="595" y="447"/>
                    <a:pt x="596" y="446"/>
                  </a:cubicBezTo>
                  <a:cubicBezTo>
                    <a:pt x="599" y="444"/>
                    <a:pt x="603" y="441"/>
                    <a:pt x="607" y="439"/>
                  </a:cubicBezTo>
                  <a:cubicBezTo>
                    <a:pt x="607" y="439"/>
                    <a:pt x="606" y="439"/>
                    <a:pt x="606" y="439"/>
                  </a:cubicBezTo>
                  <a:moveTo>
                    <a:pt x="583" y="453"/>
                  </a:moveTo>
                  <a:cubicBezTo>
                    <a:pt x="576" y="457"/>
                    <a:pt x="570" y="460"/>
                    <a:pt x="563" y="464"/>
                  </a:cubicBezTo>
                  <a:cubicBezTo>
                    <a:pt x="564" y="464"/>
                    <a:pt x="564" y="464"/>
                    <a:pt x="564" y="465"/>
                  </a:cubicBezTo>
                  <a:cubicBezTo>
                    <a:pt x="564" y="465"/>
                    <a:pt x="564" y="465"/>
                    <a:pt x="565" y="464"/>
                  </a:cubicBezTo>
                  <a:cubicBezTo>
                    <a:pt x="571" y="461"/>
                    <a:pt x="577" y="457"/>
                    <a:pt x="583" y="454"/>
                  </a:cubicBezTo>
                  <a:cubicBezTo>
                    <a:pt x="583" y="453"/>
                    <a:pt x="583" y="453"/>
                    <a:pt x="583" y="453"/>
                  </a:cubicBezTo>
                  <a:moveTo>
                    <a:pt x="562" y="465"/>
                  </a:moveTo>
                  <a:cubicBezTo>
                    <a:pt x="562" y="465"/>
                    <a:pt x="561" y="465"/>
                    <a:pt x="561" y="465"/>
                  </a:cubicBezTo>
                  <a:cubicBezTo>
                    <a:pt x="560" y="466"/>
                    <a:pt x="559" y="467"/>
                    <a:pt x="558" y="467"/>
                  </a:cubicBezTo>
                  <a:cubicBezTo>
                    <a:pt x="550" y="472"/>
                    <a:pt x="542" y="476"/>
                    <a:pt x="533" y="480"/>
                  </a:cubicBezTo>
                  <a:cubicBezTo>
                    <a:pt x="533" y="480"/>
                    <a:pt x="534" y="481"/>
                    <a:pt x="534" y="481"/>
                  </a:cubicBezTo>
                  <a:cubicBezTo>
                    <a:pt x="534" y="481"/>
                    <a:pt x="535" y="480"/>
                    <a:pt x="536" y="480"/>
                  </a:cubicBezTo>
                  <a:cubicBezTo>
                    <a:pt x="544" y="476"/>
                    <a:pt x="553" y="471"/>
                    <a:pt x="561" y="466"/>
                  </a:cubicBezTo>
                  <a:cubicBezTo>
                    <a:pt x="562" y="466"/>
                    <a:pt x="563" y="466"/>
                    <a:pt x="563" y="465"/>
                  </a:cubicBezTo>
                  <a:cubicBezTo>
                    <a:pt x="563" y="465"/>
                    <a:pt x="562" y="465"/>
                    <a:pt x="562" y="465"/>
                  </a:cubicBezTo>
                  <a:moveTo>
                    <a:pt x="532" y="481"/>
                  </a:moveTo>
                  <a:cubicBezTo>
                    <a:pt x="532" y="481"/>
                    <a:pt x="532" y="481"/>
                    <a:pt x="532" y="481"/>
                  </a:cubicBezTo>
                  <a:cubicBezTo>
                    <a:pt x="531" y="481"/>
                    <a:pt x="530" y="482"/>
                    <a:pt x="529" y="482"/>
                  </a:cubicBezTo>
                  <a:cubicBezTo>
                    <a:pt x="524" y="485"/>
                    <a:pt x="520" y="487"/>
                    <a:pt x="516" y="489"/>
                  </a:cubicBezTo>
                  <a:cubicBezTo>
                    <a:pt x="516" y="489"/>
                    <a:pt x="516" y="489"/>
                    <a:pt x="517" y="490"/>
                  </a:cubicBezTo>
                  <a:cubicBezTo>
                    <a:pt x="522" y="487"/>
                    <a:pt x="527" y="484"/>
                    <a:pt x="533" y="482"/>
                  </a:cubicBezTo>
                  <a:cubicBezTo>
                    <a:pt x="533" y="482"/>
                    <a:pt x="533" y="482"/>
                    <a:pt x="533" y="481"/>
                  </a:cubicBezTo>
                  <a:cubicBezTo>
                    <a:pt x="533" y="481"/>
                    <a:pt x="533" y="481"/>
                    <a:pt x="532" y="481"/>
                  </a:cubicBezTo>
                  <a:moveTo>
                    <a:pt x="514" y="490"/>
                  </a:moveTo>
                  <a:cubicBezTo>
                    <a:pt x="511" y="491"/>
                    <a:pt x="508" y="493"/>
                    <a:pt x="504" y="494"/>
                  </a:cubicBezTo>
                  <a:cubicBezTo>
                    <a:pt x="503" y="495"/>
                    <a:pt x="502" y="495"/>
                    <a:pt x="501" y="496"/>
                  </a:cubicBezTo>
                  <a:cubicBezTo>
                    <a:pt x="491" y="500"/>
                    <a:pt x="482" y="505"/>
                    <a:pt x="472" y="509"/>
                  </a:cubicBezTo>
                  <a:cubicBezTo>
                    <a:pt x="470" y="510"/>
                    <a:pt x="469" y="510"/>
                    <a:pt x="467" y="511"/>
                  </a:cubicBezTo>
                  <a:cubicBezTo>
                    <a:pt x="467" y="511"/>
                    <a:pt x="466" y="512"/>
                    <a:pt x="465" y="512"/>
                  </a:cubicBezTo>
                  <a:cubicBezTo>
                    <a:pt x="465" y="512"/>
                    <a:pt x="465" y="512"/>
                    <a:pt x="465" y="512"/>
                  </a:cubicBezTo>
                  <a:cubicBezTo>
                    <a:pt x="465" y="512"/>
                    <a:pt x="466" y="512"/>
                    <a:pt x="467" y="512"/>
                  </a:cubicBezTo>
                  <a:cubicBezTo>
                    <a:pt x="467" y="512"/>
                    <a:pt x="468" y="512"/>
                    <a:pt x="469" y="511"/>
                  </a:cubicBezTo>
                  <a:cubicBezTo>
                    <a:pt x="470" y="511"/>
                    <a:pt x="471" y="511"/>
                    <a:pt x="472" y="510"/>
                  </a:cubicBezTo>
                  <a:cubicBezTo>
                    <a:pt x="474" y="509"/>
                    <a:pt x="475" y="509"/>
                    <a:pt x="476" y="508"/>
                  </a:cubicBezTo>
                  <a:cubicBezTo>
                    <a:pt x="486" y="504"/>
                    <a:pt x="495" y="500"/>
                    <a:pt x="505" y="495"/>
                  </a:cubicBezTo>
                  <a:cubicBezTo>
                    <a:pt x="506" y="495"/>
                    <a:pt x="507" y="494"/>
                    <a:pt x="508" y="494"/>
                  </a:cubicBezTo>
                  <a:cubicBezTo>
                    <a:pt x="511" y="493"/>
                    <a:pt x="513" y="491"/>
                    <a:pt x="516" y="490"/>
                  </a:cubicBezTo>
                  <a:cubicBezTo>
                    <a:pt x="515" y="490"/>
                    <a:pt x="515" y="490"/>
                    <a:pt x="514" y="490"/>
                  </a:cubicBezTo>
                  <a:moveTo>
                    <a:pt x="463" y="513"/>
                  </a:moveTo>
                  <a:cubicBezTo>
                    <a:pt x="461" y="514"/>
                    <a:pt x="459" y="515"/>
                    <a:pt x="456" y="516"/>
                  </a:cubicBezTo>
                  <a:cubicBezTo>
                    <a:pt x="455" y="516"/>
                    <a:pt x="454" y="517"/>
                    <a:pt x="453" y="517"/>
                  </a:cubicBezTo>
                  <a:cubicBezTo>
                    <a:pt x="452" y="518"/>
                    <a:pt x="450" y="518"/>
                    <a:pt x="448" y="519"/>
                  </a:cubicBezTo>
                  <a:cubicBezTo>
                    <a:pt x="448" y="519"/>
                    <a:pt x="447" y="519"/>
                    <a:pt x="447" y="520"/>
                  </a:cubicBezTo>
                  <a:cubicBezTo>
                    <a:pt x="447" y="520"/>
                    <a:pt x="446" y="520"/>
                    <a:pt x="446" y="520"/>
                  </a:cubicBezTo>
                  <a:cubicBezTo>
                    <a:pt x="445" y="520"/>
                    <a:pt x="444" y="521"/>
                    <a:pt x="444" y="521"/>
                  </a:cubicBezTo>
                  <a:cubicBezTo>
                    <a:pt x="437" y="523"/>
                    <a:pt x="431" y="526"/>
                    <a:pt x="425" y="528"/>
                  </a:cubicBezTo>
                  <a:cubicBezTo>
                    <a:pt x="424" y="528"/>
                    <a:pt x="424" y="528"/>
                    <a:pt x="424" y="529"/>
                  </a:cubicBezTo>
                  <a:cubicBezTo>
                    <a:pt x="422" y="529"/>
                    <a:pt x="421" y="529"/>
                    <a:pt x="420" y="530"/>
                  </a:cubicBezTo>
                  <a:cubicBezTo>
                    <a:pt x="417" y="531"/>
                    <a:pt x="415" y="532"/>
                    <a:pt x="412" y="533"/>
                  </a:cubicBezTo>
                  <a:cubicBezTo>
                    <a:pt x="406" y="535"/>
                    <a:pt x="401" y="537"/>
                    <a:pt x="396" y="538"/>
                  </a:cubicBezTo>
                  <a:cubicBezTo>
                    <a:pt x="394" y="539"/>
                    <a:pt x="393" y="539"/>
                    <a:pt x="392" y="540"/>
                  </a:cubicBezTo>
                  <a:cubicBezTo>
                    <a:pt x="387" y="541"/>
                    <a:pt x="381" y="543"/>
                    <a:pt x="376" y="545"/>
                  </a:cubicBezTo>
                  <a:cubicBezTo>
                    <a:pt x="371" y="546"/>
                    <a:pt x="366" y="548"/>
                    <a:pt x="361" y="549"/>
                  </a:cubicBezTo>
                  <a:cubicBezTo>
                    <a:pt x="360" y="550"/>
                    <a:pt x="360" y="550"/>
                    <a:pt x="359" y="550"/>
                  </a:cubicBezTo>
                  <a:cubicBezTo>
                    <a:pt x="344" y="555"/>
                    <a:pt x="328" y="560"/>
                    <a:pt x="312" y="565"/>
                  </a:cubicBezTo>
                  <a:cubicBezTo>
                    <a:pt x="311" y="566"/>
                    <a:pt x="311" y="566"/>
                    <a:pt x="310" y="566"/>
                  </a:cubicBezTo>
                  <a:cubicBezTo>
                    <a:pt x="305" y="568"/>
                    <a:pt x="299" y="570"/>
                    <a:pt x="293" y="572"/>
                  </a:cubicBezTo>
                  <a:cubicBezTo>
                    <a:pt x="293" y="572"/>
                    <a:pt x="292" y="572"/>
                    <a:pt x="291" y="573"/>
                  </a:cubicBezTo>
                  <a:cubicBezTo>
                    <a:pt x="291" y="573"/>
                    <a:pt x="290" y="573"/>
                    <a:pt x="290" y="573"/>
                  </a:cubicBezTo>
                  <a:cubicBezTo>
                    <a:pt x="289" y="573"/>
                    <a:pt x="289" y="573"/>
                    <a:pt x="289" y="573"/>
                  </a:cubicBezTo>
                  <a:cubicBezTo>
                    <a:pt x="287" y="574"/>
                    <a:pt x="285" y="575"/>
                    <a:pt x="284" y="575"/>
                  </a:cubicBezTo>
                  <a:cubicBezTo>
                    <a:pt x="283" y="575"/>
                    <a:pt x="283" y="575"/>
                    <a:pt x="283" y="576"/>
                  </a:cubicBezTo>
                  <a:cubicBezTo>
                    <a:pt x="279" y="577"/>
                    <a:pt x="276" y="578"/>
                    <a:pt x="273" y="579"/>
                  </a:cubicBezTo>
                  <a:cubicBezTo>
                    <a:pt x="273" y="579"/>
                    <a:pt x="272" y="579"/>
                    <a:pt x="272" y="579"/>
                  </a:cubicBezTo>
                  <a:cubicBezTo>
                    <a:pt x="269" y="581"/>
                    <a:pt x="266" y="582"/>
                    <a:pt x="263" y="583"/>
                  </a:cubicBezTo>
                  <a:cubicBezTo>
                    <a:pt x="263" y="583"/>
                    <a:pt x="262" y="583"/>
                    <a:pt x="262" y="583"/>
                  </a:cubicBezTo>
                  <a:cubicBezTo>
                    <a:pt x="260" y="584"/>
                    <a:pt x="257" y="585"/>
                    <a:pt x="255" y="586"/>
                  </a:cubicBezTo>
                  <a:cubicBezTo>
                    <a:pt x="254" y="586"/>
                    <a:pt x="254" y="586"/>
                    <a:pt x="253" y="586"/>
                  </a:cubicBezTo>
                  <a:cubicBezTo>
                    <a:pt x="248" y="588"/>
                    <a:pt x="242" y="591"/>
                    <a:pt x="237" y="593"/>
                  </a:cubicBezTo>
                  <a:cubicBezTo>
                    <a:pt x="236" y="593"/>
                    <a:pt x="236" y="593"/>
                    <a:pt x="235" y="593"/>
                  </a:cubicBezTo>
                  <a:cubicBezTo>
                    <a:pt x="233" y="594"/>
                    <a:pt x="232" y="595"/>
                    <a:pt x="231" y="595"/>
                  </a:cubicBezTo>
                  <a:cubicBezTo>
                    <a:pt x="230" y="595"/>
                    <a:pt x="229" y="596"/>
                    <a:pt x="229" y="596"/>
                  </a:cubicBezTo>
                  <a:cubicBezTo>
                    <a:pt x="228" y="596"/>
                    <a:pt x="228" y="596"/>
                    <a:pt x="227" y="596"/>
                  </a:cubicBezTo>
                  <a:cubicBezTo>
                    <a:pt x="226" y="597"/>
                    <a:pt x="225" y="597"/>
                    <a:pt x="224" y="598"/>
                  </a:cubicBezTo>
                  <a:cubicBezTo>
                    <a:pt x="223" y="598"/>
                    <a:pt x="222" y="598"/>
                    <a:pt x="222" y="599"/>
                  </a:cubicBezTo>
                  <a:cubicBezTo>
                    <a:pt x="222" y="599"/>
                    <a:pt x="222" y="599"/>
                    <a:pt x="221" y="599"/>
                  </a:cubicBezTo>
                  <a:cubicBezTo>
                    <a:pt x="221" y="599"/>
                    <a:pt x="221" y="599"/>
                    <a:pt x="220" y="599"/>
                  </a:cubicBezTo>
                  <a:cubicBezTo>
                    <a:pt x="219" y="600"/>
                    <a:pt x="217" y="600"/>
                    <a:pt x="215" y="601"/>
                  </a:cubicBezTo>
                  <a:cubicBezTo>
                    <a:pt x="215" y="601"/>
                    <a:pt x="215" y="601"/>
                    <a:pt x="214" y="602"/>
                  </a:cubicBezTo>
                  <a:cubicBezTo>
                    <a:pt x="214" y="602"/>
                    <a:pt x="214" y="602"/>
                    <a:pt x="214" y="602"/>
                  </a:cubicBezTo>
                  <a:cubicBezTo>
                    <a:pt x="213" y="602"/>
                    <a:pt x="213" y="602"/>
                    <a:pt x="212" y="602"/>
                  </a:cubicBezTo>
                  <a:cubicBezTo>
                    <a:pt x="212" y="603"/>
                    <a:pt x="211" y="603"/>
                    <a:pt x="211" y="603"/>
                  </a:cubicBezTo>
                  <a:cubicBezTo>
                    <a:pt x="211" y="603"/>
                    <a:pt x="210" y="603"/>
                    <a:pt x="210" y="603"/>
                  </a:cubicBezTo>
                  <a:cubicBezTo>
                    <a:pt x="210" y="603"/>
                    <a:pt x="209" y="604"/>
                    <a:pt x="209" y="604"/>
                  </a:cubicBezTo>
                  <a:cubicBezTo>
                    <a:pt x="209" y="604"/>
                    <a:pt x="209" y="604"/>
                    <a:pt x="209" y="604"/>
                  </a:cubicBezTo>
                  <a:cubicBezTo>
                    <a:pt x="208" y="604"/>
                    <a:pt x="208" y="604"/>
                    <a:pt x="207" y="604"/>
                  </a:cubicBezTo>
                  <a:cubicBezTo>
                    <a:pt x="207" y="605"/>
                    <a:pt x="206" y="605"/>
                    <a:pt x="206" y="605"/>
                  </a:cubicBezTo>
                  <a:cubicBezTo>
                    <a:pt x="204" y="606"/>
                    <a:pt x="203" y="606"/>
                    <a:pt x="202" y="607"/>
                  </a:cubicBezTo>
                  <a:cubicBezTo>
                    <a:pt x="202" y="607"/>
                    <a:pt x="201" y="607"/>
                    <a:pt x="201" y="607"/>
                  </a:cubicBezTo>
                  <a:cubicBezTo>
                    <a:pt x="201" y="607"/>
                    <a:pt x="200" y="607"/>
                    <a:pt x="200" y="607"/>
                  </a:cubicBezTo>
                  <a:cubicBezTo>
                    <a:pt x="200" y="608"/>
                    <a:pt x="199" y="608"/>
                    <a:pt x="199" y="608"/>
                  </a:cubicBezTo>
                  <a:cubicBezTo>
                    <a:pt x="199" y="608"/>
                    <a:pt x="199" y="608"/>
                    <a:pt x="198" y="608"/>
                  </a:cubicBezTo>
                  <a:cubicBezTo>
                    <a:pt x="198" y="608"/>
                    <a:pt x="198" y="608"/>
                    <a:pt x="197" y="609"/>
                  </a:cubicBezTo>
                  <a:cubicBezTo>
                    <a:pt x="194" y="610"/>
                    <a:pt x="191" y="611"/>
                    <a:pt x="187" y="613"/>
                  </a:cubicBezTo>
                  <a:cubicBezTo>
                    <a:pt x="187" y="613"/>
                    <a:pt x="186" y="613"/>
                    <a:pt x="186" y="613"/>
                  </a:cubicBezTo>
                  <a:cubicBezTo>
                    <a:pt x="184" y="614"/>
                    <a:pt x="182" y="615"/>
                    <a:pt x="180" y="616"/>
                  </a:cubicBezTo>
                  <a:cubicBezTo>
                    <a:pt x="179" y="616"/>
                    <a:pt x="178" y="617"/>
                    <a:pt x="178" y="617"/>
                  </a:cubicBezTo>
                  <a:cubicBezTo>
                    <a:pt x="177" y="617"/>
                    <a:pt x="177" y="617"/>
                    <a:pt x="177" y="617"/>
                  </a:cubicBezTo>
                  <a:cubicBezTo>
                    <a:pt x="176" y="617"/>
                    <a:pt x="176" y="618"/>
                    <a:pt x="176" y="618"/>
                  </a:cubicBezTo>
                  <a:cubicBezTo>
                    <a:pt x="175" y="618"/>
                    <a:pt x="174" y="618"/>
                    <a:pt x="173" y="619"/>
                  </a:cubicBezTo>
                  <a:cubicBezTo>
                    <a:pt x="171" y="620"/>
                    <a:pt x="169" y="621"/>
                    <a:pt x="167" y="622"/>
                  </a:cubicBezTo>
                  <a:cubicBezTo>
                    <a:pt x="162" y="624"/>
                    <a:pt x="158" y="626"/>
                    <a:pt x="154" y="628"/>
                  </a:cubicBezTo>
                  <a:cubicBezTo>
                    <a:pt x="153" y="628"/>
                    <a:pt x="153" y="628"/>
                    <a:pt x="152" y="628"/>
                  </a:cubicBezTo>
                  <a:cubicBezTo>
                    <a:pt x="149" y="630"/>
                    <a:pt x="146" y="631"/>
                    <a:pt x="143" y="633"/>
                  </a:cubicBezTo>
                  <a:cubicBezTo>
                    <a:pt x="142" y="633"/>
                    <a:pt x="142" y="633"/>
                    <a:pt x="141" y="633"/>
                  </a:cubicBezTo>
                  <a:cubicBezTo>
                    <a:pt x="141" y="634"/>
                    <a:pt x="140" y="634"/>
                    <a:pt x="139" y="634"/>
                  </a:cubicBezTo>
                  <a:cubicBezTo>
                    <a:pt x="138" y="635"/>
                    <a:pt x="136" y="636"/>
                    <a:pt x="134" y="637"/>
                  </a:cubicBezTo>
                  <a:cubicBezTo>
                    <a:pt x="134" y="637"/>
                    <a:pt x="133" y="637"/>
                    <a:pt x="133" y="637"/>
                  </a:cubicBezTo>
                  <a:cubicBezTo>
                    <a:pt x="130" y="639"/>
                    <a:pt x="127" y="640"/>
                    <a:pt x="124" y="642"/>
                  </a:cubicBezTo>
                  <a:cubicBezTo>
                    <a:pt x="123" y="642"/>
                    <a:pt x="123" y="642"/>
                    <a:pt x="122" y="643"/>
                  </a:cubicBezTo>
                  <a:cubicBezTo>
                    <a:pt x="122" y="643"/>
                    <a:pt x="122" y="643"/>
                    <a:pt x="122" y="643"/>
                  </a:cubicBezTo>
                  <a:cubicBezTo>
                    <a:pt x="122" y="643"/>
                    <a:pt x="122" y="643"/>
                    <a:pt x="122" y="643"/>
                  </a:cubicBezTo>
                  <a:cubicBezTo>
                    <a:pt x="122" y="643"/>
                    <a:pt x="121" y="643"/>
                    <a:pt x="121" y="643"/>
                  </a:cubicBezTo>
                  <a:cubicBezTo>
                    <a:pt x="121" y="643"/>
                    <a:pt x="120" y="644"/>
                    <a:pt x="120" y="644"/>
                  </a:cubicBezTo>
                  <a:cubicBezTo>
                    <a:pt x="120" y="644"/>
                    <a:pt x="120" y="644"/>
                    <a:pt x="120" y="644"/>
                  </a:cubicBezTo>
                  <a:cubicBezTo>
                    <a:pt x="117" y="645"/>
                    <a:pt x="114" y="647"/>
                    <a:pt x="112" y="648"/>
                  </a:cubicBezTo>
                  <a:cubicBezTo>
                    <a:pt x="112" y="648"/>
                    <a:pt x="112" y="648"/>
                    <a:pt x="112" y="648"/>
                  </a:cubicBezTo>
                  <a:cubicBezTo>
                    <a:pt x="111" y="648"/>
                    <a:pt x="111" y="648"/>
                    <a:pt x="111" y="649"/>
                  </a:cubicBezTo>
                  <a:cubicBezTo>
                    <a:pt x="110" y="649"/>
                    <a:pt x="110" y="649"/>
                    <a:pt x="110" y="649"/>
                  </a:cubicBezTo>
                  <a:cubicBezTo>
                    <a:pt x="105" y="652"/>
                    <a:pt x="99" y="655"/>
                    <a:pt x="94" y="658"/>
                  </a:cubicBezTo>
                  <a:cubicBezTo>
                    <a:pt x="94" y="658"/>
                    <a:pt x="93" y="658"/>
                    <a:pt x="93" y="658"/>
                  </a:cubicBezTo>
                  <a:cubicBezTo>
                    <a:pt x="93" y="658"/>
                    <a:pt x="92" y="658"/>
                    <a:pt x="92" y="659"/>
                  </a:cubicBezTo>
                  <a:cubicBezTo>
                    <a:pt x="91" y="659"/>
                    <a:pt x="90" y="660"/>
                    <a:pt x="89" y="660"/>
                  </a:cubicBezTo>
                  <a:cubicBezTo>
                    <a:pt x="87" y="661"/>
                    <a:pt x="85" y="663"/>
                    <a:pt x="83" y="664"/>
                  </a:cubicBezTo>
                  <a:cubicBezTo>
                    <a:pt x="83" y="664"/>
                    <a:pt x="82" y="664"/>
                    <a:pt x="82" y="665"/>
                  </a:cubicBezTo>
                  <a:cubicBezTo>
                    <a:pt x="81" y="665"/>
                    <a:pt x="81" y="665"/>
                    <a:pt x="81" y="665"/>
                  </a:cubicBezTo>
                  <a:cubicBezTo>
                    <a:pt x="80" y="665"/>
                    <a:pt x="80" y="666"/>
                    <a:pt x="80" y="666"/>
                  </a:cubicBezTo>
                  <a:cubicBezTo>
                    <a:pt x="77" y="668"/>
                    <a:pt x="74" y="669"/>
                    <a:pt x="71" y="671"/>
                  </a:cubicBezTo>
                  <a:cubicBezTo>
                    <a:pt x="71" y="671"/>
                    <a:pt x="70" y="671"/>
                    <a:pt x="70" y="672"/>
                  </a:cubicBezTo>
                  <a:cubicBezTo>
                    <a:pt x="70" y="672"/>
                    <a:pt x="69" y="672"/>
                    <a:pt x="69" y="673"/>
                  </a:cubicBezTo>
                  <a:cubicBezTo>
                    <a:pt x="68" y="673"/>
                    <a:pt x="68" y="673"/>
                    <a:pt x="68" y="673"/>
                  </a:cubicBezTo>
                  <a:cubicBezTo>
                    <a:pt x="67" y="673"/>
                    <a:pt x="66" y="674"/>
                    <a:pt x="66" y="674"/>
                  </a:cubicBezTo>
                  <a:cubicBezTo>
                    <a:pt x="66" y="674"/>
                    <a:pt x="65" y="675"/>
                    <a:pt x="65" y="675"/>
                  </a:cubicBezTo>
                  <a:cubicBezTo>
                    <a:pt x="62" y="676"/>
                    <a:pt x="60" y="678"/>
                    <a:pt x="57" y="680"/>
                  </a:cubicBezTo>
                  <a:cubicBezTo>
                    <a:pt x="57" y="680"/>
                    <a:pt x="56" y="681"/>
                    <a:pt x="56" y="681"/>
                  </a:cubicBezTo>
                  <a:cubicBezTo>
                    <a:pt x="48" y="686"/>
                    <a:pt x="41" y="691"/>
                    <a:pt x="35" y="697"/>
                  </a:cubicBezTo>
                  <a:cubicBezTo>
                    <a:pt x="34" y="697"/>
                    <a:pt x="34" y="697"/>
                    <a:pt x="34" y="698"/>
                  </a:cubicBezTo>
                  <a:cubicBezTo>
                    <a:pt x="13" y="715"/>
                    <a:pt x="0" y="732"/>
                    <a:pt x="0" y="748"/>
                  </a:cubicBezTo>
                  <a:cubicBezTo>
                    <a:pt x="0" y="769"/>
                    <a:pt x="21" y="788"/>
                    <a:pt x="71" y="803"/>
                  </a:cubicBezTo>
                  <a:cubicBezTo>
                    <a:pt x="71" y="803"/>
                    <a:pt x="72" y="803"/>
                    <a:pt x="72" y="803"/>
                  </a:cubicBezTo>
                  <a:cubicBezTo>
                    <a:pt x="77" y="805"/>
                    <a:pt x="82" y="806"/>
                    <a:pt x="87" y="808"/>
                  </a:cubicBezTo>
                  <a:cubicBezTo>
                    <a:pt x="87" y="808"/>
                    <a:pt x="88" y="808"/>
                    <a:pt x="88" y="808"/>
                  </a:cubicBezTo>
                  <a:cubicBezTo>
                    <a:pt x="95" y="810"/>
                    <a:pt x="102" y="811"/>
                    <a:pt x="109" y="813"/>
                  </a:cubicBezTo>
                  <a:cubicBezTo>
                    <a:pt x="110" y="813"/>
                    <a:pt x="110" y="813"/>
                    <a:pt x="111" y="813"/>
                  </a:cubicBezTo>
                  <a:cubicBezTo>
                    <a:pt x="120" y="815"/>
                    <a:pt x="130" y="817"/>
                    <a:pt x="141" y="819"/>
                  </a:cubicBezTo>
                  <a:cubicBezTo>
                    <a:pt x="141" y="819"/>
                    <a:pt x="142" y="819"/>
                    <a:pt x="142" y="819"/>
                  </a:cubicBezTo>
                  <a:cubicBezTo>
                    <a:pt x="143" y="819"/>
                    <a:pt x="143" y="818"/>
                    <a:pt x="144" y="818"/>
                  </a:cubicBezTo>
                  <a:cubicBezTo>
                    <a:pt x="144" y="818"/>
                    <a:pt x="143" y="818"/>
                    <a:pt x="143" y="818"/>
                  </a:cubicBezTo>
                  <a:cubicBezTo>
                    <a:pt x="143" y="818"/>
                    <a:pt x="142" y="818"/>
                    <a:pt x="142" y="818"/>
                  </a:cubicBezTo>
                  <a:cubicBezTo>
                    <a:pt x="131" y="816"/>
                    <a:pt x="121" y="814"/>
                    <a:pt x="111" y="812"/>
                  </a:cubicBezTo>
                  <a:cubicBezTo>
                    <a:pt x="111" y="812"/>
                    <a:pt x="111" y="812"/>
                    <a:pt x="110" y="812"/>
                  </a:cubicBezTo>
                  <a:cubicBezTo>
                    <a:pt x="103" y="810"/>
                    <a:pt x="96" y="809"/>
                    <a:pt x="89" y="807"/>
                  </a:cubicBezTo>
                  <a:cubicBezTo>
                    <a:pt x="89" y="807"/>
                    <a:pt x="88" y="807"/>
                    <a:pt x="88" y="807"/>
                  </a:cubicBezTo>
                  <a:cubicBezTo>
                    <a:pt x="83" y="805"/>
                    <a:pt x="78" y="804"/>
                    <a:pt x="73" y="803"/>
                  </a:cubicBezTo>
                  <a:cubicBezTo>
                    <a:pt x="73" y="803"/>
                    <a:pt x="72" y="803"/>
                    <a:pt x="72" y="802"/>
                  </a:cubicBezTo>
                  <a:cubicBezTo>
                    <a:pt x="22" y="787"/>
                    <a:pt x="1" y="769"/>
                    <a:pt x="1" y="748"/>
                  </a:cubicBezTo>
                  <a:cubicBezTo>
                    <a:pt x="1" y="732"/>
                    <a:pt x="14" y="715"/>
                    <a:pt x="35" y="698"/>
                  </a:cubicBezTo>
                  <a:cubicBezTo>
                    <a:pt x="35" y="697"/>
                    <a:pt x="36" y="697"/>
                    <a:pt x="36" y="697"/>
                  </a:cubicBezTo>
                  <a:cubicBezTo>
                    <a:pt x="42" y="692"/>
                    <a:pt x="50" y="686"/>
                    <a:pt x="57" y="681"/>
                  </a:cubicBezTo>
                  <a:cubicBezTo>
                    <a:pt x="58" y="681"/>
                    <a:pt x="58" y="681"/>
                    <a:pt x="59" y="680"/>
                  </a:cubicBezTo>
                  <a:cubicBezTo>
                    <a:pt x="61" y="679"/>
                    <a:pt x="63" y="677"/>
                    <a:pt x="66" y="676"/>
                  </a:cubicBezTo>
                  <a:cubicBezTo>
                    <a:pt x="66" y="675"/>
                    <a:pt x="66" y="675"/>
                    <a:pt x="67" y="675"/>
                  </a:cubicBezTo>
                  <a:cubicBezTo>
                    <a:pt x="67" y="675"/>
                    <a:pt x="67" y="675"/>
                    <a:pt x="68" y="674"/>
                  </a:cubicBezTo>
                  <a:cubicBezTo>
                    <a:pt x="68" y="674"/>
                    <a:pt x="68" y="674"/>
                    <a:pt x="69" y="674"/>
                  </a:cubicBezTo>
                  <a:cubicBezTo>
                    <a:pt x="69" y="673"/>
                    <a:pt x="70" y="673"/>
                    <a:pt x="71" y="672"/>
                  </a:cubicBezTo>
                  <a:cubicBezTo>
                    <a:pt x="71" y="672"/>
                    <a:pt x="71" y="672"/>
                    <a:pt x="72" y="672"/>
                  </a:cubicBezTo>
                  <a:cubicBezTo>
                    <a:pt x="75" y="670"/>
                    <a:pt x="78" y="668"/>
                    <a:pt x="81" y="666"/>
                  </a:cubicBezTo>
                  <a:cubicBezTo>
                    <a:pt x="81" y="666"/>
                    <a:pt x="81" y="666"/>
                    <a:pt x="81" y="666"/>
                  </a:cubicBezTo>
                  <a:cubicBezTo>
                    <a:pt x="82" y="666"/>
                    <a:pt x="83" y="665"/>
                    <a:pt x="83" y="665"/>
                  </a:cubicBezTo>
                  <a:cubicBezTo>
                    <a:pt x="84" y="665"/>
                    <a:pt x="84" y="664"/>
                    <a:pt x="85" y="664"/>
                  </a:cubicBezTo>
                  <a:cubicBezTo>
                    <a:pt x="86" y="663"/>
                    <a:pt x="86" y="663"/>
                    <a:pt x="87" y="662"/>
                  </a:cubicBezTo>
                  <a:cubicBezTo>
                    <a:pt x="88" y="662"/>
                    <a:pt x="89" y="662"/>
                    <a:pt x="90" y="661"/>
                  </a:cubicBezTo>
                  <a:cubicBezTo>
                    <a:pt x="91" y="660"/>
                    <a:pt x="93" y="660"/>
                    <a:pt x="94" y="659"/>
                  </a:cubicBezTo>
                  <a:cubicBezTo>
                    <a:pt x="94" y="659"/>
                    <a:pt x="95" y="658"/>
                    <a:pt x="95" y="658"/>
                  </a:cubicBezTo>
                  <a:cubicBezTo>
                    <a:pt x="100" y="655"/>
                    <a:pt x="106" y="652"/>
                    <a:pt x="112" y="649"/>
                  </a:cubicBezTo>
                  <a:cubicBezTo>
                    <a:pt x="112" y="649"/>
                    <a:pt x="112" y="649"/>
                    <a:pt x="113" y="649"/>
                  </a:cubicBezTo>
                  <a:cubicBezTo>
                    <a:pt x="113" y="648"/>
                    <a:pt x="113" y="648"/>
                    <a:pt x="114" y="648"/>
                  </a:cubicBezTo>
                  <a:cubicBezTo>
                    <a:pt x="116" y="647"/>
                    <a:pt x="119" y="646"/>
                    <a:pt x="121" y="644"/>
                  </a:cubicBezTo>
                  <a:cubicBezTo>
                    <a:pt x="121" y="644"/>
                    <a:pt x="122" y="644"/>
                    <a:pt x="122" y="644"/>
                  </a:cubicBezTo>
                  <a:cubicBezTo>
                    <a:pt x="122" y="644"/>
                    <a:pt x="123" y="644"/>
                    <a:pt x="123" y="643"/>
                  </a:cubicBezTo>
                  <a:cubicBezTo>
                    <a:pt x="123" y="643"/>
                    <a:pt x="123" y="643"/>
                    <a:pt x="124" y="643"/>
                  </a:cubicBezTo>
                  <a:cubicBezTo>
                    <a:pt x="124" y="643"/>
                    <a:pt x="124" y="643"/>
                    <a:pt x="124" y="643"/>
                  </a:cubicBezTo>
                  <a:cubicBezTo>
                    <a:pt x="125" y="643"/>
                    <a:pt x="125" y="642"/>
                    <a:pt x="126" y="642"/>
                  </a:cubicBezTo>
                  <a:cubicBezTo>
                    <a:pt x="128" y="641"/>
                    <a:pt x="131" y="639"/>
                    <a:pt x="134" y="638"/>
                  </a:cubicBezTo>
                  <a:cubicBezTo>
                    <a:pt x="135" y="638"/>
                    <a:pt x="135" y="638"/>
                    <a:pt x="135" y="637"/>
                  </a:cubicBezTo>
                  <a:cubicBezTo>
                    <a:pt x="138" y="636"/>
                    <a:pt x="140" y="635"/>
                    <a:pt x="142" y="634"/>
                  </a:cubicBezTo>
                  <a:cubicBezTo>
                    <a:pt x="143" y="634"/>
                    <a:pt x="143" y="634"/>
                    <a:pt x="143" y="634"/>
                  </a:cubicBezTo>
                  <a:cubicBezTo>
                    <a:pt x="144" y="633"/>
                    <a:pt x="144" y="633"/>
                    <a:pt x="145" y="633"/>
                  </a:cubicBezTo>
                  <a:cubicBezTo>
                    <a:pt x="146" y="632"/>
                    <a:pt x="147" y="632"/>
                    <a:pt x="149" y="631"/>
                  </a:cubicBezTo>
                  <a:cubicBezTo>
                    <a:pt x="150" y="630"/>
                    <a:pt x="152" y="629"/>
                    <a:pt x="154" y="629"/>
                  </a:cubicBezTo>
                  <a:cubicBezTo>
                    <a:pt x="154" y="628"/>
                    <a:pt x="155" y="628"/>
                    <a:pt x="155" y="628"/>
                  </a:cubicBezTo>
                  <a:cubicBezTo>
                    <a:pt x="155" y="628"/>
                    <a:pt x="156" y="628"/>
                    <a:pt x="156" y="628"/>
                  </a:cubicBezTo>
                  <a:cubicBezTo>
                    <a:pt x="160" y="626"/>
                    <a:pt x="163" y="624"/>
                    <a:pt x="167" y="623"/>
                  </a:cubicBezTo>
                  <a:cubicBezTo>
                    <a:pt x="168" y="622"/>
                    <a:pt x="169" y="622"/>
                    <a:pt x="170" y="621"/>
                  </a:cubicBezTo>
                  <a:cubicBezTo>
                    <a:pt x="170" y="621"/>
                    <a:pt x="171" y="621"/>
                    <a:pt x="171" y="621"/>
                  </a:cubicBezTo>
                  <a:cubicBezTo>
                    <a:pt x="173" y="620"/>
                    <a:pt x="175" y="619"/>
                    <a:pt x="177" y="618"/>
                  </a:cubicBezTo>
                  <a:cubicBezTo>
                    <a:pt x="177" y="618"/>
                    <a:pt x="178" y="618"/>
                    <a:pt x="178" y="618"/>
                  </a:cubicBezTo>
                  <a:cubicBezTo>
                    <a:pt x="179" y="618"/>
                    <a:pt x="179" y="617"/>
                    <a:pt x="180" y="617"/>
                  </a:cubicBezTo>
                  <a:cubicBezTo>
                    <a:pt x="180" y="617"/>
                    <a:pt x="181" y="617"/>
                    <a:pt x="181" y="616"/>
                  </a:cubicBezTo>
                  <a:cubicBezTo>
                    <a:pt x="183" y="616"/>
                    <a:pt x="185" y="615"/>
                    <a:pt x="187" y="614"/>
                  </a:cubicBezTo>
                  <a:cubicBezTo>
                    <a:pt x="188" y="614"/>
                    <a:pt x="188" y="614"/>
                    <a:pt x="188" y="613"/>
                  </a:cubicBezTo>
                  <a:cubicBezTo>
                    <a:pt x="192" y="612"/>
                    <a:pt x="195" y="611"/>
                    <a:pt x="198" y="609"/>
                  </a:cubicBezTo>
                  <a:cubicBezTo>
                    <a:pt x="198" y="609"/>
                    <a:pt x="199" y="609"/>
                    <a:pt x="199" y="609"/>
                  </a:cubicBezTo>
                  <a:cubicBezTo>
                    <a:pt x="200" y="608"/>
                    <a:pt x="201" y="608"/>
                    <a:pt x="202" y="608"/>
                  </a:cubicBezTo>
                  <a:cubicBezTo>
                    <a:pt x="203" y="607"/>
                    <a:pt x="203" y="607"/>
                    <a:pt x="203" y="607"/>
                  </a:cubicBezTo>
                  <a:cubicBezTo>
                    <a:pt x="203" y="607"/>
                    <a:pt x="203" y="607"/>
                    <a:pt x="203" y="607"/>
                  </a:cubicBezTo>
                  <a:cubicBezTo>
                    <a:pt x="204" y="607"/>
                    <a:pt x="205" y="607"/>
                    <a:pt x="205" y="606"/>
                  </a:cubicBezTo>
                  <a:cubicBezTo>
                    <a:pt x="205" y="606"/>
                    <a:pt x="206" y="606"/>
                    <a:pt x="206" y="606"/>
                  </a:cubicBezTo>
                  <a:cubicBezTo>
                    <a:pt x="207" y="606"/>
                    <a:pt x="208" y="605"/>
                    <a:pt x="209" y="605"/>
                  </a:cubicBezTo>
                  <a:cubicBezTo>
                    <a:pt x="209" y="605"/>
                    <a:pt x="210" y="604"/>
                    <a:pt x="210" y="604"/>
                  </a:cubicBezTo>
                  <a:cubicBezTo>
                    <a:pt x="210" y="604"/>
                    <a:pt x="211" y="604"/>
                    <a:pt x="211" y="604"/>
                  </a:cubicBezTo>
                  <a:cubicBezTo>
                    <a:pt x="211" y="604"/>
                    <a:pt x="211" y="604"/>
                    <a:pt x="211" y="604"/>
                  </a:cubicBezTo>
                  <a:cubicBezTo>
                    <a:pt x="212" y="604"/>
                    <a:pt x="212" y="604"/>
                    <a:pt x="212" y="603"/>
                  </a:cubicBezTo>
                  <a:cubicBezTo>
                    <a:pt x="213" y="603"/>
                    <a:pt x="213" y="603"/>
                    <a:pt x="214" y="603"/>
                  </a:cubicBezTo>
                  <a:cubicBezTo>
                    <a:pt x="214" y="603"/>
                    <a:pt x="215" y="602"/>
                    <a:pt x="215" y="602"/>
                  </a:cubicBezTo>
                  <a:cubicBezTo>
                    <a:pt x="215" y="602"/>
                    <a:pt x="215" y="602"/>
                    <a:pt x="216" y="602"/>
                  </a:cubicBezTo>
                  <a:cubicBezTo>
                    <a:pt x="216" y="602"/>
                    <a:pt x="216" y="602"/>
                    <a:pt x="217" y="602"/>
                  </a:cubicBezTo>
                  <a:cubicBezTo>
                    <a:pt x="217" y="601"/>
                    <a:pt x="218" y="601"/>
                    <a:pt x="219" y="601"/>
                  </a:cubicBezTo>
                  <a:cubicBezTo>
                    <a:pt x="219" y="601"/>
                    <a:pt x="220" y="600"/>
                    <a:pt x="221" y="600"/>
                  </a:cubicBezTo>
                  <a:cubicBezTo>
                    <a:pt x="221" y="600"/>
                    <a:pt x="221" y="600"/>
                    <a:pt x="221" y="600"/>
                  </a:cubicBezTo>
                  <a:cubicBezTo>
                    <a:pt x="222" y="600"/>
                    <a:pt x="222" y="599"/>
                    <a:pt x="223" y="599"/>
                  </a:cubicBezTo>
                  <a:cubicBezTo>
                    <a:pt x="223" y="599"/>
                    <a:pt x="223" y="599"/>
                    <a:pt x="224" y="599"/>
                  </a:cubicBezTo>
                  <a:cubicBezTo>
                    <a:pt x="225" y="599"/>
                    <a:pt x="225" y="598"/>
                    <a:pt x="226" y="598"/>
                  </a:cubicBezTo>
                  <a:cubicBezTo>
                    <a:pt x="227" y="598"/>
                    <a:pt x="228" y="597"/>
                    <a:pt x="229" y="597"/>
                  </a:cubicBezTo>
                  <a:cubicBezTo>
                    <a:pt x="229" y="597"/>
                    <a:pt x="229" y="597"/>
                    <a:pt x="230" y="596"/>
                  </a:cubicBezTo>
                  <a:cubicBezTo>
                    <a:pt x="230" y="596"/>
                    <a:pt x="230" y="596"/>
                    <a:pt x="231" y="596"/>
                  </a:cubicBezTo>
                  <a:cubicBezTo>
                    <a:pt x="231" y="596"/>
                    <a:pt x="232" y="595"/>
                    <a:pt x="233" y="595"/>
                  </a:cubicBezTo>
                  <a:cubicBezTo>
                    <a:pt x="233" y="595"/>
                    <a:pt x="233" y="595"/>
                    <a:pt x="234" y="595"/>
                  </a:cubicBezTo>
                  <a:cubicBezTo>
                    <a:pt x="234" y="595"/>
                    <a:pt x="235" y="594"/>
                    <a:pt x="236" y="594"/>
                  </a:cubicBezTo>
                  <a:cubicBezTo>
                    <a:pt x="241" y="592"/>
                    <a:pt x="247" y="590"/>
                    <a:pt x="253" y="588"/>
                  </a:cubicBezTo>
                  <a:cubicBezTo>
                    <a:pt x="253" y="587"/>
                    <a:pt x="254" y="587"/>
                    <a:pt x="254" y="587"/>
                  </a:cubicBezTo>
                  <a:cubicBezTo>
                    <a:pt x="257" y="586"/>
                    <a:pt x="260" y="585"/>
                    <a:pt x="262" y="584"/>
                  </a:cubicBezTo>
                  <a:cubicBezTo>
                    <a:pt x="263" y="584"/>
                    <a:pt x="263" y="584"/>
                    <a:pt x="263" y="584"/>
                  </a:cubicBezTo>
                  <a:cubicBezTo>
                    <a:pt x="266" y="583"/>
                    <a:pt x="269" y="582"/>
                    <a:pt x="271" y="581"/>
                  </a:cubicBezTo>
                  <a:cubicBezTo>
                    <a:pt x="272" y="580"/>
                    <a:pt x="272" y="580"/>
                    <a:pt x="273" y="580"/>
                  </a:cubicBezTo>
                  <a:cubicBezTo>
                    <a:pt x="276" y="579"/>
                    <a:pt x="279" y="578"/>
                    <a:pt x="282" y="577"/>
                  </a:cubicBezTo>
                  <a:cubicBezTo>
                    <a:pt x="283" y="577"/>
                    <a:pt x="283" y="576"/>
                    <a:pt x="283" y="576"/>
                  </a:cubicBezTo>
                  <a:cubicBezTo>
                    <a:pt x="285" y="576"/>
                    <a:pt x="287" y="575"/>
                    <a:pt x="289" y="574"/>
                  </a:cubicBezTo>
                  <a:cubicBezTo>
                    <a:pt x="289" y="574"/>
                    <a:pt x="289" y="574"/>
                    <a:pt x="290" y="574"/>
                  </a:cubicBezTo>
                  <a:cubicBezTo>
                    <a:pt x="291" y="574"/>
                    <a:pt x="292" y="573"/>
                    <a:pt x="294" y="573"/>
                  </a:cubicBezTo>
                  <a:cubicBezTo>
                    <a:pt x="294" y="572"/>
                    <a:pt x="295" y="572"/>
                    <a:pt x="296" y="572"/>
                  </a:cubicBezTo>
                  <a:cubicBezTo>
                    <a:pt x="301" y="570"/>
                    <a:pt x="306" y="568"/>
                    <a:pt x="311" y="567"/>
                  </a:cubicBezTo>
                  <a:cubicBezTo>
                    <a:pt x="312" y="566"/>
                    <a:pt x="312" y="566"/>
                    <a:pt x="312" y="566"/>
                  </a:cubicBezTo>
                  <a:cubicBezTo>
                    <a:pt x="329" y="561"/>
                    <a:pt x="345" y="555"/>
                    <a:pt x="360" y="550"/>
                  </a:cubicBezTo>
                  <a:cubicBezTo>
                    <a:pt x="361" y="550"/>
                    <a:pt x="361" y="550"/>
                    <a:pt x="362" y="550"/>
                  </a:cubicBezTo>
                  <a:cubicBezTo>
                    <a:pt x="367" y="549"/>
                    <a:pt x="372" y="547"/>
                    <a:pt x="377" y="546"/>
                  </a:cubicBezTo>
                  <a:cubicBezTo>
                    <a:pt x="383" y="544"/>
                    <a:pt x="389" y="542"/>
                    <a:pt x="396" y="539"/>
                  </a:cubicBezTo>
                  <a:cubicBezTo>
                    <a:pt x="397" y="539"/>
                    <a:pt x="398" y="539"/>
                    <a:pt x="400" y="538"/>
                  </a:cubicBezTo>
                  <a:cubicBezTo>
                    <a:pt x="407" y="536"/>
                    <a:pt x="414" y="533"/>
                    <a:pt x="421" y="531"/>
                  </a:cubicBezTo>
                  <a:cubicBezTo>
                    <a:pt x="423" y="530"/>
                    <a:pt x="426" y="529"/>
                    <a:pt x="428" y="528"/>
                  </a:cubicBezTo>
                  <a:cubicBezTo>
                    <a:pt x="434" y="526"/>
                    <a:pt x="440" y="523"/>
                    <a:pt x="446" y="521"/>
                  </a:cubicBezTo>
                  <a:cubicBezTo>
                    <a:pt x="447" y="521"/>
                    <a:pt x="448" y="520"/>
                    <a:pt x="448" y="520"/>
                  </a:cubicBezTo>
                  <a:cubicBezTo>
                    <a:pt x="449" y="520"/>
                    <a:pt x="450" y="520"/>
                    <a:pt x="450" y="519"/>
                  </a:cubicBezTo>
                  <a:cubicBezTo>
                    <a:pt x="452" y="518"/>
                    <a:pt x="454" y="518"/>
                    <a:pt x="457" y="517"/>
                  </a:cubicBezTo>
                  <a:cubicBezTo>
                    <a:pt x="458" y="516"/>
                    <a:pt x="459" y="516"/>
                    <a:pt x="460" y="515"/>
                  </a:cubicBezTo>
                  <a:cubicBezTo>
                    <a:pt x="461" y="515"/>
                    <a:pt x="463" y="514"/>
                    <a:pt x="465" y="513"/>
                  </a:cubicBezTo>
                  <a:cubicBezTo>
                    <a:pt x="464" y="513"/>
                    <a:pt x="464" y="513"/>
                    <a:pt x="463" y="513"/>
                  </a:cubicBezTo>
                  <a:moveTo>
                    <a:pt x="769" y="728"/>
                  </a:moveTo>
                  <a:cubicBezTo>
                    <a:pt x="770" y="728"/>
                    <a:pt x="771" y="729"/>
                    <a:pt x="772" y="729"/>
                  </a:cubicBezTo>
                  <a:cubicBezTo>
                    <a:pt x="782" y="729"/>
                    <a:pt x="791" y="730"/>
                    <a:pt x="800" y="732"/>
                  </a:cubicBezTo>
                  <a:cubicBezTo>
                    <a:pt x="798" y="731"/>
                    <a:pt x="796" y="730"/>
                    <a:pt x="794" y="730"/>
                  </a:cubicBezTo>
                  <a:cubicBezTo>
                    <a:pt x="786" y="729"/>
                    <a:pt x="778" y="728"/>
                    <a:pt x="769" y="728"/>
                  </a:cubicBezTo>
                  <a:moveTo>
                    <a:pt x="766" y="728"/>
                  </a:moveTo>
                  <a:cubicBezTo>
                    <a:pt x="765" y="728"/>
                    <a:pt x="764" y="728"/>
                    <a:pt x="763" y="728"/>
                  </a:cubicBezTo>
                  <a:cubicBezTo>
                    <a:pt x="763" y="728"/>
                    <a:pt x="764" y="729"/>
                    <a:pt x="764" y="729"/>
                  </a:cubicBezTo>
                  <a:cubicBezTo>
                    <a:pt x="765" y="729"/>
                    <a:pt x="766" y="729"/>
                    <a:pt x="767" y="729"/>
                  </a:cubicBezTo>
                  <a:cubicBezTo>
                    <a:pt x="768" y="729"/>
                    <a:pt x="768" y="729"/>
                    <a:pt x="769" y="729"/>
                  </a:cubicBezTo>
                  <a:cubicBezTo>
                    <a:pt x="768" y="729"/>
                    <a:pt x="767" y="728"/>
                    <a:pt x="766" y="728"/>
                  </a:cubicBezTo>
                  <a:moveTo>
                    <a:pt x="761" y="728"/>
                  </a:moveTo>
                  <a:cubicBezTo>
                    <a:pt x="759" y="728"/>
                    <a:pt x="756" y="728"/>
                    <a:pt x="754" y="728"/>
                  </a:cubicBezTo>
                  <a:cubicBezTo>
                    <a:pt x="754" y="728"/>
                    <a:pt x="754" y="728"/>
                    <a:pt x="754" y="728"/>
                  </a:cubicBezTo>
                  <a:cubicBezTo>
                    <a:pt x="754" y="729"/>
                    <a:pt x="755" y="729"/>
                    <a:pt x="755" y="729"/>
                  </a:cubicBezTo>
                  <a:cubicBezTo>
                    <a:pt x="758" y="729"/>
                    <a:pt x="760" y="729"/>
                    <a:pt x="762" y="729"/>
                  </a:cubicBezTo>
                  <a:cubicBezTo>
                    <a:pt x="762" y="729"/>
                    <a:pt x="761" y="728"/>
                    <a:pt x="761" y="728"/>
                  </a:cubicBezTo>
                  <a:moveTo>
                    <a:pt x="752" y="728"/>
                  </a:moveTo>
                  <a:cubicBezTo>
                    <a:pt x="750" y="729"/>
                    <a:pt x="747" y="729"/>
                    <a:pt x="745" y="729"/>
                  </a:cubicBezTo>
                  <a:cubicBezTo>
                    <a:pt x="745" y="729"/>
                    <a:pt x="746" y="730"/>
                    <a:pt x="746" y="730"/>
                  </a:cubicBezTo>
                  <a:cubicBezTo>
                    <a:pt x="748" y="730"/>
                    <a:pt x="750" y="730"/>
                    <a:pt x="752" y="729"/>
                  </a:cubicBezTo>
                  <a:cubicBezTo>
                    <a:pt x="752" y="729"/>
                    <a:pt x="753" y="729"/>
                    <a:pt x="753" y="729"/>
                  </a:cubicBezTo>
                  <a:cubicBezTo>
                    <a:pt x="753" y="729"/>
                    <a:pt x="754" y="729"/>
                    <a:pt x="754" y="729"/>
                  </a:cubicBezTo>
                  <a:cubicBezTo>
                    <a:pt x="753" y="729"/>
                    <a:pt x="753" y="729"/>
                    <a:pt x="752" y="728"/>
                  </a:cubicBezTo>
                  <a:moveTo>
                    <a:pt x="744" y="729"/>
                  </a:moveTo>
                  <a:cubicBezTo>
                    <a:pt x="740" y="729"/>
                    <a:pt x="737" y="730"/>
                    <a:pt x="733" y="730"/>
                  </a:cubicBezTo>
                  <a:cubicBezTo>
                    <a:pt x="734" y="730"/>
                    <a:pt x="734" y="731"/>
                    <a:pt x="734" y="731"/>
                  </a:cubicBezTo>
                  <a:cubicBezTo>
                    <a:pt x="738" y="731"/>
                    <a:pt x="741" y="730"/>
                    <a:pt x="745" y="730"/>
                  </a:cubicBezTo>
                  <a:cubicBezTo>
                    <a:pt x="744" y="730"/>
                    <a:pt x="744" y="729"/>
                    <a:pt x="744" y="729"/>
                  </a:cubicBezTo>
                  <a:moveTo>
                    <a:pt x="732" y="730"/>
                  </a:moveTo>
                  <a:cubicBezTo>
                    <a:pt x="729" y="731"/>
                    <a:pt x="725" y="731"/>
                    <a:pt x="721" y="732"/>
                  </a:cubicBezTo>
                  <a:cubicBezTo>
                    <a:pt x="721" y="732"/>
                    <a:pt x="721" y="732"/>
                    <a:pt x="722" y="733"/>
                  </a:cubicBezTo>
                  <a:cubicBezTo>
                    <a:pt x="726" y="732"/>
                    <a:pt x="729" y="732"/>
                    <a:pt x="733" y="731"/>
                  </a:cubicBezTo>
                  <a:cubicBezTo>
                    <a:pt x="733" y="731"/>
                    <a:pt x="733" y="730"/>
                    <a:pt x="732" y="730"/>
                  </a:cubicBezTo>
                  <a:moveTo>
                    <a:pt x="800" y="731"/>
                  </a:moveTo>
                  <a:cubicBezTo>
                    <a:pt x="801" y="731"/>
                    <a:pt x="803" y="732"/>
                    <a:pt x="805" y="733"/>
                  </a:cubicBezTo>
                  <a:cubicBezTo>
                    <a:pt x="808" y="733"/>
                    <a:pt x="811" y="734"/>
                    <a:pt x="814" y="735"/>
                  </a:cubicBezTo>
                  <a:cubicBezTo>
                    <a:pt x="816" y="736"/>
                    <a:pt x="817" y="736"/>
                    <a:pt x="819" y="737"/>
                  </a:cubicBezTo>
                  <a:cubicBezTo>
                    <a:pt x="821" y="738"/>
                    <a:pt x="823" y="739"/>
                    <a:pt x="825" y="739"/>
                  </a:cubicBezTo>
                  <a:cubicBezTo>
                    <a:pt x="826" y="740"/>
                    <a:pt x="827" y="740"/>
                    <a:pt x="828" y="741"/>
                  </a:cubicBezTo>
                  <a:cubicBezTo>
                    <a:pt x="830" y="742"/>
                    <a:pt x="833" y="743"/>
                    <a:pt x="835" y="745"/>
                  </a:cubicBezTo>
                  <a:cubicBezTo>
                    <a:pt x="836" y="745"/>
                    <a:pt x="836" y="746"/>
                    <a:pt x="837" y="746"/>
                  </a:cubicBezTo>
                  <a:cubicBezTo>
                    <a:pt x="842" y="750"/>
                    <a:pt x="847" y="754"/>
                    <a:pt x="852" y="759"/>
                  </a:cubicBezTo>
                  <a:cubicBezTo>
                    <a:pt x="852" y="760"/>
                    <a:pt x="852" y="761"/>
                    <a:pt x="853" y="761"/>
                  </a:cubicBezTo>
                  <a:cubicBezTo>
                    <a:pt x="854" y="763"/>
                    <a:pt x="855" y="764"/>
                    <a:pt x="856" y="766"/>
                  </a:cubicBezTo>
                  <a:cubicBezTo>
                    <a:pt x="856" y="766"/>
                    <a:pt x="857" y="766"/>
                    <a:pt x="857" y="766"/>
                  </a:cubicBezTo>
                  <a:cubicBezTo>
                    <a:pt x="863" y="776"/>
                    <a:pt x="868" y="788"/>
                    <a:pt x="871" y="803"/>
                  </a:cubicBezTo>
                  <a:cubicBezTo>
                    <a:pt x="871" y="805"/>
                    <a:pt x="871" y="806"/>
                    <a:pt x="872" y="807"/>
                  </a:cubicBezTo>
                  <a:cubicBezTo>
                    <a:pt x="872" y="809"/>
                    <a:pt x="872" y="811"/>
                    <a:pt x="872" y="813"/>
                  </a:cubicBezTo>
                  <a:cubicBezTo>
                    <a:pt x="877" y="819"/>
                    <a:pt x="882" y="826"/>
                    <a:pt x="887" y="833"/>
                  </a:cubicBezTo>
                  <a:cubicBezTo>
                    <a:pt x="887" y="834"/>
                    <a:pt x="887" y="834"/>
                    <a:pt x="888" y="834"/>
                  </a:cubicBezTo>
                  <a:cubicBezTo>
                    <a:pt x="889" y="837"/>
                    <a:pt x="891" y="839"/>
                    <a:pt x="893" y="841"/>
                  </a:cubicBezTo>
                  <a:cubicBezTo>
                    <a:pt x="893" y="842"/>
                    <a:pt x="894" y="842"/>
                    <a:pt x="894" y="843"/>
                  </a:cubicBezTo>
                  <a:cubicBezTo>
                    <a:pt x="898" y="848"/>
                    <a:pt x="903" y="853"/>
                    <a:pt x="907" y="859"/>
                  </a:cubicBezTo>
                  <a:cubicBezTo>
                    <a:pt x="907" y="859"/>
                    <a:pt x="907" y="859"/>
                    <a:pt x="907" y="859"/>
                  </a:cubicBezTo>
                  <a:cubicBezTo>
                    <a:pt x="908" y="860"/>
                    <a:pt x="909" y="861"/>
                    <a:pt x="909" y="861"/>
                  </a:cubicBezTo>
                  <a:cubicBezTo>
                    <a:pt x="909" y="861"/>
                    <a:pt x="909" y="861"/>
                    <a:pt x="909" y="862"/>
                  </a:cubicBezTo>
                  <a:cubicBezTo>
                    <a:pt x="912" y="864"/>
                    <a:pt x="914" y="867"/>
                    <a:pt x="916" y="869"/>
                  </a:cubicBezTo>
                  <a:cubicBezTo>
                    <a:pt x="917" y="870"/>
                    <a:pt x="917" y="871"/>
                    <a:pt x="918" y="871"/>
                  </a:cubicBezTo>
                  <a:cubicBezTo>
                    <a:pt x="918" y="872"/>
                    <a:pt x="918" y="872"/>
                    <a:pt x="919" y="872"/>
                  </a:cubicBezTo>
                  <a:cubicBezTo>
                    <a:pt x="919" y="873"/>
                    <a:pt x="920" y="874"/>
                    <a:pt x="920" y="874"/>
                  </a:cubicBezTo>
                  <a:cubicBezTo>
                    <a:pt x="1092" y="1070"/>
                    <a:pt x="1510" y="1388"/>
                    <a:pt x="1655" y="1388"/>
                  </a:cubicBezTo>
                  <a:cubicBezTo>
                    <a:pt x="1671" y="1388"/>
                    <a:pt x="1684" y="1384"/>
                    <a:pt x="1693" y="1376"/>
                  </a:cubicBezTo>
                  <a:cubicBezTo>
                    <a:pt x="1701" y="1367"/>
                    <a:pt x="1706" y="1355"/>
                    <a:pt x="1706" y="1337"/>
                  </a:cubicBezTo>
                  <a:cubicBezTo>
                    <a:pt x="1706" y="1332"/>
                    <a:pt x="1706" y="1326"/>
                    <a:pt x="1705" y="1320"/>
                  </a:cubicBezTo>
                  <a:cubicBezTo>
                    <a:pt x="1704" y="1319"/>
                    <a:pt x="1704" y="1319"/>
                    <a:pt x="1704" y="1318"/>
                  </a:cubicBezTo>
                  <a:cubicBezTo>
                    <a:pt x="1705" y="1325"/>
                    <a:pt x="1705" y="1331"/>
                    <a:pt x="1705" y="1337"/>
                  </a:cubicBezTo>
                  <a:cubicBezTo>
                    <a:pt x="1705" y="1372"/>
                    <a:pt x="1687" y="1387"/>
                    <a:pt x="1655" y="1387"/>
                  </a:cubicBezTo>
                  <a:cubicBezTo>
                    <a:pt x="1655" y="1387"/>
                    <a:pt x="1655" y="1387"/>
                    <a:pt x="1655" y="1387"/>
                  </a:cubicBezTo>
                  <a:cubicBezTo>
                    <a:pt x="1511" y="1387"/>
                    <a:pt x="1094" y="1071"/>
                    <a:pt x="922" y="875"/>
                  </a:cubicBezTo>
                  <a:cubicBezTo>
                    <a:pt x="922" y="875"/>
                    <a:pt x="921" y="874"/>
                    <a:pt x="921" y="873"/>
                  </a:cubicBezTo>
                  <a:cubicBezTo>
                    <a:pt x="921" y="873"/>
                    <a:pt x="920" y="873"/>
                    <a:pt x="920" y="872"/>
                  </a:cubicBezTo>
                  <a:cubicBezTo>
                    <a:pt x="919" y="872"/>
                    <a:pt x="919" y="871"/>
                    <a:pt x="918" y="870"/>
                  </a:cubicBezTo>
                  <a:cubicBezTo>
                    <a:pt x="918" y="870"/>
                    <a:pt x="918" y="870"/>
                    <a:pt x="918" y="870"/>
                  </a:cubicBezTo>
                  <a:cubicBezTo>
                    <a:pt x="916" y="868"/>
                    <a:pt x="914" y="865"/>
                    <a:pt x="912" y="863"/>
                  </a:cubicBezTo>
                  <a:cubicBezTo>
                    <a:pt x="911" y="862"/>
                    <a:pt x="910" y="861"/>
                    <a:pt x="910" y="860"/>
                  </a:cubicBezTo>
                  <a:cubicBezTo>
                    <a:pt x="909" y="860"/>
                    <a:pt x="909" y="860"/>
                    <a:pt x="909" y="859"/>
                  </a:cubicBezTo>
                  <a:cubicBezTo>
                    <a:pt x="905" y="854"/>
                    <a:pt x="901" y="849"/>
                    <a:pt x="897" y="845"/>
                  </a:cubicBezTo>
                  <a:cubicBezTo>
                    <a:pt x="896" y="844"/>
                    <a:pt x="896" y="843"/>
                    <a:pt x="895" y="842"/>
                  </a:cubicBezTo>
                  <a:cubicBezTo>
                    <a:pt x="893" y="840"/>
                    <a:pt x="891" y="837"/>
                    <a:pt x="889" y="835"/>
                  </a:cubicBezTo>
                  <a:cubicBezTo>
                    <a:pt x="889" y="834"/>
                    <a:pt x="888" y="834"/>
                    <a:pt x="888" y="834"/>
                  </a:cubicBezTo>
                  <a:cubicBezTo>
                    <a:pt x="884" y="828"/>
                    <a:pt x="880" y="822"/>
                    <a:pt x="876" y="817"/>
                  </a:cubicBezTo>
                  <a:cubicBezTo>
                    <a:pt x="875" y="816"/>
                    <a:pt x="875" y="815"/>
                    <a:pt x="874" y="814"/>
                  </a:cubicBezTo>
                  <a:cubicBezTo>
                    <a:pt x="874" y="813"/>
                    <a:pt x="873" y="813"/>
                    <a:pt x="873" y="813"/>
                  </a:cubicBezTo>
                  <a:cubicBezTo>
                    <a:pt x="873" y="812"/>
                    <a:pt x="873" y="812"/>
                    <a:pt x="873" y="811"/>
                  </a:cubicBezTo>
                  <a:cubicBezTo>
                    <a:pt x="873" y="810"/>
                    <a:pt x="873" y="808"/>
                    <a:pt x="872" y="807"/>
                  </a:cubicBezTo>
                  <a:cubicBezTo>
                    <a:pt x="872" y="807"/>
                    <a:pt x="872" y="806"/>
                    <a:pt x="872" y="806"/>
                  </a:cubicBezTo>
                  <a:cubicBezTo>
                    <a:pt x="870" y="790"/>
                    <a:pt x="865" y="777"/>
                    <a:pt x="858" y="766"/>
                  </a:cubicBezTo>
                  <a:cubicBezTo>
                    <a:pt x="857" y="766"/>
                    <a:pt x="857" y="765"/>
                    <a:pt x="857" y="765"/>
                  </a:cubicBezTo>
                  <a:cubicBezTo>
                    <a:pt x="856" y="764"/>
                    <a:pt x="856" y="763"/>
                    <a:pt x="855" y="762"/>
                  </a:cubicBezTo>
                  <a:cubicBezTo>
                    <a:pt x="855" y="762"/>
                    <a:pt x="854" y="761"/>
                    <a:pt x="854" y="760"/>
                  </a:cubicBezTo>
                  <a:cubicBezTo>
                    <a:pt x="849" y="755"/>
                    <a:pt x="845" y="750"/>
                    <a:pt x="839" y="746"/>
                  </a:cubicBezTo>
                  <a:cubicBezTo>
                    <a:pt x="839" y="746"/>
                    <a:pt x="838" y="746"/>
                    <a:pt x="837" y="745"/>
                  </a:cubicBezTo>
                  <a:cubicBezTo>
                    <a:pt x="835" y="744"/>
                    <a:pt x="833" y="742"/>
                    <a:pt x="830" y="741"/>
                  </a:cubicBezTo>
                  <a:cubicBezTo>
                    <a:pt x="830" y="741"/>
                    <a:pt x="829" y="740"/>
                    <a:pt x="828" y="740"/>
                  </a:cubicBezTo>
                  <a:cubicBezTo>
                    <a:pt x="827" y="739"/>
                    <a:pt x="826" y="739"/>
                    <a:pt x="824" y="738"/>
                  </a:cubicBezTo>
                  <a:cubicBezTo>
                    <a:pt x="823" y="737"/>
                    <a:pt x="821" y="737"/>
                    <a:pt x="820" y="736"/>
                  </a:cubicBezTo>
                  <a:cubicBezTo>
                    <a:pt x="813" y="734"/>
                    <a:pt x="807" y="732"/>
                    <a:pt x="800" y="731"/>
                  </a:cubicBezTo>
                  <a:moveTo>
                    <a:pt x="720" y="732"/>
                  </a:moveTo>
                  <a:cubicBezTo>
                    <a:pt x="714" y="733"/>
                    <a:pt x="708" y="734"/>
                    <a:pt x="702" y="735"/>
                  </a:cubicBezTo>
                  <a:cubicBezTo>
                    <a:pt x="701" y="735"/>
                    <a:pt x="701" y="735"/>
                    <a:pt x="701" y="735"/>
                  </a:cubicBezTo>
                  <a:cubicBezTo>
                    <a:pt x="691" y="737"/>
                    <a:pt x="681" y="739"/>
                    <a:pt x="670" y="741"/>
                  </a:cubicBezTo>
                  <a:cubicBezTo>
                    <a:pt x="669" y="741"/>
                    <a:pt x="668" y="741"/>
                    <a:pt x="667" y="742"/>
                  </a:cubicBezTo>
                  <a:cubicBezTo>
                    <a:pt x="659" y="743"/>
                    <a:pt x="650" y="745"/>
                    <a:pt x="641" y="748"/>
                  </a:cubicBezTo>
                  <a:cubicBezTo>
                    <a:pt x="641" y="748"/>
                    <a:pt x="640" y="748"/>
                    <a:pt x="639" y="748"/>
                  </a:cubicBezTo>
                  <a:cubicBezTo>
                    <a:pt x="639" y="748"/>
                    <a:pt x="639" y="748"/>
                    <a:pt x="639" y="748"/>
                  </a:cubicBezTo>
                  <a:cubicBezTo>
                    <a:pt x="639" y="748"/>
                    <a:pt x="638" y="748"/>
                    <a:pt x="638" y="748"/>
                  </a:cubicBezTo>
                  <a:cubicBezTo>
                    <a:pt x="638" y="748"/>
                    <a:pt x="638" y="748"/>
                    <a:pt x="638" y="748"/>
                  </a:cubicBezTo>
                  <a:cubicBezTo>
                    <a:pt x="637" y="749"/>
                    <a:pt x="636" y="749"/>
                    <a:pt x="636" y="749"/>
                  </a:cubicBezTo>
                  <a:cubicBezTo>
                    <a:pt x="636" y="749"/>
                    <a:pt x="635" y="749"/>
                    <a:pt x="635" y="749"/>
                  </a:cubicBezTo>
                  <a:cubicBezTo>
                    <a:pt x="635" y="749"/>
                    <a:pt x="634" y="749"/>
                    <a:pt x="633" y="750"/>
                  </a:cubicBezTo>
                  <a:cubicBezTo>
                    <a:pt x="633" y="750"/>
                    <a:pt x="632" y="750"/>
                    <a:pt x="632" y="750"/>
                  </a:cubicBezTo>
                  <a:cubicBezTo>
                    <a:pt x="631" y="750"/>
                    <a:pt x="631" y="750"/>
                    <a:pt x="630" y="750"/>
                  </a:cubicBezTo>
                  <a:cubicBezTo>
                    <a:pt x="623" y="752"/>
                    <a:pt x="617" y="754"/>
                    <a:pt x="610" y="756"/>
                  </a:cubicBezTo>
                  <a:cubicBezTo>
                    <a:pt x="609" y="756"/>
                    <a:pt x="608" y="756"/>
                    <a:pt x="607" y="756"/>
                  </a:cubicBezTo>
                  <a:cubicBezTo>
                    <a:pt x="603" y="757"/>
                    <a:pt x="600" y="758"/>
                    <a:pt x="596" y="759"/>
                  </a:cubicBezTo>
                  <a:cubicBezTo>
                    <a:pt x="595" y="759"/>
                    <a:pt x="594" y="760"/>
                    <a:pt x="593" y="760"/>
                  </a:cubicBezTo>
                  <a:cubicBezTo>
                    <a:pt x="590" y="761"/>
                    <a:pt x="587" y="762"/>
                    <a:pt x="584" y="763"/>
                  </a:cubicBezTo>
                  <a:cubicBezTo>
                    <a:pt x="583" y="763"/>
                    <a:pt x="583" y="763"/>
                    <a:pt x="583" y="763"/>
                  </a:cubicBezTo>
                  <a:cubicBezTo>
                    <a:pt x="582" y="763"/>
                    <a:pt x="581" y="763"/>
                    <a:pt x="580" y="763"/>
                  </a:cubicBezTo>
                  <a:cubicBezTo>
                    <a:pt x="579" y="764"/>
                    <a:pt x="578" y="764"/>
                    <a:pt x="576" y="765"/>
                  </a:cubicBezTo>
                  <a:cubicBezTo>
                    <a:pt x="571" y="766"/>
                    <a:pt x="566" y="767"/>
                    <a:pt x="561" y="769"/>
                  </a:cubicBezTo>
                  <a:cubicBezTo>
                    <a:pt x="559" y="769"/>
                    <a:pt x="558" y="770"/>
                    <a:pt x="556" y="770"/>
                  </a:cubicBezTo>
                  <a:cubicBezTo>
                    <a:pt x="550" y="772"/>
                    <a:pt x="544" y="773"/>
                    <a:pt x="537" y="775"/>
                  </a:cubicBezTo>
                  <a:cubicBezTo>
                    <a:pt x="535" y="776"/>
                    <a:pt x="534" y="776"/>
                    <a:pt x="532" y="777"/>
                  </a:cubicBezTo>
                  <a:cubicBezTo>
                    <a:pt x="524" y="779"/>
                    <a:pt x="517" y="781"/>
                    <a:pt x="509" y="783"/>
                  </a:cubicBezTo>
                  <a:cubicBezTo>
                    <a:pt x="508" y="783"/>
                    <a:pt x="506" y="784"/>
                    <a:pt x="504" y="784"/>
                  </a:cubicBezTo>
                  <a:cubicBezTo>
                    <a:pt x="502" y="785"/>
                    <a:pt x="501" y="785"/>
                    <a:pt x="499" y="785"/>
                  </a:cubicBezTo>
                  <a:cubicBezTo>
                    <a:pt x="492" y="787"/>
                    <a:pt x="485" y="789"/>
                    <a:pt x="478" y="791"/>
                  </a:cubicBezTo>
                  <a:cubicBezTo>
                    <a:pt x="476" y="791"/>
                    <a:pt x="474" y="792"/>
                    <a:pt x="472" y="792"/>
                  </a:cubicBezTo>
                  <a:cubicBezTo>
                    <a:pt x="463" y="795"/>
                    <a:pt x="454" y="797"/>
                    <a:pt x="445" y="799"/>
                  </a:cubicBezTo>
                  <a:cubicBezTo>
                    <a:pt x="443" y="800"/>
                    <a:pt x="441" y="800"/>
                    <a:pt x="439" y="801"/>
                  </a:cubicBezTo>
                  <a:cubicBezTo>
                    <a:pt x="429" y="803"/>
                    <a:pt x="420" y="805"/>
                    <a:pt x="410" y="807"/>
                  </a:cubicBezTo>
                  <a:cubicBezTo>
                    <a:pt x="408" y="808"/>
                    <a:pt x="407" y="808"/>
                    <a:pt x="405" y="808"/>
                  </a:cubicBezTo>
                  <a:cubicBezTo>
                    <a:pt x="396" y="810"/>
                    <a:pt x="387" y="812"/>
                    <a:pt x="379" y="814"/>
                  </a:cubicBezTo>
                  <a:cubicBezTo>
                    <a:pt x="376" y="814"/>
                    <a:pt x="374" y="814"/>
                    <a:pt x="372" y="815"/>
                  </a:cubicBezTo>
                  <a:cubicBezTo>
                    <a:pt x="367" y="816"/>
                    <a:pt x="361" y="817"/>
                    <a:pt x="356" y="818"/>
                  </a:cubicBezTo>
                  <a:cubicBezTo>
                    <a:pt x="354" y="818"/>
                    <a:pt x="352" y="818"/>
                    <a:pt x="350" y="819"/>
                  </a:cubicBezTo>
                  <a:cubicBezTo>
                    <a:pt x="345" y="819"/>
                    <a:pt x="341" y="820"/>
                    <a:pt x="336" y="821"/>
                  </a:cubicBezTo>
                  <a:cubicBezTo>
                    <a:pt x="327" y="822"/>
                    <a:pt x="318" y="823"/>
                    <a:pt x="309" y="824"/>
                  </a:cubicBezTo>
                  <a:cubicBezTo>
                    <a:pt x="305" y="825"/>
                    <a:pt x="300" y="826"/>
                    <a:pt x="295" y="827"/>
                  </a:cubicBezTo>
                  <a:cubicBezTo>
                    <a:pt x="297" y="826"/>
                    <a:pt x="299" y="826"/>
                    <a:pt x="301" y="826"/>
                  </a:cubicBezTo>
                  <a:cubicBezTo>
                    <a:pt x="303" y="826"/>
                    <a:pt x="305" y="826"/>
                    <a:pt x="307" y="825"/>
                  </a:cubicBezTo>
                  <a:cubicBezTo>
                    <a:pt x="316" y="824"/>
                    <a:pt x="326" y="823"/>
                    <a:pt x="335" y="822"/>
                  </a:cubicBezTo>
                  <a:cubicBezTo>
                    <a:pt x="339" y="821"/>
                    <a:pt x="343" y="821"/>
                    <a:pt x="347" y="820"/>
                  </a:cubicBezTo>
                  <a:cubicBezTo>
                    <a:pt x="348" y="820"/>
                    <a:pt x="349" y="820"/>
                    <a:pt x="350" y="820"/>
                  </a:cubicBezTo>
                  <a:cubicBezTo>
                    <a:pt x="355" y="819"/>
                    <a:pt x="360" y="818"/>
                    <a:pt x="365" y="817"/>
                  </a:cubicBezTo>
                  <a:cubicBezTo>
                    <a:pt x="369" y="816"/>
                    <a:pt x="374" y="815"/>
                    <a:pt x="379" y="815"/>
                  </a:cubicBezTo>
                  <a:cubicBezTo>
                    <a:pt x="381" y="814"/>
                    <a:pt x="384" y="814"/>
                    <a:pt x="386" y="813"/>
                  </a:cubicBezTo>
                  <a:cubicBezTo>
                    <a:pt x="394" y="812"/>
                    <a:pt x="402" y="810"/>
                    <a:pt x="410" y="808"/>
                  </a:cubicBezTo>
                  <a:cubicBezTo>
                    <a:pt x="412" y="808"/>
                    <a:pt x="414" y="807"/>
                    <a:pt x="416" y="807"/>
                  </a:cubicBezTo>
                  <a:cubicBezTo>
                    <a:pt x="426" y="805"/>
                    <a:pt x="435" y="803"/>
                    <a:pt x="445" y="800"/>
                  </a:cubicBezTo>
                  <a:cubicBezTo>
                    <a:pt x="447" y="800"/>
                    <a:pt x="449" y="799"/>
                    <a:pt x="451" y="799"/>
                  </a:cubicBezTo>
                  <a:cubicBezTo>
                    <a:pt x="460" y="797"/>
                    <a:pt x="469" y="794"/>
                    <a:pt x="478" y="792"/>
                  </a:cubicBezTo>
                  <a:cubicBezTo>
                    <a:pt x="480" y="791"/>
                    <a:pt x="482" y="791"/>
                    <a:pt x="484" y="790"/>
                  </a:cubicBezTo>
                  <a:cubicBezTo>
                    <a:pt x="487" y="790"/>
                    <a:pt x="489" y="789"/>
                    <a:pt x="492" y="788"/>
                  </a:cubicBezTo>
                  <a:cubicBezTo>
                    <a:pt x="494" y="788"/>
                    <a:pt x="497" y="787"/>
                    <a:pt x="499" y="786"/>
                  </a:cubicBezTo>
                  <a:cubicBezTo>
                    <a:pt x="503" y="786"/>
                    <a:pt x="506" y="785"/>
                    <a:pt x="510" y="784"/>
                  </a:cubicBezTo>
                  <a:cubicBezTo>
                    <a:pt x="512" y="783"/>
                    <a:pt x="514" y="783"/>
                    <a:pt x="516" y="782"/>
                  </a:cubicBezTo>
                  <a:cubicBezTo>
                    <a:pt x="522" y="780"/>
                    <a:pt x="528" y="779"/>
                    <a:pt x="534" y="777"/>
                  </a:cubicBezTo>
                  <a:cubicBezTo>
                    <a:pt x="535" y="777"/>
                    <a:pt x="535" y="777"/>
                    <a:pt x="535" y="777"/>
                  </a:cubicBezTo>
                  <a:cubicBezTo>
                    <a:pt x="536" y="777"/>
                    <a:pt x="537" y="776"/>
                    <a:pt x="538" y="776"/>
                  </a:cubicBezTo>
                  <a:cubicBezTo>
                    <a:pt x="539" y="776"/>
                    <a:pt x="541" y="775"/>
                    <a:pt x="543" y="775"/>
                  </a:cubicBezTo>
                  <a:cubicBezTo>
                    <a:pt x="549" y="773"/>
                    <a:pt x="555" y="771"/>
                    <a:pt x="561" y="770"/>
                  </a:cubicBezTo>
                  <a:cubicBezTo>
                    <a:pt x="563" y="769"/>
                    <a:pt x="564" y="769"/>
                    <a:pt x="566" y="768"/>
                  </a:cubicBezTo>
                  <a:cubicBezTo>
                    <a:pt x="571" y="767"/>
                    <a:pt x="576" y="766"/>
                    <a:pt x="581" y="764"/>
                  </a:cubicBezTo>
                  <a:cubicBezTo>
                    <a:pt x="582" y="764"/>
                    <a:pt x="583" y="764"/>
                    <a:pt x="585" y="763"/>
                  </a:cubicBezTo>
                  <a:cubicBezTo>
                    <a:pt x="589" y="762"/>
                    <a:pt x="593" y="761"/>
                    <a:pt x="597" y="760"/>
                  </a:cubicBezTo>
                  <a:cubicBezTo>
                    <a:pt x="598" y="760"/>
                    <a:pt x="599" y="760"/>
                    <a:pt x="600" y="759"/>
                  </a:cubicBezTo>
                  <a:cubicBezTo>
                    <a:pt x="603" y="758"/>
                    <a:pt x="607" y="757"/>
                    <a:pt x="610" y="757"/>
                  </a:cubicBezTo>
                  <a:cubicBezTo>
                    <a:pt x="611" y="756"/>
                    <a:pt x="612" y="756"/>
                    <a:pt x="613" y="756"/>
                  </a:cubicBezTo>
                  <a:cubicBezTo>
                    <a:pt x="619" y="754"/>
                    <a:pt x="626" y="753"/>
                    <a:pt x="632" y="751"/>
                  </a:cubicBezTo>
                  <a:cubicBezTo>
                    <a:pt x="632" y="751"/>
                    <a:pt x="633" y="751"/>
                    <a:pt x="634" y="751"/>
                  </a:cubicBezTo>
                  <a:cubicBezTo>
                    <a:pt x="634" y="750"/>
                    <a:pt x="635" y="750"/>
                    <a:pt x="635" y="750"/>
                  </a:cubicBezTo>
                  <a:cubicBezTo>
                    <a:pt x="636" y="750"/>
                    <a:pt x="637" y="750"/>
                    <a:pt x="637" y="750"/>
                  </a:cubicBezTo>
                  <a:cubicBezTo>
                    <a:pt x="637" y="750"/>
                    <a:pt x="638" y="750"/>
                    <a:pt x="638" y="750"/>
                  </a:cubicBezTo>
                  <a:cubicBezTo>
                    <a:pt x="639" y="749"/>
                    <a:pt x="639" y="749"/>
                    <a:pt x="640" y="749"/>
                  </a:cubicBezTo>
                  <a:cubicBezTo>
                    <a:pt x="640" y="749"/>
                    <a:pt x="641" y="749"/>
                    <a:pt x="641" y="749"/>
                  </a:cubicBezTo>
                  <a:cubicBezTo>
                    <a:pt x="642" y="749"/>
                    <a:pt x="643" y="748"/>
                    <a:pt x="643" y="748"/>
                  </a:cubicBezTo>
                  <a:cubicBezTo>
                    <a:pt x="652" y="746"/>
                    <a:pt x="662" y="744"/>
                    <a:pt x="670" y="742"/>
                  </a:cubicBezTo>
                  <a:cubicBezTo>
                    <a:pt x="671" y="742"/>
                    <a:pt x="673" y="741"/>
                    <a:pt x="674" y="741"/>
                  </a:cubicBezTo>
                  <a:cubicBezTo>
                    <a:pt x="683" y="739"/>
                    <a:pt x="692" y="737"/>
                    <a:pt x="701" y="736"/>
                  </a:cubicBezTo>
                  <a:cubicBezTo>
                    <a:pt x="701" y="736"/>
                    <a:pt x="701" y="736"/>
                    <a:pt x="702" y="736"/>
                  </a:cubicBezTo>
                  <a:cubicBezTo>
                    <a:pt x="708" y="735"/>
                    <a:pt x="714" y="734"/>
                    <a:pt x="721" y="733"/>
                  </a:cubicBezTo>
                  <a:cubicBezTo>
                    <a:pt x="720" y="732"/>
                    <a:pt x="720" y="732"/>
                    <a:pt x="720" y="732"/>
                  </a:cubicBezTo>
                  <a:moveTo>
                    <a:pt x="146" y="818"/>
                  </a:moveTo>
                  <a:cubicBezTo>
                    <a:pt x="145" y="819"/>
                    <a:pt x="145" y="819"/>
                    <a:pt x="144" y="819"/>
                  </a:cubicBezTo>
                  <a:cubicBezTo>
                    <a:pt x="152" y="820"/>
                    <a:pt x="160" y="821"/>
                    <a:pt x="168" y="823"/>
                  </a:cubicBezTo>
                  <a:cubicBezTo>
                    <a:pt x="169" y="822"/>
                    <a:pt x="170" y="822"/>
                    <a:pt x="170" y="822"/>
                  </a:cubicBezTo>
                  <a:cubicBezTo>
                    <a:pt x="162" y="821"/>
                    <a:pt x="154" y="820"/>
                    <a:pt x="146" y="818"/>
                  </a:cubicBezTo>
                  <a:moveTo>
                    <a:pt x="173" y="822"/>
                  </a:moveTo>
                  <a:cubicBezTo>
                    <a:pt x="172" y="822"/>
                    <a:pt x="171" y="823"/>
                    <a:pt x="171" y="823"/>
                  </a:cubicBezTo>
                  <a:cubicBezTo>
                    <a:pt x="177" y="824"/>
                    <a:pt x="185" y="825"/>
                    <a:pt x="192" y="826"/>
                  </a:cubicBezTo>
                  <a:cubicBezTo>
                    <a:pt x="193" y="825"/>
                    <a:pt x="194" y="825"/>
                    <a:pt x="195" y="825"/>
                  </a:cubicBezTo>
                  <a:cubicBezTo>
                    <a:pt x="187" y="824"/>
                    <a:pt x="180" y="823"/>
                    <a:pt x="173" y="822"/>
                  </a:cubicBezTo>
                  <a:moveTo>
                    <a:pt x="197" y="825"/>
                  </a:moveTo>
                  <a:cubicBezTo>
                    <a:pt x="196" y="825"/>
                    <a:pt x="195" y="826"/>
                    <a:pt x="195" y="826"/>
                  </a:cubicBezTo>
                  <a:cubicBezTo>
                    <a:pt x="195" y="826"/>
                    <a:pt x="195" y="826"/>
                    <a:pt x="196" y="826"/>
                  </a:cubicBezTo>
                  <a:cubicBezTo>
                    <a:pt x="196" y="826"/>
                    <a:pt x="196" y="826"/>
                    <a:pt x="197" y="826"/>
                  </a:cubicBezTo>
                  <a:cubicBezTo>
                    <a:pt x="198" y="826"/>
                    <a:pt x="199" y="826"/>
                    <a:pt x="200" y="826"/>
                  </a:cubicBezTo>
                  <a:cubicBezTo>
                    <a:pt x="206" y="827"/>
                    <a:pt x="212" y="828"/>
                    <a:pt x="218" y="828"/>
                  </a:cubicBezTo>
                  <a:cubicBezTo>
                    <a:pt x="219" y="828"/>
                    <a:pt x="220" y="827"/>
                    <a:pt x="221" y="827"/>
                  </a:cubicBezTo>
                  <a:cubicBezTo>
                    <a:pt x="214" y="827"/>
                    <a:pt x="207" y="826"/>
                    <a:pt x="200" y="825"/>
                  </a:cubicBezTo>
                  <a:cubicBezTo>
                    <a:pt x="199" y="825"/>
                    <a:pt x="198" y="825"/>
                    <a:pt x="197" y="825"/>
                  </a:cubicBezTo>
                  <a:moveTo>
                    <a:pt x="295" y="826"/>
                  </a:moveTo>
                  <a:cubicBezTo>
                    <a:pt x="287" y="826"/>
                    <a:pt x="278" y="827"/>
                    <a:pt x="270" y="827"/>
                  </a:cubicBezTo>
                  <a:cubicBezTo>
                    <a:pt x="268" y="828"/>
                    <a:pt x="266" y="828"/>
                    <a:pt x="263" y="828"/>
                  </a:cubicBezTo>
                  <a:cubicBezTo>
                    <a:pt x="270" y="828"/>
                    <a:pt x="276" y="828"/>
                    <a:pt x="282" y="828"/>
                  </a:cubicBezTo>
                  <a:cubicBezTo>
                    <a:pt x="286" y="827"/>
                    <a:pt x="291" y="826"/>
                    <a:pt x="295" y="826"/>
                  </a:cubicBezTo>
                  <a:moveTo>
                    <a:pt x="225" y="827"/>
                  </a:moveTo>
                  <a:cubicBezTo>
                    <a:pt x="224" y="828"/>
                    <a:pt x="222" y="828"/>
                    <a:pt x="221" y="828"/>
                  </a:cubicBezTo>
                  <a:cubicBezTo>
                    <a:pt x="227" y="828"/>
                    <a:pt x="233" y="829"/>
                    <a:pt x="239" y="829"/>
                  </a:cubicBezTo>
                  <a:cubicBezTo>
                    <a:pt x="241" y="828"/>
                    <a:pt x="242" y="828"/>
                    <a:pt x="244" y="828"/>
                  </a:cubicBezTo>
                  <a:cubicBezTo>
                    <a:pt x="237" y="828"/>
                    <a:pt x="231" y="828"/>
                    <a:pt x="225" y="827"/>
                  </a:cubicBezTo>
                  <a:moveTo>
                    <a:pt x="263" y="827"/>
                  </a:moveTo>
                  <a:cubicBezTo>
                    <a:pt x="258" y="828"/>
                    <a:pt x="253" y="828"/>
                    <a:pt x="248" y="828"/>
                  </a:cubicBezTo>
                  <a:cubicBezTo>
                    <a:pt x="247" y="828"/>
                    <a:pt x="245" y="828"/>
                    <a:pt x="244" y="829"/>
                  </a:cubicBezTo>
                  <a:cubicBezTo>
                    <a:pt x="245" y="829"/>
                    <a:pt x="245" y="829"/>
                    <a:pt x="246" y="829"/>
                  </a:cubicBezTo>
                  <a:cubicBezTo>
                    <a:pt x="250" y="829"/>
                    <a:pt x="253" y="829"/>
                    <a:pt x="257" y="829"/>
                  </a:cubicBezTo>
                  <a:cubicBezTo>
                    <a:pt x="259" y="828"/>
                    <a:pt x="261" y="828"/>
                    <a:pt x="263" y="827"/>
                  </a:cubicBezTo>
                  <a:moveTo>
                    <a:pt x="1603" y="1075"/>
                  </a:moveTo>
                  <a:cubicBezTo>
                    <a:pt x="1606" y="1082"/>
                    <a:pt x="1609" y="1089"/>
                    <a:pt x="1611" y="1096"/>
                  </a:cubicBezTo>
                  <a:cubicBezTo>
                    <a:pt x="1613" y="1099"/>
                    <a:pt x="1615" y="1102"/>
                    <a:pt x="1616" y="1105"/>
                  </a:cubicBezTo>
                  <a:cubicBezTo>
                    <a:pt x="1615" y="1102"/>
                    <a:pt x="1614" y="1099"/>
                    <a:pt x="1612" y="1096"/>
                  </a:cubicBezTo>
                  <a:cubicBezTo>
                    <a:pt x="1609" y="1089"/>
                    <a:pt x="1606" y="1082"/>
                    <a:pt x="1603" y="1075"/>
                  </a:cubicBezTo>
                  <a:moveTo>
                    <a:pt x="1615" y="1106"/>
                  </a:moveTo>
                  <a:cubicBezTo>
                    <a:pt x="1616" y="1107"/>
                    <a:pt x="1616" y="1108"/>
                    <a:pt x="1617" y="1109"/>
                  </a:cubicBezTo>
                  <a:cubicBezTo>
                    <a:pt x="1618" y="1112"/>
                    <a:pt x="1619" y="1115"/>
                    <a:pt x="1620" y="1118"/>
                  </a:cubicBezTo>
                  <a:cubicBezTo>
                    <a:pt x="1621" y="1120"/>
                    <a:pt x="1622" y="1121"/>
                    <a:pt x="1622" y="1122"/>
                  </a:cubicBezTo>
                  <a:cubicBezTo>
                    <a:pt x="1624" y="1126"/>
                    <a:pt x="1625" y="1130"/>
                    <a:pt x="1627" y="1133"/>
                  </a:cubicBezTo>
                  <a:cubicBezTo>
                    <a:pt x="1631" y="1143"/>
                    <a:pt x="1636" y="1153"/>
                    <a:pt x="1641" y="1162"/>
                  </a:cubicBezTo>
                  <a:cubicBezTo>
                    <a:pt x="1642" y="1164"/>
                    <a:pt x="1643" y="1166"/>
                    <a:pt x="1644" y="1168"/>
                  </a:cubicBezTo>
                  <a:cubicBezTo>
                    <a:pt x="1645" y="1168"/>
                    <a:pt x="1645" y="1169"/>
                    <a:pt x="1645" y="1169"/>
                  </a:cubicBezTo>
                  <a:cubicBezTo>
                    <a:pt x="1642" y="1164"/>
                    <a:pt x="1640" y="1158"/>
                    <a:pt x="1637" y="1152"/>
                  </a:cubicBezTo>
                  <a:cubicBezTo>
                    <a:pt x="1634" y="1146"/>
                    <a:pt x="1631" y="1139"/>
                    <a:pt x="1628" y="1132"/>
                  </a:cubicBezTo>
                  <a:cubicBezTo>
                    <a:pt x="1628" y="1132"/>
                    <a:pt x="1628" y="1132"/>
                    <a:pt x="1627" y="1132"/>
                  </a:cubicBezTo>
                  <a:cubicBezTo>
                    <a:pt x="1625" y="1127"/>
                    <a:pt x="1623" y="1123"/>
                    <a:pt x="1621" y="1118"/>
                  </a:cubicBezTo>
                  <a:cubicBezTo>
                    <a:pt x="1621" y="1117"/>
                    <a:pt x="1621" y="1117"/>
                    <a:pt x="1621" y="1117"/>
                  </a:cubicBezTo>
                  <a:cubicBezTo>
                    <a:pt x="1619" y="1113"/>
                    <a:pt x="1617" y="1109"/>
                    <a:pt x="1615" y="1106"/>
                  </a:cubicBezTo>
                  <a:moveTo>
                    <a:pt x="1646" y="1169"/>
                  </a:moveTo>
                  <a:cubicBezTo>
                    <a:pt x="1651" y="1179"/>
                    <a:pt x="1656" y="1189"/>
                    <a:pt x="1661" y="1198"/>
                  </a:cubicBezTo>
                  <a:cubicBezTo>
                    <a:pt x="1663" y="1202"/>
                    <a:pt x="1665" y="1206"/>
                    <a:pt x="1667" y="1210"/>
                  </a:cubicBezTo>
                  <a:cubicBezTo>
                    <a:pt x="1663" y="1202"/>
                    <a:pt x="1659" y="1193"/>
                    <a:pt x="1654" y="1184"/>
                  </a:cubicBezTo>
                  <a:cubicBezTo>
                    <a:pt x="1652" y="1180"/>
                    <a:pt x="1649" y="1174"/>
                    <a:pt x="1646" y="1169"/>
                  </a:cubicBezTo>
                  <a:moveTo>
                    <a:pt x="1667" y="1212"/>
                  </a:moveTo>
                  <a:cubicBezTo>
                    <a:pt x="1671" y="1221"/>
                    <a:pt x="1675" y="1230"/>
                    <a:pt x="1679" y="1239"/>
                  </a:cubicBezTo>
                  <a:cubicBezTo>
                    <a:pt x="1680" y="1241"/>
                    <a:pt x="1681" y="1243"/>
                    <a:pt x="1682" y="1245"/>
                  </a:cubicBezTo>
                  <a:cubicBezTo>
                    <a:pt x="1681" y="1242"/>
                    <a:pt x="1680" y="1239"/>
                    <a:pt x="1678" y="1235"/>
                  </a:cubicBezTo>
                  <a:cubicBezTo>
                    <a:pt x="1675" y="1228"/>
                    <a:pt x="1671" y="1221"/>
                    <a:pt x="1668" y="1214"/>
                  </a:cubicBezTo>
                  <a:cubicBezTo>
                    <a:pt x="1667" y="1213"/>
                    <a:pt x="1667" y="1213"/>
                    <a:pt x="1667" y="1212"/>
                  </a:cubicBezTo>
                  <a:moveTo>
                    <a:pt x="1682" y="1245"/>
                  </a:moveTo>
                  <a:cubicBezTo>
                    <a:pt x="1684" y="1252"/>
                    <a:pt x="1687" y="1259"/>
                    <a:pt x="1689" y="1265"/>
                  </a:cubicBezTo>
                  <a:cubicBezTo>
                    <a:pt x="1690" y="1266"/>
                    <a:pt x="1691" y="1267"/>
                    <a:pt x="1691" y="1268"/>
                  </a:cubicBezTo>
                  <a:cubicBezTo>
                    <a:pt x="1690" y="1263"/>
                    <a:pt x="1687" y="1257"/>
                    <a:pt x="1685" y="1251"/>
                  </a:cubicBezTo>
                  <a:cubicBezTo>
                    <a:pt x="1684" y="1249"/>
                    <a:pt x="1683" y="1247"/>
                    <a:pt x="1682" y="1245"/>
                  </a:cubicBezTo>
                  <a:moveTo>
                    <a:pt x="1691" y="1269"/>
                  </a:moveTo>
                  <a:cubicBezTo>
                    <a:pt x="1693" y="1277"/>
                    <a:pt x="1696" y="1284"/>
                    <a:pt x="1698" y="1292"/>
                  </a:cubicBezTo>
                  <a:cubicBezTo>
                    <a:pt x="1698" y="1292"/>
                    <a:pt x="1699" y="1293"/>
                    <a:pt x="1699" y="1294"/>
                  </a:cubicBezTo>
                  <a:cubicBezTo>
                    <a:pt x="1698" y="1287"/>
                    <a:pt x="1695" y="1280"/>
                    <a:pt x="1693" y="1272"/>
                  </a:cubicBezTo>
                  <a:cubicBezTo>
                    <a:pt x="1692" y="1271"/>
                    <a:pt x="1691" y="1270"/>
                    <a:pt x="1691" y="1269"/>
                  </a:cubicBezTo>
                  <a:moveTo>
                    <a:pt x="1699" y="1294"/>
                  </a:moveTo>
                  <a:cubicBezTo>
                    <a:pt x="1701" y="1302"/>
                    <a:pt x="1702" y="1310"/>
                    <a:pt x="1703" y="1316"/>
                  </a:cubicBezTo>
                  <a:cubicBezTo>
                    <a:pt x="1704" y="1317"/>
                    <a:pt x="1704" y="1317"/>
                    <a:pt x="1705" y="1318"/>
                  </a:cubicBezTo>
                  <a:cubicBezTo>
                    <a:pt x="1704" y="1311"/>
                    <a:pt x="1702" y="1304"/>
                    <a:pt x="1700" y="1297"/>
                  </a:cubicBezTo>
                  <a:cubicBezTo>
                    <a:pt x="1700" y="1296"/>
                    <a:pt x="1699" y="1295"/>
                    <a:pt x="1699" y="1294"/>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69" name="Freeform 98"/>
            <p:cNvSpPr>
              <a:spLocks noEditPoints="1"/>
            </p:cNvSpPr>
            <p:nvPr userDrawn="1"/>
          </p:nvSpPr>
          <p:spPr bwMode="auto">
            <a:xfrm>
              <a:off x="1861" y="4009"/>
              <a:ext cx="3562" cy="2849"/>
            </a:xfrm>
            <a:custGeom>
              <a:avLst/>
              <a:gdLst>
                <a:gd name="T0" fmla="*/ 2147483646 w 1758"/>
                <a:gd name="T1" fmla="*/ 2147483646 h 1405"/>
                <a:gd name="T2" fmla="*/ 2147483646 w 1758"/>
                <a:gd name="T3" fmla="*/ 2147483646 h 1405"/>
                <a:gd name="T4" fmla="*/ 2147483646 w 1758"/>
                <a:gd name="T5" fmla="*/ 2147483646 h 1405"/>
                <a:gd name="T6" fmla="*/ 2147483646 w 1758"/>
                <a:gd name="T7" fmla="*/ 2147483646 h 1405"/>
                <a:gd name="T8" fmla="*/ 2147483646 w 1758"/>
                <a:gd name="T9" fmla="*/ 2147483646 h 1405"/>
                <a:gd name="T10" fmla="*/ 2147483646 w 1758"/>
                <a:gd name="T11" fmla="*/ 2147483646 h 1405"/>
                <a:gd name="T12" fmla="*/ 2147483646 w 1758"/>
                <a:gd name="T13" fmla="*/ 2147483646 h 1405"/>
                <a:gd name="T14" fmla="*/ 2147483646 w 1758"/>
                <a:gd name="T15" fmla="*/ 2147483646 h 1405"/>
                <a:gd name="T16" fmla="*/ 2147483646 w 1758"/>
                <a:gd name="T17" fmla="*/ 2147483646 h 1405"/>
                <a:gd name="T18" fmla="*/ 2147483646 w 1758"/>
                <a:gd name="T19" fmla="*/ 2147483646 h 1405"/>
                <a:gd name="T20" fmla="*/ 2147483646 w 1758"/>
                <a:gd name="T21" fmla="*/ 2147483646 h 1405"/>
                <a:gd name="T22" fmla="*/ 2147483646 w 1758"/>
                <a:gd name="T23" fmla="*/ 2147483646 h 1405"/>
                <a:gd name="T24" fmla="*/ 2147483646 w 1758"/>
                <a:gd name="T25" fmla="*/ 2147483646 h 1405"/>
                <a:gd name="T26" fmla="*/ 2147483646 w 1758"/>
                <a:gd name="T27" fmla="*/ 2147483646 h 1405"/>
                <a:gd name="T28" fmla="*/ 2147483646 w 1758"/>
                <a:gd name="T29" fmla="*/ 2147483646 h 1405"/>
                <a:gd name="T30" fmla="*/ 2147483646 w 1758"/>
                <a:gd name="T31" fmla="*/ 2147483646 h 1405"/>
                <a:gd name="T32" fmla="*/ 2147483646 w 1758"/>
                <a:gd name="T33" fmla="*/ 2147483646 h 1405"/>
                <a:gd name="T34" fmla="*/ 2147483646 w 1758"/>
                <a:gd name="T35" fmla="*/ 2147483646 h 1405"/>
                <a:gd name="T36" fmla="*/ 2147483646 w 1758"/>
                <a:gd name="T37" fmla="*/ 2147483646 h 1405"/>
                <a:gd name="T38" fmla="*/ 2147483646 w 1758"/>
                <a:gd name="T39" fmla="*/ 2147483646 h 1405"/>
                <a:gd name="T40" fmla="*/ 2147483646 w 1758"/>
                <a:gd name="T41" fmla="*/ 2147483646 h 1405"/>
                <a:gd name="T42" fmla="*/ 2147483646 w 1758"/>
                <a:gd name="T43" fmla="*/ 2147483646 h 1405"/>
                <a:gd name="T44" fmla="*/ 2147483646 w 1758"/>
                <a:gd name="T45" fmla="*/ 2147483646 h 1405"/>
                <a:gd name="T46" fmla="*/ 2147483646 w 1758"/>
                <a:gd name="T47" fmla="*/ 2147483646 h 1405"/>
                <a:gd name="T48" fmla="*/ 2147483646 w 1758"/>
                <a:gd name="T49" fmla="*/ 2147483646 h 1405"/>
                <a:gd name="T50" fmla="*/ 2147483646 w 1758"/>
                <a:gd name="T51" fmla="*/ 2147483646 h 1405"/>
                <a:gd name="T52" fmla="*/ 2147483646 w 1758"/>
                <a:gd name="T53" fmla="*/ 2147483646 h 1405"/>
                <a:gd name="T54" fmla="*/ 2147483646 w 1758"/>
                <a:gd name="T55" fmla="*/ 2147483646 h 1405"/>
                <a:gd name="T56" fmla="*/ 2147483646 w 1758"/>
                <a:gd name="T57" fmla="*/ 2147483646 h 1405"/>
                <a:gd name="T58" fmla="*/ 2147483646 w 1758"/>
                <a:gd name="T59" fmla="*/ 2147483646 h 1405"/>
                <a:gd name="T60" fmla="*/ 2147483646 w 1758"/>
                <a:gd name="T61" fmla="*/ 2147483646 h 1405"/>
                <a:gd name="T62" fmla="*/ 2147483646 w 1758"/>
                <a:gd name="T63" fmla="*/ 2147483646 h 1405"/>
                <a:gd name="T64" fmla="*/ 2147483646 w 1758"/>
                <a:gd name="T65" fmla="*/ 2147483646 h 1405"/>
                <a:gd name="T66" fmla="*/ 2147483646 w 1758"/>
                <a:gd name="T67" fmla="*/ 2147483646 h 1405"/>
                <a:gd name="T68" fmla="*/ 2147483646 w 1758"/>
                <a:gd name="T69" fmla="*/ 2147483646 h 1405"/>
                <a:gd name="T70" fmla="*/ 2147483646 w 1758"/>
                <a:gd name="T71" fmla="*/ 2147483646 h 1405"/>
                <a:gd name="T72" fmla="*/ 2147483646 w 1758"/>
                <a:gd name="T73" fmla="*/ 2147483646 h 1405"/>
                <a:gd name="T74" fmla="*/ 2147483646 w 1758"/>
                <a:gd name="T75" fmla="*/ 2147483646 h 1405"/>
                <a:gd name="T76" fmla="*/ 2147483646 w 1758"/>
                <a:gd name="T77" fmla="*/ 2147483646 h 1405"/>
                <a:gd name="T78" fmla="*/ 2147483646 w 1758"/>
                <a:gd name="T79" fmla="*/ 2147483646 h 1405"/>
                <a:gd name="T80" fmla="*/ 2147483646 w 1758"/>
                <a:gd name="T81" fmla="*/ 2147483646 h 1405"/>
                <a:gd name="T82" fmla="*/ 2147483646 w 1758"/>
                <a:gd name="T83" fmla="*/ 2147483646 h 1405"/>
                <a:gd name="T84" fmla="*/ 2147483646 w 1758"/>
                <a:gd name="T85" fmla="*/ 2147483646 h 1405"/>
                <a:gd name="T86" fmla="*/ 2147483646 w 1758"/>
                <a:gd name="T87" fmla="*/ 2147483646 h 1405"/>
                <a:gd name="T88" fmla="*/ 2147483646 w 1758"/>
                <a:gd name="T89" fmla="*/ 2147483646 h 1405"/>
                <a:gd name="T90" fmla="*/ 2147483646 w 1758"/>
                <a:gd name="T91" fmla="*/ 2147483646 h 1405"/>
                <a:gd name="T92" fmla="*/ 2147483646 w 1758"/>
                <a:gd name="T93" fmla="*/ 2147483646 h 1405"/>
                <a:gd name="T94" fmla="*/ 2147483646 w 1758"/>
                <a:gd name="T95" fmla="*/ 2147483646 h 1405"/>
                <a:gd name="T96" fmla="*/ 2147483646 w 1758"/>
                <a:gd name="T97" fmla="*/ 2147483646 h 1405"/>
                <a:gd name="T98" fmla="*/ 2147483646 w 1758"/>
                <a:gd name="T99" fmla="*/ 2147483646 h 1405"/>
                <a:gd name="T100" fmla="*/ 2147483646 w 1758"/>
                <a:gd name="T101" fmla="*/ 2147483646 h 1405"/>
                <a:gd name="T102" fmla="*/ 2147483646 w 1758"/>
                <a:gd name="T103" fmla="*/ 2147483646 h 1405"/>
                <a:gd name="T104" fmla="*/ 2147483646 w 1758"/>
                <a:gd name="T105" fmla="*/ 2147483646 h 1405"/>
                <a:gd name="T106" fmla="*/ 2147483646 w 1758"/>
                <a:gd name="T107" fmla="*/ 2147483646 h 1405"/>
                <a:gd name="T108" fmla="*/ 2147483646 w 1758"/>
                <a:gd name="T109" fmla="*/ 2147483646 h 1405"/>
                <a:gd name="T110" fmla="*/ 2147483646 w 1758"/>
                <a:gd name="T111" fmla="*/ 2147483646 h 1405"/>
                <a:gd name="T112" fmla="*/ 2147483646 w 1758"/>
                <a:gd name="T113" fmla="*/ 2147483646 h 1405"/>
                <a:gd name="T114" fmla="*/ 2147483646 w 1758"/>
                <a:gd name="T115" fmla="*/ 2147483646 h 1405"/>
                <a:gd name="T116" fmla="*/ 2147483646 w 1758"/>
                <a:gd name="T117" fmla="*/ 2147483646 h 1405"/>
                <a:gd name="T118" fmla="*/ 2147483646 w 1758"/>
                <a:gd name="T119" fmla="*/ 2147483646 h 140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758" h="1405">
                  <a:moveTo>
                    <a:pt x="1137" y="0"/>
                  </a:moveTo>
                  <a:cubicBezTo>
                    <a:pt x="1137" y="0"/>
                    <a:pt x="1137" y="0"/>
                    <a:pt x="1137" y="0"/>
                  </a:cubicBezTo>
                  <a:cubicBezTo>
                    <a:pt x="1137" y="0"/>
                    <a:pt x="1136" y="0"/>
                    <a:pt x="1136" y="0"/>
                  </a:cubicBezTo>
                  <a:cubicBezTo>
                    <a:pt x="1135" y="0"/>
                    <a:pt x="1135" y="0"/>
                    <a:pt x="1134" y="0"/>
                  </a:cubicBezTo>
                  <a:cubicBezTo>
                    <a:pt x="1134" y="0"/>
                    <a:pt x="1134" y="0"/>
                    <a:pt x="1133" y="0"/>
                  </a:cubicBezTo>
                  <a:cubicBezTo>
                    <a:pt x="1127" y="0"/>
                    <a:pt x="1122" y="0"/>
                    <a:pt x="1116" y="0"/>
                  </a:cubicBezTo>
                  <a:cubicBezTo>
                    <a:pt x="1116" y="0"/>
                    <a:pt x="1116" y="0"/>
                    <a:pt x="1116" y="0"/>
                  </a:cubicBezTo>
                  <a:cubicBezTo>
                    <a:pt x="1115" y="0"/>
                    <a:pt x="1115" y="0"/>
                    <a:pt x="1115" y="0"/>
                  </a:cubicBezTo>
                  <a:cubicBezTo>
                    <a:pt x="1114" y="0"/>
                    <a:pt x="1113" y="0"/>
                    <a:pt x="1112" y="0"/>
                  </a:cubicBezTo>
                  <a:cubicBezTo>
                    <a:pt x="1112" y="0"/>
                    <a:pt x="1112" y="0"/>
                    <a:pt x="1112" y="0"/>
                  </a:cubicBezTo>
                  <a:cubicBezTo>
                    <a:pt x="1111" y="0"/>
                    <a:pt x="1111" y="0"/>
                    <a:pt x="1111" y="1"/>
                  </a:cubicBezTo>
                  <a:cubicBezTo>
                    <a:pt x="1110" y="1"/>
                    <a:pt x="1110" y="1"/>
                    <a:pt x="1109" y="1"/>
                  </a:cubicBezTo>
                  <a:cubicBezTo>
                    <a:pt x="1099" y="1"/>
                    <a:pt x="1090" y="2"/>
                    <a:pt x="1080" y="4"/>
                  </a:cubicBezTo>
                  <a:cubicBezTo>
                    <a:pt x="1080" y="4"/>
                    <a:pt x="1080" y="4"/>
                    <a:pt x="1079" y="4"/>
                  </a:cubicBezTo>
                  <a:cubicBezTo>
                    <a:pt x="1076" y="5"/>
                    <a:pt x="1073" y="5"/>
                    <a:pt x="1070" y="6"/>
                  </a:cubicBezTo>
                  <a:cubicBezTo>
                    <a:pt x="1069" y="6"/>
                    <a:pt x="1069" y="6"/>
                    <a:pt x="1068" y="6"/>
                  </a:cubicBezTo>
                  <a:cubicBezTo>
                    <a:pt x="1068" y="6"/>
                    <a:pt x="1067" y="6"/>
                    <a:pt x="1066" y="6"/>
                  </a:cubicBezTo>
                  <a:cubicBezTo>
                    <a:pt x="1066" y="7"/>
                    <a:pt x="1065" y="7"/>
                    <a:pt x="1064" y="7"/>
                  </a:cubicBezTo>
                  <a:cubicBezTo>
                    <a:pt x="1059" y="8"/>
                    <a:pt x="1054" y="9"/>
                    <a:pt x="1049" y="10"/>
                  </a:cubicBezTo>
                  <a:cubicBezTo>
                    <a:pt x="1049" y="11"/>
                    <a:pt x="1049" y="11"/>
                    <a:pt x="1048" y="11"/>
                  </a:cubicBezTo>
                  <a:cubicBezTo>
                    <a:pt x="1037" y="14"/>
                    <a:pt x="1026" y="18"/>
                    <a:pt x="1016" y="22"/>
                  </a:cubicBezTo>
                  <a:cubicBezTo>
                    <a:pt x="1015" y="23"/>
                    <a:pt x="1015" y="23"/>
                    <a:pt x="1014" y="23"/>
                  </a:cubicBezTo>
                  <a:cubicBezTo>
                    <a:pt x="997" y="31"/>
                    <a:pt x="983" y="41"/>
                    <a:pt x="970" y="52"/>
                  </a:cubicBezTo>
                  <a:cubicBezTo>
                    <a:pt x="970" y="52"/>
                    <a:pt x="969" y="52"/>
                    <a:pt x="969" y="53"/>
                  </a:cubicBezTo>
                  <a:cubicBezTo>
                    <a:pt x="970" y="53"/>
                    <a:pt x="971" y="52"/>
                    <a:pt x="971" y="52"/>
                  </a:cubicBezTo>
                  <a:cubicBezTo>
                    <a:pt x="983" y="42"/>
                    <a:pt x="997" y="32"/>
                    <a:pt x="1013" y="25"/>
                  </a:cubicBezTo>
                  <a:cubicBezTo>
                    <a:pt x="1014" y="25"/>
                    <a:pt x="1014" y="24"/>
                    <a:pt x="1015" y="24"/>
                  </a:cubicBezTo>
                  <a:cubicBezTo>
                    <a:pt x="1021" y="21"/>
                    <a:pt x="1026" y="19"/>
                    <a:pt x="1033" y="17"/>
                  </a:cubicBezTo>
                  <a:cubicBezTo>
                    <a:pt x="1038" y="15"/>
                    <a:pt x="1043" y="13"/>
                    <a:pt x="1048" y="12"/>
                  </a:cubicBezTo>
                  <a:cubicBezTo>
                    <a:pt x="1048" y="12"/>
                    <a:pt x="1049" y="12"/>
                    <a:pt x="1049" y="12"/>
                  </a:cubicBezTo>
                  <a:cubicBezTo>
                    <a:pt x="1053" y="11"/>
                    <a:pt x="1057" y="9"/>
                    <a:pt x="1062" y="8"/>
                  </a:cubicBezTo>
                  <a:cubicBezTo>
                    <a:pt x="1062" y="8"/>
                    <a:pt x="1063" y="8"/>
                    <a:pt x="1064" y="8"/>
                  </a:cubicBezTo>
                  <a:cubicBezTo>
                    <a:pt x="1065" y="8"/>
                    <a:pt x="1066" y="7"/>
                    <a:pt x="1067" y="7"/>
                  </a:cubicBezTo>
                  <a:cubicBezTo>
                    <a:pt x="1068" y="7"/>
                    <a:pt x="1068" y="7"/>
                    <a:pt x="1069" y="7"/>
                  </a:cubicBezTo>
                  <a:cubicBezTo>
                    <a:pt x="1072" y="6"/>
                    <a:pt x="1075" y="6"/>
                    <a:pt x="1079" y="5"/>
                  </a:cubicBezTo>
                  <a:cubicBezTo>
                    <a:pt x="1079" y="5"/>
                    <a:pt x="1079" y="5"/>
                    <a:pt x="1080" y="5"/>
                  </a:cubicBezTo>
                  <a:cubicBezTo>
                    <a:pt x="1089" y="4"/>
                    <a:pt x="1098" y="2"/>
                    <a:pt x="1108" y="2"/>
                  </a:cubicBezTo>
                  <a:cubicBezTo>
                    <a:pt x="1109" y="2"/>
                    <a:pt x="1109" y="2"/>
                    <a:pt x="1110" y="2"/>
                  </a:cubicBezTo>
                  <a:cubicBezTo>
                    <a:pt x="1110" y="2"/>
                    <a:pt x="1110" y="2"/>
                    <a:pt x="1110" y="2"/>
                  </a:cubicBezTo>
                  <a:cubicBezTo>
                    <a:pt x="1110" y="2"/>
                    <a:pt x="1110" y="2"/>
                    <a:pt x="1110" y="2"/>
                  </a:cubicBezTo>
                  <a:cubicBezTo>
                    <a:pt x="1111" y="2"/>
                    <a:pt x="1111" y="1"/>
                    <a:pt x="1111" y="1"/>
                  </a:cubicBezTo>
                  <a:cubicBezTo>
                    <a:pt x="1112" y="1"/>
                    <a:pt x="1113" y="1"/>
                    <a:pt x="1114" y="1"/>
                  </a:cubicBezTo>
                  <a:cubicBezTo>
                    <a:pt x="1115" y="1"/>
                    <a:pt x="1115" y="1"/>
                    <a:pt x="1115" y="1"/>
                  </a:cubicBezTo>
                  <a:cubicBezTo>
                    <a:pt x="1116" y="1"/>
                    <a:pt x="1116" y="1"/>
                    <a:pt x="1116" y="1"/>
                  </a:cubicBezTo>
                  <a:cubicBezTo>
                    <a:pt x="1121" y="1"/>
                    <a:pt x="1127" y="1"/>
                    <a:pt x="1133" y="1"/>
                  </a:cubicBezTo>
                  <a:cubicBezTo>
                    <a:pt x="1133" y="1"/>
                    <a:pt x="1134" y="1"/>
                    <a:pt x="1134" y="1"/>
                  </a:cubicBezTo>
                  <a:cubicBezTo>
                    <a:pt x="1134" y="1"/>
                    <a:pt x="1135" y="1"/>
                    <a:pt x="1135" y="1"/>
                  </a:cubicBezTo>
                  <a:cubicBezTo>
                    <a:pt x="1135" y="1"/>
                    <a:pt x="1136" y="1"/>
                    <a:pt x="1136" y="1"/>
                  </a:cubicBezTo>
                  <a:cubicBezTo>
                    <a:pt x="1137" y="1"/>
                    <a:pt x="1137" y="1"/>
                    <a:pt x="1137" y="1"/>
                  </a:cubicBezTo>
                  <a:cubicBezTo>
                    <a:pt x="1143" y="1"/>
                    <a:pt x="1149" y="1"/>
                    <a:pt x="1156" y="1"/>
                  </a:cubicBezTo>
                  <a:cubicBezTo>
                    <a:pt x="1156" y="1"/>
                    <a:pt x="1156" y="1"/>
                    <a:pt x="1157" y="1"/>
                  </a:cubicBezTo>
                  <a:cubicBezTo>
                    <a:pt x="1157" y="1"/>
                    <a:pt x="1157" y="1"/>
                    <a:pt x="1158" y="1"/>
                  </a:cubicBezTo>
                  <a:cubicBezTo>
                    <a:pt x="1163" y="1"/>
                    <a:pt x="1168" y="2"/>
                    <a:pt x="1173" y="2"/>
                  </a:cubicBezTo>
                  <a:cubicBezTo>
                    <a:pt x="1174" y="2"/>
                    <a:pt x="1175" y="2"/>
                    <a:pt x="1175" y="2"/>
                  </a:cubicBezTo>
                  <a:cubicBezTo>
                    <a:pt x="1176" y="2"/>
                    <a:pt x="1176" y="2"/>
                    <a:pt x="1177" y="2"/>
                  </a:cubicBezTo>
                  <a:cubicBezTo>
                    <a:pt x="1182" y="3"/>
                    <a:pt x="1188" y="3"/>
                    <a:pt x="1193" y="4"/>
                  </a:cubicBezTo>
                  <a:cubicBezTo>
                    <a:pt x="1194" y="4"/>
                    <a:pt x="1194" y="4"/>
                    <a:pt x="1195" y="4"/>
                  </a:cubicBezTo>
                  <a:cubicBezTo>
                    <a:pt x="1195" y="4"/>
                    <a:pt x="1195" y="4"/>
                    <a:pt x="1196" y="4"/>
                  </a:cubicBezTo>
                  <a:cubicBezTo>
                    <a:pt x="1196" y="4"/>
                    <a:pt x="1197" y="4"/>
                    <a:pt x="1197" y="4"/>
                  </a:cubicBezTo>
                  <a:cubicBezTo>
                    <a:pt x="1200" y="4"/>
                    <a:pt x="1203" y="5"/>
                    <a:pt x="1206" y="5"/>
                  </a:cubicBezTo>
                  <a:cubicBezTo>
                    <a:pt x="1206" y="5"/>
                    <a:pt x="1207" y="5"/>
                    <a:pt x="1207" y="5"/>
                  </a:cubicBezTo>
                  <a:cubicBezTo>
                    <a:pt x="1211" y="5"/>
                    <a:pt x="1214" y="6"/>
                    <a:pt x="1218" y="6"/>
                  </a:cubicBezTo>
                  <a:cubicBezTo>
                    <a:pt x="1218" y="6"/>
                    <a:pt x="1219" y="6"/>
                    <a:pt x="1219" y="6"/>
                  </a:cubicBezTo>
                  <a:cubicBezTo>
                    <a:pt x="1219" y="6"/>
                    <a:pt x="1219" y="6"/>
                    <a:pt x="1220" y="6"/>
                  </a:cubicBezTo>
                  <a:cubicBezTo>
                    <a:pt x="1223" y="7"/>
                    <a:pt x="1226" y="7"/>
                    <a:pt x="1229" y="8"/>
                  </a:cubicBezTo>
                  <a:cubicBezTo>
                    <a:pt x="1230" y="8"/>
                    <a:pt x="1230" y="8"/>
                    <a:pt x="1231" y="8"/>
                  </a:cubicBezTo>
                  <a:cubicBezTo>
                    <a:pt x="1231" y="8"/>
                    <a:pt x="1231" y="8"/>
                    <a:pt x="1232" y="8"/>
                  </a:cubicBezTo>
                  <a:cubicBezTo>
                    <a:pt x="1232" y="8"/>
                    <a:pt x="1233" y="8"/>
                    <a:pt x="1233" y="8"/>
                  </a:cubicBezTo>
                  <a:cubicBezTo>
                    <a:pt x="1235" y="8"/>
                    <a:pt x="1237" y="9"/>
                    <a:pt x="1240" y="9"/>
                  </a:cubicBezTo>
                  <a:cubicBezTo>
                    <a:pt x="1240" y="9"/>
                    <a:pt x="1240" y="9"/>
                    <a:pt x="1241" y="9"/>
                  </a:cubicBezTo>
                  <a:cubicBezTo>
                    <a:pt x="1242" y="9"/>
                    <a:pt x="1243" y="9"/>
                    <a:pt x="1244" y="9"/>
                  </a:cubicBezTo>
                  <a:cubicBezTo>
                    <a:pt x="1244" y="9"/>
                    <a:pt x="1245" y="10"/>
                    <a:pt x="1245" y="10"/>
                  </a:cubicBezTo>
                  <a:cubicBezTo>
                    <a:pt x="1246" y="10"/>
                    <a:pt x="1247" y="10"/>
                    <a:pt x="1248" y="10"/>
                  </a:cubicBezTo>
                  <a:cubicBezTo>
                    <a:pt x="1249" y="10"/>
                    <a:pt x="1249" y="10"/>
                    <a:pt x="1250" y="10"/>
                  </a:cubicBezTo>
                  <a:cubicBezTo>
                    <a:pt x="1250" y="10"/>
                    <a:pt x="1250" y="10"/>
                    <a:pt x="1250" y="10"/>
                  </a:cubicBezTo>
                  <a:cubicBezTo>
                    <a:pt x="1250" y="10"/>
                    <a:pt x="1250" y="10"/>
                    <a:pt x="1251" y="10"/>
                  </a:cubicBezTo>
                  <a:cubicBezTo>
                    <a:pt x="1251" y="10"/>
                    <a:pt x="1252" y="11"/>
                    <a:pt x="1252" y="11"/>
                  </a:cubicBezTo>
                  <a:cubicBezTo>
                    <a:pt x="1253" y="11"/>
                    <a:pt x="1253" y="11"/>
                    <a:pt x="1253" y="11"/>
                  </a:cubicBezTo>
                  <a:cubicBezTo>
                    <a:pt x="1254" y="11"/>
                    <a:pt x="1255" y="11"/>
                    <a:pt x="1255" y="11"/>
                  </a:cubicBezTo>
                  <a:cubicBezTo>
                    <a:pt x="1256" y="11"/>
                    <a:pt x="1256" y="11"/>
                    <a:pt x="1256" y="11"/>
                  </a:cubicBezTo>
                  <a:cubicBezTo>
                    <a:pt x="1258" y="11"/>
                    <a:pt x="1259" y="12"/>
                    <a:pt x="1260" y="12"/>
                  </a:cubicBezTo>
                  <a:cubicBezTo>
                    <a:pt x="1260" y="12"/>
                    <a:pt x="1261" y="12"/>
                    <a:pt x="1261" y="12"/>
                  </a:cubicBezTo>
                  <a:cubicBezTo>
                    <a:pt x="1261" y="12"/>
                    <a:pt x="1261" y="12"/>
                    <a:pt x="1261" y="12"/>
                  </a:cubicBezTo>
                  <a:cubicBezTo>
                    <a:pt x="1262" y="12"/>
                    <a:pt x="1262" y="12"/>
                    <a:pt x="1262" y="12"/>
                  </a:cubicBezTo>
                  <a:cubicBezTo>
                    <a:pt x="1286" y="16"/>
                    <a:pt x="1307" y="20"/>
                    <a:pt x="1326" y="25"/>
                  </a:cubicBezTo>
                  <a:cubicBezTo>
                    <a:pt x="1327" y="25"/>
                    <a:pt x="1327" y="26"/>
                    <a:pt x="1327" y="26"/>
                  </a:cubicBezTo>
                  <a:cubicBezTo>
                    <a:pt x="1357" y="34"/>
                    <a:pt x="1381" y="43"/>
                    <a:pt x="1400" y="54"/>
                  </a:cubicBezTo>
                  <a:cubicBezTo>
                    <a:pt x="1400" y="54"/>
                    <a:pt x="1400" y="54"/>
                    <a:pt x="1401" y="54"/>
                  </a:cubicBezTo>
                  <a:cubicBezTo>
                    <a:pt x="1421" y="66"/>
                    <a:pt x="1435" y="78"/>
                    <a:pt x="1445" y="92"/>
                  </a:cubicBezTo>
                  <a:cubicBezTo>
                    <a:pt x="1445" y="92"/>
                    <a:pt x="1445" y="93"/>
                    <a:pt x="1445" y="93"/>
                  </a:cubicBezTo>
                  <a:cubicBezTo>
                    <a:pt x="1455" y="107"/>
                    <a:pt x="1459" y="122"/>
                    <a:pt x="1459" y="137"/>
                  </a:cubicBezTo>
                  <a:cubicBezTo>
                    <a:pt x="1459" y="137"/>
                    <a:pt x="1459" y="138"/>
                    <a:pt x="1459" y="138"/>
                  </a:cubicBezTo>
                  <a:cubicBezTo>
                    <a:pt x="1459" y="138"/>
                    <a:pt x="1459" y="138"/>
                    <a:pt x="1459" y="138"/>
                  </a:cubicBezTo>
                  <a:cubicBezTo>
                    <a:pt x="1459" y="153"/>
                    <a:pt x="1456" y="167"/>
                    <a:pt x="1450" y="182"/>
                  </a:cubicBezTo>
                  <a:cubicBezTo>
                    <a:pt x="1450" y="182"/>
                    <a:pt x="1449" y="183"/>
                    <a:pt x="1449" y="183"/>
                  </a:cubicBezTo>
                  <a:cubicBezTo>
                    <a:pt x="1444" y="195"/>
                    <a:pt x="1437" y="208"/>
                    <a:pt x="1428" y="220"/>
                  </a:cubicBezTo>
                  <a:cubicBezTo>
                    <a:pt x="1428" y="220"/>
                    <a:pt x="1428" y="221"/>
                    <a:pt x="1427" y="222"/>
                  </a:cubicBezTo>
                  <a:cubicBezTo>
                    <a:pt x="1405" y="253"/>
                    <a:pt x="1373" y="284"/>
                    <a:pt x="1337" y="312"/>
                  </a:cubicBezTo>
                  <a:cubicBezTo>
                    <a:pt x="1337" y="312"/>
                    <a:pt x="1337" y="312"/>
                    <a:pt x="1336" y="312"/>
                  </a:cubicBezTo>
                  <a:cubicBezTo>
                    <a:pt x="1335" y="313"/>
                    <a:pt x="1334" y="314"/>
                    <a:pt x="1333" y="315"/>
                  </a:cubicBezTo>
                  <a:cubicBezTo>
                    <a:pt x="1314" y="331"/>
                    <a:pt x="1305" y="353"/>
                    <a:pt x="1304" y="379"/>
                  </a:cubicBezTo>
                  <a:cubicBezTo>
                    <a:pt x="1304" y="380"/>
                    <a:pt x="1304" y="380"/>
                    <a:pt x="1304" y="380"/>
                  </a:cubicBezTo>
                  <a:cubicBezTo>
                    <a:pt x="1304" y="382"/>
                    <a:pt x="1304" y="383"/>
                    <a:pt x="1304" y="384"/>
                  </a:cubicBezTo>
                  <a:cubicBezTo>
                    <a:pt x="1304" y="403"/>
                    <a:pt x="1307" y="424"/>
                    <a:pt x="1314" y="446"/>
                  </a:cubicBezTo>
                  <a:cubicBezTo>
                    <a:pt x="1314" y="446"/>
                    <a:pt x="1314" y="446"/>
                    <a:pt x="1315" y="447"/>
                  </a:cubicBezTo>
                  <a:cubicBezTo>
                    <a:pt x="1319" y="462"/>
                    <a:pt x="1326" y="478"/>
                    <a:pt x="1333" y="495"/>
                  </a:cubicBezTo>
                  <a:cubicBezTo>
                    <a:pt x="1333" y="495"/>
                    <a:pt x="1333" y="496"/>
                    <a:pt x="1334" y="496"/>
                  </a:cubicBezTo>
                  <a:cubicBezTo>
                    <a:pt x="1340" y="511"/>
                    <a:pt x="1348" y="527"/>
                    <a:pt x="1356" y="543"/>
                  </a:cubicBezTo>
                  <a:cubicBezTo>
                    <a:pt x="1357" y="543"/>
                    <a:pt x="1357" y="543"/>
                    <a:pt x="1357" y="544"/>
                  </a:cubicBezTo>
                  <a:cubicBezTo>
                    <a:pt x="1365" y="559"/>
                    <a:pt x="1374" y="574"/>
                    <a:pt x="1383" y="590"/>
                  </a:cubicBezTo>
                  <a:cubicBezTo>
                    <a:pt x="1383" y="591"/>
                    <a:pt x="1383" y="591"/>
                    <a:pt x="1383" y="591"/>
                  </a:cubicBezTo>
                  <a:cubicBezTo>
                    <a:pt x="1393" y="607"/>
                    <a:pt x="1402" y="623"/>
                    <a:pt x="1412" y="639"/>
                  </a:cubicBezTo>
                  <a:cubicBezTo>
                    <a:pt x="1412" y="639"/>
                    <a:pt x="1413" y="640"/>
                    <a:pt x="1413" y="640"/>
                  </a:cubicBezTo>
                  <a:cubicBezTo>
                    <a:pt x="1423" y="657"/>
                    <a:pt x="1434" y="674"/>
                    <a:pt x="1445" y="691"/>
                  </a:cubicBezTo>
                  <a:cubicBezTo>
                    <a:pt x="1445" y="691"/>
                    <a:pt x="1445" y="691"/>
                    <a:pt x="1445" y="692"/>
                  </a:cubicBezTo>
                  <a:cubicBezTo>
                    <a:pt x="1457" y="710"/>
                    <a:pt x="1469" y="729"/>
                    <a:pt x="1480" y="747"/>
                  </a:cubicBezTo>
                  <a:cubicBezTo>
                    <a:pt x="1481" y="748"/>
                    <a:pt x="1481" y="748"/>
                    <a:pt x="1481" y="748"/>
                  </a:cubicBezTo>
                  <a:cubicBezTo>
                    <a:pt x="1495" y="770"/>
                    <a:pt x="1508" y="791"/>
                    <a:pt x="1521" y="812"/>
                  </a:cubicBezTo>
                  <a:cubicBezTo>
                    <a:pt x="1522" y="813"/>
                    <a:pt x="1522" y="813"/>
                    <a:pt x="1522" y="814"/>
                  </a:cubicBezTo>
                  <a:cubicBezTo>
                    <a:pt x="1525" y="818"/>
                    <a:pt x="1528" y="823"/>
                    <a:pt x="1531" y="828"/>
                  </a:cubicBezTo>
                  <a:cubicBezTo>
                    <a:pt x="1545" y="852"/>
                    <a:pt x="1559" y="877"/>
                    <a:pt x="1572" y="902"/>
                  </a:cubicBezTo>
                  <a:cubicBezTo>
                    <a:pt x="1572" y="903"/>
                    <a:pt x="1572" y="904"/>
                    <a:pt x="1573" y="905"/>
                  </a:cubicBezTo>
                  <a:cubicBezTo>
                    <a:pt x="1584" y="928"/>
                    <a:pt x="1595" y="951"/>
                    <a:pt x="1605" y="974"/>
                  </a:cubicBezTo>
                  <a:cubicBezTo>
                    <a:pt x="1606" y="975"/>
                    <a:pt x="1607" y="977"/>
                    <a:pt x="1607" y="979"/>
                  </a:cubicBezTo>
                  <a:cubicBezTo>
                    <a:pt x="1612" y="989"/>
                    <a:pt x="1616" y="998"/>
                    <a:pt x="1620" y="1008"/>
                  </a:cubicBezTo>
                  <a:cubicBezTo>
                    <a:pt x="1621" y="1011"/>
                    <a:pt x="1622" y="1014"/>
                    <a:pt x="1624" y="1016"/>
                  </a:cubicBezTo>
                  <a:cubicBezTo>
                    <a:pt x="1628" y="1026"/>
                    <a:pt x="1632" y="1035"/>
                    <a:pt x="1635" y="1044"/>
                  </a:cubicBezTo>
                  <a:cubicBezTo>
                    <a:pt x="1638" y="1051"/>
                    <a:pt x="1641" y="1058"/>
                    <a:pt x="1644" y="1065"/>
                  </a:cubicBezTo>
                  <a:cubicBezTo>
                    <a:pt x="1646" y="1069"/>
                    <a:pt x="1648" y="1074"/>
                    <a:pt x="1650" y="1078"/>
                  </a:cubicBezTo>
                  <a:cubicBezTo>
                    <a:pt x="1653" y="1084"/>
                    <a:pt x="1655" y="1089"/>
                    <a:pt x="1658" y="1094"/>
                  </a:cubicBezTo>
                  <a:cubicBezTo>
                    <a:pt x="1651" y="1078"/>
                    <a:pt x="1644" y="1061"/>
                    <a:pt x="1636" y="1043"/>
                  </a:cubicBezTo>
                  <a:cubicBezTo>
                    <a:pt x="1634" y="1038"/>
                    <a:pt x="1632" y="1033"/>
                    <a:pt x="1630" y="1028"/>
                  </a:cubicBezTo>
                  <a:cubicBezTo>
                    <a:pt x="1627" y="1021"/>
                    <a:pt x="1624" y="1014"/>
                    <a:pt x="1621" y="1008"/>
                  </a:cubicBezTo>
                  <a:cubicBezTo>
                    <a:pt x="1620" y="1005"/>
                    <a:pt x="1619" y="1003"/>
                    <a:pt x="1618" y="1000"/>
                  </a:cubicBezTo>
                  <a:cubicBezTo>
                    <a:pt x="1614" y="991"/>
                    <a:pt x="1610" y="982"/>
                    <a:pt x="1606" y="973"/>
                  </a:cubicBezTo>
                  <a:cubicBezTo>
                    <a:pt x="1605" y="972"/>
                    <a:pt x="1605" y="970"/>
                    <a:pt x="1604" y="969"/>
                  </a:cubicBezTo>
                  <a:cubicBezTo>
                    <a:pt x="1594" y="947"/>
                    <a:pt x="1584" y="924"/>
                    <a:pt x="1573" y="902"/>
                  </a:cubicBezTo>
                  <a:cubicBezTo>
                    <a:pt x="1572" y="901"/>
                    <a:pt x="1572" y="900"/>
                    <a:pt x="1571" y="900"/>
                  </a:cubicBezTo>
                  <a:cubicBezTo>
                    <a:pt x="1559" y="875"/>
                    <a:pt x="1546" y="851"/>
                    <a:pt x="1531" y="827"/>
                  </a:cubicBezTo>
                  <a:cubicBezTo>
                    <a:pt x="1528" y="822"/>
                    <a:pt x="1525" y="817"/>
                    <a:pt x="1522" y="812"/>
                  </a:cubicBezTo>
                  <a:cubicBezTo>
                    <a:pt x="1522" y="812"/>
                    <a:pt x="1522" y="811"/>
                    <a:pt x="1522" y="811"/>
                  </a:cubicBezTo>
                  <a:cubicBezTo>
                    <a:pt x="1509" y="790"/>
                    <a:pt x="1495" y="768"/>
                    <a:pt x="1482" y="747"/>
                  </a:cubicBezTo>
                  <a:cubicBezTo>
                    <a:pt x="1481" y="747"/>
                    <a:pt x="1481" y="746"/>
                    <a:pt x="1481" y="746"/>
                  </a:cubicBezTo>
                  <a:cubicBezTo>
                    <a:pt x="1469" y="727"/>
                    <a:pt x="1457" y="709"/>
                    <a:pt x="1446" y="691"/>
                  </a:cubicBezTo>
                  <a:cubicBezTo>
                    <a:pt x="1445" y="690"/>
                    <a:pt x="1445" y="690"/>
                    <a:pt x="1445" y="690"/>
                  </a:cubicBezTo>
                  <a:cubicBezTo>
                    <a:pt x="1434" y="673"/>
                    <a:pt x="1424" y="656"/>
                    <a:pt x="1413" y="639"/>
                  </a:cubicBezTo>
                  <a:cubicBezTo>
                    <a:pt x="1413" y="639"/>
                    <a:pt x="1413" y="638"/>
                    <a:pt x="1413" y="638"/>
                  </a:cubicBezTo>
                  <a:cubicBezTo>
                    <a:pt x="1403" y="622"/>
                    <a:pt x="1393" y="606"/>
                    <a:pt x="1384" y="590"/>
                  </a:cubicBezTo>
                  <a:cubicBezTo>
                    <a:pt x="1384" y="590"/>
                    <a:pt x="1384" y="590"/>
                    <a:pt x="1384" y="589"/>
                  </a:cubicBezTo>
                  <a:cubicBezTo>
                    <a:pt x="1374" y="574"/>
                    <a:pt x="1366" y="558"/>
                    <a:pt x="1358" y="543"/>
                  </a:cubicBezTo>
                  <a:cubicBezTo>
                    <a:pt x="1358" y="543"/>
                    <a:pt x="1357" y="542"/>
                    <a:pt x="1357" y="542"/>
                  </a:cubicBezTo>
                  <a:cubicBezTo>
                    <a:pt x="1349" y="526"/>
                    <a:pt x="1341" y="510"/>
                    <a:pt x="1334" y="495"/>
                  </a:cubicBezTo>
                  <a:cubicBezTo>
                    <a:pt x="1334" y="495"/>
                    <a:pt x="1334" y="495"/>
                    <a:pt x="1334" y="494"/>
                  </a:cubicBezTo>
                  <a:cubicBezTo>
                    <a:pt x="1326" y="478"/>
                    <a:pt x="1320" y="461"/>
                    <a:pt x="1315" y="446"/>
                  </a:cubicBezTo>
                  <a:cubicBezTo>
                    <a:pt x="1315" y="446"/>
                    <a:pt x="1315" y="445"/>
                    <a:pt x="1315" y="445"/>
                  </a:cubicBezTo>
                  <a:cubicBezTo>
                    <a:pt x="1308" y="423"/>
                    <a:pt x="1305" y="403"/>
                    <a:pt x="1305" y="384"/>
                  </a:cubicBezTo>
                  <a:cubicBezTo>
                    <a:pt x="1305" y="383"/>
                    <a:pt x="1305" y="381"/>
                    <a:pt x="1305" y="380"/>
                  </a:cubicBezTo>
                  <a:cubicBezTo>
                    <a:pt x="1305" y="379"/>
                    <a:pt x="1305" y="379"/>
                    <a:pt x="1305" y="379"/>
                  </a:cubicBezTo>
                  <a:cubicBezTo>
                    <a:pt x="1306" y="352"/>
                    <a:pt x="1316" y="329"/>
                    <a:pt x="1337" y="313"/>
                  </a:cubicBezTo>
                  <a:cubicBezTo>
                    <a:pt x="1337" y="313"/>
                    <a:pt x="1337" y="313"/>
                    <a:pt x="1337" y="312"/>
                  </a:cubicBezTo>
                  <a:cubicBezTo>
                    <a:pt x="1339" y="311"/>
                    <a:pt x="1340" y="310"/>
                    <a:pt x="1341" y="309"/>
                  </a:cubicBezTo>
                  <a:cubicBezTo>
                    <a:pt x="1376" y="282"/>
                    <a:pt x="1407" y="251"/>
                    <a:pt x="1429" y="220"/>
                  </a:cubicBezTo>
                  <a:cubicBezTo>
                    <a:pt x="1430" y="220"/>
                    <a:pt x="1430" y="219"/>
                    <a:pt x="1430" y="219"/>
                  </a:cubicBezTo>
                  <a:cubicBezTo>
                    <a:pt x="1439" y="207"/>
                    <a:pt x="1446" y="194"/>
                    <a:pt x="1451" y="182"/>
                  </a:cubicBezTo>
                  <a:cubicBezTo>
                    <a:pt x="1451" y="182"/>
                    <a:pt x="1451" y="181"/>
                    <a:pt x="1451" y="181"/>
                  </a:cubicBezTo>
                  <a:cubicBezTo>
                    <a:pt x="1457" y="166"/>
                    <a:pt x="1460" y="152"/>
                    <a:pt x="1460" y="138"/>
                  </a:cubicBezTo>
                  <a:cubicBezTo>
                    <a:pt x="1460" y="138"/>
                    <a:pt x="1460" y="138"/>
                    <a:pt x="1460" y="137"/>
                  </a:cubicBezTo>
                  <a:cubicBezTo>
                    <a:pt x="1460" y="137"/>
                    <a:pt x="1460" y="137"/>
                    <a:pt x="1460" y="136"/>
                  </a:cubicBezTo>
                  <a:cubicBezTo>
                    <a:pt x="1460" y="121"/>
                    <a:pt x="1455" y="106"/>
                    <a:pt x="1446" y="92"/>
                  </a:cubicBezTo>
                  <a:cubicBezTo>
                    <a:pt x="1446" y="92"/>
                    <a:pt x="1446" y="92"/>
                    <a:pt x="1445" y="91"/>
                  </a:cubicBezTo>
                  <a:cubicBezTo>
                    <a:pt x="1436" y="78"/>
                    <a:pt x="1421" y="65"/>
                    <a:pt x="1401" y="53"/>
                  </a:cubicBezTo>
                  <a:cubicBezTo>
                    <a:pt x="1401" y="53"/>
                    <a:pt x="1401" y="53"/>
                    <a:pt x="1400" y="53"/>
                  </a:cubicBezTo>
                  <a:cubicBezTo>
                    <a:pt x="1381" y="42"/>
                    <a:pt x="1357" y="33"/>
                    <a:pt x="1328" y="25"/>
                  </a:cubicBezTo>
                  <a:cubicBezTo>
                    <a:pt x="1327" y="25"/>
                    <a:pt x="1327" y="25"/>
                    <a:pt x="1327" y="24"/>
                  </a:cubicBezTo>
                  <a:cubicBezTo>
                    <a:pt x="1308" y="19"/>
                    <a:pt x="1287" y="15"/>
                    <a:pt x="1263" y="11"/>
                  </a:cubicBezTo>
                  <a:cubicBezTo>
                    <a:pt x="1263" y="11"/>
                    <a:pt x="1262" y="11"/>
                    <a:pt x="1262" y="11"/>
                  </a:cubicBezTo>
                  <a:cubicBezTo>
                    <a:pt x="1262" y="11"/>
                    <a:pt x="1262" y="11"/>
                    <a:pt x="1261" y="11"/>
                  </a:cubicBezTo>
                  <a:cubicBezTo>
                    <a:pt x="1261" y="11"/>
                    <a:pt x="1261" y="11"/>
                    <a:pt x="1260" y="11"/>
                  </a:cubicBezTo>
                  <a:cubicBezTo>
                    <a:pt x="1259" y="11"/>
                    <a:pt x="1258" y="10"/>
                    <a:pt x="1257" y="10"/>
                  </a:cubicBezTo>
                  <a:cubicBezTo>
                    <a:pt x="1257" y="10"/>
                    <a:pt x="1256" y="10"/>
                    <a:pt x="1256" y="10"/>
                  </a:cubicBezTo>
                  <a:cubicBezTo>
                    <a:pt x="1255" y="10"/>
                    <a:pt x="1255" y="10"/>
                    <a:pt x="1254" y="10"/>
                  </a:cubicBezTo>
                  <a:cubicBezTo>
                    <a:pt x="1254" y="10"/>
                    <a:pt x="1253" y="10"/>
                    <a:pt x="1253" y="10"/>
                  </a:cubicBezTo>
                  <a:cubicBezTo>
                    <a:pt x="1252" y="10"/>
                    <a:pt x="1252" y="9"/>
                    <a:pt x="1251" y="9"/>
                  </a:cubicBezTo>
                  <a:cubicBezTo>
                    <a:pt x="1251" y="9"/>
                    <a:pt x="1251" y="9"/>
                    <a:pt x="1250" y="9"/>
                  </a:cubicBezTo>
                  <a:cubicBezTo>
                    <a:pt x="1250" y="9"/>
                    <a:pt x="1250" y="9"/>
                    <a:pt x="1250" y="9"/>
                  </a:cubicBezTo>
                  <a:cubicBezTo>
                    <a:pt x="1250" y="9"/>
                    <a:pt x="1249" y="9"/>
                    <a:pt x="1249" y="9"/>
                  </a:cubicBezTo>
                  <a:cubicBezTo>
                    <a:pt x="1248" y="9"/>
                    <a:pt x="1247" y="9"/>
                    <a:pt x="1246" y="9"/>
                  </a:cubicBezTo>
                  <a:cubicBezTo>
                    <a:pt x="1245" y="9"/>
                    <a:pt x="1245" y="9"/>
                    <a:pt x="1245" y="8"/>
                  </a:cubicBezTo>
                  <a:cubicBezTo>
                    <a:pt x="1244" y="8"/>
                    <a:pt x="1242" y="8"/>
                    <a:pt x="1241" y="8"/>
                  </a:cubicBezTo>
                  <a:cubicBezTo>
                    <a:pt x="1241" y="8"/>
                    <a:pt x="1241" y="8"/>
                    <a:pt x="1240" y="8"/>
                  </a:cubicBezTo>
                  <a:cubicBezTo>
                    <a:pt x="1238" y="8"/>
                    <a:pt x="1236" y="7"/>
                    <a:pt x="1233" y="7"/>
                  </a:cubicBezTo>
                  <a:cubicBezTo>
                    <a:pt x="1233" y="7"/>
                    <a:pt x="1233" y="7"/>
                    <a:pt x="1232" y="7"/>
                  </a:cubicBezTo>
                  <a:cubicBezTo>
                    <a:pt x="1232" y="7"/>
                    <a:pt x="1231" y="7"/>
                    <a:pt x="1231" y="7"/>
                  </a:cubicBezTo>
                  <a:cubicBezTo>
                    <a:pt x="1231" y="7"/>
                    <a:pt x="1230" y="7"/>
                    <a:pt x="1230" y="7"/>
                  </a:cubicBezTo>
                  <a:cubicBezTo>
                    <a:pt x="1227" y="6"/>
                    <a:pt x="1224" y="6"/>
                    <a:pt x="1220" y="5"/>
                  </a:cubicBezTo>
                  <a:cubicBezTo>
                    <a:pt x="1220" y="5"/>
                    <a:pt x="1220" y="5"/>
                    <a:pt x="1220" y="5"/>
                  </a:cubicBezTo>
                  <a:cubicBezTo>
                    <a:pt x="1219" y="5"/>
                    <a:pt x="1219" y="5"/>
                    <a:pt x="1219" y="5"/>
                  </a:cubicBezTo>
                  <a:cubicBezTo>
                    <a:pt x="1215" y="5"/>
                    <a:pt x="1211" y="4"/>
                    <a:pt x="1207" y="4"/>
                  </a:cubicBezTo>
                  <a:cubicBezTo>
                    <a:pt x="1207" y="4"/>
                    <a:pt x="1207" y="4"/>
                    <a:pt x="1206" y="4"/>
                  </a:cubicBezTo>
                  <a:cubicBezTo>
                    <a:pt x="1203" y="4"/>
                    <a:pt x="1201" y="3"/>
                    <a:pt x="1198" y="3"/>
                  </a:cubicBezTo>
                  <a:cubicBezTo>
                    <a:pt x="1197" y="3"/>
                    <a:pt x="1197" y="3"/>
                    <a:pt x="1197" y="3"/>
                  </a:cubicBezTo>
                  <a:cubicBezTo>
                    <a:pt x="1196" y="3"/>
                    <a:pt x="1196" y="3"/>
                    <a:pt x="1195" y="3"/>
                  </a:cubicBezTo>
                  <a:cubicBezTo>
                    <a:pt x="1195" y="3"/>
                    <a:pt x="1194" y="3"/>
                    <a:pt x="1194" y="3"/>
                  </a:cubicBezTo>
                  <a:cubicBezTo>
                    <a:pt x="1189" y="2"/>
                    <a:pt x="1183" y="2"/>
                    <a:pt x="1177" y="1"/>
                  </a:cubicBezTo>
                  <a:cubicBezTo>
                    <a:pt x="1177" y="1"/>
                    <a:pt x="1176" y="1"/>
                    <a:pt x="1176" y="1"/>
                  </a:cubicBezTo>
                  <a:cubicBezTo>
                    <a:pt x="1175" y="1"/>
                    <a:pt x="1174" y="1"/>
                    <a:pt x="1173" y="1"/>
                  </a:cubicBezTo>
                  <a:cubicBezTo>
                    <a:pt x="1168" y="1"/>
                    <a:pt x="1163" y="0"/>
                    <a:pt x="1159" y="0"/>
                  </a:cubicBezTo>
                  <a:cubicBezTo>
                    <a:pt x="1158" y="0"/>
                    <a:pt x="1158" y="0"/>
                    <a:pt x="1157" y="0"/>
                  </a:cubicBezTo>
                  <a:cubicBezTo>
                    <a:pt x="1157" y="0"/>
                    <a:pt x="1157" y="0"/>
                    <a:pt x="1157" y="0"/>
                  </a:cubicBezTo>
                  <a:cubicBezTo>
                    <a:pt x="1150" y="0"/>
                    <a:pt x="1143" y="0"/>
                    <a:pt x="1137" y="0"/>
                  </a:cubicBezTo>
                  <a:moveTo>
                    <a:pt x="969" y="54"/>
                  </a:moveTo>
                  <a:cubicBezTo>
                    <a:pt x="968" y="54"/>
                    <a:pt x="968" y="54"/>
                    <a:pt x="967" y="55"/>
                  </a:cubicBezTo>
                  <a:cubicBezTo>
                    <a:pt x="964" y="58"/>
                    <a:pt x="960" y="61"/>
                    <a:pt x="957" y="64"/>
                  </a:cubicBezTo>
                  <a:cubicBezTo>
                    <a:pt x="957" y="64"/>
                    <a:pt x="956" y="65"/>
                    <a:pt x="956" y="65"/>
                  </a:cubicBezTo>
                  <a:cubicBezTo>
                    <a:pt x="955" y="66"/>
                    <a:pt x="954" y="67"/>
                    <a:pt x="953" y="68"/>
                  </a:cubicBezTo>
                  <a:cubicBezTo>
                    <a:pt x="953" y="68"/>
                    <a:pt x="953" y="68"/>
                    <a:pt x="953" y="68"/>
                  </a:cubicBezTo>
                  <a:cubicBezTo>
                    <a:pt x="954" y="68"/>
                    <a:pt x="954" y="68"/>
                    <a:pt x="955" y="68"/>
                  </a:cubicBezTo>
                  <a:cubicBezTo>
                    <a:pt x="955" y="68"/>
                    <a:pt x="955" y="68"/>
                    <a:pt x="955" y="67"/>
                  </a:cubicBezTo>
                  <a:cubicBezTo>
                    <a:pt x="956" y="67"/>
                    <a:pt x="956" y="66"/>
                    <a:pt x="957" y="66"/>
                  </a:cubicBezTo>
                  <a:cubicBezTo>
                    <a:pt x="959" y="63"/>
                    <a:pt x="962" y="61"/>
                    <a:pt x="965" y="58"/>
                  </a:cubicBezTo>
                  <a:cubicBezTo>
                    <a:pt x="966" y="57"/>
                    <a:pt x="967" y="56"/>
                    <a:pt x="968" y="55"/>
                  </a:cubicBezTo>
                  <a:cubicBezTo>
                    <a:pt x="968" y="55"/>
                    <a:pt x="969" y="54"/>
                    <a:pt x="969" y="54"/>
                  </a:cubicBezTo>
                  <a:moveTo>
                    <a:pt x="954" y="69"/>
                  </a:moveTo>
                  <a:cubicBezTo>
                    <a:pt x="953" y="69"/>
                    <a:pt x="953" y="69"/>
                    <a:pt x="952" y="69"/>
                  </a:cubicBezTo>
                  <a:cubicBezTo>
                    <a:pt x="952" y="69"/>
                    <a:pt x="952" y="69"/>
                    <a:pt x="952" y="70"/>
                  </a:cubicBezTo>
                  <a:cubicBezTo>
                    <a:pt x="950" y="72"/>
                    <a:pt x="949" y="74"/>
                    <a:pt x="947" y="76"/>
                  </a:cubicBezTo>
                  <a:cubicBezTo>
                    <a:pt x="946" y="77"/>
                    <a:pt x="946" y="77"/>
                    <a:pt x="946" y="78"/>
                  </a:cubicBezTo>
                  <a:cubicBezTo>
                    <a:pt x="942" y="82"/>
                    <a:pt x="938" y="87"/>
                    <a:pt x="935" y="92"/>
                  </a:cubicBezTo>
                  <a:cubicBezTo>
                    <a:pt x="936" y="92"/>
                    <a:pt x="936" y="92"/>
                    <a:pt x="936" y="92"/>
                  </a:cubicBezTo>
                  <a:cubicBezTo>
                    <a:pt x="939" y="88"/>
                    <a:pt x="942" y="84"/>
                    <a:pt x="945" y="80"/>
                  </a:cubicBezTo>
                  <a:cubicBezTo>
                    <a:pt x="946" y="79"/>
                    <a:pt x="946" y="79"/>
                    <a:pt x="946" y="78"/>
                  </a:cubicBezTo>
                  <a:cubicBezTo>
                    <a:pt x="948" y="76"/>
                    <a:pt x="950" y="74"/>
                    <a:pt x="952" y="71"/>
                  </a:cubicBezTo>
                  <a:cubicBezTo>
                    <a:pt x="952" y="71"/>
                    <a:pt x="953" y="70"/>
                    <a:pt x="953" y="70"/>
                  </a:cubicBezTo>
                  <a:cubicBezTo>
                    <a:pt x="953" y="70"/>
                    <a:pt x="954" y="69"/>
                    <a:pt x="954" y="69"/>
                  </a:cubicBezTo>
                  <a:moveTo>
                    <a:pt x="936" y="93"/>
                  </a:moveTo>
                  <a:cubicBezTo>
                    <a:pt x="935" y="93"/>
                    <a:pt x="935" y="93"/>
                    <a:pt x="934" y="94"/>
                  </a:cubicBezTo>
                  <a:cubicBezTo>
                    <a:pt x="934" y="94"/>
                    <a:pt x="933" y="95"/>
                    <a:pt x="933" y="96"/>
                  </a:cubicBezTo>
                  <a:cubicBezTo>
                    <a:pt x="928" y="104"/>
                    <a:pt x="924" y="112"/>
                    <a:pt x="920" y="121"/>
                  </a:cubicBezTo>
                  <a:cubicBezTo>
                    <a:pt x="920" y="121"/>
                    <a:pt x="921" y="121"/>
                    <a:pt x="921" y="121"/>
                  </a:cubicBezTo>
                  <a:cubicBezTo>
                    <a:pt x="925" y="111"/>
                    <a:pt x="930" y="102"/>
                    <a:pt x="936" y="93"/>
                  </a:cubicBezTo>
                  <a:moveTo>
                    <a:pt x="920" y="122"/>
                  </a:moveTo>
                  <a:cubicBezTo>
                    <a:pt x="916" y="131"/>
                    <a:pt x="912" y="141"/>
                    <a:pt x="909" y="151"/>
                  </a:cubicBezTo>
                  <a:cubicBezTo>
                    <a:pt x="909" y="151"/>
                    <a:pt x="910" y="151"/>
                    <a:pt x="910" y="151"/>
                  </a:cubicBezTo>
                  <a:cubicBezTo>
                    <a:pt x="913" y="141"/>
                    <a:pt x="917" y="131"/>
                    <a:pt x="921" y="122"/>
                  </a:cubicBezTo>
                  <a:cubicBezTo>
                    <a:pt x="920" y="122"/>
                    <a:pt x="920" y="122"/>
                    <a:pt x="920" y="122"/>
                  </a:cubicBezTo>
                  <a:moveTo>
                    <a:pt x="909" y="152"/>
                  </a:moveTo>
                  <a:cubicBezTo>
                    <a:pt x="909" y="152"/>
                    <a:pt x="908" y="153"/>
                    <a:pt x="908" y="154"/>
                  </a:cubicBezTo>
                  <a:cubicBezTo>
                    <a:pt x="908" y="155"/>
                    <a:pt x="908" y="156"/>
                    <a:pt x="907" y="156"/>
                  </a:cubicBezTo>
                  <a:cubicBezTo>
                    <a:pt x="906" y="161"/>
                    <a:pt x="905" y="166"/>
                    <a:pt x="904" y="171"/>
                  </a:cubicBezTo>
                  <a:cubicBezTo>
                    <a:pt x="904" y="172"/>
                    <a:pt x="903" y="172"/>
                    <a:pt x="903" y="173"/>
                  </a:cubicBezTo>
                  <a:cubicBezTo>
                    <a:pt x="903" y="176"/>
                    <a:pt x="902" y="179"/>
                    <a:pt x="901" y="182"/>
                  </a:cubicBezTo>
                  <a:cubicBezTo>
                    <a:pt x="902" y="182"/>
                    <a:pt x="902" y="182"/>
                    <a:pt x="902" y="182"/>
                  </a:cubicBezTo>
                  <a:cubicBezTo>
                    <a:pt x="903" y="178"/>
                    <a:pt x="904" y="175"/>
                    <a:pt x="905" y="171"/>
                  </a:cubicBezTo>
                  <a:cubicBezTo>
                    <a:pt x="905" y="171"/>
                    <a:pt x="905" y="170"/>
                    <a:pt x="905" y="169"/>
                  </a:cubicBezTo>
                  <a:cubicBezTo>
                    <a:pt x="906" y="164"/>
                    <a:pt x="908" y="159"/>
                    <a:pt x="909" y="154"/>
                  </a:cubicBezTo>
                  <a:cubicBezTo>
                    <a:pt x="909" y="154"/>
                    <a:pt x="910" y="153"/>
                    <a:pt x="910" y="152"/>
                  </a:cubicBezTo>
                  <a:cubicBezTo>
                    <a:pt x="910" y="152"/>
                    <a:pt x="910" y="152"/>
                    <a:pt x="910" y="152"/>
                  </a:cubicBezTo>
                  <a:cubicBezTo>
                    <a:pt x="909" y="152"/>
                    <a:pt x="909" y="152"/>
                    <a:pt x="909" y="152"/>
                  </a:cubicBezTo>
                  <a:moveTo>
                    <a:pt x="901" y="183"/>
                  </a:moveTo>
                  <a:cubicBezTo>
                    <a:pt x="901" y="183"/>
                    <a:pt x="901" y="184"/>
                    <a:pt x="901" y="184"/>
                  </a:cubicBezTo>
                  <a:cubicBezTo>
                    <a:pt x="901" y="185"/>
                    <a:pt x="901" y="185"/>
                    <a:pt x="901" y="186"/>
                  </a:cubicBezTo>
                  <a:cubicBezTo>
                    <a:pt x="901" y="187"/>
                    <a:pt x="900" y="187"/>
                    <a:pt x="900" y="187"/>
                  </a:cubicBezTo>
                  <a:cubicBezTo>
                    <a:pt x="900" y="188"/>
                    <a:pt x="900" y="188"/>
                    <a:pt x="900" y="188"/>
                  </a:cubicBezTo>
                  <a:cubicBezTo>
                    <a:pt x="899" y="193"/>
                    <a:pt x="899" y="197"/>
                    <a:pt x="898" y="202"/>
                  </a:cubicBezTo>
                  <a:cubicBezTo>
                    <a:pt x="898" y="202"/>
                    <a:pt x="898" y="203"/>
                    <a:pt x="898" y="203"/>
                  </a:cubicBezTo>
                  <a:cubicBezTo>
                    <a:pt x="898" y="205"/>
                    <a:pt x="897" y="208"/>
                    <a:pt x="897" y="210"/>
                  </a:cubicBezTo>
                  <a:cubicBezTo>
                    <a:pt x="897" y="210"/>
                    <a:pt x="897" y="211"/>
                    <a:pt x="897" y="211"/>
                  </a:cubicBezTo>
                  <a:cubicBezTo>
                    <a:pt x="897" y="212"/>
                    <a:pt x="897" y="213"/>
                    <a:pt x="897" y="214"/>
                  </a:cubicBezTo>
                  <a:cubicBezTo>
                    <a:pt x="896" y="214"/>
                    <a:pt x="896" y="214"/>
                    <a:pt x="896" y="214"/>
                  </a:cubicBezTo>
                  <a:cubicBezTo>
                    <a:pt x="896" y="215"/>
                    <a:pt x="896" y="216"/>
                    <a:pt x="896" y="216"/>
                  </a:cubicBezTo>
                  <a:cubicBezTo>
                    <a:pt x="896" y="217"/>
                    <a:pt x="896" y="218"/>
                    <a:pt x="896" y="219"/>
                  </a:cubicBezTo>
                  <a:cubicBezTo>
                    <a:pt x="896" y="221"/>
                    <a:pt x="896" y="222"/>
                    <a:pt x="896" y="224"/>
                  </a:cubicBezTo>
                  <a:cubicBezTo>
                    <a:pt x="895" y="224"/>
                    <a:pt x="895" y="225"/>
                    <a:pt x="895" y="226"/>
                  </a:cubicBezTo>
                  <a:cubicBezTo>
                    <a:pt x="895" y="226"/>
                    <a:pt x="895" y="226"/>
                    <a:pt x="895" y="226"/>
                  </a:cubicBezTo>
                  <a:cubicBezTo>
                    <a:pt x="895" y="226"/>
                    <a:pt x="895" y="227"/>
                    <a:pt x="895" y="227"/>
                  </a:cubicBezTo>
                  <a:cubicBezTo>
                    <a:pt x="895" y="227"/>
                    <a:pt x="895" y="228"/>
                    <a:pt x="895" y="228"/>
                  </a:cubicBezTo>
                  <a:cubicBezTo>
                    <a:pt x="895" y="229"/>
                    <a:pt x="895" y="230"/>
                    <a:pt x="895" y="231"/>
                  </a:cubicBezTo>
                  <a:cubicBezTo>
                    <a:pt x="895" y="231"/>
                    <a:pt x="895" y="231"/>
                    <a:pt x="895" y="231"/>
                  </a:cubicBezTo>
                  <a:cubicBezTo>
                    <a:pt x="895" y="233"/>
                    <a:pt x="895" y="235"/>
                    <a:pt x="895" y="237"/>
                  </a:cubicBezTo>
                  <a:cubicBezTo>
                    <a:pt x="894" y="237"/>
                    <a:pt x="894" y="238"/>
                    <a:pt x="894" y="238"/>
                  </a:cubicBezTo>
                  <a:cubicBezTo>
                    <a:pt x="894" y="243"/>
                    <a:pt x="894" y="247"/>
                    <a:pt x="894" y="252"/>
                  </a:cubicBezTo>
                  <a:cubicBezTo>
                    <a:pt x="894" y="252"/>
                    <a:pt x="894" y="252"/>
                    <a:pt x="894" y="253"/>
                  </a:cubicBezTo>
                  <a:cubicBezTo>
                    <a:pt x="894" y="254"/>
                    <a:pt x="894" y="256"/>
                    <a:pt x="894" y="257"/>
                  </a:cubicBezTo>
                  <a:cubicBezTo>
                    <a:pt x="894" y="257"/>
                    <a:pt x="894" y="258"/>
                    <a:pt x="894" y="258"/>
                  </a:cubicBezTo>
                  <a:cubicBezTo>
                    <a:pt x="893" y="265"/>
                    <a:pt x="893" y="272"/>
                    <a:pt x="893" y="279"/>
                  </a:cubicBezTo>
                  <a:cubicBezTo>
                    <a:pt x="893" y="279"/>
                    <a:pt x="893" y="280"/>
                    <a:pt x="893" y="280"/>
                  </a:cubicBezTo>
                  <a:cubicBezTo>
                    <a:pt x="893" y="280"/>
                    <a:pt x="893" y="281"/>
                    <a:pt x="893" y="281"/>
                  </a:cubicBezTo>
                  <a:cubicBezTo>
                    <a:pt x="893" y="284"/>
                    <a:pt x="893" y="287"/>
                    <a:pt x="893" y="289"/>
                  </a:cubicBezTo>
                  <a:cubicBezTo>
                    <a:pt x="893" y="290"/>
                    <a:pt x="893" y="290"/>
                    <a:pt x="893" y="291"/>
                  </a:cubicBezTo>
                  <a:cubicBezTo>
                    <a:pt x="894" y="306"/>
                    <a:pt x="894" y="321"/>
                    <a:pt x="895" y="334"/>
                  </a:cubicBezTo>
                  <a:cubicBezTo>
                    <a:pt x="895" y="334"/>
                    <a:pt x="895" y="335"/>
                    <a:pt x="895" y="335"/>
                  </a:cubicBezTo>
                  <a:cubicBezTo>
                    <a:pt x="895" y="335"/>
                    <a:pt x="895" y="336"/>
                    <a:pt x="895" y="336"/>
                  </a:cubicBezTo>
                  <a:cubicBezTo>
                    <a:pt x="895" y="337"/>
                    <a:pt x="895" y="337"/>
                    <a:pt x="895" y="338"/>
                  </a:cubicBezTo>
                  <a:cubicBezTo>
                    <a:pt x="895" y="338"/>
                    <a:pt x="895" y="339"/>
                    <a:pt x="895" y="339"/>
                  </a:cubicBezTo>
                  <a:cubicBezTo>
                    <a:pt x="895" y="340"/>
                    <a:pt x="895" y="340"/>
                    <a:pt x="895" y="341"/>
                  </a:cubicBezTo>
                  <a:cubicBezTo>
                    <a:pt x="895" y="343"/>
                    <a:pt x="895" y="345"/>
                    <a:pt x="895" y="347"/>
                  </a:cubicBezTo>
                  <a:cubicBezTo>
                    <a:pt x="895" y="348"/>
                    <a:pt x="895" y="348"/>
                    <a:pt x="895" y="348"/>
                  </a:cubicBezTo>
                  <a:cubicBezTo>
                    <a:pt x="895" y="349"/>
                    <a:pt x="895" y="349"/>
                    <a:pt x="895" y="349"/>
                  </a:cubicBezTo>
                  <a:cubicBezTo>
                    <a:pt x="895" y="349"/>
                    <a:pt x="895" y="349"/>
                    <a:pt x="895" y="349"/>
                  </a:cubicBezTo>
                  <a:cubicBezTo>
                    <a:pt x="895" y="349"/>
                    <a:pt x="895" y="350"/>
                    <a:pt x="895" y="350"/>
                  </a:cubicBezTo>
                  <a:cubicBezTo>
                    <a:pt x="895" y="350"/>
                    <a:pt x="895" y="351"/>
                    <a:pt x="895" y="351"/>
                  </a:cubicBezTo>
                  <a:cubicBezTo>
                    <a:pt x="895" y="354"/>
                    <a:pt x="895" y="357"/>
                    <a:pt x="894" y="360"/>
                  </a:cubicBezTo>
                  <a:cubicBezTo>
                    <a:pt x="894" y="361"/>
                    <a:pt x="894" y="361"/>
                    <a:pt x="894" y="362"/>
                  </a:cubicBezTo>
                  <a:cubicBezTo>
                    <a:pt x="894" y="364"/>
                    <a:pt x="893" y="366"/>
                    <a:pt x="893" y="368"/>
                  </a:cubicBezTo>
                  <a:cubicBezTo>
                    <a:pt x="893" y="368"/>
                    <a:pt x="893" y="368"/>
                    <a:pt x="892" y="369"/>
                  </a:cubicBezTo>
                  <a:cubicBezTo>
                    <a:pt x="892" y="372"/>
                    <a:pt x="890" y="375"/>
                    <a:pt x="889" y="378"/>
                  </a:cubicBezTo>
                  <a:cubicBezTo>
                    <a:pt x="888" y="379"/>
                    <a:pt x="888" y="379"/>
                    <a:pt x="888" y="379"/>
                  </a:cubicBezTo>
                  <a:cubicBezTo>
                    <a:pt x="883" y="388"/>
                    <a:pt x="875" y="393"/>
                    <a:pt x="866" y="393"/>
                  </a:cubicBezTo>
                  <a:cubicBezTo>
                    <a:pt x="866" y="393"/>
                    <a:pt x="866" y="393"/>
                    <a:pt x="866" y="393"/>
                  </a:cubicBezTo>
                  <a:cubicBezTo>
                    <a:pt x="864" y="393"/>
                    <a:pt x="863" y="393"/>
                    <a:pt x="862" y="393"/>
                  </a:cubicBezTo>
                  <a:cubicBezTo>
                    <a:pt x="861" y="393"/>
                    <a:pt x="861" y="392"/>
                    <a:pt x="861" y="392"/>
                  </a:cubicBezTo>
                  <a:cubicBezTo>
                    <a:pt x="860" y="392"/>
                    <a:pt x="858" y="392"/>
                    <a:pt x="857" y="392"/>
                  </a:cubicBezTo>
                  <a:cubicBezTo>
                    <a:pt x="857" y="392"/>
                    <a:pt x="856" y="391"/>
                    <a:pt x="856" y="391"/>
                  </a:cubicBezTo>
                  <a:cubicBezTo>
                    <a:pt x="854" y="391"/>
                    <a:pt x="853" y="390"/>
                    <a:pt x="851" y="389"/>
                  </a:cubicBezTo>
                  <a:cubicBezTo>
                    <a:pt x="851" y="389"/>
                    <a:pt x="850" y="389"/>
                    <a:pt x="850" y="389"/>
                  </a:cubicBezTo>
                  <a:cubicBezTo>
                    <a:pt x="850" y="389"/>
                    <a:pt x="850" y="389"/>
                    <a:pt x="849" y="389"/>
                  </a:cubicBezTo>
                  <a:cubicBezTo>
                    <a:pt x="849" y="389"/>
                    <a:pt x="849" y="388"/>
                    <a:pt x="848" y="388"/>
                  </a:cubicBezTo>
                  <a:cubicBezTo>
                    <a:pt x="847" y="387"/>
                    <a:pt x="845" y="386"/>
                    <a:pt x="843" y="385"/>
                  </a:cubicBezTo>
                  <a:cubicBezTo>
                    <a:pt x="843" y="385"/>
                    <a:pt x="843" y="385"/>
                    <a:pt x="842" y="385"/>
                  </a:cubicBezTo>
                  <a:cubicBezTo>
                    <a:pt x="842" y="385"/>
                    <a:pt x="842" y="385"/>
                    <a:pt x="842" y="385"/>
                  </a:cubicBezTo>
                  <a:cubicBezTo>
                    <a:pt x="842" y="385"/>
                    <a:pt x="842" y="385"/>
                    <a:pt x="842" y="384"/>
                  </a:cubicBezTo>
                  <a:cubicBezTo>
                    <a:pt x="842" y="385"/>
                    <a:pt x="842" y="385"/>
                    <a:pt x="842" y="386"/>
                  </a:cubicBezTo>
                  <a:cubicBezTo>
                    <a:pt x="842" y="386"/>
                    <a:pt x="842" y="386"/>
                    <a:pt x="843" y="386"/>
                  </a:cubicBezTo>
                  <a:cubicBezTo>
                    <a:pt x="844" y="387"/>
                    <a:pt x="846" y="388"/>
                    <a:pt x="848" y="389"/>
                  </a:cubicBezTo>
                  <a:cubicBezTo>
                    <a:pt x="848" y="389"/>
                    <a:pt x="848" y="389"/>
                    <a:pt x="849" y="389"/>
                  </a:cubicBezTo>
                  <a:cubicBezTo>
                    <a:pt x="849" y="390"/>
                    <a:pt x="849" y="390"/>
                    <a:pt x="849" y="390"/>
                  </a:cubicBezTo>
                  <a:cubicBezTo>
                    <a:pt x="850" y="390"/>
                    <a:pt x="850" y="390"/>
                    <a:pt x="850" y="390"/>
                  </a:cubicBezTo>
                  <a:cubicBezTo>
                    <a:pt x="852" y="391"/>
                    <a:pt x="853" y="391"/>
                    <a:pt x="854" y="392"/>
                  </a:cubicBezTo>
                  <a:cubicBezTo>
                    <a:pt x="855" y="392"/>
                    <a:pt x="855" y="392"/>
                    <a:pt x="856" y="392"/>
                  </a:cubicBezTo>
                  <a:cubicBezTo>
                    <a:pt x="857" y="393"/>
                    <a:pt x="858" y="393"/>
                    <a:pt x="860" y="393"/>
                  </a:cubicBezTo>
                  <a:cubicBezTo>
                    <a:pt x="860" y="393"/>
                    <a:pt x="861" y="393"/>
                    <a:pt x="861" y="393"/>
                  </a:cubicBezTo>
                  <a:cubicBezTo>
                    <a:pt x="863" y="394"/>
                    <a:pt x="864" y="394"/>
                    <a:pt x="866" y="394"/>
                  </a:cubicBezTo>
                  <a:cubicBezTo>
                    <a:pt x="876" y="394"/>
                    <a:pt x="884" y="388"/>
                    <a:pt x="889" y="379"/>
                  </a:cubicBezTo>
                  <a:cubicBezTo>
                    <a:pt x="890" y="378"/>
                    <a:pt x="890" y="378"/>
                    <a:pt x="890" y="377"/>
                  </a:cubicBezTo>
                  <a:cubicBezTo>
                    <a:pt x="891" y="375"/>
                    <a:pt x="892" y="372"/>
                    <a:pt x="893" y="369"/>
                  </a:cubicBezTo>
                  <a:cubicBezTo>
                    <a:pt x="893" y="369"/>
                    <a:pt x="894" y="369"/>
                    <a:pt x="894" y="368"/>
                  </a:cubicBezTo>
                  <a:cubicBezTo>
                    <a:pt x="894" y="366"/>
                    <a:pt x="895" y="363"/>
                    <a:pt x="895" y="361"/>
                  </a:cubicBezTo>
                  <a:cubicBezTo>
                    <a:pt x="895" y="360"/>
                    <a:pt x="895" y="360"/>
                    <a:pt x="895" y="359"/>
                  </a:cubicBezTo>
                  <a:cubicBezTo>
                    <a:pt x="896" y="357"/>
                    <a:pt x="896" y="354"/>
                    <a:pt x="896" y="350"/>
                  </a:cubicBezTo>
                  <a:cubicBezTo>
                    <a:pt x="896" y="350"/>
                    <a:pt x="896" y="350"/>
                    <a:pt x="896" y="349"/>
                  </a:cubicBezTo>
                  <a:cubicBezTo>
                    <a:pt x="896" y="349"/>
                    <a:pt x="896" y="349"/>
                    <a:pt x="896" y="349"/>
                  </a:cubicBezTo>
                  <a:cubicBezTo>
                    <a:pt x="896" y="349"/>
                    <a:pt x="896" y="349"/>
                    <a:pt x="896" y="348"/>
                  </a:cubicBezTo>
                  <a:cubicBezTo>
                    <a:pt x="896" y="348"/>
                    <a:pt x="896" y="347"/>
                    <a:pt x="896" y="347"/>
                  </a:cubicBezTo>
                  <a:cubicBezTo>
                    <a:pt x="896" y="347"/>
                    <a:pt x="896" y="347"/>
                    <a:pt x="896" y="347"/>
                  </a:cubicBezTo>
                  <a:cubicBezTo>
                    <a:pt x="896" y="344"/>
                    <a:pt x="896" y="342"/>
                    <a:pt x="896" y="340"/>
                  </a:cubicBezTo>
                  <a:cubicBezTo>
                    <a:pt x="896" y="339"/>
                    <a:pt x="896" y="339"/>
                    <a:pt x="896" y="338"/>
                  </a:cubicBezTo>
                  <a:cubicBezTo>
                    <a:pt x="896" y="338"/>
                    <a:pt x="896" y="337"/>
                    <a:pt x="896" y="337"/>
                  </a:cubicBezTo>
                  <a:cubicBezTo>
                    <a:pt x="896" y="336"/>
                    <a:pt x="896" y="336"/>
                    <a:pt x="896" y="335"/>
                  </a:cubicBezTo>
                  <a:cubicBezTo>
                    <a:pt x="896" y="335"/>
                    <a:pt x="896" y="334"/>
                    <a:pt x="896" y="334"/>
                  </a:cubicBezTo>
                  <a:cubicBezTo>
                    <a:pt x="896" y="333"/>
                    <a:pt x="896" y="333"/>
                    <a:pt x="896" y="332"/>
                  </a:cubicBezTo>
                  <a:cubicBezTo>
                    <a:pt x="895" y="320"/>
                    <a:pt x="894" y="305"/>
                    <a:pt x="894" y="290"/>
                  </a:cubicBezTo>
                  <a:cubicBezTo>
                    <a:pt x="894" y="289"/>
                    <a:pt x="894" y="289"/>
                    <a:pt x="894" y="288"/>
                  </a:cubicBezTo>
                  <a:cubicBezTo>
                    <a:pt x="894" y="286"/>
                    <a:pt x="894" y="284"/>
                    <a:pt x="894" y="282"/>
                  </a:cubicBezTo>
                  <a:cubicBezTo>
                    <a:pt x="894" y="281"/>
                    <a:pt x="894" y="281"/>
                    <a:pt x="894" y="280"/>
                  </a:cubicBezTo>
                  <a:cubicBezTo>
                    <a:pt x="894" y="280"/>
                    <a:pt x="894" y="279"/>
                    <a:pt x="894" y="279"/>
                  </a:cubicBezTo>
                  <a:cubicBezTo>
                    <a:pt x="894" y="272"/>
                    <a:pt x="894" y="265"/>
                    <a:pt x="895" y="258"/>
                  </a:cubicBezTo>
                  <a:cubicBezTo>
                    <a:pt x="895" y="257"/>
                    <a:pt x="895" y="257"/>
                    <a:pt x="895" y="257"/>
                  </a:cubicBezTo>
                  <a:cubicBezTo>
                    <a:pt x="895" y="255"/>
                    <a:pt x="895" y="254"/>
                    <a:pt x="895" y="252"/>
                  </a:cubicBezTo>
                  <a:cubicBezTo>
                    <a:pt x="895" y="252"/>
                    <a:pt x="895" y="251"/>
                    <a:pt x="895" y="251"/>
                  </a:cubicBezTo>
                  <a:cubicBezTo>
                    <a:pt x="895" y="246"/>
                    <a:pt x="895" y="242"/>
                    <a:pt x="895" y="237"/>
                  </a:cubicBezTo>
                  <a:cubicBezTo>
                    <a:pt x="896" y="237"/>
                    <a:pt x="896" y="236"/>
                    <a:pt x="896" y="236"/>
                  </a:cubicBezTo>
                  <a:cubicBezTo>
                    <a:pt x="896" y="234"/>
                    <a:pt x="896" y="231"/>
                    <a:pt x="896" y="229"/>
                  </a:cubicBezTo>
                  <a:cubicBezTo>
                    <a:pt x="896" y="229"/>
                    <a:pt x="896" y="229"/>
                    <a:pt x="896" y="229"/>
                  </a:cubicBezTo>
                  <a:cubicBezTo>
                    <a:pt x="896" y="228"/>
                    <a:pt x="896" y="227"/>
                    <a:pt x="896" y="226"/>
                  </a:cubicBezTo>
                  <a:cubicBezTo>
                    <a:pt x="896" y="226"/>
                    <a:pt x="896" y="226"/>
                    <a:pt x="896" y="226"/>
                  </a:cubicBezTo>
                  <a:cubicBezTo>
                    <a:pt x="896" y="225"/>
                    <a:pt x="896" y="225"/>
                    <a:pt x="896" y="225"/>
                  </a:cubicBezTo>
                  <a:cubicBezTo>
                    <a:pt x="896" y="225"/>
                    <a:pt x="896" y="225"/>
                    <a:pt x="896" y="224"/>
                  </a:cubicBezTo>
                  <a:cubicBezTo>
                    <a:pt x="897" y="224"/>
                    <a:pt x="897" y="223"/>
                    <a:pt x="897" y="223"/>
                  </a:cubicBezTo>
                  <a:cubicBezTo>
                    <a:pt x="897" y="223"/>
                    <a:pt x="897" y="223"/>
                    <a:pt x="897" y="223"/>
                  </a:cubicBezTo>
                  <a:cubicBezTo>
                    <a:pt x="897" y="220"/>
                    <a:pt x="897" y="218"/>
                    <a:pt x="897" y="216"/>
                  </a:cubicBezTo>
                  <a:cubicBezTo>
                    <a:pt x="897" y="215"/>
                    <a:pt x="897" y="215"/>
                    <a:pt x="897" y="215"/>
                  </a:cubicBezTo>
                  <a:cubicBezTo>
                    <a:pt x="898" y="214"/>
                    <a:pt x="898" y="213"/>
                    <a:pt x="898" y="213"/>
                  </a:cubicBezTo>
                  <a:cubicBezTo>
                    <a:pt x="898" y="212"/>
                    <a:pt x="898" y="211"/>
                    <a:pt x="898" y="210"/>
                  </a:cubicBezTo>
                  <a:cubicBezTo>
                    <a:pt x="898" y="210"/>
                    <a:pt x="898" y="210"/>
                    <a:pt x="898" y="210"/>
                  </a:cubicBezTo>
                  <a:cubicBezTo>
                    <a:pt x="898" y="207"/>
                    <a:pt x="899" y="205"/>
                    <a:pt x="899" y="202"/>
                  </a:cubicBezTo>
                  <a:cubicBezTo>
                    <a:pt x="899" y="202"/>
                    <a:pt x="899" y="201"/>
                    <a:pt x="899" y="201"/>
                  </a:cubicBezTo>
                  <a:cubicBezTo>
                    <a:pt x="900" y="197"/>
                    <a:pt x="900" y="193"/>
                    <a:pt x="901" y="189"/>
                  </a:cubicBezTo>
                  <a:cubicBezTo>
                    <a:pt x="901" y="188"/>
                    <a:pt x="901" y="188"/>
                    <a:pt x="901" y="188"/>
                  </a:cubicBezTo>
                  <a:cubicBezTo>
                    <a:pt x="902" y="187"/>
                    <a:pt x="902" y="186"/>
                    <a:pt x="902" y="184"/>
                  </a:cubicBezTo>
                  <a:cubicBezTo>
                    <a:pt x="902" y="184"/>
                    <a:pt x="902" y="183"/>
                    <a:pt x="902" y="183"/>
                  </a:cubicBezTo>
                  <a:cubicBezTo>
                    <a:pt x="902" y="183"/>
                    <a:pt x="902" y="183"/>
                    <a:pt x="901" y="183"/>
                  </a:cubicBezTo>
                  <a:moveTo>
                    <a:pt x="763" y="326"/>
                  </a:moveTo>
                  <a:cubicBezTo>
                    <a:pt x="762" y="326"/>
                    <a:pt x="762" y="326"/>
                    <a:pt x="761" y="326"/>
                  </a:cubicBezTo>
                  <a:cubicBezTo>
                    <a:pt x="761" y="326"/>
                    <a:pt x="760" y="326"/>
                    <a:pt x="760" y="326"/>
                  </a:cubicBezTo>
                  <a:cubicBezTo>
                    <a:pt x="753" y="326"/>
                    <a:pt x="747" y="327"/>
                    <a:pt x="740" y="328"/>
                  </a:cubicBezTo>
                  <a:cubicBezTo>
                    <a:pt x="740" y="329"/>
                    <a:pt x="739" y="329"/>
                    <a:pt x="739" y="329"/>
                  </a:cubicBezTo>
                  <a:cubicBezTo>
                    <a:pt x="738" y="329"/>
                    <a:pt x="737" y="329"/>
                    <a:pt x="735" y="329"/>
                  </a:cubicBezTo>
                  <a:cubicBezTo>
                    <a:pt x="734" y="330"/>
                    <a:pt x="734" y="330"/>
                    <a:pt x="733" y="330"/>
                  </a:cubicBezTo>
                  <a:cubicBezTo>
                    <a:pt x="726" y="332"/>
                    <a:pt x="720" y="333"/>
                    <a:pt x="713" y="336"/>
                  </a:cubicBezTo>
                  <a:cubicBezTo>
                    <a:pt x="713" y="336"/>
                    <a:pt x="713" y="336"/>
                    <a:pt x="714" y="337"/>
                  </a:cubicBezTo>
                  <a:cubicBezTo>
                    <a:pt x="719" y="335"/>
                    <a:pt x="725" y="333"/>
                    <a:pt x="730" y="332"/>
                  </a:cubicBezTo>
                  <a:cubicBezTo>
                    <a:pt x="731" y="331"/>
                    <a:pt x="732" y="331"/>
                    <a:pt x="733" y="331"/>
                  </a:cubicBezTo>
                  <a:cubicBezTo>
                    <a:pt x="735" y="331"/>
                    <a:pt x="737" y="330"/>
                    <a:pt x="738" y="330"/>
                  </a:cubicBezTo>
                  <a:cubicBezTo>
                    <a:pt x="739" y="330"/>
                    <a:pt x="739" y="330"/>
                    <a:pt x="740" y="330"/>
                  </a:cubicBezTo>
                  <a:cubicBezTo>
                    <a:pt x="746" y="328"/>
                    <a:pt x="753" y="328"/>
                    <a:pt x="759" y="327"/>
                  </a:cubicBezTo>
                  <a:cubicBezTo>
                    <a:pt x="759" y="327"/>
                    <a:pt x="760" y="327"/>
                    <a:pt x="760" y="327"/>
                  </a:cubicBezTo>
                  <a:cubicBezTo>
                    <a:pt x="761" y="327"/>
                    <a:pt x="762" y="327"/>
                    <a:pt x="763" y="327"/>
                  </a:cubicBezTo>
                  <a:cubicBezTo>
                    <a:pt x="763" y="327"/>
                    <a:pt x="764" y="327"/>
                    <a:pt x="764" y="327"/>
                  </a:cubicBezTo>
                  <a:cubicBezTo>
                    <a:pt x="765" y="327"/>
                    <a:pt x="765" y="327"/>
                    <a:pt x="766" y="327"/>
                  </a:cubicBezTo>
                  <a:cubicBezTo>
                    <a:pt x="766" y="327"/>
                    <a:pt x="767" y="327"/>
                    <a:pt x="768" y="327"/>
                  </a:cubicBezTo>
                  <a:cubicBezTo>
                    <a:pt x="768" y="327"/>
                    <a:pt x="768" y="327"/>
                    <a:pt x="768" y="327"/>
                  </a:cubicBezTo>
                  <a:cubicBezTo>
                    <a:pt x="769" y="327"/>
                    <a:pt x="769" y="327"/>
                    <a:pt x="770" y="327"/>
                  </a:cubicBezTo>
                  <a:cubicBezTo>
                    <a:pt x="772" y="328"/>
                    <a:pt x="774" y="328"/>
                    <a:pt x="776" y="328"/>
                  </a:cubicBezTo>
                  <a:cubicBezTo>
                    <a:pt x="775" y="328"/>
                    <a:pt x="775" y="327"/>
                    <a:pt x="775" y="327"/>
                  </a:cubicBezTo>
                  <a:cubicBezTo>
                    <a:pt x="774" y="327"/>
                    <a:pt x="773" y="327"/>
                    <a:pt x="771" y="327"/>
                  </a:cubicBezTo>
                  <a:cubicBezTo>
                    <a:pt x="771" y="327"/>
                    <a:pt x="770" y="326"/>
                    <a:pt x="770" y="326"/>
                  </a:cubicBezTo>
                  <a:cubicBezTo>
                    <a:pt x="769" y="326"/>
                    <a:pt x="768" y="326"/>
                    <a:pt x="767" y="326"/>
                  </a:cubicBezTo>
                  <a:cubicBezTo>
                    <a:pt x="766" y="326"/>
                    <a:pt x="766" y="326"/>
                    <a:pt x="765" y="326"/>
                  </a:cubicBezTo>
                  <a:cubicBezTo>
                    <a:pt x="765" y="326"/>
                    <a:pt x="764" y="326"/>
                    <a:pt x="763" y="326"/>
                  </a:cubicBezTo>
                  <a:cubicBezTo>
                    <a:pt x="763" y="326"/>
                    <a:pt x="763" y="326"/>
                    <a:pt x="763" y="326"/>
                  </a:cubicBezTo>
                  <a:moveTo>
                    <a:pt x="776" y="327"/>
                  </a:moveTo>
                  <a:cubicBezTo>
                    <a:pt x="776" y="328"/>
                    <a:pt x="776" y="328"/>
                    <a:pt x="777" y="328"/>
                  </a:cubicBezTo>
                  <a:cubicBezTo>
                    <a:pt x="779" y="329"/>
                    <a:pt x="781" y="329"/>
                    <a:pt x="783" y="330"/>
                  </a:cubicBezTo>
                  <a:cubicBezTo>
                    <a:pt x="783" y="330"/>
                    <a:pt x="784" y="330"/>
                    <a:pt x="784" y="330"/>
                  </a:cubicBezTo>
                  <a:cubicBezTo>
                    <a:pt x="785" y="330"/>
                    <a:pt x="786" y="330"/>
                    <a:pt x="786" y="331"/>
                  </a:cubicBezTo>
                  <a:cubicBezTo>
                    <a:pt x="787" y="331"/>
                    <a:pt x="787" y="331"/>
                    <a:pt x="788" y="331"/>
                  </a:cubicBezTo>
                  <a:cubicBezTo>
                    <a:pt x="788" y="331"/>
                    <a:pt x="789" y="332"/>
                    <a:pt x="789" y="332"/>
                  </a:cubicBezTo>
                  <a:cubicBezTo>
                    <a:pt x="790" y="332"/>
                    <a:pt x="790" y="332"/>
                    <a:pt x="790" y="332"/>
                  </a:cubicBezTo>
                  <a:cubicBezTo>
                    <a:pt x="790" y="332"/>
                    <a:pt x="790" y="332"/>
                    <a:pt x="791" y="332"/>
                  </a:cubicBezTo>
                  <a:cubicBezTo>
                    <a:pt x="791" y="332"/>
                    <a:pt x="791" y="332"/>
                    <a:pt x="791" y="333"/>
                  </a:cubicBezTo>
                  <a:cubicBezTo>
                    <a:pt x="791" y="333"/>
                    <a:pt x="792" y="333"/>
                    <a:pt x="792" y="333"/>
                  </a:cubicBezTo>
                  <a:cubicBezTo>
                    <a:pt x="793" y="333"/>
                    <a:pt x="794" y="334"/>
                    <a:pt x="795" y="335"/>
                  </a:cubicBezTo>
                  <a:cubicBezTo>
                    <a:pt x="795" y="335"/>
                    <a:pt x="795" y="335"/>
                    <a:pt x="796" y="335"/>
                  </a:cubicBezTo>
                  <a:cubicBezTo>
                    <a:pt x="796" y="335"/>
                    <a:pt x="796" y="335"/>
                    <a:pt x="796" y="335"/>
                  </a:cubicBezTo>
                  <a:cubicBezTo>
                    <a:pt x="796" y="335"/>
                    <a:pt x="796" y="336"/>
                    <a:pt x="797" y="336"/>
                  </a:cubicBezTo>
                  <a:cubicBezTo>
                    <a:pt x="797" y="336"/>
                    <a:pt x="797" y="336"/>
                    <a:pt x="797" y="336"/>
                  </a:cubicBezTo>
                  <a:cubicBezTo>
                    <a:pt x="798" y="336"/>
                    <a:pt x="798" y="337"/>
                    <a:pt x="799" y="337"/>
                  </a:cubicBezTo>
                  <a:cubicBezTo>
                    <a:pt x="799" y="338"/>
                    <a:pt x="799" y="338"/>
                    <a:pt x="800" y="338"/>
                  </a:cubicBezTo>
                  <a:cubicBezTo>
                    <a:pt x="800" y="338"/>
                    <a:pt x="800" y="338"/>
                    <a:pt x="800" y="339"/>
                  </a:cubicBezTo>
                  <a:cubicBezTo>
                    <a:pt x="801" y="339"/>
                    <a:pt x="801" y="339"/>
                    <a:pt x="801" y="339"/>
                  </a:cubicBezTo>
                  <a:cubicBezTo>
                    <a:pt x="801" y="339"/>
                    <a:pt x="801" y="339"/>
                    <a:pt x="801" y="339"/>
                  </a:cubicBezTo>
                  <a:cubicBezTo>
                    <a:pt x="801" y="339"/>
                    <a:pt x="802" y="340"/>
                    <a:pt x="802" y="340"/>
                  </a:cubicBezTo>
                  <a:cubicBezTo>
                    <a:pt x="803" y="340"/>
                    <a:pt x="803" y="341"/>
                    <a:pt x="803" y="341"/>
                  </a:cubicBezTo>
                  <a:cubicBezTo>
                    <a:pt x="803" y="341"/>
                    <a:pt x="803" y="341"/>
                    <a:pt x="804" y="342"/>
                  </a:cubicBezTo>
                  <a:cubicBezTo>
                    <a:pt x="804" y="342"/>
                    <a:pt x="804" y="342"/>
                    <a:pt x="804" y="342"/>
                  </a:cubicBezTo>
                  <a:cubicBezTo>
                    <a:pt x="804" y="342"/>
                    <a:pt x="804" y="342"/>
                    <a:pt x="804" y="342"/>
                  </a:cubicBezTo>
                  <a:cubicBezTo>
                    <a:pt x="805" y="343"/>
                    <a:pt x="805" y="343"/>
                    <a:pt x="805" y="343"/>
                  </a:cubicBezTo>
                  <a:cubicBezTo>
                    <a:pt x="805" y="344"/>
                    <a:pt x="806" y="344"/>
                    <a:pt x="806" y="345"/>
                  </a:cubicBezTo>
                  <a:cubicBezTo>
                    <a:pt x="806" y="345"/>
                    <a:pt x="806" y="345"/>
                    <a:pt x="807" y="345"/>
                  </a:cubicBezTo>
                  <a:cubicBezTo>
                    <a:pt x="807" y="346"/>
                    <a:pt x="807" y="346"/>
                    <a:pt x="808" y="347"/>
                  </a:cubicBezTo>
                  <a:cubicBezTo>
                    <a:pt x="808" y="347"/>
                    <a:pt x="808" y="348"/>
                    <a:pt x="808" y="348"/>
                  </a:cubicBezTo>
                  <a:cubicBezTo>
                    <a:pt x="808" y="348"/>
                    <a:pt x="809" y="349"/>
                    <a:pt x="809" y="349"/>
                  </a:cubicBezTo>
                  <a:cubicBezTo>
                    <a:pt x="809" y="350"/>
                    <a:pt x="809" y="350"/>
                    <a:pt x="809" y="350"/>
                  </a:cubicBezTo>
                  <a:cubicBezTo>
                    <a:pt x="810" y="351"/>
                    <a:pt x="810" y="351"/>
                    <a:pt x="810" y="352"/>
                  </a:cubicBezTo>
                  <a:cubicBezTo>
                    <a:pt x="810" y="352"/>
                    <a:pt x="810" y="352"/>
                    <a:pt x="810" y="352"/>
                  </a:cubicBezTo>
                  <a:cubicBezTo>
                    <a:pt x="811" y="354"/>
                    <a:pt x="812" y="356"/>
                    <a:pt x="814" y="358"/>
                  </a:cubicBezTo>
                  <a:cubicBezTo>
                    <a:pt x="822" y="368"/>
                    <a:pt x="830" y="376"/>
                    <a:pt x="837" y="382"/>
                  </a:cubicBezTo>
                  <a:cubicBezTo>
                    <a:pt x="838" y="382"/>
                    <a:pt x="838" y="383"/>
                    <a:pt x="838" y="383"/>
                  </a:cubicBezTo>
                  <a:cubicBezTo>
                    <a:pt x="839" y="383"/>
                    <a:pt x="840" y="384"/>
                    <a:pt x="840" y="385"/>
                  </a:cubicBezTo>
                  <a:cubicBezTo>
                    <a:pt x="841" y="385"/>
                    <a:pt x="841" y="385"/>
                    <a:pt x="841" y="385"/>
                  </a:cubicBezTo>
                  <a:cubicBezTo>
                    <a:pt x="841" y="385"/>
                    <a:pt x="841" y="384"/>
                    <a:pt x="841" y="384"/>
                  </a:cubicBezTo>
                  <a:cubicBezTo>
                    <a:pt x="840" y="383"/>
                    <a:pt x="840" y="383"/>
                    <a:pt x="839" y="382"/>
                  </a:cubicBezTo>
                  <a:cubicBezTo>
                    <a:pt x="839" y="382"/>
                    <a:pt x="839" y="382"/>
                    <a:pt x="838" y="382"/>
                  </a:cubicBezTo>
                  <a:cubicBezTo>
                    <a:pt x="831" y="376"/>
                    <a:pt x="823" y="368"/>
                    <a:pt x="814" y="357"/>
                  </a:cubicBezTo>
                  <a:cubicBezTo>
                    <a:pt x="813" y="355"/>
                    <a:pt x="812" y="354"/>
                    <a:pt x="811" y="352"/>
                  </a:cubicBezTo>
                  <a:cubicBezTo>
                    <a:pt x="811" y="351"/>
                    <a:pt x="811" y="351"/>
                    <a:pt x="810" y="350"/>
                  </a:cubicBezTo>
                  <a:cubicBezTo>
                    <a:pt x="810" y="350"/>
                    <a:pt x="810" y="350"/>
                    <a:pt x="810" y="349"/>
                  </a:cubicBezTo>
                  <a:cubicBezTo>
                    <a:pt x="810" y="349"/>
                    <a:pt x="810" y="349"/>
                    <a:pt x="810" y="349"/>
                  </a:cubicBezTo>
                  <a:cubicBezTo>
                    <a:pt x="810" y="349"/>
                    <a:pt x="810" y="349"/>
                    <a:pt x="810" y="349"/>
                  </a:cubicBezTo>
                  <a:cubicBezTo>
                    <a:pt x="809" y="348"/>
                    <a:pt x="809" y="348"/>
                    <a:pt x="809" y="347"/>
                  </a:cubicBezTo>
                  <a:cubicBezTo>
                    <a:pt x="809" y="347"/>
                    <a:pt x="808" y="347"/>
                    <a:pt x="808" y="346"/>
                  </a:cubicBezTo>
                  <a:cubicBezTo>
                    <a:pt x="808" y="346"/>
                    <a:pt x="808" y="345"/>
                    <a:pt x="807" y="345"/>
                  </a:cubicBezTo>
                  <a:cubicBezTo>
                    <a:pt x="807" y="345"/>
                    <a:pt x="807" y="344"/>
                    <a:pt x="807" y="344"/>
                  </a:cubicBezTo>
                  <a:cubicBezTo>
                    <a:pt x="806" y="344"/>
                    <a:pt x="806" y="343"/>
                    <a:pt x="806" y="343"/>
                  </a:cubicBezTo>
                  <a:cubicBezTo>
                    <a:pt x="806" y="342"/>
                    <a:pt x="805" y="342"/>
                    <a:pt x="805" y="342"/>
                  </a:cubicBezTo>
                  <a:cubicBezTo>
                    <a:pt x="805" y="342"/>
                    <a:pt x="805" y="341"/>
                    <a:pt x="804" y="341"/>
                  </a:cubicBezTo>
                  <a:cubicBezTo>
                    <a:pt x="804" y="341"/>
                    <a:pt x="804" y="341"/>
                    <a:pt x="804" y="341"/>
                  </a:cubicBezTo>
                  <a:cubicBezTo>
                    <a:pt x="804" y="341"/>
                    <a:pt x="804" y="341"/>
                    <a:pt x="804" y="340"/>
                  </a:cubicBezTo>
                  <a:cubicBezTo>
                    <a:pt x="804" y="340"/>
                    <a:pt x="803" y="340"/>
                    <a:pt x="803" y="340"/>
                  </a:cubicBezTo>
                  <a:cubicBezTo>
                    <a:pt x="803" y="339"/>
                    <a:pt x="803" y="339"/>
                    <a:pt x="803" y="339"/>
                  </a:cubicBezTo>
                  <a:cubicBezTo>
                    <a:pt x="802" y="339"/>
                    <a:pt x="802" y="338"/>
                    <a:pt x="801" y="338"/>
                  </a:cubicBezTo>
                  <a:cubicBezTo>
                    <a:pt x="801" y="338"/>
                    <a:pt x="801" y="338"/>
                    <a:pt x="801" y="338"/>
                  </a:cubicBezTo>
                  <a:cubicBezTo>
                    <a:pt x="801" y="338"/>
                    <a:pt x="801" y="337"/>
                    <a:pt x="800" y="337"/>
                  </a:cubicBezTo>
                  <a:cubicBezTo>
                    <a:pt x="800" y="337"/>
                    <a:pt x="800" y="337"/>
                    <a:pt x="800" y="337"/>
                  </a:cubicBezTo>
                  <a:cubicBezTo>
                    <a:pt x="800" y="336"/>
                    <a:pt x="799" y="336"/>
                    <a:pt x="798" y="335"/>
                  </a:cubicBezTo>
                  <a:cubicBezTo>
                    <a:pt x="798" y="335"/>
                    <a:pt x="798" y="335"/>
                    <a:pt x="797" y="335"/>
                  </a:cubicBezTo>
                  <a:cubicBezTo>
                    <a:pt x="797" y="335"/>
                    <a:pt x="797" y="335"/>
                    <a:pt x="797" y="334"/>
                  </a:cubicBezTo>
                  <a:cubicBezTo>
                    <a:pt x="796" y="334"/>
                    <a:pt x="796" y="334"/>
                    <a:pt x="796" y="334"/>
                  </a:cubicBezTo>
                  <a:cubicBezTo>
                    <a:pt x="795" y="333"/>
                    <a:pt x="794" y="333"/>
                    <a:pt x="793" y="332"/>
                  </a:cubicBezTo>
                  <a:cubicBezTo>
                    <a:pt x="793" y="332"/>
                    <a:pt x="792" y="332"/>
                    <a:pt x="792" y="332"/>
                  </a:cubicBezTo>
                  <a:cubicBezTo>
                    <a:pt x="792" y="332"/>
                    <a:pt x="792" y="332"/>
                    <a:pt x="792" y="332"/>
                  </a:cubicBezTo>
                  <a:cubicBezTo>
                    <a:pt x="792" y="332"/>
                    <a:pt x="791" y="332"/>
                    <a:pt x="791" y="332"/>
                  </a:cubicBezTo>
                  <a:cubicBezTo>
                    <a:pt x="791" y="331"/>
                    <a:pt x="791" y="331"/>
                    <a:pt x="790" y="331"/>
                  </a:cubicBezTo>
                  <a:cubicBezTo>
                    <a:pt x="790" y="331"/>
                    <a:pt x="789" y="331"/>
                    <a:pt x="788" y="330"/>
                  </a:cubicBezTo>
                  <a:cubicBezTo>
                    <a:pt x="788" y="330"/>
                    <a:pt x="788" y="330"/>
                    <a:pt x="787" y="330"/>
                  </a:cubicBezTo>
                  <a:cubicBezTo>
                    <a:pt x="787" y="330"/>
                    <a:pt x="786" y="329"/>
                    <a:pt x="785" y="329"/>
                  </a:cubicBezTo>
                  <a:cubicBezTo>
                    <a:pt x="785" y="329"/>
                    <a:pt x="784" y="329"/>
                    <a:pt x="784" y="329"/>
                  </a:cubicBezTo>
                  <a:cubicBezTo>
                    <a:pt x="781" y="328"/>
                    <a:pt x="779" y="328"/>
                    <a:pt x="776" y="327"/>
                  </a:cubicBezTo>
                  <a:moveTo>
                    <a:pt x="712" y="336"/>
                  </a:moveTo>
                  <a:cubicBezTo>
                    <a:pt x="699" y="341"/>
                    <a:pt x="687" y="347"/>
                    <a:pt x="676" y="354"/>
                  </a:cubicBezTo>
                  <a:cubicBezTo>
                    <a:pt x="677" y="354"/>
                    <a:pt x="678" y="354"/>
                    <a:pt x="679" y="354"/>
                  </a:cubicBezTo>
                  <a:cubicBezTo>
                    <a:pt x="689" y="347"/>
                    <a:pt x="701" y="341"/>
                    <a:pt x="713" y="337"/>
                  </a:cubicBezTo>
                  <a:cubicBezTo>
                    <a:pt x="713" y="337"/>
                    <a:pt x="712" y="336"/>
                    <a:pt x="712" y="336"/>
                  </a:cubicBezTo>
                  <a:moveTo>
                    <a:pt x="676" y="355"/>
                  </a:moveTo>
                  <a:cubicBezTo>
                    <a:pt x="675" y="355"/>
                    <a:pt x="674" y="356"/>
                    <a:pt x="673" y="356"/>
                  </a:cubicBezTo>
                  <a:cubicBezTo>
                    <a:pt x="668" y="360"/>
                    <a:pt x="662" y="364"/>
                    <a:pt x="658" y="368"/>
                  </a:cubicBezTo>
                  <a:cubicBezTo>
                    <a:pt x="658" y="368"/>
                    <a:pt x="658" y="368"/>
                    <a:pt x="658" y="369"/>
                  </a:cubicBezTo>
                  <a:cubicBezTo>
                    <a:pt x="663" y="364"/>
                    <a:pt x="669" y="359"/>
                    <a:pt x="676" y="355"/>
                  </a:cubicBezTo>
                  <a:moveTo>
                    <a:pt x="657" y="368"/>
                  </a:moveTo>
                  <a:cubicBezTo>
                    <a:pt x="656" y="369"/>
                    <a:pt x="655" y="370"/>
                    <a:pt x="655" y="370"/>
                  </a:cubicBezTo>
                  <a:cubicBezTo>
                    <a:pt x="653" y="372"/>
                    <a:pt x="651" y="374"/>
                    <a:pt x="649" y="376"/>
                  </a:cubicBezTo>
                  <a:cubicBezTo>
                    <a:pt x="649" y="376"/>
                    <a:pt x="650" y="376"/>
                    <a:pt x="650" y="376"/>
                  </a:cubicBezTo>
                  <a:cubicBezTo>
                    <a:pt x="652" y="374"/>
                    <a:pt x="654" y="373"/>
                    <a:pt x="655" y="371"/>
                  </a:cubicBezTo>
                  <a:cubicBezTo>
                    <a:pt x="656" y="371"/>
                    <a:pt x="657" y="370"/>
                    <a:pt x="657" y="369"/>
                  </a:cubicBezTo>
                  <a:cubicBezTo>
                    <a:pt x="657" y="369"/>
                    <a:pt x="657" y="369"/>
                    <a:pt x="657" y="368"/>
                  </a:cubicBezTo>
                  <a:moveTo>
                    <a:pt x="649" y="377"/>
                  </a:moveTo>
                  <a:cubicBezTo>
                    <a:pt x="649" y="377"/>
                    <a:pt x="648" y="377"/>
                    <a:pt x="648" y="377"/>
                  </a:cubicBezTo>
                  <a:cubicBezTo>
                    <a:pt x="643" y="381"/>
                    <a:pt x="638" y="384"/>
                    <a:pt x="633" y="388"/>
                  </a:cubicBezTo>
                  <a:cubicBezTo>
                    <a:pt x="632" y="389"/>
                    <a:pt x="632" y="389"/>
                    <a:pt x="631" y="390"/>
                  </a:cubicBezTo>
                  <a:cubicBezTo>
                    <a:pt x="626" y="394"/>
                    <a:pt x="621" y="398"/>
                    <a:pt x="615" y="401"/>
                  </a:cubicBezTo>
                  <a:cubicBezTo>
                    <a:pt x="616" y="401"/>
                    <a:pt x="616" y="401"/>
                    <a:pt x="617" y="402"/>
                  </a:cubicBezTo>
                  <a:cubicBezTo>
                    <a:pt x="623" y="397"/>
                    <a:pt x="628" y="393"/>
                    <a:pt x="634" y="389"/>
                  </a:cubicBezTo>
                  <a:cubicBezTo>
                    <a:pt x="634" y="389"/>
                    <a:pt x="635" y="388"/>
                    <a:pt x="636" y="388"/>
                  </a:cubicBezTo>
                  <a:cubicBezTo>
                    <a:pt x="641" y="384"/>
                    <a:pt x="645" y="380"/>
                    <a:pt x="649" y="377"/>
                  </a:cubicBezTo>
                  <a:moveTo>
                    <a:pt x="614" y="402"/>
                  </a:moveTo>
                  <a:cubicBezTo>
                    <a:pt x="612" y="404"/>
                    <a:pt x="610" y="405"/>
                    <a:pt x="608" y="406"/>
                  </a:cubicBezTo>
                  <a:cubicBezTo>
                    <a:pt x="608" y="407"/>
                    <a:pt x="608" y="407"/>
                    <a:pt x="608" y="407"/>
                  </a:cubicBezTo>
                  <a:cubicBezTo>
                    <a:pt x="611" y="406"/>
                    <a:pt x="613" y="404"/>
                    <a:pt x="615" y="402"/>
                  </a:cubicBezTo>
                  <a:cubicBezTo>
                    <a:pt x="615" y="402"/>
                    <a:pt x="614" y="402"/>
                    <a:pt x="614" y="402"/>
                  </a:cubicBezTo>
                  <a:moveTo>
                    <a:pt x="607" y="407"/>
                  </a:moveTo>
                  <a:cubicBezTo>
                    <a:pt x="605" y="408"/>
                    <a:pt x="603" y="410"/>
                    <a:pt x="601" y="411"/>
                  </a:cubicBezTo>
                  <a:cubicBezTo>
                    <a:pt x="600" y="411"/>
                    <a:pt x="599" y="412"/>
                    <a:pt x="598" y="412"/>
                  </a:cubicBezTo>
                  <a:cubicBezTo>
                    <a:pt x="591" y="417"/>
                    <a:pt x="583" y="422"/>
                    <a:pt x="575" y="427"/>
                  </a:cubicBezTo>
                  <a:cubicBezTo>
                    <a:pt x="575" y="427"/>
                    <a:pt x="576" y="427"/>
                    <a:pt x="576" y="427"/>
                  </a:cubicBezTo>
                  <a:cubicBezTo>
                    <a:pt x="585" y="422"/>
                    <a:pt x="593" y="417"/>
                    <a:pt x="601" y="412"/>
                  </a:cubicBezTo>
                  <a:cubicBezTo>
                    <a:pt x="602" y="411"/>
                    <a:pt x="603" y="411"/>
                    <a:pt x="604" y="410"/>
                  </a:cubicBezTo>
                  <a:cubicBezTo>
                    <a:pt x="605" y="409"/>
                    <a:pt x="606" y="409"/>
                    <a:pt x="607" y="408"/>
                  </a:cubicBezTo>
                  <a:cubicBezTo>
                    <a:pt x="607" y="408"/>
                    <a:pt x="607" y="407"/>
                    <a:pt x="607" y="407"/>
                  </a:cubicBezTo>
                  <a:moveTo>
                    <a:pt x="574" y="427"/>
                  </a:moveTo>
                  <a:cubicBezTo>
                    <a:pt x="573" y="428"/>
                    <a:pt x="572" y="428"/>
                    <a:pt x="572" y="429"/>
                  </a:cubicBezTo>
                  <a:cubicBezTo>
                    <a:pt x="571" y="429"/>
                    <a:pt x="570" y="430"/>
                    <a:pt x="569" y="430"/>
                  </a:cubicBezTo>
                  <a:cubicBezTo>
                    <a:pt x="565" y="432"/>
                    <a:pt x="561" y="435"/>
                    <a:pt x="557" y="437"/>
                  </a:cubicBezTo>
                  <a:cubicBezTo>
                    <a:pt x="557" y="437"/>
                    <a:pt x="557" y="437"/>
                    <a:pt x="558" y="438"/>
                  </a:cubicBezTo>
                  <a:cubicBezTo>
                    <a:pt x="562" y="435"/>
                    <a:pt x="567" y="432"/>
                    <a:pt x="572" y="430"/>
                  </a:cubicBezTo>
                  <a:cubicBezTo>
                    <a:pt x="573" y="429"/>
                    <a:pt x="574" y="429"/>
                    <a:pt x="574" y="428"/>
                  </a:cubicBezTo>
                  <a:cubicBezTo>
                    <a:pt x="575" y="428"/>
                    <a:pt x="575" y="428"/>
                    <a:pt x="575" y="428"/>
                  </a:cubicBezTo>
                  <a:cubicBezTo>
                    <a:pt x="575" y="428"/>
                    <a:pt x="574" y="428"/>
                    <a:pt x="574" y="427"/>
                  </a:cubicBezTo>
                  <a:moveTo>
                    <a:pt x="556" y="437"/>
                  </a:moveTo>
                  <a:cubicBezTo>
                    <a:pt x="553" y="439"/>
                    <a:pt x="549" y="441"/>
                    <a:pt x="546" y="443"/>
                  </a:cubicBezTo>
                  <a:cubicBezTo>
                    <a:pt x="545" y="444"/>
                    <a:pt x="544" y="444"/>
                    <a:pt x="543" y="444"/>
                  </a:cubicBezTo>
                  <a:cubicBezTo>
                    <a:pt x="538" y="447"/>
                    <a:pt x="533" y="450"/>
                    <a:pt x="528" y="452"/>
                  </a:cubicBezTo>
                  <a:cubicBezTo>
                    <a:pt x="529" y="452"/>
                    <a:pt x="529" y="453"/>
                    <a:pt x="530" y="453"/>
                  </a:cubicBezTo>
                  <a:cubicBezTo>
                    <a:pt x="535" y="450"/>
                    <a:pt x="541" y="447"/>
                    <a:pt x="546" y="444"/>
                  </a:cubicBezTo>
                  <a:cubicBezTo>
                    <a:pt x="547" y="444"/>
                    <a:pt x="548" y="443"/>
                    <a:pt x="548" y="443"/>
                  </a:cubicBezTo>
                  <a:cubicBezTo>
                    <a:pt x="551" y="441"/>
                    <a:pt x="554" y="440"/>
                    <a:pt x="557" y="438"/>
                  </a:cubicBezTo>
                  <a:cubicBezTo>
                    <a:pt x="556" y="438"/>
                    <a:pt x="556" y="438"/>
                    <a:pt x="556" y="437"/>
                  </a:cubicBezTo>
                  <a:moveTo>
                    <a:pt x="527" y="453"/>
                  </a:moveTo>
                  <a:cubicBezTo>
                    <a:pt x="524" y="454"/>
                    <a:pt x="521" y="456"/>
                    <a:pt x="519" y="457"/>
                  </a:cubicBezTo>
                  <a:cubicBezTo>
                    <a:pt x="518" y="457"/>
                    <a:pt x="517" y="458"/>
                    <a:pt x="516" y="458"/>
                  </a:cubicBezTo>
                  <a:cubicBezTo>
                    <a:pt x="507" y="463"/>
                    <a:pt x="497" y="468"/>
                    <a:pt x="488" y="472"/>
                  </a:cubicBezTo>
                  <a:cubicBezTo>
                    <a:pt x="487" y="473"/>
                    <a:pt x="486" y="473"/>
                    <a:pt x="484" y="474"/>
                  </a:cubicBezTo>
                  <a:cubicBezTo>
                    <a:pt x="482" y="475"/>
                    <a:pt x="480" y="476"/>
                    <a:pt x="477" y="477"/>
                  </a:cubicBezTo>
                  <a:cubicBezTo>
                    <a:pt x="478" y="477"/>
                    <a:pt x="478" y="477"/>
                    <a:pt x="479" y="477"/>
                  </a:cubicBezTo>
                  <a:cubicBezTo>
                    <a:pt x="482" y="476"/>
                    <a:pt x="485" y="474"/>
                    <a:pt x="488" y="473"/>
                  </a:cubicBezTo>
                  <a:cubicBezTo>
                    <a:pt x="489" y="472"/>
                    <a:pt x="491" y="472"/>
                    <a:pt x="492" y="471"/>
                  </a:cubicBezTo>
                  <a:cubicBezTo>
                    <a:pt x="501" y="467"/>
                    <a:pt x="510" y="462"/>
                    <a:pt x="519" y="458"/>
                  </a:cubicBezTo>
                  <a:cubicBezTo>
                    <a:pt x="520" y="457"/>
                    <a:pt x="521" y="457"/>
                    <a:pt x="522" y="456"/>
                  </a:cubicBezTo>
                  <a:cubicBezTo>
                    <a:pt x="524" y="455"/>
                    <a:pt x="526" y="454"/>
                    <a:pt x="528" y="453"/>
                  </a:cubicBezTo>
                  <a:cubicBezTo>
                    <a:pt x="528" y="453"/>
                    <a:pt x="527" y="453"/>
                    <a:pt x="527" y="453"/>
                  </a:cubicBezTo>
                  <a:moveTo>
                    <a:pt x="475" y="478"/>
                  </a:moveTo>
                  <a:cubicBezTo>
                    <a:pt x="472" y="479"/>
                    <a:pt x="468" y="481"/>
                    <a:pt x="464" y="483"/>
                  </a:cubicBezTo>
                  <a:cubicBezTo>
                    <a:pt x="463" y="483"/>
                    <a:pt x="463" y="483"/>
                    <a:pt x="462" y="484"/>
                  </a:cubicBezTo>
                  <a:cubicBezTo>
                    <a:pt x="462" y="484"/>
                    <a:pt x="462" y="484"/>
                    <a:pt x="461" y="484"/>
                  </a:cubicBezTo>
                  <a:cubicBezTo>
                    <a:pt x="460" y="484"/>
                    <a:pt x="459" y="485"/>
                    <a:pt x="458" y="485"/>
                  </a:cubicBezTo>
                  <a:cubicBezTo>
                    <a:pt x="457" y="486"/>
                    <a:pt x="456" y="486"/>
                    <a:pt x="455" y="487"/>
                  </a:cubicBezTo>
                  <a:cubicBezTo>
                    <a:pt x="454" y="487"/>
                    <a:pt x="454" y="487"/>
                    <a:pt x="453" y="488"/>
                  </a:cubicBezTo>
                  <a:cubicBezTo>
                    <a:pt x="453" y="488"/>
                    <a:pt x="452" y="488"/>
                    <a:pt x="452" y="488"/>
                  </a:cubicBezTo>
                  <a:cubicBezTo>
                    <a:pt x="451" y="488"/>
                    <a:pt x="451" y="489"/>
                    <a:pt x="450" y="489"/>
                  </a:cubicBezTo>
                  <a:cubicBezTo>
                    <a:pt x="450" y="489"/>
                    <a:pt x="449" y="489"/>
                    <a:pt x="449" y="489"/>
                  </a:cubicBezTo>
                  <a:cubicBezTo>
                    <a:pt x="449" y="489"/>
                    <a:pt x="449" y="489"/>
                    <a:pt x="448" y="490"/>
                  </a:cubicBezTo>
                  <a:cubicBezTo>
                    <a:pt x="448" y="490"/>
                    <a:pt x="447" y="490"/>
                    <a:pt x="447" y="490"/>
                  </a:cubicBezTo>
                  <a:cubicBezTo>
                    <a:pt x="445" y="491"/>
                    <a:pt x="443" y="492"/>
                    <a:pt x="442" y="492"/>
                  </a:cubicBezTo>
                  <a:cubicBezTo>
                    <a:pt x="428" y="498"/>
                    <a:pt x="413" y="504"/>
                    <a:pt x="399" y="509"/>
                  </a:cubicBezTo>
                  <a:cubicBezTo>
                    <a:pt x="398" y="509"/>
                    <a:pt x="397" y="510"/>
                    <a:pt x="396" y="510"/>
                  </a:cubicBezTo>
                  <a:cubicBezTo>
                    <a:pt x="393" y="511"/>
                    <a:pt x="390" y="513"/>
                    <a:pt x="387" y="514"/>
                  </a:cubicBezTo>
                  <a:cubicBezTo>
                    <a:pt x="386" y="514"/>
                    <a:pt x="386" y="514"/>
                    <a:pt x="385" y="514"/>
                  </a:cubicBezTo>
                  <a:cubicBezTo>
                    <a:pt x="378" y="517"/>
                    <a:pt x="371" y="519"/>
                    <a:pt x="363" y="522"/>
                  </a:cubicBezTo>
                  <a:cubicBezTo>
                    <a:pt x="360" y="523"/>
                    <a:pt x="357" y="524"/>
                    <a:pt x="354" y="525"/>
                  </a:cubicBezTo>
                  <a:cubicBezTo>
                    <a:pt x="347" y="527"/>
                    <a:pt x="340" y="530"/>
                    <a:pt x="332" y="532"/>
                  </a:cubicBezTo>
                  <a:cubicBezTo>
                    <a:pt x="329" y="533"/>
                    <a:pt x="326" y="535"/>
                    <a:pt x="323" y="536"/>
                  </a:cubicBezTo>
                  <a:cubicBezTo>
                    <a:pt x="322" y="536"/>
                    <a:pt x="322" y="536"/>
                    <a:pt x="322" y="536"/>
                  </a:cubicBezTo>
                  <a:cubicBezTo>
                    <a:pt x="320" y="537"/>
                    <a:pt x="319" y="537"/>
                    <a:pt x="317" y="538"/>
                  </a:cubicBezTo>
                  <a:cubicBezTo>
                    <a:pt x="317" y="538"/>
                    <a:pt x="316" y="538"/>
                    <a:pt x="316" y="538"/>
                  </a:cubicBezTo>
                  <a:cubicBezTo>
                    <a:pt x="314" y="539"/>
                    <a:pt x="312" y="539"/>
                    <a:pt x="310" y="540"/>
                  </a:cubicBezTo>
                  <a:cubicBezTo>
                    <a:pt x="310" y="540"/>
                    <a:pt x="309" y="541"/>
                    <a:pt x="308" y="541"/>
                  </a:cubicBezTo>
                  <a:cubicBezTo>
                    <a:pt x="308" y="541"/>
                    <a:pt x="308" y="541"/>
                    <a:pt x="307" y="541"/>
                  </a:cubicBezTo>
                  <a:cubicBezTo>
                    <a:pt x="307" y="541"/>
                    <a:pt x="307" y="541"/>
                    <a:pt x="306" y="542"/>
                  </a:cubicBezTo>
                  <a:cubicBezTo>
                    <a:pt x="301" y="543"/>
                    <a:pt x="297" y="545"/>
                    <a:pt x="292" y="547"/>
                  </a:cubicBezTo>
                  <a:cubicBezTo>
                    <a:pt x="292" y="547"/>
                    <a:pt x="292" y="547"/>
                    <a:pt x="291" y="547"/>
                  </a:cubicBezTo>
                  <a:cubicBezTo>
                    <a:pt x="291" y="547"/>
                    <a:pt x="291" y="547"/>
                    <a:pt x="291" y="547"/>
                  </a:cubicBezTo>
                  <a:cubicBezTo>
                    <a:pt x="290" y="548"/>
                    <a:pt x="290" y="548"/>
                    <a:pt x="289" y="548"/>
                  </a:cubicBezTo>
                  <a:cubicBezTo>
                    <a:pt x="285" y="550"/>
                    <a:pt x="280" y="551"/>
                    <a:pt x="275" y="553"/>
                  </a:cubicBezTo>
                  <a:cubicBezTo>
                    <a:pt x="275" y="553"/>
                    <a:pt x="274" y="554"/>
                    <a:pt x="274" y="554"/>
                  </a:cubicBezTo>
                  <a:cubicBezTo>
                    <a:pt x="271" y="555"/>
                    <a:pt x="268" y="556"/>
                    <a:pt x="265" y="557"/>
                  </a:cubicBezTo>
                  <a:cubicBezTo>
                    <a:pt x="264" y="558"/>
                    <a:pt x="263" y="558"/>
                    <a:pt x="263" y="558"/>
                  </a:cubicBezTo>
                  <a:cubicBezTo>
                    <a:pt x="260" y="559"/>
                    <a:pt x="257" y="561"/>
                    <a:pt x="254" y="562"/>
                  </a:cubicBezTo>
                  <a:cubicBezTo>
                    <a:pt x="253" y="562"/>
                    <a:pt x="253" y="562"/>
                    <a:pt x="252" y="562"/>
                  </a:cubicBezTo>
                  <a:cubicBezTo>
                    <a:pt x="252" y="562"/>
                    <a:pt x="251" y="563"/>
                    <a:pt x="250" y="563"/>
                  </a:cubicBezTo>
                  <a:cubicBezTo>
                    <a:pt x="250" y="563"/>
                    <a:pt x="249" y="564"/>
                    <a:pt x="248" y="564"/>
                  </a:cubicBezTo>
                  <a:cubicBezTo>
                    <a:pt x="248" y="564"/>
                    <a:pt x="247" y="564"/>
                    <a:pt x="246" y="565"/>
                  </a:cubicBezTo>
                  <a:cubicBezTo>
                    <a:pt x="246" y="565"/>
                    <a:pt x="245" y="565"/>
                    <a:pt x="245" y="565"/>
                  </a:cubicBezTo>
                  <a:cubicBezTo>
                    <a:pt x="245" y="565"/>
                    <a:pt x="245" y="565"/>
                    <a:pt x="244" y="565"/>
                  </a:cubicBezTo>
                  <a:cubicBezTo>
                    <a:pt x="244" y="566"/>
                    <a:pt x="243" y="566"/>
                    <a:pt x="242" y="566"/>
                  </a:cubicBezTo>
                  <a:cubicBezTo>
                    <a:pt x="242" y="567"/>
                    <a:pt x="241" y="567"/>
                    <a:pt x="240" y="567"/>
                  </a:cubicBezTo>
                  <a:cubicBezTo>
                    <a:pt x="240" y="567"/>
                    <a:pt x="239" y="567"/>
                    <a:pt x="239" y="568"/>
                  </a:cubicBezTo>
                  <a:cubicBezTo>
                    <a:pt x="238" y="568"/>
                    <a:pt x="238" y="568"/>
                    <a:pt x="237" y="568"/>
                  </a:cubicBezTo>
                  <a:cubicBezTo>
                    <a:pt x="236" y="569"/>
                    <a:pt x="236" y="569"/>
                    <a:pt x="236" y="569"/>
                  </a:cubicBezTo>
                  <a:cubicBezTo>
                    <a:pt x="235" y="569"/>
                    <a:pt x="235" y="569"/>
                    <a:pt x="234" y="570"/>
                  </a:cubicBezTo>
                  <a:cubicBezTo>
                    <a:pt x="234" y="570"/>
                    <a:pt x="233" y="570"/>
                    <a:pt x="233" y="570"/>
                  </a:cubicBezTo>
                  <a:cubicBezTo>
                    <a:pt x="233" y="570"/>
                    <a:pt x="233" y="570"/>
                    <a:pt x="233" y="570"/>
                  </a:cubicBezTo>
                  <a:cubicBezTo>
                    <a:pt x="232" y="570"/>
                    <a:pt x="232" y="570"/>
                    <a:pt x="232" y="571"/>
                  </a:cubicBezTo>
                  <a:cubicBezTo>
                    <a:pt x="232" y="571"/>
                    <a:pt x="232" y="571"/>
                    <a:pt x="232" y="571"/>
                  </a:cubicBezTo>
                  <a:cubicBezTo>
                    <a:pt x="231" y="571"/>
                    <a:pt x="231" y="571"/>
                    <a:pt x="231" y="571"/>
                  </a:cubicBezTo>
                  <a:cubicBezTo>
                    <a:pt x="230" y="571"/>
                    <a:pt x="229" y="572"/>
                    <a:pt x="227" y="573"/>
                  </a:cubicBezTo>
                  <a:cubicBezTo>
                    <a:pt x="227" y="573"/>
                    <a:pt x="226" y="573"/>
                    <a:pt x="226" y="573"/>
                  </a:cubicBezTo>
                  <a:cubicBezTo>
                    <a:pt x="226" y="573"/>
                    <a:pt x="226" y="573"/>
                    <a:pt x="225" y="573"/>
                  </a:cubicBezTo>
                  <a:cubicBezTo>
                    <a:pt x="225" y="573"/>
                    <a:pt x="225" y="574"/>
                    <a:pt x="224" y="574"/>
                  </a:cubicBezTo>
                  <a:cubicBezTo>
                    <a:pt x="221" y="575"/>
                    <a:pt x="217" y="577"/>
                    <a:pt x="213" y="578"/>
                  </a:cubicBezTo>
                  <a:cubicBezTo>
                    <a:pt x="213" y="578"/>
                    <a:pt x="213" y="579"/>
                    <a:pt x="212" y="579"/>
                  </a:cubicBezTo>
                  <a:cubicBezTo>
                    <a:pt x="209" y="580"/>
                    <a:pt x="205" y="582"/>
                    <a:pt x="202" y="583"/>
                  </a:cubicBezTo>
                  <a:cubicBezTo>
                    <a:pt x="202" y="583"/>
                    <a:pt x="201" y="584"/>
                    <a:pt x="201" y="584"/>
                  </a:cubicBezTo>
                  <a:cubicBezTo>
                    <a:pt x="200" y="584"/>
                    <a:pt x="200" y="584"/>
                    <a:pt x="200" y="584"/>
                  </a:cubicBezTo>
                  <a:cubicBezTo>
                    <a:pt x="198" y="585"/>
                    <a:pt x="197" y="585"/>
                    <a:pt x="196" y="586"/>
                  </a:cubicBezTo>
                  <a:cubicBezTo>
                    <a:pt x="196" y="586"/>
                    <a:pt x="195" y="586"/>
                    <a:pt x="195" y="586"/>
                  </a:cubicBezTo>
                  <a:cubicBezTo>
                    <a:pt x="190" y="589"/>
                    <a:pt x="185" y="591"/>
                    <a:pt x="180" y="593"/>
                  </a:cubicBezTo>
                  <a:cubicBezTo>
                    <a:pt x="180" y="593"/>
                    <a:pt x="179" y="593"/>
                    <a:pt x="179" y="594"/>
                  </a:cubicBezTo>
                  <a:cubicBezTo>
                    <a:pt x="174" y="596"/>
                    <a:pt x="170" y="598"/>
                    <a:pt x="166" y="600"/>
                  </a:cubicBezTo>
                  <a:cubicBezTo>
                    <a:pt x="166" y="600"/>
                    <a:pt x="165" y="600"/>
                    <a:pt x="165" y="600"/>
                  </a:cubicBezTo>
                  <a:cubicBezTo>
                    <a:pt x="165" y="600"/>
                    <a:pt x="164" y="600"/>
                    <a:pt x="164" y="601"/>
                  </a:cubicBezTo>
                  <a:cubicBezTo>
                    <a:pt x="162" y="601"/>
                    <a:pt x="161" y="602"/>
                    <a:pt x="159" y="603"/>
                  </a:cubicBezTo>
                  <a:cubicBezTo>
                    <a:pt x="159" y="603"/>
                    <a:pt x="159" y="603"/>
                    <a:pt x="158" y="603"/>
                  </a:cubicBezTo>
                  <a:cubicBezTo>
                    <a:pt x="155" y="605"/>
                    <a:pt x="151" y="607"/>
                    <a:pt x="148" y="608"/>
                  </a:cubicBezTo>
                  <a:cubicBezTo>
                    <a:pt x="146" y="609"/>
                    <a:pt x="144" y="610"/>
                    <a:pt x="142" y="611"/>
                  </a:cubicBezTo>
                  <a:cubicBezTo>
                    <a:pt x="142" y="611"/>
                    <a:pt x="142" y="612"/>
                    <a:pt x="141" y="612"/>
                  </a:cubicBezTo>
                  <a:cubicBezTo>
                    <a:pt x="140" y="612"/>
                    <a:pt x="139" y="613"/>
                    <a:pt x="137" y="614"/>
                  </a:cubicBezTo>
                  <a:cubicBezTo>
                    <a:pt x="137" y="614"/>
                    <a:pt x="136" y="614"/>
                    <a:pt x="136" y="614"/>
                  </a:cubicBezTo>
                  <a:cubicBezTo>
                    <a:pt x="135" y="615"/>
                    <a:pt x="134" y="615"/>
                    <a:pt x="134" y="616"/>
                  </a:cubicBezTo>
                  <a:cubicBezTo>
                    <a:pt x="133" y="616"/>
                    <a:pt x="133" y="616"/>
                    <a:pt x="132" y="616"/>
                  </a:cubicBezTo>
                  <a:cubicBezTo>
                    <a:pt x="128" y="619"/>
                    <a:pt x="124" y="621"/>
                    <a:pt x="120" y="623"/>
                  </a:cubicBezTo>
                  <a:cubicBezTo>
                    <a:pt x="119" y="623"/>
                    <a:pt x="119" y="623"/>
                    <a:pt x="118" y="623"/>
                  </a:cubicBezTo>
                  <a:cubicBezTo>
                    <a:pt x="114" y="626"/>
                    <a:pt x="110" y="628"/>
                    <a:pt x="106" y="630"/>
                  </a:cubicBezTo>
                  <a:cubicBezTo>
                    <a:pt x="106" y="630"/>
                    <a:pt x="106" y="630"/>
                    <a:pt x="105" y="631"/>
                  </a:cubicBezTo>
                  <a:cubicBezTo>
                    <a:pt x="105" y="631"/>
                    <a:pt x="105" y="631"/>
                    <a:pt x="104" y="631"/>
                  </a:cubicBezTo>
                  <a:cubicBezTo>
                    <a:pt x="104" y="632"/>
                    <a:pt x="103" y="632"/>
                    <a:pt x="103" y="632"/>
                  </a:cubicBezTo>
                  <a:cubicBezTo>
                    <a:pt x="103" y="632"/>
                    <a:pt x="102" y="632"/>
                    <a:pt x="102" y="632"/>
                  </a:cubicBezTo>
                  <a:cubicBezTo>
                    <a:pt x="102" y="633"/>
                    <a:pt x="101" y="633"/>
                    <a:pt x="101" y="633"/>
                  </a:cubicBezTo>
                  <a:cubicBezTo>
                    <a:pt x="100" y="634"/>
                    <a:pt x="99" y="634"/>
                    <a:pt x="98" y="635"/>
                  </a:cubicBezTo>
                  <a:cubicBezTo>
                    <a:pt x="97" y="635"/>
                    <a:pt x="97" y="635"/>
                    <a:pt x="97" y="636"/>
                  </a:cubicBezTo>
                  <a:cubicBezTo>
                    <a:pt x="96" y="636"/>
                    <a:pt x="95" y="636"/>
                    <a:pt x="95" y="637"/>
                  </a:cubicBezTo>
                  <a:cubicBezTo>
                    <a:pt x="94" y="637"/>
                    <a:pt x="94" y="637"/>
                    <a:pt x="94" y="637"/>
                  </a:cubicBezTo>
                  <a:cubicBezTo>
                    <a:pt x="88" y="641"/>
                    <a:pt x="83" y="644"/>
                    <a:pt x="77" y="647"/>
                  </a:cubicBezTo>
                  <a:cubicBezTo>
                    <a:pt x="77" y="648"/>
                    <a:pt x="76" y="648"/>
                    <a:pt x="76" y="648"/>
                  </a:cubicBezTo>
                  <a:cubicBezTo>
                    <a:pt x="68" y="653"/>
                    <a:pt x="60" y="659"/>
                    <a:pt x="53" y="664"/>
                  </a:cubicBezTo>
                  <a:cubicBezTo>
                    <a:pt x="53" y="664"/>
                    <a:pt x="52" y="664"/>
                    <a:pt x="52" y="665"/>
                  </a:cubicBezTo>
                  <a:cubicBezTo>
                    <a:pt x="20" y="688"/>
                    <a:pt x="0" y="711"/>
                    <a:pt x="0" y="731"/>
                  </a:cubicBezTo>
                  <a:cubicBezTo>
                    <a:pt x="0" y="754"/>
                    <a:pt x="24" y="773"/>
                    <a:pt x="82" y="787"/>
                  </a:cubicBezTo>
                  <a:cubicBezTo>
                    <a:pt x="82" y="787"/>
                    <a:pt x="83" y="788"/>
                    <a:pt x="83" y="788"/>
                  </a:cubicBezTo>
                  <a:cubicBezTo>
                    <a:pt x="89" y="789"/>
                    <a:pt x="95" y="790"/>
                    <a:pt x="101" y="791"/>
                  </a:cubicBezTo>
                  <a:cubicBezTo>
                    <a:pt x="101" y="792"/>
                    <a:pt x="102" y="792"/>
                    <a:pt x="102" y="792"/>
                  </a:cubicBezTo>
                  <a:cubicBezTo>
                    <a:pt x="110" y="793"/>
                    <a:pt x="118" y="795"/>
                    <a:pt x="127" y="796"/>
                  </a:cubicBezTo>
                  <a:cubicBezTo>
                    <a:pt x="127" y="796"/>
                    <a:pt x="128" y="796"/>
                    <a:pt x="128" y="796"/>
                  </a:cubicBezTo>
                  <a:cubicBezTo>
                    <a:pt x="132" y="797"/>
                    <a:pt x="137" y="797"/>
                    <a:pt x="141" y="798"/>
                  </a:cubicBezTo>
                  <a:cubicBezTo>
                    <a:pt x="142" y="798"/>
                    <a:pt x="143" y="798"/>
                    <a:pt x="143" y="797"/>
                  </a:cubicBezTo>
                  <a:cubicBezTo>
                    <a:pt x="139" y="797"/>
                    <a:pt x="134" y="796"/>
                    <a:pt x="129" y="795"/>
                  </a:cubicBezTo>
                  <a:cubicBezTo>
                    <a:pt x="129" y="795"/>
                    <a:pt x="128" y="795"/>
                    <a:pt x="128" y="795"/>
                  </a:cubicBezTo>
                  <a:cubicBezTo>
                    <a:pt x="119" y="794"/>
                    <a:pt x="111" y="792"/>
                    <a:pt x="103" y="791"/>
                  </a:cubicBezTo>
                  <a:cubicBezTo>
                    <a:pt x="103" y="791"/>
                    <a:pt x="102" y="791"/>
                    <a:pt x="102" y="791"/>
                  </a:cubicBezTo>
                  <a:cubicBezTo>
                    <a:pt x="96" y="789"/>
                    <a:pt x="90" y="788"/>
                    <a:pt x="84" y="787"/>
                  </a:cubicBezTo>
                  <a:cubicBezTo>
                    <a:pt x="84" y="787"/>
                    <a:pt x="83" y="787"/>
                    <a:pt x="83" y="787"/>
                  </a:cubicBezTo>
                  <a:cubicBezTo>
                    <a:pt x="25" y="773"/>
                    <a:pt x="1" y="753"/>
                    <a:pt x="1" y="731"/>
                  </a:cubicBezTo>
                  <a:cubicBezTo>
                    <a:pt x="1" y="711"/>
                    <a:pt x="21" y="688"/>
                    <a:pt x="53" y="665"/>
                  </a:cubicBezTo>
                  <a:cubicBezTo>
                    <a:pt x="54" y="664"/>
                    <a:pt x="54" y="664"/>
                    <a:pt x="54" y="664"/>
                  </a:cubicBezTo>
                  <a:cubicBezTo>
                    <a:pt x="62" y="659"/>
                    <a:pt x="69" y="654"/>
                    <a:pt x="77" y="648"/>
                  </a:cubicBezTo>
                  <a:cubicBezTo>
                    <a:pt x="78" y="648"/>
                    <a:pt x="78" y="648"/>
                    <a:pt x="79" y="648"/>
                  </a:cubicBezTo>
                  <a:cubicBezTo>
                    <a:pt x="84" y="644"/>
                    <a:pt x="89" y="641"/>
                    <a:pt x="94" y="638"/>
                  </a:cubicBezTo>
                  <a:cubicBezTo>
                    <a:pt x="95" y="638"/>
                    <a:pt x="95" y="638"/>
                    <a:pt x="95" y="638"/>
                  </a:cubicBezTo>
                  <a:cubicBezTo>
                    <a:pt x="96" y="637"/>
                    <a:pt x="97" y="637"/>
                    <a:pt x="98" y="636"/>
                  </a:cubicBezTo>
                  <a:cubicBezTo>
                    <a:pt x="98" y="636"/>
                    <a:pt x="98" y="636"/>
                    <a:pt x="98" y="636"/>
                  </a:cubicBezTo>
                  <a:cubicBezTo>
                    <a:pt x="99" y="635"/>
                    <a:pt x="100" y="635"/>
                    <a:pt x="101" y="635"/>
                  </a:cubicBezTo>
                  <a:cubicBezTo>
                    <a:pt x="101" y="634"/>
                    <a:pt x="101" y="634"/>
                    <a:pt x="102" y="634"/>
                  </a:cubicBezTo>
                  <a:cubicBezTo>
                    <a:pt x="103" y="633"/>
                    <a:pt x="104" y="633"/>
                    <a:pt x="104" y="632"/>
                  </a:cubicBezTo>
                  <a:cubicBezTo>
                    <a:pt x="105" y="632"/>
                    <a:pt x="105" y="632"/>
                    <a:pt x="106" y="632"/>
                  </a:cubicBezTo>
                  <a:cubicBezTo>
                    <a:pt x="106" y="631"/>
                    <a:pt x="106" y="631"/>
                    <a:pt x="106" y="631"/>
                  </a:cubicBezTo>
                  <a:cubicBezTo>
                    <a:pt x="107" y="631"/>
                    <a:pt x="107" y="631"/>
                    <a:pt x="107" y="631"/>
                  </a:cubicBezTo>
                  <a:cubicBezTo>
                    <a:pt x="111" y="629"/>
                    <a:pt x="115" y="626"/>
                    <a:pt x="120" y="624"/>
                  </a:cubicBezTo>
                  <a:cubicBezTo>
                    <a:pt x="120" y="624"/>
                    <a:pt x="120" y="624"/>
                    <a:pt x="121" y="624"/>
                  </a:cubicBezTo>
                  <a:cubicBezTo>
                    <a:pt x="125" y="621"/>
                    <a:pt x="129" y="619"/>
                    <a:pt x="134" y="617"/>
                  </a:cubicBezTo>
                  <a:cubicBezTo>
                    <a:pt x="134" y="616"/>
                    <a:pt x="135" y="616"/>
                    <a:pt x="135" y="616"/>
                  </a:cubicBezTo>
                  <a:cubicBezTo>
                    <a:pt x="136" y="616"/>
                    <a:pt x="136" y="615"/>
                    <a:pt x="137" y="615"/>
                  </a:cubicBezTo>
                  <a:cubicBezTo>
                    <a:pt x="139" y="614"/>
                    <a:pt x="140" y="613"/>
                    <a:pt x="142" y="613"/>
                  </a:cubicBezTo>
                  <a:cubicBezTo>
                    <a:pt x="142" y="612"/>
                    <a:pt x="143" y="612"/>
                    <a:pt x="143" y="612"/>
                  </a:cubicBezTo>
                  <a:cubicBezTo>
                    <a:pt x="143" y="612"/>
                    <a:pt x="144" y="612"/>
                    <a:pt x="144" y="612"/>
                  </a:cubicBezTo>
                  <a:cubicBezTo>
                    <a:pt x="144" y="611"/>
                    <a:pt x="145" y="611"/>
                    <a:pt x="145" y="611"/>
                  </a:cubicBezTo>
                  <a:cubicBezTo>
                    <a:pt x="145" y="611"/>
                    <a:pt x="145" y="611"/>
                    <a:pt x="146" y="611"/>
                  </a:cubicBezTo>
                  <a:cubicBezTo>
                    <a:pt x="146" y="611"/>
                    <a:pt x="146" y="610"/>
                    <a:pt x="146" y="610"/>
                  </a:cubicBezTo>
                  <a:cubicBezTo>
                    <a:pt x="147" y="610"/>
                    <a:pt x="147" y="610"/>
                    <a:pt x="148" y="610"/>
                  </a:cubicBezTo>
                  <a:cubicBezTo>
                    <a:pt x="152" y="608"/>
                    <a:pt x="156" y="606"/>
                    <a:pt x="159" y="604"/>
                  </a:cubicBezTo>
                  <a:cubicBezTo>
                    <a:pt x="160" y="604"/>
                    <a:pt x="160" y="604"/>
                    <a:pt x="161" y="603"/>
                  </a:cubicBezTo>
                  <a:cubicBezTo>
                    <a:pt x="162" y="603"/>
                    <a:pt x="164" y="602"/>
                    <a:pt x="165" y="601"/>
                  </a:cubicBezTo>
                  <a:cubicBezTo>
                    <a:pt x="165" y="601"/>
                    <a:pt x="166" y="601"/>
                    <a:pt x="166" y="601"/>
                  </a:cubicBezTo>
                  <a:cubicBezTo>
                    <a:pt x="166" y="601"/>
                    <a:pt x="167" y="600"/>
                    <a:pt x="167" y="600"/>
                  </a:cubicBezTo>
                  <a:cubicBezTo>
                    <a:pt x="171" y="598"/>
                    <a:pt x="176" y="596"/>
                    <a:pt x="180" y="594"/>
                  </a:cubicBezTo>
                  <a:cubicBezTo>
                    <a:pt x="180" y="594"/>
                    <a:pt x="180" y="594"/>
                    <a:pt x="181" y="594"/>
                  </a:cubicBezTo>
                  <a:cubicBezTo>
                    <a:pt x="186" y="592"/>
                    <a:pt x="191" y="589"/>
                    <a:pt x="196" y="587"/>
                  </a:cubicBezTo>
                  <a:cubicBezTo>
                    <a:pt x="196" y="587"/>
                    <a:pt x="197" y="587"/>
                    <a:pt x="197" y="587"/>
                  </a:cubicBezTo>
                  <a:cubicBezTo>
                    <a:pt x="198" y="586"/>
                    <a:pt x="200" y="585"/>
                    <a:pt x="201" y="585"/>
                  </a:cubicBezTo>
                  <a:cubicBezTo>
                    <a:pt x="202" y="585"/>
                    <a:pt x="202" y="584"/>
                    <a:pt x="202" y="584"/>
                  </a:cubicBezTo>
                  <a:cubicBezTo>
                    <a:pt x="202" y="584"/>
                    <a:pt x="203" y="584"/>
                    <a:pt x="203" y="584"/>
                  </a:cubicBezTo>
                  <a:cubicBezTo>
                    <a:pt x="207" y="582"/>
                    <a:pt x="210" y="581"/>
                    <a:pt x="213" y="579"/>
                  </a:cubicBezTo>
                  <a:cubicBezTo>
                    <a:pt x="214" y="579"/>
                    <a:pt x="214" y="579"/>
                    <a:pt x="214" y="579"/>
                  </a:cubicBezTo>
                  <a:cubicBezTo>
                    <a:pt x="217" y="578"/>
                    <a:pt x="220" y="577"/>
                    <a:pt x="222" y="576"/>
                  </a:cubicBezTo>
                  <a:cubicBezTo>
                    <a:pt x="224" y="575"/>
                    <a:pt x="226" y="574"/>
                    <a:pt x="227" y="574"/>
                  </a:cubicBezTo>
                  <a:cubicBezTo>
                    <a:pt x="228" y="573"/>
                    <a:pt x="228" y="573"/>
                    <a:pt x="228" y="573"/>
                  </a:cubicBezTo>
                  <a:cubicBezTo>
                    <a:pt x="229" y="573"/>
                    <a:pt x="229" y="573"/>
                    <a:pt x="230" y="572"/>
                  </a:cubicBezTo>
                  <a:cubicBezTo>
                    <a:pt x="230" y="572"/>
                    <a:pt x="231" y="572"/>
                    <a:pt x="231" y="572"/>
                  </a:cubicBezTo>
                  <a:cubicBezTo>
                    <a:pt x="232" y="572"/>
                    <a:pt x="232" y="571"/>
                    <a:pt x="233" y="571"/>
                  </a:cubicBezTo>
                  <a:cubicBezTo>
                    <a:pt x="233" y="571"/>
                    <a:pt x="233" y="571"/>
                    <a:pt x="233" y="571"/>
                  </a:cubicBezTo>
                  <a:cubicBezTo>
                    <a:pt x="233" y="571"/>
                    <a:pt x="234" y="571"/>
                    <a:pt x="234" y="571"/>
                  </a:cubicBezTo>
                  <a:cubicBezTo>
                    <a:pt x="234" y="571"/>
                    <a:pt x="234" y="571"/>
                    <a:pt x="234" y="571"/>
                  </a:cubicBezTo>
                  <a:cubicBezTo>
                    <a:pt x="235" y="570"/>
                    <a:pt x="235" y="570"/>
                    <a:pt x="236" y="570"/>
                  </a:cubicBezTo>
                  <a:cubicBezTo>
                    <a:pt x="236" y="570"/>
                    <a:pt x="236" y="570"/>
                    <a:pt x="237" y="570"/>
                  </a:cubicBezTo>
                  <a:cubicBezTo>
                    <a:pt x="237" y="570"/>
                    <a:pt x="237" y="570"/>
                    <a:pt x="237" y="570"/>
                  </a:cubicBezTo>
                  <a:cubicBezTo>
                    <a:pt x="237" y="569"/>
                    <a:pt x="238" y="569"/>
                    <a:pt x="238" y="569"/>
                  </a:cubicBezTo>
                  <a:cubicBezTo>
                    <a:pt x="239" y="569"/>
                    <a:pt x="240" y="568"/>
                    <a:pt x="240" y="568"/>
                  </a:cubicBezTo>
                  <a:cubicBezTo>
                    <a:pt x="241" y="568"/>
                    <a:pt x="241" y="568"/>
                    <a:pt x="241" y="568"/>
                  </a:cubicBezTo>
                  <a:cubicBezTo>
                    <a:pt x="242" y="567"/>
                    <a:pt x="243" y="567"/>
                    <a:pt x="244" y="566"/>
                  </a:cubicBezTo>
                  <a:cubicBezTo>
                    <a:pt x="245" y="566"/>
                    <a:pt x="246" y="566"/>
                    <a:pt x="246" y="566"/>
                  </a:cubicBezTo>
                  <a:cubicBezTo>
                    <a:pt x="247" y="566"/>
                    <a:pt x="247" y="565"/>
                    <a:pt x="248" y="565"/>
                  </a:cubicBezTo>
                  <a:cubicBezTo>
                    <a:pt x="248" y="565"/>
                    <a:pt x="249" y="564"/>
                    <a:pt x="250" y="564"/>
                  </a:cubicBezTo>
                  <a:cubicBezTo>
                    <a:pt x="250" y="564"/>
                    <a:pt x="250" y="564"/>
                    <a:pt x="250" y="564"/>
                  </a:cubicBezTo>
                  <a:cubicBezTo>
                    <a:pt x="251" y="564"/>
                    <a:pt x="252" y="564"/>
                    <a:pt x="252" y="563"/>
                  </a:cubicBezTo>
                  <a:cubicBezTo>
                    <a:pt x="253" y="563"/>
                    <a:pt x="253" y="563"/>
                    <a:pt x="254" y="563"/>
                  </a:cubicBezTo>
                  <a:cubicBezTo>
                    <a:pt x="254" y="563"/>
                    <a:pt x="254" y="562"/>
                    <a:pt x="255" y="562"/>
                  </a:cubicBezTo>
                  <a:cubicBezTo>
                    <a:pt x="257" y="561"/>
                    <a:pt x="259" y="561"/>
                    <a:pt x="261" y="560"/>
                  </a:cubicBezTo>
                  <a:cubicBezTo>
                    <a:pt x="262" y="560"/>
                    <a:pt x="262" y="559"/>
                    <a:pt x="263" y="559"/>
                  </a:cubicBezTo>
                  <a:cubicBezTo>
                    <a:pt x="266" y="558"/>
                    <a:pt x="269" y="556"/>
                    <a:pt x="272" y="555"/>
                  </a:cubicBezTo>
                  <a:cubicBezTo>
                    <a:pt x="273" y="555"/>
                    <a:pt x="274" y="555"/>
                    <a:pt x="274" y="555"/>
                  </a:cubicBezTo>
                  <a:cubicBezTo>
                    <a:pt x="279" y="553"/>
                    <a:pt x="284" y="551"/>
                    <a:pt x="289" y="549"/>
                  </a:cubicBezTo>
                  <a:cubicBezTo>
                    <a:pt x="289" y="549"/>
                    <a:pt x="290" y="549"/>
                    <a:pt x="290" y="549"/>
                  </a:cubicBezTo>
                  <a:cubicBezTo>
                    <a:pt x="291" y="548"/>
                    <a:pt x="291" y="548"/>
                    <a:pt x="292" y="548"/>
                  </a:cubicBezTo>
                  <a:cubicBezTo>
                    <a:pt x="292" y="548"/>
                    <a:pt x="292" y="548"/>
                    <a:pt x="293" y="548"/>
                  </a:cubicBezTo>
                  <a:cubicBezTo>
                    <a:pt x="297" y="546"/>
                    <a:pt x="301" y="544"/>
                    <a:pt x="306" y="543"/>
                  </a:cubicBezTo>
                  <a:cubicBezTo>
                    <a:pt x="306" y="543"/>
                    <a:pt x="307" y="542"/>
                    <a:pt x="307" y="542"/>
                  </a:cubicBezTo>
                  <a:cubicBezTo>
                    <a:pt x="308" y="542"/>
                    <a:pt x="309" y="541"/>
                    <a:pt x="311" y="541"/>
                  </a:cubicBezTo>
                  <a:cubicBezTo>
                    <a:pt x="311" y="541"/>
                    <a:pt x="312" y="540"/>
                    <a:pt x="313" y="540"/>
                  </a:cubicBezTo>
                  <a:cubicBezTo>
                    <a:pt x="314" y="540"/>
                    <a:pt x="315" y="540"/>
                    <a:pt x="316" y="539"/>
                  </a:cubicBezTo>
                  <a:cubicBezTo>
                    <a:pt x="316" y="539"/>
                    <a:pt x="316" y="539"/>
                    <a:pt x="317" y="539"/>
                  </a:cubicBezTo>
                  <a:cubicBezTo>
                    <a:pt x="318" y="538"/>
                    <a:pt x="320" y="538"/>
                    <a:pt x="321" y="537"/>
                  </a:cubicBezTo>
                  <a:cubicBezTo>
                    <a:pt x="322" y="537"/>
                    <a:pt x="322" y="537"/>
                    <a:pt x="322" y="537"/>
                  </a:cubicBezTo>
                  <a:cubicBezTo>
                    <a:pt x="328" y="535"/>
                    <a:pt x="333" y="533"/>
                    <a:pt x="338" y="531"/>
                  </a:cubicBezTo>
                  <a:cubicBezTo>
                    <a:pt x="338" y="531"/>
                    <a:pt x="339" y="531"/>
                    <a:pt x="339" y="531"/>
                  </a:cubicBezTo>
                  <a:cubicBezTo>
                    <a:pt x="344" y="529"/>
                    <a:pt x="349" y="527"/>
                    <a:pt x="354" y="526"/>
                  </a:cubicBezTo>
                  <a:cubicBezTo>
                    <a:pt x="358" y="525"/>
                    <a:pt x="361" y="524"/>
                    <a:pt x="364" y="523"/>
                  </a:cubicBezTo>
                  <a:cubicBezTo>
                    <a:pt x="367" y="521"/>
                    <a:pt x="371" y="520"/>
                    <a:pt x="375" y="519"/>
                  </a:cubicBezTo>
                  <a:cubicBezTo>
                    <a:pt x="379" y="518"/>
                    <a:pt x="383" y="516"/>
                    <a:pt x="386" y="515"/>
                  </a:cubicBezTo>
                  <a:cubicBezTo>
                    <a:pt x="387" y="515"/>
                    <a:pt x="387" y="515"/>
                    <a:pt x="388" y="515"/>
                  </a:cubicBezTo>
                  <a:cubicBezTo>
                    <a:pt x="391" y="513"/>
                    <a:pt x="396" y="512"/>
                    <a:pt x="400" y="510"/>
                  </a:cubicBezTo>
                  <a:cubicBezTo>
                    <a:pt x="401" y="510"/>
                    <a:pt x="402" y="509"/>
                    <a:pt x="403" y="509"/>
                  </a:cubicBezTo>
                  <a:cubicBezTo>
                    <a:pt x="417" y="503"/>
                    <a:pt x="432" y="497"/>
                    <a:pt x="447" y="491"/>
                  </a:cubicBezTo>
                  <a:cubicBezTo>
                    <a:pt x="449" y="490"/>
                    <a:pt x="450" y="490"/>
                    <a:pt x="452" y="489"/>
                  </a:cubicBezTo>
                  <a:cubicBezTo>
                    <a:pt x="452" y="489"/>
                    <a:pt x="452" y="489"/>
                    <a:pt x="452" y="489"/>
                  </a:cubicBezTo>
                  <a:cubicBezTo>
                    <a:pt x="453" y="489"/>
                    <a:pt x="454" y="488"/>
                    <a:pt x="454" y="488"/>
                  </a:cubicBezTo>
                  <a:cubicBezTo>
                    <a:pt x="455" y="488"/>
                    <a:pt x="455" y="488"/>
                    <a:pt x="455" y="488"/>
                  </a:cubicBezTo>
                  <a:cubicBezTo>
                    <a:pt x="456" y="487"/>
                    <a:pt x="457" y="487"/>
                    <a:pt x="458" y="487"/>
                  </a:cubicBezTo>
                  <a:cubicBezTo>
                    <a:pt x="459" y="486"/>
                    <a:pt x="460" y="486"/>
                    <a:pt x="461" y="485"/>
                  </a:cubicBezTo>
                  <a:cubicBezTo>
                    <a:pt x="462" y="485"/>
                    <a:pt x="463" y="484"/>
                    <a:pt x="464" y="484"/>
                  </a:cubicBezTo>
                  <a:cubicBezTo>
                    <a:pt x="464" y="484"/>
                    <a:pt x="465" y="484"/>
                    <a:pt x="465" y="483"/>
                  </a:cubicBezTo>
                  <a:cubicBezTo>
                    <a:pt x="469" y="482"/>
                    <a:pt x="473" y="480"/>
                    <a:pt x="477" y="478"/>
                  </a:cubicBezTo>
                  <a:cubicBezTo>
                    <a:pt x="477" y="478"/>
                    <a:pt x="476" y="478"/>
                    <a:pt x="475" y="478"/>
                  </a:cubicBezTo>
                  <a:moveTo>
                    <a:pt x="777" y="691"/>
                  </a:moveTo>
                  <a:cubicBezTo>
                    <a:pt x="777" y="691"/>
                    <a:pt x="777" y="691"/>
                    <a:pt x="777" y="691"/>
                  </a:cubicBezTo>
                  <a:cubicBezTo>
                    <a:pt x="777" y="692"/>
                    <a:pt x="778" y="692"/>
                    <a:pt x="778" y="692"/>
                  </a:cubicBezTo>
                  <a:cubicBezTo>
                    <a:pt x="779" y="692"/>
                    <a:pt x="779" y="692"/>
                    <a:pt x="779" y="692"/>
                  </a:cubicBezTo>
                  <a:cubicBezTo>
                    <a:pt x="780" y="692"/>
                    <a:pt x="781" y="692"/>
                    <a:pt x="782" y="692"/>
                  </a:cubicBezTo>
                  <a:cubicBezTo>
                    <a:pt x="780" y="692"/>
                    <a:pt x="779" y="692"/>
                    <a:pt x="777" y="691"/>
                  </a:cubicBezTo>
                  <a:moveTo>
                    <a:pt x="783" y="691"/>
                  </a:moveTo>
                  <a:cubicBezTo>
                    <a:pt x="783" y="692"/>
                    <a:pt x="783" y="692"/>
                    <a:pt x="783" y="692"/>
                  </a:cubicBezTo>
                  <a:cubicBezTo>
                    <a:pt x="785" y="692"/>
                    <a:pt x="786" y="692"/>
                    <a:pt x="787" y="693"/>
                  </a:cubicBezTo>
                  <a:cubicBezTo>
                    <a:pt x="787" y="693"/>
                    <a:pt x="788" y="693"/>
                    <a:pt x="789" y="693"/>
                  </a:cubicBezTo>
                  <a:cubicBezTo>
                    <a:pt x="789" y="693"/>
                    <a:pt x="789" y="693"/>
                    <a:pt x="790" y="693"/>
                  </a:cubicBezTo>
                  <a:cubicBezTo>
                    <a:pt x="803" y="693"/>
                    <a:pt x="815" y="695"/>
                    <a:pt x="826" y="699"/>
                  </a:cubicBezTo>
                  <a:cubicBezTo>
                    <a:pt x="828" y="699"/>
                    <a:pt x="830" y="700"/>
                    <a:pt x="832" y="701"/>
                  </a:cubicBezTo>
                  <a:cubicBezTo>
                    <a:pt x="834" y="701"/>
                    <a:pt x="836" y="702"/>
                    <a:pt x="837" y="703"/>
                  </a:cubicBezTo>
                  <a:cubicBezTo>
                    <a:pt x="838" y="704"/>
                    <a:pt x="839" y="704"/>
                    <a:pt x="840" y="705"/>
                  </a:cubicBezTo>
                  <a:cubicBezTo>
                    <a:pt x="842" y="706"/>
                    <a:pt x="844" y="707"/>
                    <a:pt x="846" y="708"/>
                  </a:cubicBezTo>
                  <a:cubicBezTo>
                    <a:pt x="847" y="708"/>
                    <a:pt x="847" y="709"/>
                    <a:pt x="848" y="709"/>
                  </a:cubicBezTo>
                  <a:cubicBezTo>
                    <a:pt x="850" y="710"/>
                    <a:pt x="851" y="712"/>
                    <a:pt x="853" y="713"/>
                  </a:cubicBezTo>
                  <a:cubicBezTo>
                    <a:pt x="854" y="713"/>
                    <a:pt x="854" y="714"/>
                    <a:pt x="854" y="714"/>
                  </a:cubicBezTo>
                  <a:cubicBezTo>
                    <a:pt x="857" y="716"/>
                    <a:pt x="860" y="719"/>
                    <a:pt x="862" y="721"/>
                  </a:cubicBezTo>
                  <a:cubicBezTo>
                    <a:pt x="863" y="722"/>
                    <a:pt x="863" y="722"/>
                    <a:pt x="863" y="723"/>
                  </a:cubicBezTo>
                  <a:cubicBezTo>
                    <a:pt x="867" y="728"/>
                    <a:pt x="871" y="733"/>
                    <a:pt x="874" y="739"/>
                  </a:cubicBezTo>
                  <a:cubicBezTo>
                    <a:pt x="874" y="740"/>
                    <a:pt x="874" y="740"/>
                    <a:pt x="875" y="741"/>
                  </a:cubicBezTo>
                  <a:cubicBezTo>
                    <a:pt x="875" y="741"/>
                    <a:pt x="875" y="741"/>
                    <a:pt x="875" y="741"/>
                  </a:cubicBezTo>
                  <a:cubicBezTo>
                    <a:pt x="879" y="750"/>
                    <a:pt x="882" y="761"/>
                    <a:pt x="884" y="773"/>
                  </a:cubicBezTo>
                  <a:cubicBezTo>
                    <a:pt x="884" y="773"/>
                    <a:pt x="884" y="774"/>
                    <a:pt x="884" y="774"/>
                  </a:cubicBezTo>
                  <a:cubicBezTo>
                    <a:pt x="884" y="776"/>
                    <a:pt x="885" y="779"/>
                    <a:pt x="885" y="781"/>
                  </a:cubicBezTo>
                  <a:cubicBezTo>
                    <a:pt x="886" y="782"/>
                    <a:pt x="886" y="784"/>
                    <a:pt x="887" y="785"/>
                  </a:cubicBezTo>
                  <a:cubicBezTo>
                    <a:pt x="887" y="786"/>
                    <a:pt x="888" y="786"/>
                    <a:pt x="888" y="787"/>
                  </a:cubicBezTo>
                  <a:cubicBezTo>
                    <a:pt x="890" y="790"/>
                    <a:pt x="892" y="793"/>
                    <a:pt x="894" y="796"/>
                  </a:cubicBezTo>
                  <a:cubicBezTo>
                    <a:pt x="894" y="797"/>
                    <a:pt x="894" y="797"/>
                    <a:pt x="895" y="797"/>
                  </a:cubicBezTo>
                  <a:cubicBezTo>
                    <a:pt x="896" y="800"/>
                    <a:pt x="898" y="802"/>
                    <a:pt x="899" y="804"/>
                  </a:cubicBezTo>
                  <a:cubicBezTo>
                    <a:pt x="900" y="805"/>
                    <a:pt x="900" y="806"/>
                    <a:pt x="900" y="806"/>
                  </a:cubicBezTo>
                  <a:cubicBezTo>
                    <a:pt x="903" y="810"/>
                    <a:pt x="905" y="813"/>
                    <a:pt x="908" y="817"/>
                  </a:cubicBezTo>
                  <a:cubicBezTo>
                    <a:pt x="908" y="817"/>
                    <a:pt x="908" y="817"/>
                    <a:pt x="908" y="817"/>
                  </a:cubicBezTo>
                  <a:cubicBezTo>
                    <a:pt x="909" y="818"/>
                    <a:pt x="909" y="819"/>
                    <a:pt x="909" y="819"/>
                  </a:cubicBezTo>
                  <a:cubicBezTo>
                    <a:pt x="910" y="819"/>
                    <a:pt x="910" y="820"/>
                    <a:pt x="910" y="820"/>
                  </a:cubicBezTo>
                  <a:cubicBezTo>
                    <a:pt x="911" y="821"/>
                    <a:pt x="912" y="823"/>
                    <a:pt x="913" y="824"/>
                  </a:cubicBezTo>
                  <a:cubicBezTo>
                    <a:pt x="914" y="825"/>
                    <a:pt x="914" y="825"/>
                    <a:pt x="914" y="826"/>
                  </a:cubicBezTo>
                  <a:cubicBezTo>
                    <a:pt x="914" y="826"/>
                    <a:pt x="914" y="826"/>
                    <a:pt x="915" y="826"/>
                  </a:cubicBezTo>
                  <a:cubicBezTo>
                    <a:pt x="1067" y="1030"/>
                    <a:pt x="1543" y="1405"/>
                    <a:pt x="1704" y="1405"/>
                  </a:cubicBezTo>
                  <a:cubicBezTo>
                    <a:pt x="1720" y="1405"/>
                    <a:pt x="1734" y="1401"/>
                    <a:pt x="1743" y="1392"/>
                  </a:cubicBezTo>
                  <a:cubicBezTo>
                    <a:pt x="1753" y="1383"/>
                    <a:pt x="1758" y="1369"/>
                    <a:pt x="1758" y="1350"/>
                  </a:cubicBezTo>
                  <a:cubicBezTo>
                    <a:pt x="1758" y="1338"/>
                    <a:pt x="1755" y="1323"/>
                    <a:pt x="1751" y="1306"/>
                  </a:cubicBezTo>
                  <a:cubicBezTo>
                    <a:pt x="1751" y="1306"/>
                    <a:pt x="1750" y="1305"/>
                    <a:pt x="1750" y="1304"/>
                  </a:cubicBezTo>
                  <a:cubicBezTo>
                    <a:pt x="1754" y="1322"/>
                    <a:pt x="1757" y="1337"/>
                    <a:pt x="1757" y="1350"/>
                  </a:cubicBezTo>
                  <a:cubicBezTo>
                    <a:pt x="1756" y="1388"/>
                    <a:pt x="1737" y="1404"/>
                    <a:pt x="1704" y="1404"/>
                  </a:cubicBezTo>
                  <a:cubicBezTo>
                    <a:pt x="1703" y="1404"/>
                    <a:pt x="1703" y="1404"/>
                    <a:pt x="1703" y="1404"/>
                  </a:cubicBezTo>
                  <a:cubicBezTo>
                    <a:pt x="1544" y="1404"/>
                    <a:pt x="1069" y="1031"/>
                    <a:pt x="916" y="827"/>
                  </a:cubicBezTo>
                  <a:cubicBezTo>
                    <a:pt x="916" y="827"/>
                    <a:pt x="916" y="827"/>
                    <a:pt x="916" y="827"/>
                  </a:cubicBezTo>
                  <a:cubicBezTo>
                    <a:pt x="916" y="826"/>
                    <a:pt x="915" y="825"/>
                    <a:pt x="915" y="825"/>
                  </a:cubicBezTo>
                  <a:cubicBezTo>
                    <a:pt x="914" y="823"/>
                    <a:pt x="913" y="822"/>
                    <a:pt x="912" y="821"/>
                  </a:cubicBezTo>
                  <a:cubicBezTo>
                    <a:pt x="912" y="820"/>
                    <a:pt x="911" y="820"/>
                    <a:pt x="911" y="820"/>
                  </a:cubicBezTo>
                  <a:cubicBezTo>
                    <a:pt x="911" y="820"/>
                    <a:pt x="910" y="819"/>
                    <a:pt x="910" y="818"/>
                  </a:cubicBezTo>
                  <a:cubicBezTo>
                    <a:pt x="910" y="818"/>
                    <a:pt x="910" y="818"/>
                    <a:pt x="909" y="817"/>
                  </a:cubicBezTo>
                  <a:cubicBezTo>
                    <a:pt x="907" y="814"/>
                    <a:pt x="905" y="811"/>
                    <a:pt x="902" y="807"/>
                  </a:cubicBezTo>
                  <a:cubicBezTo>
                    <a:pt x="902" y="807"/>
                    <a:pt x="901" y="806"/>
                    <a:pt x="901" y="806"/>
                  </a:cubicBezTo>
                  <a:cubicBezTo>
                    <a:pt x="899" y="803"/>
                    <a:pt x="898" y="800"/>
                    <a:pt x="896" y="798"/>
                  </a:cubicBezTo>
                  <a:cubicBezTo>
                    <a:pt x="896" y="797"/>
                    <a:pt x="895" y="797"/>
                    <a:pt x="895" y="797"/>
                  </a:cubicBezTo>
                  <a:cubicBezTo>
                    <a:pt x="893" y="794"/>
                    <a:pt x="892" y="791"/>
                    <a:pt x="890" y="788"/>
                  </a:cubicBezTo>
                  <a:cubicBezTo>
                    <a:pt x="890" y="787"/>
                    <a:pt x="889" y="787"/>
                    <a:pt x="889" y="786"/>
                  </a:cubicBezTo>
                  <a:cubicBezTo>
                    <a:pt x="888" y="784"/>
                    <a:pt x="887" y="783"/>
                    <a:pt x="886" y="781"/>
                  </a:cubicBezTo>
                  <a:cubicBezTo>
                    <a:pt x="886" y="779"/>
                    <a:pt x="885" y="776"/>
                    <a:pt x="885" y="774"/>
                  </a:cubicBezTo>
                  <a:cubicBezTo>
                    <a:pt x="885" y="774"/>
                    <a:pt x="885" y="773"/>
                    <a:pt x="885" y="773"/>
                  </a:cubicBezTo>
                  <a:cubicBezTo>
                    <a:pt x="883" y="761"/>
                    <a:pt x="880" y="751"/>
                    <a:pt x="876" y="742"/>
                  </a:cubicBezTo>
                  <a:cubicBezTo>
                    <a:pt x="876" y="741"/>
                    <a:pt x="876" y="741"/>
                    <a:pt x="875" y="740"/>
                  </a:cubicBezTo>
                  <a:cubicBezTo>
                    <a:pt x="875" y="740"/>
                    <a:pt x="875" y="740"/>
                    <a:pt x="875" y="740"/>
                  </a:cubicBezTo>
                  <a:cubicBezTo>
                    <a:pt x="872" y="733"/>
                    <a:pt x="869" y="728"/>
                    <a:pt x="865" y="723"/>
                  </a:cubicBezTo>
                  <a:cubicBezTo>
                    <a:pt x="865" y="723"/>
                    <a:pt x="864" y="722"/>
                    <a:pt x="864" y="722"/>
                  </a:cubicBezTo>
                  <a:cubicBezTo>
                    <a:pt x="861" y="719"/>
                    <a:pt x="859" y="716"/>
                    <a:pt x="856" y="714"/>
                  </a:cubicBezTo>
                  <a:cubicBezTo>
                    <a:pt x="856" y="714"/>
                    <a:pt x="855" y="713"/>
                    <a:pt x="855" y="713"/>
                  </a:cubicBezTo>
                  <a:cubicBezTo>
                    <a:pt x="853" y="712"/>
                    <a:pt x="851" y="710"/>
                    <a:pt x="850" y="709"/>
                  </a:cubicBezTo>
                  <a:cubicBezTo>
                    <a:pt x="849" y="709"/>
                    <a:pt x="848" y="708"/>
                    <a:pt x="848" y="708"/>
                  </a:cubicBezTo>
                  <a:cubicBezTo>
                    <a:pt x="846" y="707"/>
                    <a:pt x="845" y="706"/>
                    <a:pt x="843" y="705"/>
                  </a:cubicBezTo>
                  <a:cubicBezTo>
                    <a:pt x="842" y="704"/>
                    <a:pt x="841" y="704"/>
                    <a:pt x="840" y="704"/>
                  </a:cubicBezTo>
                  <a:cubicBezTo>
                    <a:pt x="839" y="703"/>
                    <a:pt x="838" y="702"/>
                    <a:pt x="837" y="702"/>
                  </a:cubicBezTo>
                  <a:cubicBezTo>
                    <a:pt x="835" y="701"/>
                    <a:pt x="833" y="700"/>
                    <a:pt x="832" y="700"/>
                  </a:cubicBezTo>
                  <a:cubicBezTo>
                    <a:pt x="820" y="695"/>
                    <a:pt x="806" y="692"/>
                    <a:pt x="790" y="692"/>
                  </a:cubicBezTo>
                  <a:cubicBezTo>
                    <a:pt x="790" y="692"/>
                    <a:pt x="789" y="692"/>
                    <a:pt x="789" y="692"/>
                  </a:cubicBezTo>
                  <a:cubicBezTo>
                    <a:pt x="787" y="692"/>
                    <a:pt x="785" y="691"/>
                    <a:pt x="783" y="691"/>
                  </a:cubicBezTo>
                  <a:moveTo>
                    <a:pt x="775" y="691"/>
                  </a:moveTo>
                  <a:cubicBezTo>
                    <a:pt x="773" y="691"/>
                    <a:pt x="772" y="692"/>
                    <a:pt x="770" y="692"/>
                  </a:cubicBezTo>
                  <a:cubicBezTo>
                    <a:pt x="770" y="692"/>
                    <a:pt x="771" y="692"/>
                    <a:pt x="771" y="693"/>
                  </a:cubicBezTo>
                  <a:cubicBezTo>
                    <a:pt x="773" y="692"/>
                    <a:pt x="775" y="692"/>
                    <a:pt x="777" y="692"/>
                  </a:cubicBezTo>
                  <a:cubicBezTo>
                    <a:pt x="776" y="692"/>
                    <a:pt x="775" y="692"/>
                    <a:pt x="775" y="691"/>
                  </a:cubicBezTo>
                  <a:moveTo>
                    <a:pt x="768" y="692"/>
                  </a:moveTo>
                  <a:cubicBezTo>
                    <a:pt x="766" y="692"/>
                    <a:pt x="763" y="692"/>
                    <a:pt x="759" y="692"/>
                  </a:cubicBezTo>
                  <a:cubicBezTo>
                    <a:pt x="760" y="692"/>
                    <a:pt x="760" y="693"/>
                    <a:pt x="760" y="693"/>
                  </a:cubicBezTo>
                  <a:cubicBezTo>
                    <a:pt x="763" y="693"/>
                    <a:pt x="767" y="693"/>
                    <a:pt x="770" y="693"/>
                  </a:cubicBezTo>
                  <a:cubicBezTo>
                    <a:pt x="769" y="692"/>
                    <a:pt x="769" y="692"/>
                    <a:pt x="768" y="692"/>
                  </a:cubicBezTo>
                  <a:moveTo>
                    <a:pt x="758" y="692"/>
                  </a:moveTo>
                  <a:cubicBezTo>
                    <a:pt x="755" y="693"/>
                    <a:pt x="751" y="693"/>
                    <a:pt x="748" y="693"/>
                  </a:cubicBezTo>
                  <a:cubicBezTo>
                    <a:pt x="748" y="694"/>
                    <a:pt x="749" y="694"/>
                    <a:pt x="749" y="694"/>
                  </a:cubicBezTo>
                  <a:cubicBezTo>
                    <a:pt x="752" y="694"/>
                    <a:pt x="756" y="693"/>
                    <a:pt x="759" y="693"/>
                  </a:cubicBezTo>
                  <a:cubicBezTo>
                    <a:pt x="759" y="693"/>
                    <a:pt x="759" y="693"/>
                    <a:pt x="758" y="692"/>
                  </a:cubicBezTo>
                  <a:moveTo>
                    <a:pt x="747" y="693"/>
                  </a:moveTo>
                  <a:cubicBezTo>
                    <a:pt x="741" y="694"/>
                    <a:pt x="736" y="695"/>
                    <a:pt x="730" y="696"/>
                  </a:cubicBezTo>
                  <a:cubicBezTo>
                    <a:pt x="729" y="696"/>
                    <a:pt x="729" y="696"/>
                    <a:pt x="729" y="696"/>
                  </a:cubicBezTo>
                  <a:cubicBezTo>
                    <a:pt x="712" y="698"/>
                    <a:pt x="694" y="702"/>
                    <a:pt x="675" y="706"/>
                  </a:cubicBezTo>
                  <a:cubicBezTo>
                    <a:pt x="675" y="706"/>
                    <a:pt x="674" y="707"/>
                    <a:pt x="673" y="707"/>
                  </a:cubicBezTo>
                  <a:cubicBezTo>
                    <a:pt x="670" y="708"/>
                    <a:pt x="666" y="708"/>
                    <a:pt x="663" y="709"/>
                  </a:cubicBezTo>
                  <a:cubicBezTo>
                    <a:pt x="662" y="709"/>
                    <a:pt x="662" y="709"/>
                    <a:pt x="662" y="709"/>
                  </a:cubicBezTo>
                  <a:cubicBezTo>
                    <a:pt x="659" y="710"/>
                    <a:pt x="656" y="711"/>
                    <a:pt x="654" y="711"/>
                  </a:cubicBezTo>
                  <a:cubicBezTo>
                    <a:pt x="653" y="712"/>
                    <a:pt x="653" y="712"/>
                    <a:pt x="652" y="712"/>
                  </a:cubicBezTo>
                  <a:cubicBezTo>
                    <a:pt x="651" y="712"/>
                    <a:pt x="650" y="712"/>
                    <a:pt x="648" y="713"/>
                  </a:cubicBezTo>
                  <a:cubicBezTo>
                    <a:pt x="648" y="713"/>
                    <a:pt x="648" y="713"/>
                    <a:pt x="648" y="713"/>
                  </a:cubicBezTo>
                  <a:cubicBezTo>
                    <a:pt x="647" y="713"/>
                    <a:pt x="647" y="713"/>
                    <a:pt x="646" y="713"/>
                  </a:cubicBezTo>
                  <a:cubicBezTo>
                    <a:pt x="645" y="713"/>
                    <a:pt x="645" y="714"/>
                    <a:pt x="644" y="714"/>
                  </a:cubicBezTo>
                  <a:cubicBezTo>
                    <a:pt x="636" y="716"/>
                    <a:pt x="628" y="718"/>
                    <a:pt x="619" y="721"/>
                  </a:cubicBezTo>
                  <a:cubicBezTo>
                    <a:pt x="617" y="721"/>
                    <a:pt x="616" y="721"/>
                    <a:pt x="614" y="722"/>
                  </a:cubicBezTo>
                  <a:cubicBezTo>
                    <a:pt x="613" y="722"/>
                    <a:pt x="612" y="722"/>
                    <a:pt x="611" y="723"/>
                  </a:cubicBezTo>
                  <a:cubicBezTo>
                    <a:pt x="610" y="723"/>
                    <a:pt x="610" y="723"/>
                    <a:pt x="609" y="723"/>
                  </a:cubicBezTo>
                  <a:cubicBezTo>
                    <a:pt x="609" y="723"/>
                    <a:pt x="609" y="723"/>
                    <a:pt x="609" y="723"/>
                  </a:cubicBezTo>
                  <a:cubicBezTo>
                    <a:pt x="608" y="723"/>
                    <a:pt x="608" y="724"/>
                    <a:pt x="607" y="724"/>
                  </a:cubicBezTo>
                  <a:cubicBezTo>
                    <a:pt x="603" y="725"/>
                    <a:pt x="599" y="726"/>
                    <a:pt x="594" y="727"/>
                  </a:cubicBezTo>
                  <a:cubicBezTo>
                    <a:pt x="593" y="728"/>
                    <a:pt x="592" y="728"/>
                    <a:pt x="591" y="728"/>
                  </a:cubicBezTo>
                  <a:cubicBezTo>
                    <a:pt x="585" y="730"/>
                    <a:pt x="579" y="732"/>
                    <a:pt x="573" y="733"/>
                  </a:cubicBezTo>
                  <a:cubicBezTo>
                    <a:pt x="571" y="734"/>
                    <a:pt x="570" y="734"/>
                    <a:pt x="569" y="735"/>
                  </a:cubicBezTo>
                  <a:cubicBezTo>
                    <a:pt x="566" y="735"/>
                    <a:pt x="563" y="736"/>
                    <a:pt x="560" y="737"/>
                  </a:cubicBezTo>
                  <a:cubicBezTo>
                    <a:pt x="560" y="737"/>
                    <a:pt x="560" y="737"/>
                    <a:pt x="559" y="737"/>
                  </a:cubicBezTo>
                  <a:cubicBezTo>
                    <a:pt x="556" y="738"/>
                    <a:pt x="552" y="739"/>
                    <a:pt x="549" y="740"/>
                  </a:cubicBezTo>
                  <a:cubicBezTo>
                    <a:pt x="548" y="741"/>
                    <a:pt x="546" y="741"/>
                    <a:pt x="545" y="741"/>
                  </a:cubicBezTo>
                  <a:cubicBezTo>
                    <a:pt x="538" y="743"/>
                    <a:pt x="531" y="745"/>
                    <a:pt x="524" y="747"/>
                  </a:cubicBezTo>
                  <a:cubicBezTo>
                    <a:pt x="522" y="748"/>
                    <a:pt x="521" y="748"/>
                    <a:pt x="520" y="749"/>
                  </a:cubicBezTo>
                  <a:cubicBezTo>
                    <a:pt x="512" y="751"/>
                    <a:pt x="505" y="753"/>
                    <a:pt x="497" y="755"/>
                  </a:cubicBezTo>
                  <a:cubicBezTo>
                    <a:pt x="496" y="755"/>
                    <a:pt x="495" y="756"/>
                    <a:pt x="493" y="756"/>
                  </a:cubicBezTo>
                  <a:cubicBezTo>
                    <a:pt x="486" y="758"/>
                    <a:pt x="478" y="760"/>
                    <a:pt x="470" y="762"/>
                  </a:cubicBezTo>
                  <a:cubicBezTo>
                    <a:pt x="469" y="763"/>
                    <a:pt x="468" y="763"/>
                    <a:pt x="466" y="764"/>
                  </a:cubicBezTo>
                  <a:cubicBezTo>
                    <a:pt x="459" y="766"/>
                    <a:pt x="451" y="768"/>
                    <a:pt x="443" y="770"/>
                  </a:cubicBezTo>
                  <a:cubicBezTo>
                    <a:pt x="442" y="770"/>
                    <a:pt x="440" y="770"/>
                    <a:pt x="439" y="771"/>
                  </a:cubicBezTo>
                  <a:cubicBezTo>
                    <a:pt x="435" y="772"/>
                    <a:pt x="431" y="773"/>
                    <a:pt x="428" y="774"/>
                  </a:cubicBezTo>
                  <a:cubicBezTo>
                    <a:pt x="424" y="774"/>
                    <a:pt x="421" y="775"/>
                    <a:pt x="418" y="776"/>
                  </a:cubicBezTo>
                  <a:cubicBezTo>
                    <a:pt x="418" y="776"/>
                    <a:pt x="417" y="776"/>
                    <a:pt x="416" y="776"/>
                  </a:cubicBezTo>
                  <a:cubicBezTo>
                    <a:pt x="414" y="777"/>
                    <a:pt x="413" y="777"/>
                    <a:pt x="412" y="777"/>
                  </a:cubicBezTo>
                  <a:cubicBezTo>
                    <a:pt x="403" y="779"/>
                    <a:pt x="395" y="781"/>
                    <a:pt x="386" y="783"/>
                  </a:cubicBezTo>
                  <a:cubicBezTo>
                    <a:pt x="384" y="784"/>
                    <a:pt x="383" y="784"/>
                    <a:pt x="382" y="784"/>
                  </a:cubicBezTo>
                  <a:cubicBezTo>
                    <a:pt x="373" y="786"/>
                    <a:pt x="365" y="788"/>
                    <a:pt x="356" y="789"/>
                  </a:cubicBezTo>
                  <a:cubicBezTo>
                    <a:pt x="354" y="790"/>
                    <a:pt x="352" y="790"/>
                    <a:pt x="349" y="791"/>
                  </a:cubicBezTo>
                  <a:cubicBezTo>
                    <a:pt x="343" y="792"/>
                    <a:pt x="337" y="793"/>
                    <a:pt x="331" y="794"/>
                  </a:cubicBezTo>
                  <a:cubicBezTo>
                    <a:pt x="330" y="794"/>
                    <a:pt x="329" y="794"/>
                    <a:pt x="328" y="794"/>
                  </a:cubicBezTo>
                  <a:cubicBezTo>
                    <a:pt x="328" y="794"/>
                    <a:pt x="327" y="794"/>
                    <a:pt x="327" y="795"/>
                  </a:cubicBezTo>
                  <a:cubicBezTo>
                    <a:pt x="323" y="795"/>
                    <a:pt x="318" y="796"/>
                    <a:pt x="314" y="797"/>
                  </a:cubicBezTo>
                  <a:cubicBezTo>
                    <a:pt x="301" y="798"/>
                    <a:pt x="288" y="800"/>
                    <a:pt x="275" y="801"/>
                  </a:cubicBezTo>
                  <a:cubicBezTo>
                    <a:pt x="270" y="802"/>
                    <a:pt x="266" y="803"/>
                    <a:pt x="262" y="803"/>
                  </a:cubicBezTo>
                  <a:cubicBezTo>
                    <a:pt x="283" y="802"/>
                    <a:pt x="305" y="799"/>
                    <a:pt x="327" y="796"/>
                  </a:cubicBezTo>
                  <a:cubicBezTo>
                    <a:pt x="332" y="795"/>
                    <a:pt x="337" y="794"/>
                    <a:pt x="341" y="793"/>
                  </a:cubicBezTo>
                  <a:cubicBezTo>
                    <a:pt x="346" y="792"/>
                    <a:pt x="351" y="791"/>
                    <a:pt x="356" y="790"/>
                  </a:cubicBezTo>
                  <a:cubicBezTo>
                    <a:pt x="359" y="790"/>
                    <a:pt x="361" y="790"/>
                    <a:pt x="363" y="789"/>
                  </a:cubicBezTo>
                  <a:cubicBezTo>
                    <a:pt x="371" y="788"/>
                    <a:pt x="379" y="786"/>
                    <a:pt x="386" y="784"/>
                  </a:cubicBezTo>
                  <a:cubicBezTo>
                    <a:pt x="388" y="784"/>
                    <a:pt x="389" y="784"/>
                    <a:pt x="391" y="783"/>
                  </a:cubicBezTo>
                  <a:cubicBezTo>
                    <a:pt x="397" y="782"/>
                    <a:pt x="403" y="781"/>
                    <a:pt x="409" y="779"/>
                  </a:cubicBezTo>
                  <a:cubicBezTo>
                    <a:pt x="411" y="779"/>
                    <a:pt x="413" y="778"/>
                    <a:pt x="416" y="777"/>
                  </a:cubicBezTo>
                  <a:cubicBezTo>
                    <a:pt x="417" y="777"/>
                    <a:pt x="419" y="777"/>
                    <a:pt x="420" y="776"/>
                  </a:cubicBezTo>
                  <a:cubicBezTo>
                    <a:pt x="428" y="775"/>
                    <a:pt x="435" y="773"/>
                    <a:pt x="443" y="771"/>
                  </a:cubicBezTo>
                  <a:cubicBezTo>
                    <a:pt x="445" y="770"/>
                    <a:pt x="446" y="770"/>
                    <a:pt x="447" y="770"/>
                  </a:cubicBezTo>
                  <a:cubicBezTo>
                    <a:pt x="455" y="768"/>
                    <a:pt x="463" y="765"/>
                    <a:pt x="471" y="763"/>
                  </a:cubicBezTo>
                  <a:cubicBezTo>
                    <a:pt x="472" y="763"/>
                    <a:pt x="473" y="763"/>
                    <a:pt x="475" y="762"/>
                  </a:cubicBezTo>
                  <a:cubicBezTo>
                    <a:pt x="482" y="760"/>
                    <a:pt x="490" y="758"/>
                    <a:pt x="498" y="756"/>
                  </a:cubicBezTo>
                  <a:cubicBezTo>
                    <a:pt x="499" y="756"/>
                    <a:pt x="501" y="755"/>
                    <a:pt x="502" y="755"/>
                  </a:cubicBezTo>
                  <a:cubicBezTo>
                    <a:pt x="509" y="753"/>
                    <a:pt x="517" y="751"/>
                    <a:pt x="524" y="748"/>
                  </a:cubicBezTo>
                  <a:cubicBezTo>
                    <a:pt x="525" y="748"/>
                    <a:pt x="527" y="748"/>
                    <a:pt x="528" y="747"/>
                  </a:cubicBezTo>
                  <a:cubicBezTo>
                    <a:pt x="535" y="745"/>
                    <a:pt x="542" y="743"/>
                    <a:pt x="549" y="741"/>
                  </a:cubicBezTo>
                  <a:cubicBezTo>
                    <a:pt x="551" y="741"/>
                    <a:pt x="552" y="740"/>
                    <a:pt x="553" y="740"/>
                  </a:cubicBezTo>
                  <a:cubicBezTo>
                    <a:pt x="556" y="739"/>
                    <a:pt x="558" y="739"/>
                    <a:pt x="560" y="738"/>
                  </a:cubicBezTo>
                  <a:cubicBezTo>
                    <a:pt x="560" y="738"/>
                    <a:pt x="561" y="738"/>
                    <a:pt x="561" y="738"/>
                  </a:cubicBezTo>
                  <a:cubicBezTo>
                    <a:pt x="565" y="737"/>
                    <a:pt x="569" y="736"/>
                    <a:pt x="573" y="734"/>
                  </a:cubicBezTo>
                  <a:cubicBezTo>
                    <a:pt x="574" y="734"/>
                    <a:pt x="575" y="734"/>
                    <a:pt x="577" y="733"/>
                  </a:cubicBezTo>
                  <a:cubicBezTo>
                    <a:pt x="583" y="732"/>
                    <a:pt x="589" y="730"/>
                    <a:pt x="595" y="728"/>
                  </a:cubicBezTo>
                  <a:cubicBezTo>
                    <a:pt x="596" y="728"/>
                    <a:pt x="597" y="728"/>
                    <a:pt x="598" y="727"/>
                  </a:cubicBezTo>
                  <a:cubicBezTo>
                    <a:pt x="599" y="727"/>
                    <a:pt x="599" y="727"/>
                    <a:pt x="600" y="727"/>
                  </a:cubicBezTo>
                  <a:cubicBezTo>
                    <a:pt x="603" y="726"/>
                    <a:pt x="606" y="725"/>
                    <a:pt x="610" y="724"/>
                  </a:cubicBezTo>
                  <a:cubicBezTo>
                    <a:pt x="611" y="724"/>
                    <a:pt x="612" y="723"/>
                    <a:pt x="614" y="723"/>
                  </a:cubicBezTo>
                  <a:cubicBezTo>
                    <a:pt x="615" y="723"/>
                    <a:pt x="616" y="722"/>
                    <a:pt x="617" y="722"/>
                  </a:cubicBezTo>
                  <a:cubicBezTo>
                    <a:pt x="627" y="719"/>
                    <a:pt x="637" y="717"/>
                    <a:pt x="646" y="714"/>
                  </a:cubicBezTo>
                  <a:cubicBezTo>
                    <a:pt x="647" y="714"/>
                    <a:pt x="647" y="714"/>
                    <a:pt x="648" y="714"/>
                  </a:cubicBezTo>
                  <a:cubicBezTo>
                    <a:pt x="648" y="714"/>
                    <a:pt x="648" y="714"/>
                    <a:pt x="648" y="714"/>
                  </a:cubicBezTo>
                  <a:cubicBezTo>
                    <a:pt x="649" y="714"/>
                    <a:pt x="650" y="713"/>
                    <a:pt x="650" y="713"/>
                  </a:cubicBezTo>
                  <a:cubicBezTo>
                    <a:pt x="652" y="713"/>
                    <a:pt x="653" y="713"/>
                    <a:pt x="654" y="712"/>
                  </a:cubicBezTo>
                  <a:cubicBezTo>
                    <a:pt x="654" y="712"/>
                    <a:pt x="655" y="712"/>
                    <a:pt x="656" y="712"/>
                  </a:cubicBezTo>
                  <a:cubicBezTo>
                    <a:pt x="658" y="711"/>
                    <a:pt x="660" y="711"/>
                    <a:pt x="662" y="710"/>
                  </a:cubicBezTo>
                  <a:cubicBezTo>
                    <a:pt x="663" y="710"/>
                    <a:pt x="663" y="710"/>
                    <a:pt x="664" y="710"/>
                  </a:cubicBezTo>
                  <a:cubicBezTo>
                    <a:pt x="668" y="709"/>
                    <a:pt x="672" y="708"/>
                    <a:pt x="675" y="707"/>
                  </a:cubicBezTo>
                  <a:cubicBezTo>
                    <a:pt x="676" y="707"/>
                    <a:pt x="677" y="707"/>
                    <a:pt x="678" y="707"/>
                  </a:cubicBezTo>
                  <a:cubicBezTo>
                    <a:pt x="696" y="702"/>
                    <a:pt x="713" y="699"/>
                    <a:pt x="729" y="697"/>
                  </a:cubicBezTo>
                  <a:cubicBezTo>
                    <a:pt x="730" y="697"/>
                    <a:pt x="730" y="696"/>
                    <a:pt x="731" y="696"/>
                  </a:cubicBezTo>
                  <a:cubicBezTo>
                    <a:pt x="736" y="696"/>
                    <a:pt x="742" y="695"/>
                    <a:pt x="748" y="694"/>
                  </a:cubicBezTo>
                  <a:cubicBezTo>
                    <a:pt x="747" y="694"/>
                    <a:pt x="747" y="694"/>
                    <a:pt x="747" y="693"/>
                  </a:cubicBezTo>
                  <a:moveTo>
                    <a:pt x="146" y="798"/>
                  </a:moveTo>
                  <a:cubicBezTo>
                    <a:pt x="145" y="798"/>
                    <a:pt x="144" y="798"/>
                    <a:pt x="144" y="798"/>
                  </a:cubicBezTo>
                  <a:cubicBezTo>
                    <a:pt x="150" y="799"/>
                    <a:pt x="156" y="800"/>
                    <a:pt x="163" y="801"/>
                  </a:cubicBezTo>
                  <a:cubicBezTo>
                    <a:pt x="163" y="801"/>
                    <a:pt x="164" y="801"/>
                    <a:pt x="164" y="801"/>
                  </a:cubicBezTo>
                  <a:cubicBezTo>
                    <a:pt x="165" y="801"/>
                    <a:pt x="166" y="801"/>
                    <a:pt x="167" y="801"/>
                  </a:cubicBezTo>
                  <a:cubicBezTo>
                    <a:pt x="168" y="801"/>
                    <a:pt x="169" y="801"/>
                    <a:pt x="170" y="800"/>
                  </a:cubicBezTo>
                  <a:cubicBezTo>
                    <a:pt x="168" y="800"/>
                    <a:pt x="167" y="800"/>
                    <a:pt x="165" y="800"/>
                  </a:cubicBezTo>
                  <a:cubicBezTo>
                    <a:pt x="164" y="800"/>
                    <a:pt x="164" y="800"/>
                    <a:pt x="164" y="800"/>
                  </a:cubicBezTo>
                  <a:cubicBezTo>
                    <a:pt x="158" y="799"/>
                    <a:pt x="152" y="798"/>
                    <a:pt x="146" y="798"/>
                  </a:cubicBezTo>
                  <a:moveTo>
                    <a:pt x="173" y="801"/>
                  </a:moveTo>
                  <a:cubicBezTo>
                    <a:pt x="172" y="801"/>
                    <a:pt x="171" y="801"/>
                    <a:pt x="170" y="801"/>
                  </a:cubicBezTo>
                  <a:cubicBezTo>
                    <a:pt x="175" y="802"/>
                    <a:pt x="180" y="802"/>
                    <a:pt x="185" y="803"/>
                  </a:cubicBezTo>
                  <a:cubicBezTo>
                    <a:pt x="187" y="803"/>
                    <a:pt x="189" y="803"/>
                    <a:pt x="191" y="803"/>
                  </a:cubicBezTo>
                  <a:cubicBezTo>
                    <a:pt x="192" y="803"/>
                    <a:pt x="193" y="803"/>
                    <a:pt x="194" y="803"/>
                  </a:cubicBezTo>
                  <a:cubicBezTo>
                    <a:pt x="191" y="802"/>
                    <a:pt x="188" y="802"/>
                    <a:pt x="185" y="802"/>
                  </a:cubicBezTo>
                  <a:cubicBezTo>
                    <a:pt x="181" y="801"/>
                    <a:pt x="177" y="801"/>
                    <a:pt x="173" y="801"/>
                  </a:cubicBezTo>
                  <a:moveTo>
                    <a:pt x="262" y="802"/>
                  </a:moveTo>
                  <a:cubicBezTo>
                    <a:pt x="259" y="802"/>
                    <a:pt x="256" y="803"/>
                    <a:pt x="253" y="803"/>
                  </a:cubicBezTo>
                  <a:cubicBezTo>
                    <a:pt x="251" y="803"/>
                    <a:pt x="248" y="804"/>
                    <a:pt x="246" y="804"/>
                  </a:cubicBezTo>
                  <a:cubicBezTo>
                    <a:pt x="247" y="804"/>
                    <a:pt x="248" y="804"/>
                    <a:pt x="249" y="804"/>
                  </a:cubicBezTo>
                  <a:cubicBezTo>
                    <a:pt x="253" y="803"/>
                    <a:pt x="257" y="803"/>
                    <a:pt x="262" y="802"/>
                  </a:cubicBezTo>
                  <a:moveTo>
                    <a:pt x="197" y="803"/>
                  </a:moveTo>
                  <a:cubicBezTo>
                    <a:pt x="196" y="803"/>
                    <a:pt x="195" y="803"/>
                    <a:pt x="194" y="804"/>
                  </a:cubicBezTo>
                  <a:cubicBezTo>
                    <a:pt x="202" y="804"/>
                    <a:pt x="210" y="804"/>
                    <a:pt x="219" y="805"/>
                  </a:cubicBezTo>
                  <a:cubicBezTo>
                    <a:pt x="220" y="804"/>
                    <a:pt x="222" y="804"/>
                    <a:pt x="223" y="804"/>
                  </a:cubicBezTo>
                  <a:cubicBezTo>
                    <a:pt x="214" y="804"/>
                    <a:pt x="206" y="803"/>
                    <a:pt x="197" y="803"/>
                  </a:cubicBezTo>
                  <a:moveTo>
                    <a:pt x="246" y="803"/>
                  </a:moveTo>
                  <a:cubicBezTo>
                    <a:pt x="240" y="803"/>
                    <a:pt x="234" y="803"/>
                    <a:pt x="227" y="804"/>
                  </a:cubicBezTo>
                  <a:cubicBezTo>
                    <a:pt x="226" y="804"/>
                    <a:pt x="224" y="804"/>
                    <a:pt x="223" y="805"/>
                  </a:cubicBezTo>
                  <a:cubicBezTo>
                    <a:pt x="223" y="805"/>
                    <a:pt x="224" y="805"/>
                    <a:pt x="224" y="805"/>
                  </a:cubicBezTo>
                  <a:cubicBezTo>
                    <a:pt x="224" y="805"/>
                    <a:pt x="224" y="805"/>
                    <a:pt x="224" y="805"/>
                  </a:cubicBezTo>
                  <a:cubicBezTo>
                    <a:pt x="225" y="805"/>
                    <a:pt x="225" y="805"/>
                    <a:pt x="225" y="805"/>
                  </a:cubicBezTo>
                  <a:cubicBezTo>
                    <a:pt x="230" y="805"/>
                    <a:pt x="235" y="804"/>
                    <a:pt x="240" y="804"/>
                  </a:cubicBezTo>
                  <a:cubicBezTo>
                    <a:pt x="242" y="804"/>
                    <a:pt x="244" y="803"/>
                    <a:pt x="246" y="803"/>
                  </a:cubicBezTo>
                  <a:moveTo>
                    <a:pt x="1657" y="1094"/>
                  </a:moveTo>
                  <a:cubicBezTo>
                    <a:pt x="1659" y="1099"/>
                    <a:pt x="1661" y="1103"/>
                    <a:pt x="1663" y="1107"/>
                  </a:cubicBezTo>
                  <a:cubicBezTo>
                    <a:pt x="1665" y="1112"/>
                    <a:pt x="1667" y="1116"/>
                    <a:pt x="1669" y="1121"/>
                  </a:cubicBezTo>
                  <a:cubicBezTo>
                    <a:pt x="1672" y="1127"/>
                    <a:pt x="1674" y="1133"/>
                    <a:pt x="1677" y="1138"/>
                  </a:cubicBezTo>
                  <a:cubicBezTo>
                    <a:pt x="1679" y="1142"/>
                    <a:pt x="1681" y="1146"/>
                    <a:pt x="1683" y="1150"/>
                  </a:cubicBezTo>
                  <a:cubicBezTo>
                    <a:pt x="1683" y="1151"/>
                    <a:pt x="1683" y="1151"/>
                    <a:pt x="1683" y="1151"/>
                  </a:cubicBezTo>
                  <a:cubicBezTo>
                    <a:pt x="1690" y="1162"/>
                    <a:pt x="1695" y="1173"/>
                    <a:pt x="1701" y="1183"/>
                  </a:cubicBezTo>
                  <a:cubicBezTo>
                    <a:pt x="1700" y="1182"/>
                    <a:pt x="1699" y="1180"/>
                    <a:pt x="1699" y="1179"/>
                  </a:cubicBezTo>
                  <a:cubicBezTo>
                    <a:pt x="1697" y="1175"/>
                    <a:pt x="1695" y="1171"/>
                    <a:pt x="1693" y="1167"/>
                  </a:cubicBezTo>
                  <a:cubicBezTo>
                    <a:pt x="1688" y="1158"/>
                    <a:pt x="1683" y="1148"/>
                    <a:pt x="1678" y="1138"/>
                  </a:cubicBezTo>
                  <a:cubicBezTo>
                    <a:pt x="1676" y="1133"/>
                    <a:pt x="1673" y="1127"/>
                    <a:pt x="1671" y="1122"/>
                  </a:cubicBezTo>
                  <a:cubicBezTo>
                    <a:pt x="1669" y="1119"/>
                    <a:pt x="1668" y="1117"/>
                    <a:pt x="1667" y="1114"/>
                  </a:cubicBezTo>
                  <a:cubicBezTo>
                    <a:pt x="1664" y="1108"/>
                    <a:pt x="1661" y="1101"/>
                    <a:pt x="1657" y="1094"/>
                  </a:cubicBezTo>
                  <a:moveTo>
                    <a:pt x="1700" y="1183"/>
                  </a:moveTo>
                  <a:cubicBezTo>
                    <a:pt x="1703" y="1190"/>
                    <a:pt x="1707" y="1197"/>
                    <a:pt x="1710" y="1204"/>
                  </a:cubicBezTo>
                  <a:cubicBezTo>
                    <a:pt x="1713" y="1209"/>
                    <a:pt x="1715" y="1214"/>
                    <a:pt x="1717" y="1218"/>
                  </a:cubicBezTo>
                  <a:cubicBezTo>
                    <a:pt x="1719" y="1221"/>
                    <a:pt x="1720" y="1224"/>
                    <a:pt x="1722" y="1227"/>
                  </a:cubicBezTo>
                  <a:cubicBezTo>
                    <a:pt x="1720" y="1222"/>
                    <a:pt x="1717" y="1217"/>
                    <a:pt x="1715" y="1212"/>
                  </a:cubicBezTo>
                  <a:cubicBezTo>
                    <a:pt x="1710" y="1202"/>
                    <a:pt x="1705" y="1193"/>
                    <a:pt x="1700" y="1183"/>
                  </a:cubicBezTo>
                  <a:moveTo>
                    <a:pt x="1721" y="1227"/>
                  </a:moveTo>
                  <a:cubicBezTo>
                    <a:pt x="1724" y="1234"/>
                    <a:pt x="1727" y="1240"/>
                    <a:pt x="1729" y="1246"/>
                  </a:cubicBezTo>
                  <a:cubicBezTo>
                    <a:pt x="1730" y="1248"/>
                    <a:pt x="1731" y="1250"/>
                    <a:pt x="1732" y="1251"/>
                  </a:cubicBezTo>
                  <a:cubicBezTo>
                    <a:pt x="1730" y="1246"/>
                    <a:pt x="1728" y="1241"/>
                    <a:pt x="1726" y="1236"/>
                  </a:cubicBezTo>
                  <a:cubicBezTo>
                    <a:pt x="1724" y="1233"/>
                    <a:pt x="1723" y="1230"/>
                    <a:pt x="1721" y="1227"/>
                  </a:cubicBezTo>
                  <a:moveTo>
                    <a:pt x="1732" y="1251"/>
                  </a:moveTo>
                  <a:cubicBezTo>
                    <a:pt x="1735" y="1260"/>
                    <a:pt x="1738" y="1268"/>
                    <a:pt x="1741" y="1275"/>
                  </a:cubicBezTo>
                  <a:cubicBezTo>
                    <a:pt x="1741" y="1276"/>
                    <a:pt x="1742" y="1277"/>
                    <a:pt x="1743" y="1278"/>
                  </a:cubicBezTo>
                  <a:cubicBezTo>
                    <a:pt x="1740" y="1271"/>
                    <a:pt x="1738" y="1264"/>
                    <a:pt x="1735" y="1256"/>
                  </a:cubicBezTo>
                  <a:cubicBezTo>
                    <a:pt x="1734" y="1255"/>
                    <a:pt x="1733" y="1253"/>
                    <a:pt x="1732" y="1251"/>
                  </a:cubicBezTo>
                  <a:moveTo>
                    <a:pt x="1742" y="1279"/>
                  </a:moveTo>
                  <a:cubicBezTo>
                    <a:pt x="1745" y="1287"/>
                    <a:pt x="1747" y="1295"/>
                    <a:pt x="1749" y="1302"/>
                  </a:cubicBezTo>
                  <a:cubicBezTo>
                    <a:pt x="1750" y="1303"/>
                    <a:pt x="1750" y="1303"/>
                    <a:pt x="1751" y="1304"/>
                  </a:cubicBezTo>
                  <a:cubicBezTo>
                    <a:pt x="1749" y="1297"/>
                    <a:pt x="1747" y="1290"/>
                    <a:pt x="1744" y="1282"/>
                  </a:cubicBezTo>
                  <a:cubicBezTo>
                    <a:pt x="1743" y="1281"/>
                    <a:pt x="1743" y="1280"/>
                    <a:pt x="1742" y="1279"/>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70" name="Freeform 99"/>
            <p:cNvSpPr>
              <a:spLocks noEditPoints="1"/>
            </p:cNvSpPr>
            <p:nvPr userDrawn="1"/>
          </p:nvSpPr>
          <p:spPr bwMode="auto">
            <a:xfrm>
              <a:off x="1798" y="4068"/>
              <a:ext cx="3662" cy="2890"/>
            </a:xfrm>
            <a:custGeom>
              <a:avLst/>
              <a:gdLst>
                <a:gd name="T0" fmla="*/ 2147483646 w 1807"/>
                <a:gd name="T1" fmla="*/ 2147483646 h 1426"/>
                <a:gd name="T2" fmla="*/ 2147483646 w 1807"/>
                <a:gd name="T3" fmla="*/ 2147483646 h 1426"/>
                <a:gd name="T4" fmla="*/ 2147483646 w 1807"/>
                <a:gd name="T5" fmla="*/ 2147483646 h 1426"/>
                <a:gd name="T6" fmla="*/ 2147483646 w 1807"/>
                <a:gd name="T7" fmla="*/ 2147483646 h 1426"/>
                <a:gd name="T8" fmla="*/ 2147483646 w 1807"/>
                <a:gd name="T9" fmla="*/ 2147483646 h 1426"/>
                <a:gd name="T10" fmla="*/ 2147483646 w 1807"/>
                <a:gd name="T11" fmla="*/ 2147483646 h 1426"/>
                <a:gd name="T12" fmla="*/ 2147483646 w 1807"/>
                <a:gd name="T13" fmla="*/ 2147483646 h 1426"/>
                <a:gd name="T14" fmla="*/ 2147483646 w 1807"/>
                <a:gd name="T15" fmla="*/ 2147483646 h 1426"/>
                <a:gd name="T16" fmla="*/ 2147483646 w 1807"/>
                <a:gd name="T17" fmla="*/ 2147483646 h 1426"/>
                <a:gd name="T18" fmla="*/ 2147483646 w 1807"/>
                <a:gd name="T19" fmla="*/ 2147483646 h 1426"/>
                <a:gd name="T20" fmla="*/ 2147483646 w 1807"/>
                <a:gd name="T21" fmla="*/ 2147483646 h 1426"/>
                <a:gd name="T22" fmla="*/ 2147483646 w 1807"/>
                <a:gd name="T23" fmla="*/ 2147483646 h 1426"/>
                <a:gd name="T24" fmla="*/ 2147483646 w 1807"/>
                <a:gd name="T25" fmla="*/ 2147483646 h 1426"/>
                <a:gd name="T26" fmla="*/ 2147483646 w 1807"/>
                <a:gd name="T27" fmla="*/ 2147483646 h 1426"/>
                <a:gd name="T28" fmla="*/ 2147483646 w 1807"/>
                <a:gd name="T29" fmla="*/ 0 h 1426"/>
                <a:gd name="T30" fmla="*/ 2147483646 w 1807"/>
                <a:gd name="T31" fmla="*/ 2147483646 h 1426"/>
                <a:gd name="T32" fmla="*/ 2147483646 w 1807"/>
                <a:gd name="T33" fmla="*/ 2147483646 h 1426"/>
                <a:gd name="T34" fmla="*/ 2147483646 w 1807"/>
                <a:gd name="T35" fmla="*/ 2147483646 h 1426"/>
                <a:gd name="T36" fmla="*/ 2147483646 w 1807"/>
                <a:gd name="T37" fmla="*/ 2147483646 h 1426"/>
                <a:gd name="T38" fmla="*/ 2147483646 w 1807"/>
                <a:gd name="T39" fmla="*/ 2147483646 h 1426"/>
                <a:gd name="T40" fmla="*/ 2147483646 w 1807"/>
                <a:gd name="T41" fmla="*/ 2147483646 h 1426"/>
                <a:gd name="T42" fmla="*/ 2147483646 w 1807"/>
                <a:gd name="T43" fmla="*/ 2147483646 h 1426"/>
                <a:gd name="T44" fmla="*/ 2147483646 w 1807"/>
                <a:gd name="T45" fmla="*/ 2147483646 h 1426"/>
                <a:gd name="T46" fmla="*/ 2147483646 w 1807"/>
                <a:gd name="T47" fmla="*/ 2147483646 h 1426"/>
                <a:gd name="T48" fmla="*/ 2147483646 w 1807"/>
                <a:gd name="T49" fmla="*/ 2147483646 h 1426"/>
                <a:gd name="T50" fmla="*/ 2147483646 w 1807"/>
                <a:gd name="T51" fmla="*/ 2147483646 h 1426"/>
                <a:gd name="T52" fmla="*/ 2147483646 w 1807"/>
                <a:gd name="T53" fmla="*/ 2147483646 h 1426"/>
                <a:gd name="T54" fmla="*/ 2147483646 w 1807"/>
                <a:gd name="T55" fmla="*/ 2147483646 h 1426"/>
                <a:gd name="T56" fmla="*/ 2147483646 w 1807"/>
                <a:gd name="T57" fmla="*/ 2147483646 h 1426"/>
                <a:gd name="T58" fmla="*/ 2147483646 w 1807"/>
                <a:gd name="T59" fmla="*/ 2147483646 h 1426"/>
                <a:gd name="T60" fmla="*/ 2147483646 w 1807"/>
                <a:gd name="T61" fmla="*/ 2147483646 h 1426"/>
                <a:gd name="T62" fmla="*/ 2147483646 w 1807"/>
                <a:gd name="T63" fmla="*/ 2147483646 h 1426"/>
                <a:gd name="T64" fmla="*/ 2147483646 w 1807"/>
                <a:gd name="T65" fmla="*/ 2147483646 h 1426"/>
                <a:gd name="T66" fmla="*/ 2147483646 w 1807"/>
                <a:gd name="T67" fmla="*/ 2147483646 h 1426"/>
                <a:gd name="T68" fmla="*/ 2147483646 w 1807"/>
                <a:gd name="T69" fmla="*/ 2147483646 h 1426"/>
                <a:gd name="T70" fmla="*/ 2147483646 w 1807"/>
                <a:gd name="T71" fmla="*/ 2147483646 h 1426"/>
                <a:gd name="T72" fmla="*/ 2147483646 w 1807"/>
                <a:gd name="T73" fmla="*/ 2147483646 h 1426"/>
                <a:gd name="T74" fmla="*/ 2147483646 w 1807"/>
                <a:gd name="T75" fmla="*/ 2147483646 h 1426"/>
                <a:gd name="T76" fmla="*/ 2147483646 w 1807"/>
                <a:gd name="T77" fmla="*/ 2147483646 h 1426"/>
                <a:gd name="T78" fmla="*/ 2147483646 w 1807"/>
                <a:gd name="T79" fmla="*/ 2147483646 h 1426"/>
                <a:gd name="T80" fmla="*/ 2147483646 w 1807"/>
                <a:gd name="T81" fmla="*/ 2147483646 h 1426"/>
                <a:gd name="T82" fmla="*/ 2147483646 w 1807"/>
                <a:gd name="T83" fmla="*/ 2147483646 h 1426"/>
                <a:gd name="T84" fmla="*/ 2147483646 w 1807"/>
                <a:gd name="T85" fmla="*/ 2147483646 h 1426"/>
                <a:gd name="T86" fmla="*/ 2147483646 w 1807"/>
                <a:gd name="T87" fmla="*/ 2147483646 h 1426"/>
                <a:gd name="T88" fmla="*/ 2147483646 w 1807"/>
                <a:gd name="T89" fmla="*/ 2147483646 h 1426"/>
                <a:gd name="T90" fmla="*/ 2147483646 w 1807"/>
                <a:gd name="T91" fmla="*/ 2147483646 h 1426"/>
                <a:gd name="T92" fmla="*/ 2147483646 w 1807"/>
                <a:gd name="T93" fmla="*/ 2147483646 h 1426"/>
                <a:gd name="T94" fmla="*/ 2147483646 w 1807"/>
                <a:gd name="T95" fmla="*/ 2147483646 h 1426"/>
                <a:gd name="T96" fmla="*/ 2147483646 w 1807"/>
                <a:gd name="T97" fmla="*/ 2147483646 h 1426"/>
                <a:gd name="T98" fmla="*/ 2147483646 w 1807"/>
                <a:gd name="T99" fmla="*/ 2147483646 h 1426"/>
                <a:gd name="T100" fmla="*/ 2147483646 w 1807"/>
                <a:gd name="T101" fmla="*/ 2147483646 h 1426"/>
                <a:gd name="T102" fmla="*/ 2147483646 w 1807"/>
                <a:gd name="T103" fmla="*/ 2147483646 h 1426"/>
                <a:gd name="T104" fmla="*/ 2147483646 w 1807"/>
                <a:gd name="T105" fmla="*/ 2147483646 h 1426"/>
                <a:gd name="T106" fmla="*/ 2147483646 w 1807"/>
                <a:gd name="T107" fmla="*/ 2147483646 h 1426"/>
                <a:gd name="T108" fmla="*/ 2147483646 w 1807"/>
                <a:gd name="T109" fmla="*/ 2147483646 h 1426"/>
                <a:gd name="T110" fmla="*/ 2147483646 w 1807"/>
                <a:gd name="T111" fmla="*/ 2147483646 h 1426"/>
                <a:gd name="T112" fmla="*/ 2147483646 w 1807"/>
                <a:gd name="T113" fmla="*/ 2147483646 h 1426"/>
                <a:gd name="T114" fmla="*/ 2147483646 w 1807"/>
                <a:gd name="T115" fmla="*/ 2147483646 h 1426"/>
                <a:gd name="T116" fmla="*/ 2147483646 w 1807"/>
                <a:gd name="T117" fmla="*/ 2147483646 h 1426"/>
                <a:gd name="T118" fmla="*/ 2147483646 w 1807"/>
                <a:gd name="T119" fmla="*/ 2147483646 h 1426"/>
                <a:gd name="T120" fmla="*/ 2147483646 w 1807"/>
                <a:gd name="T121" fmla="*/ 2147483646 h 1426"/>
                <a:gd name="T122" fmla="*/ 2147483646 w 1807"/>
                <a:gd name="T123" fmla="*/ 2147483646 h 14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807" h="1426">
                  <a:moveTo>
                    <a:pt x="1181" y="0"/>
                  </a:moveTo>
                  <a:cubicBezTo>
                    <a:pt x="1178" y="0"/>
                    <a:pt x="1174" y="0"/>
                    <a:pt x="1170" y="0"/>
                  </a:cubicBezTo>
                  <a:cubicBezTo>
                    <a:pt x="1170" y="0"/>
                    <a:pt x="1170" y="0"/>
                    <a:pt x="1169" y="0"/>
                  </a:cubicBezTo>
                  <a:cubicBezTo>
                    <a:pt x="1168" y="0"/>
                    <a:pt x="1168" y="0"/>
                    <a:pt x="1167" y="0"/>
                  </a:cubicBezTo>
                  <a:cubicBezTo>
                    <a:pt x="1166" y="0"/>
                    <a:pt x="1166" y="0"/>
                    <a:pt x="1165" y="0"/>
                  </a:cubicBezTo>
                  <a:cubicBezTo>
                    <a:pt x="1163" y="0"/>
                    <a:pt x="1160" y="0"/>
                    <a:pt x="1157" y="0"/>
                  </a:cubicBezTo>
                  <a:cubicBezTo>
                    <a:pt x="1157" y="0"/>
                    <a:pt x="1157" y="0"/>
                    <a:pt x="1156" y="0"/>
                  </a:cubicBezTo>
                  <a:cubicBezTo>
                    <a:pt x="1153" y="0"/>
                    <a:pt x="1149" y="0"/>
                    <a:pt x="1145" y="0"/>
                  </a:cubicBezTo>
                  <a:cubicBezTo>
                    <a:pt x="1145" y="0"/>
                    <a:pt x="1144" y="0"/>
                    <a:pt x="1144" y="0"/>
                  </a:cubicBezTo>
                  <a:cubicBezTo>
                    <a:pt x="1142" y="0"/>
                    <a:pt x="1140" y="0"/>
                    <a:pt x="1138" y="1"/>
                  </a:cubicBezTo>
                  <a:cubicBezTo>
                    <a:pt x="1138" y="1"/>
                    <a:pt x="1137" y="1"/>
                    <a:pt x="1137" y="1"/>
                  </a:cubicBezTo>
                  <a:cubicBezTo>
                    <a:pt x="1137" y="1"/>
                    <a:pt x="1136" y="1"/>
                    <a:pt x="1136" y="1"/>
                  </a:cubicBezTo>
                  <a:cubicBezTo>
                    <a:pt x="1136" y="1"/>
                    <a:pt x="1135" y="1"/>
                    <a:pt x="1135" y="1"/>
                  </a:cubicBezTo>
                  <a:cubicBezTo>
                    <a:pt x="1135" y="1"/>
                    <a:pt x="1135" y="1"/>
                    <a:pt x="1135" y="1"/>
                  </a:cubicBezTo>
                  <a:cubicBezTo>
                    <a:pt x="1135" y="1"/>
                    <a:pt x="1135" y="1"/>
                    <a:pt x="1134" y="1"/>
                  </a:cubicBezTo>
                  <a:cubicBezTo>
                    <a:pt x="1134" y="1"/>
                    <a:pt x="1134" y="1"/>
                    <a:pt x="1133" y="1"/>
                  </a:cubicBezTo>
                  <a:cubicBezTo>
                    <a:pt x="1131" y="1"/>
                    <a:pt x="1129" y="1"/>
                    <a:pt x="1127" y="1"/>
                  </a:cubicBezTo>
                  <a:cubicBezTo>
                    <a:pt x="1125" y="1"/>
                    <a:pt x="1122" y="1"/>
                    <a:pt x="1120" y="1"/>
                  </a:cubicBezTo>
                  <a:cubicBezTo>
                    <a:pt x="1119" y="1"/>
                    <a:pt x="1119" y="2"/>
                    <a:pt x="1118" y="2"/>
                  </a:cubicBezTo>
                  <a:cubicBezTo>
                    <a:pt x="1118" y="2"/>
                    <a:pt x="1117" y="2"/>
                    <a:pt x="1116" y="2"/>
                  </a:cubicBezTo>
                  <a:cubicBezTo>
                    <a:pt x="1115" y="2"/>
                    <a:pt x="1115" y="2"/>
                    <a:pt x="1115" y="2"/>
                  </a:cubicBezTo>
                  <a:cubicBezTo>
                    <a:pt x="1110" y="2"/>
                    <a:pt x="1105" y="3"/>
                    <a:pt x="1100" y="3"/>
                  </a:cubicBezTo>
                  <a:cubicBezTo>
                    <a:pt x="1100" y="3"/>
                    <a:pt x="1099" y="3"/>
                    <a:pt x="1099" y="3"/>
                  </a:cubicBezTo>
                  <a:cubicBezTo>
                    <a:pt x="1099" y="3"/>
                    <a:pt x="1098" y="3"/>
                    <a:pt x="1098" y="3"/>
                  </a:cubicBezTo>
                  <a:cubicBezTo>
                    <a:pt x="1097" y="3"/>
                    <a:pt x="1095" y="3"/>
                    <a:pt x="1094" y="4"/>
                  </a:cubicBezTo>
                  <a:cubicBezTo>
                    <a:pt x="1088" y="4"/>
                    <a:pt x="1083" y="5"/>
                    <a:pt x="1077" y="6"/>
                  </a:cubicBezTo>
                  <a:cubicBezTo>
                    <a:pt x="1077" y="6"/>
                    <a:pt x="1076" y="6"/>
                    <a:pt x="1076" y="6"/>
                  </a:cubicBezTo>
                  <a:cubicBezTo>
                    <a:pt x="1073" y="6"/>
                    <a:pt x="1070" y="7"/>
                    <a:pt x="1067" y="7"/>
                  </a:cubicBezTo>
                  <a:cubicBezTo>
                    <a:pt x="1067" y="7"/>
                    <a:pt x="1066" y="7"/>
                    <a:pt x="1066" y="7"/>
                  </a:cubicBezTo>
                  <a:cubicBezTo>
                    <a:pt x="1064" y="8"/>
                    <a:pt x="1063" y="8"/>
                    <a:pt x="1061" y="8"/>
                  </a:cubicBezTo>
                  <a:cubicBezTo>
                    <a:pt x="1061" y="8"/>
                    <a:pt x="1060" y="8"/>
                    <a:pt x="1060" y="8"/>
                  </a:cubicBezTo>
                  <a:cubicBezTo>
                    <a:pt x="1051" y="10"/>
                    <a:pt x="1043" y="12"/>
                    <a:pt x="1035" y="14"/>
                  </a:cubicBezTo>
                  <a:cubicBezTo>
                    <a:pt x="1034" y="14"/>
                    <a:pt x="1034" y="14"/>
                    <a:pt x="1033" y="14"/>
                  </a:cubicBezTo>
                  <a:cubicBezTo>
                    <a:pt x="1027" y="15"/>
                    <a:pt x="1020" y="17"/>
                    <a:pt x="1014" y="19"/>
                  </a:cubicBezTo>
                  <a:cubicBezTo>
                    <a:pt x="1013" y="19"/>
                    <a:pt x="1012" y="20"/>
                    <a:pt x="1012" y="20"/>
                  </a:cubicBezTo>
                  <a:cubicBezTo>
                    <a:pt x="1009" y="21"/>
                    <a:pt x="1005" y="22"/>
                    <a:pt x="1002" y="23"/>
                  </a:cubicBezTo>
                  <a:cubicBezTo>
                    <a:pt x="1002" y="23"/>
                    <a:pt x="1001" y="24"/>
                    <a:pt x="1000" y="24"/>
                  </a:cubicBezTo>
                  <a:cubicBezTo>
                    <a:pt x="1000" y="24"/>
                    <a:pt x="999" y="24"/>
                    <a:pt x="999" y="24"/>
                  </a:cubicBezTo>
                  <a:cubicBezTo>
                    <a:pt x="996" y="25"/>
                    <a:pt x="993" y="26"/>
                    <a:pt x="990" y="28"/>
                  </a:cubicBezTo>
                  <a:cubicBezTo>
                    <a:pt x="990" y="28"/>
                    <a:pt x="989" y="28"/>
                    <a:pt x="989" y="28"/>
                  </a:cubicBezTo>
                  <a:cubicBezTo>
                    <a:pt x="988" y="29"/>
                    <a:pt x="986" y="29"/>
                    <a:pt x="985" y="30"/>
                  </a:cubicBezTo>
                  <a:cubicBezTo>
                    <a:pt x="985" y="30"/>
                    <a:pt x="984" y="30"/>
                    <a:pt x="984" y="30"/>
                  </a:cubicBezTo>
                  <a:cubicBezTo>
                    <a:pt x="983" y="30"/>
                    <a:pt x="983" y="31"/>
                    <a:pt x="982" y="31"/>
                  </a:cubicBezTo>
                  <a:cubicBezTo>
                    <a:pt x="982" y="31"/>
                    <a:pt x="981" y="31"/>
                    <a:pt x="981" y="32"/>
                  </a:cubicBezTo>
                  <a:cubicBezTo>
                    <a:pt x="973" y="35"/>
                    <a:pt x="966" y="39"/>
                    <a:pt x="959" y="43"/>
                  </a:cubicBezTo>
                  <a:cubicBezTo>
                    <a:pt x="958" y="43"/>
                    <a:pt x="957" y="44"/>
                    <a:pt x="957" y="44"/>
                  </a:cubicBezTo>
                  <a:cubicBezTo>
                    <a:pt x="956" y="44"/>
                    <a:pt x="955" y="45"/>
                    <a:pt x="954" y="45"/>
                  </a:cubicBezTo>
                  <a:cubicBezTo>
                    <a:pt x="955" y="45"/>
                    <a:pt x="956" y="45"/>
                    <a:pt x="957" y="45"/>
                  </a:cubicBezTo>
                  <a:cubicBezTo>
                    <a:pt x="964" y="40"/>
                    <a:pt x="972" y="36"/>
                    <a:pt x="980" y="33"/>
                  </a:cubicBezTo>
                  <a:cubicBezTo>
                    <a:pt x="981" y="33"/>
                    <a:pt x="981" y="32"/>
                    <a:pt x="981" y="32"/>
                  </a:cubicBezTo>
                  <a:cubicBezTo>
                    <a:pt x="982" y="32"/>
                    <a:pt x="983" y="32"/>
                    <a:pt x="984" y="31"/>
                  </a:cubicBezTo>
                  <a:cubicBezTo>
                    <a:pt x="984" y="31"/>
                    <a:pt x="985" y="31"/>
                    <a:pt x="985" y="31"/>
                  </a:cubicBezTo>
                  <a:cubicBezTo>
                    <a:pt x="986" y="30"/>
                    <a:pt x="987" y="30"/>
                    <a:pt x="989" y="29"/>
                  </a:cubicBezTo>
                  <a:cubicBezTo>
                    <a:pt x="989" y="29"/>
                    <a:pt x="989" y="29"/>
                    <a:pt x="990" y="29"/>
                  </a:cubicBezTo>
                  <a:cubicBezTo>
                    <a:pt x="992" y="28"/>
                    <a:pt x="995" y="27"/>
                    <a:pt x="998" y="26"/>
                  </a:cubicBezTo>
                  <a:cubicBezTo>
                    <a:pt x="999" y="25"/>
                    <a:pt x="999" y="25"/>
                    <a:pt x="1000" y="25"/>
                  </a:cubicBezTo>
                  <a:cubicBezTo>
                    <a:pt x="1003" y="24"/>
                    <a:pt x="1007" y="23"/>
                    <a:pt x="1010" y="21"/>
                  </a:cubicBezTo>
                  <a:cubicBezTo>
                    <a:pt x="1011" y="21"/>
                    <a:pt x="1011" y="21"/>
                    <a:pt x="1012" y="21"/>
                  </a:cubicBezTo>
                  <a:cubicBezTo>
                    <a:pt x="1019" y="19"/>
                    <a:pt x="1025" y="17"/>
                    <a:pt x="1033" y="15"/>
                  </a:cubicBezTo>
                  <a:cubicBezTo>
                    <a:pt x="1033" y="15"/>
                    <a:pt x="1033" y="15"/>
                    <a:pt x="1034" y="15"/>
                  </a:cubicBezTo>
                  <a:cubicBezTo>
                    <a:pt x="1042" y="13"/>
                    <a:pt x="1050" y="11"/>
                    <a:pt x="1058" y="10"/>
                  </a:cubicBezTo>
                  <a:cubicBezTo>
                    <a:pt x="1059" y="9"/>
                    <a:pt x="1060" y="9"/>
                    <a:pt x="1060" y="9"/>
                  </a:cubicBezTo>
                  <a:cubicBezTo>
                    <a:pt x="1062" y="9"/>
                    <a:pt x="1064" y="9"/>
                    <a:pt x="1065" y="8"/>
                  </a:cubicBezTo>
                  <a:cubicBezTo>
                    <a:pt x="1066" y="8"/>
                    <a:pt x="1066" y="8"/>
                    <a:pt x="1066" y="8"/>
                  </a:cubicBezTo>
                  <a:cubicBezTo>
                    <a:pt x="1069" y="8"/>
                    <a:pt x="1072" y="7"/>
                    <a:pt x="1075" y="7"/>
                  </a:cubicBezTo>
                  <a:cubicBezTo>
                    <a:pt x="1075" y="7"/>
                    <a:pt x="1076" y="7"/>
                    <a:pt x="1076" y="7"/>
                  </a:cubicBezTo>
                  <a:cubicBezTo>
                    <a:pt x="1081" y="6"/>
                    <a:pt x="1087" y="5"/>
                    <a:pt x="1092" y="5"/>
                  </a:cubicBezTo>
                  <a:cubicBezTo>
                    <a:pt x="1093" y="5"/>
                    <a:pt x="1093" y="5"/>
                    <a:pt x="1094" y="5"/>
                  </a:cubicBezTo>
                  <a:cubicBezTo>
                    <a:pt x="1095" y="4"/>
                    <a:pt x="1096" y="4"/>
                    <a:pt x="1098" y="4"/>
                  </a:cubicBezTo>
                  <a:cubicBezTo>
                    <a:pt x="1098" y="4"/>
                    <a:pt x="1098" y="4"/>
                    <a:pt x="1099" y="4"/>
                  </a:cubicBezTo>
                  <a:cubicBezTo>
                    <a:pt x="1099" y="4"/>
                    <a:pt x="1099" y="4"/>
                    <a:pt x="1099" y="4"/>
                  </a:cubicBezTo>
                  <a:cubicBezTo>
                    <a:pt x="1099" y="4"/>
                    <a:pt x="1099" y="4"/>
                    <a:pt x="1100" y="4"/>
                  </a:cubicBezTo>
                  <a:cubicBezTo>
                    <a:pt x="1104" y="4"/>
                    <a:pt x="1109" y="3"/>
                    <a:pt x="1114" y="3"/>
                  </a:cubicBezTo>
                  <a:cubicBezTo>
                    <a:pt x="1114" y="3"/>
                    <a:pt x="1115" y="3"/>
                    <a:pt x="1115" y="3"/>
                  </a:cubicBezTo>
                  <a:cubicBezTo>
                    <a:pt x="1116" y="3"/>
                    <a:pt x="1117" y="3"/>
                    <a:pt x="1118" y="3"/>
                  </a:cubicBezTo>
                  <a:cubicBezTo>
                    <a:pt x="1118" y="3"/>
                    <a:pt x="1119" y="3"/>
                    <a:pt x="1119" y="3"/>
                  </a:cubicBezTo>
                  <a:cubicBezTo>
                    <a:pt x="1122" y="2"/>
                    <a:pt x="1125" y="2"/>
                    <a:pt x="1127" y="2"/>
                  </a:cubicBezTo>
                  <a:cubicBezTo>
                    <a:pt x="1129" y="2"/>
                    <a:pt x="1132" y="2"/>
                    <a:pt x="1134" y="2"/>
                  </a:cubicBezTo>
                  <a:cubicBezTo>
                    <a:pt x="1134" y="2"/>
                    <a:pt x="1134" y="2"/>
                    <a:pt x="1135" y="2"/>
                  </a:cubicBezTo>
                  <a:cubicBezTo>
                    <a:pt x="1135" y="2"/>
                    <a:pt x="1135" y="2"/>
                    <a:pt x="1135" y="2"/>
                  </a:cubicBezTo>
                  <a:cubicBezTo>
                    <a:pt x="1135" y="2"/>
                    <a:pt x="1135" y="2"/>
                    <a:pt x="1136" y="2"/>
                  </a:cubicBezTo>
                  <a:cubicBezTo>
                    <a:pt x="1136" y="2"/>
                    <a:pt x="1136" y="2"/>
                    <a:pt x="1136" y="2"/>
                  </a:cubicBezTo>
                  <a:cubicBezTo>
                    <a:pt x="1136" y="2"/>
                    <a:pt x="1136" y="2"/>
                    <a:pt x="1137" y="2"/>
                  </a:cubicBezTo>
                  <a:cubicBezTo>
                    <a:pt x="1137" y="2"/>
                    <a:pt x="1137" y="2"/>
                    <a:pt x="1138" y="2"/>
                  </a:cubicBezTo>
                  <a:cubicBezTo>
                    <a:pt x="1140" y="2"/>
                    <a:pt x="1141" y="1"/>
                    <a:pt x="1143" y="1"/>
                  </a:cubicBezTo>
                  <a:cubicBezTo>
                    <a:pt x="1144" y="1"/>
                    <a:pt x="1144" y="1"/>
                    <a:pt x="1144" y="1"/>
                  </a:cubicBezTo>
                  <a:cubicBezTo>
                    <a:pt x="1148" y="1"/>
                    <a:pt x="1152" y="1"/>
                    <a:pt x="1156" y="1"/>
                  </a:cubicBezTo>
                  <a:cubicBezTo>
                    <a:pt x="1156" y="1"/>
                    <a:pt x="1157" y="1"/>
                    <a:pt x="1157" y="1"/>
                  </a:cubicBezTo>
                  <a:cubicBezTo>
                    <a:pt x="1160" y="1"/>
                    <a:pt x="1162" y="1"/>
                    <a:pt x="1165" y="1"/>
                  </a:cubicBezTo>
                  <a:cubicBezTo>
                    <a:pt x="1165" y="1"/>
                    <a:pt x="1166" y="1"/>
                    <a:pt x="1166" y="1"/>
                  </a:cubicBezTo>
                  <a:cubicBezTo>
                    <a:pt x="1167" y="1"/>
                    <a:pt x="1168" y="1"/>
                    <a:pt x="1169" y="1"/>
                  </a:cubicBezTo>
                  <a:cubicBezTo>
                    <a:pt x="1169" y="1"/>
                    <a:pt x="1169" y="1"/>
                    <a:pt x="1170" y="1"/>
                  </a:cubicBezTo>
                  <a:cubicBezTo>
                    <a:pt x="1174" y="1"/>
                    <a:pt x="1177" y="1"/>
                    <a:pt x="1181" y="1"/>
                  </a:cubicBezTo>
                  <a:cubicBezTo>
                    <a:pt x="1183" y="1"/>
                    <a:pt x="1184" y="1"/>
                    <a:pt x="1186" y="1"/>
                  </a:cubicBezTo>
                  <a:cubicBezTo>
                    <a:pt x="1186" y="1"/>
                    <a:pt x="1186" y="1"/>
                    <a:pt x="1187" y="1"/>
                  </a:cubicBezTo>
                  <a:cubicBezTo>
                    <a:pt x="1194" y="1"/>
                    <a:pt x="1201" y="1"/>
                    <a:pt x="1208" y="1"/>
                  </a:cubicBezTo>
                  <a:cubicBezTo>
                    <a:pt x="1208" y="1"/>
                    <a:pt x="1208" y="1"/>
                    <a:pt x="1209" y="1"/>
                  </a:cubicBezTo>
                  <a:cubicBezTo>
                    <a:pt x="1209" y="1"/>
                    <a:pt x="1209" y="1"/>
                    <a:pt x="1209" y="1"/>
                  </a:cubicBezTo>
                  <a:cubicBezTo>
                    <a:pt x="1210" y="1"/>
                    <a:pt x="1210" y="1"/>
                    <a:pt x="1211" y="1"/>
                  </a:cubicBezTo>
                  <a:cubicBezTo>
                    <a:pt x="1215" y="1"/>
                    <a:pt x="1219" y="1"/>
                    <a:pt x="1223" y="2"/>
                  </a:cubicBezTo>
                  <a:cubicBezTo>
                    <a:pt x="1224" y="2"/>
                    <a:pt x="1224" y="2"/>
                    <a:pt x="1224" y="2"/>
                  </a:cubicBezTo>
                  <a:cubicBezTo>
                    <a:pt x="1227" y="2"/>
                    <a:pt x="1229" y="2"/>
                    <a:pt x="1232" y="2"/>
                  </a:cubicBezTo>
                  <a:cubicBezTo>
                    <a:pt x="1232" y="2"/>
                    <a:pt x="1233" y="2"/>
                    <a:pt x="1233" y="2"/>
                  </a:cubicBezTo>
                  <a:cubicBezTo>
                    <a:pt x="1234" y="2"/>
                    <a:pt x="1235" y="2"/>
                    <a:pt x="1236" y="2"/>
                  </a:cubicBezTo>
                  <a:cubicBezTo>
                    <a:pt x="1237" y="2"/>
                    <a:pt x="1237" y="3"/>
                    <a:pt x="1238" y="3"/>
                  </a:cubicBezTo>
                  <a:cubicBezTo>
                    <a:pt x="1241" y="3"/>
                    <a:pt x="1245" y="3"/>
                    <a:pt x="1248" y="3"/>
                  </a:cubicBezTo>
                  <a:cubicBezTo>
                    <a:pt x="1249" y="3"/>
                    <a:pt x="1249" y="3"/>
                    <a:pt x="1249" y="3"/>
                  </a:cubicBezTo>
                  <a:cubicBezTo>
                    <a:pt x="1251" y="4"/>
                    <a:pt x="1254" y="4"/>
                    <a:pt x="1256" y="4"/>
                  </a:cubicBezTo>
                  <a:cubicBezTo>
                    <a:pt x="1256" y="4"/>
                    <a:pt x="1256" y="4"/>
                    <a:pt x="1257" y="4"/>
                  </a:cubicBezTo>
                  <a:cubicBezTo>
                    <a:pt x="1257" y="4"/>
                    <a:pt x="1257" y="4"/>
                    <a:pt x="1257" y="4"/>
                  </a:cubicBezTo>
                  <a:cubicBezTo>
                    <a:pt x="1258" y="4"/>
                    <a:pt x="1258" y="4"/>
                    <a:pt x="1259" y="4"/>
                  </a:cubicBezTo>
                  <a:cubicBezTo>
                    <a:pt x="1259" y="4"/>
                    <a:pt x="1259" y="4"/>
                    <a:pt x="1260" y="4"/>
                  </a:cubicBezTo>
                  <a:cubicBezTo>
                    <a:pt x="1262" y="5"/>
                    <a:pt x="1264" y="5"/>
                    <a:pt x="1266" y="5"/>
                  </a:cubicBezTo>
                  <a:cubicBezTo>
                    <a:pt x="1266" y="5"/>
                    <a:pt x="1267" y="5"/>
                    <a:pt x="1267" y="5"/>
                  </a:cubicBezTo>
                  <a:cubicBezTo>
                    <a:pt x="1267" y="5"/>
                    <a:pt x="1267" y="5"/>
                    <a:pt x="1267" y="5"/>
                  </a:cubicBezTo>
                  <a:cubicBezTo>
                    <a:pt x="1268" y="5"/>
                    <a:pt x="1268" y="5"/>
                    <a:pt x="1268" y="5"/>
                  </a:cubicBezTo>
                  <a:cubicBezTo>
                    <a:pt x="1269" y="6"/>
                    <a:pt x="1269" y="6"/>
                    <a:pt x="1269" y="6"/>
                  </a:cubicBezTo>
                  <a:cubicBezTo>
                    <a:pt x="1270" y="6"/>
                    <a:pt x="1270" y="6"/>
                    <a:pt x="1271" y="6"/>
                  </a:cubicBezTo>
                  <a:cubicBezTo>
                    <a:pt x="1272" y="6"/>
                    <a:pt x="1273" y="6"/>
                    <a:pt x="1274" y="6"/>
                  </a:cubicBezTo>
                  <a:cubicBezTo>
                    <a:pt x="1274" y="6"/>
                    <a:pt x="1275" y="6"/>
                    <a:pt x="1275" y="6"/>
                  </a:cubicBezTo>
                  <a:cubicBezTo>
                    <a:pt x="1276" y="6"/>
                    <a:pt x="1277" y="7"/>
                    <a:pt x="1278" y="7"/>
                  </a:cubicBezTo>
                  <a:cubicBezTo>
                    <a:pt x="1278" y="7"/>
                    <a:pt x="1279" y="7"/>
                    <a:pt x="1279" y="7"/>
                  </a:cubicBezTo>
                  <a:cubicBezTo>
                    <a:pt x="1279" y="7"/>
                    <a:pt x="1279" y="7"/>
                    <a:pt x="1279" y="7"/>
                  </a:cubicBezTo>
                  <a:cubicBezTo>
                    <a:pt x="1280" y="7"/>
                    <a:pt x="1280" y="7"/>
                    <a:pt x="1280" y="7"/>
                  </a:cubicBezTo>
                  <a:cubicBezTo>
                    <a:pt x="1306" y="11"/>
                    <a:pt x="1327" y="16"/>
                    <a:pt x="1345" y="23"/>
                  </a:cubicBezTo>
                  <a:cubicBezTo>
                    <a:pt x="1346" y="23"/>
                    <a:pt x="1346" y="23"/>
                    <a:pt x="1346" y="23"/>
                  </a:cubicBezTo>
                  <a:cubicBezTo>
                    <a:pt x="1357" y="27"/>
                    <a:pt x="1366" y="31"/>
                    <a:pt x="1375" y="36"/>
                  </a:cubicBezTo>
                  <a:cubicBezTo>
                    <a:pt x="1388" y="43"/>
                    <a:pt x="1398" y="51"/>
                    <a:pt x="1406" y="60"/>
                  </a:cubicBezTo>
                  <a:cubicBezTo>
                    <a:pt x="1407" y="60"/>
                    <a:pt x="1407" y="60"/>
                    <a:pt x="1407" y="60"/>
                  </a:cubicBezTo>
                  <a:cubicBezTo>
                    <a:pt x="1421" y="75"/>
                    <a:pt x="1428" y="92"/>
                    <a:pt x="1430" y="110"/>
                  </a:cubicBezTo>
                  <a:cubicBezTo>
                    <a:pt x="1430" y="110"/>
                    <a:pt x="1430" y="111"/>
                    <a:pt x="1430" y="111"/>
                  </a:cubicBezTo>
                  <a:cubicBezTo>
                    <a:pt x="1430" y="114"/>
                    <a:pt x="1430" y="117"/>
                    <a:pt x="1430" y="120"/>
                  </a:cubicBezTo>
                  <a:cubicBezTo>
                    <a:pt x="1430" y="133"/>
                    <a:pt x="1427" y="147"/>
                    <a:pt x="1423" y="161"/>
                  </a:cubicBezTo>
                  <a:cubicBezTo>
                    <a:pt x="1422" y="161"/>
                    <a:pt x="1422" y="162"/>
                    <a:pt x="1422" y="162"/>
                  </a:cubicBezTo>
                  <a:cubicBezTo>
                    <a:pt x="1417" y="175"/>
                    <a:pt x="1411" y="188"/>
                    <a:pt x="1403" y="201"/>
                  </a:cubicBezTo>
                  <a:cubicBezTo>
                    <a:pt x="1403" y="202"/>
                    <a:pt x="1402" y="202"/>
                    <a:pt x="1402" y="203"/>
                  </a:cubicBezTo>
                  <a:cubicBezTo>
                    <a:pt x="1396" y="212"/>
                    <a:pt x="1390" y="221"/>
                    <a:pt x="1383" y="229"/>
                  </a:cubicBezTo>
                  <a:cubicBezTo>
                    <a:pt x="1383" y="230"/>
                    <a:pt x="1382" y="230"/>
                    <a:pt x="1382" y="231"/>
                  </a:cubicBezTo>
                  <a:cubicBezTo>
                    <a:pt x="1361" y="256"/>
                    <a:pt x="1336" y="281"/>
                    <a:pt x="1308" y="302"/>
                  </a:cubicBezTo>
                  <a:cubicBezTo>
                    <a:pt x="1302" y="306"/>
                    <a:pt x="1297" y="312"/>
                    <a:pt x="1292" y="317"/>
                  </a:cubicBezTo>
                  <a:cubicBezTo>
                    <a:pt x="1292" y="318"/>
                    <a:pt x="1292" y="318"/>
                    <a:pt x="1291" y="319"/>
                  </a:cubicBezTo>
                  <a:cubicBezTo>
                    <a:pt x="1283" y="332"/>
                    <a:pt x="1279" y="347"/>
                    <a:pt x="1279" y="364"/>
                  </a:cubicBezTo>
                  <a:cubicBezTo>
                    <a:pt x="1279" y="369"/>
                    <a:pt x="1279" y="374"/>
                    <a:pt x="1279" y="379"/>
                  </a:cubicBezTo>
                  <a:cubicBezTo>
                    <a:pt x="1280" y="379"/>
                    <a:pt x="1280" y="380"/>
                    <a:pt x="1280" y="380"/>
                  </a:cubicBezTo>
                  <a:cubicBezTo>
                    <a:pt x="1282" y="400"/>
                    <a:pt x="1289" y="422"/>
                    <a:pt x="1299" y="447"/>
                  </a:cubicBezTo>
                  <a:cubicBezTo>
                    <a:pt x="1300" y="447"/>
                    <a:pt x="1300" y="447"/>
                    <a:pt x="1300" y="448"/>
                  </a:cubicBezTo>
                  <a:cubicBezTo>
                    <a:pt x="1307" y="464"/>
                    <a:pt x="1315" y="481"/>
                    <a:pt x="1325" y="498"/>
                  </a:cubicBezTo>
                  <a:cubicBezTo>
                    <a:pt x="1325" y="498"/>
                    <a:pt x="1325" y="499"/>
                    <a:pt x="1326" y="499"/>
                  </a:cubicBezTo>
                  <a:cubicBezTo>
                    <a:pt x="1334" y="515"/>
                    <a:pt x="1344" y="531"/>
                    <a:pt x="1355" y="548"/>
                  </a:cubicBezTo>
                  <a:cubicBezTo>
                    <a:pt x="1355" y="548"/>
                    <a:pt x="1355" y="548"/>
                    <a:pt x="1355" y="549"/>
                  </a:cubicBezTo>
                  <a:cubicBezTo>
                    <a:pt x="1365" y="565"/>
                    <a:pt x="1376" y="581"/>
                    <a:pt x="1387" y="597"/>
                  </a:cubicBezTo>
                  <a:cubicBezTo>
                    <a:pt x="1387" y="598"/>
                    <a:pt x="1387" y="598"/>
                    <a:pt x="1388" y="598"/>
                  </a:cubicBezTo>
                  <a:cubicBezTo>
                    <a:pt x="1399" y="614"/>
                    <a:pt x="1410" y="631"/>
                    <a:pt x="1422" y="648"/>
                  </a:cubicBezTo>
                  <a:cubicBezTo>
                    <a:pt x="1422" y="648"/>
                    <a:pt x="1422" y="648"/>
                    <a:pt x="1423" y="649"/>
                  </a:cubicBezTo>
                  <a:cubicBezTo>
                    <a:pt x="1435" y="666"/>
                    <a:pt x="1447" y="684"/>
                    <a:pt x="1460" y="701"/>
                  </a:cubicBezTo>
                  <a:cubicBezTo>
                    <a:pt x="1460" y="701"/>
                    <a:pt x="1461" y="702"/>
                    <a:pt x="1461" y="702"/>
                  </a:cubicBezTo>
                  <a:cubicBezTo>
                    <a:pt x="1475" y="721"/>
                    <a:pt x="1488" y="740"/>
                    <a:pt x="1502" y="759"/>
                  </a:cubicBezTo>
                  <a:cubicBezTo>
                    <a:pt x="1502" y="759"/>
                    <a:pt x="1503" y="760"/>
                    <a:pt x="1503" y="760"/>
                  </a:cubicBezTo>
                  <a:cubicBezTo>
                    <a:pt x="1519" y="782"/>
                    <a:pt x="1534" y="804"/>
                    <a:pt x="1549" y="825"/>
                  </a:cubicBezTo>
                  <a:cubicBezTo>
                    <a:pt x="1550" y="826"/>
                    <a:pt x="1550" y="826"/>
                    <a:pt x="1550" y="827"/>
                  </a:cubicBezTo>
                  <a:cubicBezTo>
                    <a:pt x="1551" y="827"/>
                    <a:pt x="1551" y="828"/>
                    <a:pt x="1551" y="828"/>
                  </a:cubicBezTo>
                  <a:cubicBezTo>
                    <a:pt x="1572" y="857"/>
                    <a:pt x="1591" y="887"/>
                    <a:pt x="1608" y="917"/>
                  </a:cubicBezTo>
                  <a:cubicBezTo>
                    <a:pt x="1609" y="918"/>
                    <a:pt x="1609" y="919"/>
                    <a:pt x="1610" y="919"/>
                  </a:cubicBezTo>
                  <a:cubicBezTo>
                    <a:pt x="1624" y="943"/>
                    <a:pt x="1637" y="967"/>
                    <a:pt x="1650" y="991"/>
                  </a:cubicBezTo>
                  <a:cubicBezTo>
                    <a:pt x="1651" y="993"/>
                    <a:pt x="1652" y="995"/>
                    <a:pt x="1653" y="998"/>
                  </a:cubicBezTo>
                  <a:cubicBezTo>
                    <a:pt x="1657" y="1005"/>
                    <a:pt x="1661" y="1012"/>
                    <a:pt x="1664" y="1018"/>
                  </a:cubicBezTo>
                  <a:cubicBezTo>
                    <a:pt x="1666" y="1021"/>
                    <a:pt x="1667" y="1024"/>
                    <a:pt x="1669" y="1027"/>
                  </a:cubicBezTo>
                  <a:cubicBezTo>
                    <a:pt x="1672" y="1033"/>
                    <a:pt x="1675" y="1039"/>
                    <a:pt x="1678" y="1046"/>
                  </a:cubicBezTo>
                  <a:cubicBezTo>
                    <a:pt x="1680" y="1049"/>
                    <a:pt x="1682" y="1053"/>
                    <a:pt x="1684" y="1057"/>
                  </a:cubicBezTo>
                  <a:cubicBezTo>
                    <a:pt x="1685" y="1058"/>
                    <a:pt x="1685" y="1060"/>
                    <a:pt x="1686" y="1061"/>
                  </a:cubicBezTo>
                  <a:cubicBezTo>
                    <a:pt x="1687" y="1063"/>
                    <a:pt x="1688" y="1064"/>
                    <a:pt x="1688" y="1065"/>
                  </a:cubicBezTo>
                  <a:cubicBezTo>
                    <a:pt x="1692" y="1072"/>
                    <a:pt x="1695" y="1079"/>
                    <a:pt x="1698" y="1085"/>
                  </a:cubicBezTo>
                  <a:cubicBezTo>
                    <a:pt x="1698" y="1086"/>
                    <a:pt x="1699" y="1087"/>
                    <a:pt x="1699" y="1087"/>
                  </a:cubicBezTo>
                  <a:cubicBezTo>
                    <a:pt x="1713" y="1115"/>
                    <a:pt x="1726" y="1142"/>
                    <a:pt x="1738" y="1165"/>
                  </a:cubicBezTo>
                  <a:cubicBezTo>
                    <a:pt x="1747" y="1182"/>
                    <a:pt x="1755" y="1197"/>
                    <a:pt x="1762" y="1212"/>
                  </a:cubicBezTo>
                  <a:cubicBezTo>
                    <a:pt x="1762" y="1212"/>
                    <a:pt x="1763" y="1213"/>
                    <a:pt x="1763" y="1214"/>
                  </a:cubicBezTo>
                  <a:cubicBezTo>
                    <a:pt x="1757" y="1201"/>
                    <a:pt x="1751" y="1188"/>
                    <a:pt x="1743" y="1174"/>
                  </a:cubicBezTo>
                  <a:cubicBezTo>
                    <a:pt x="1727" y="1142"/>
                    <a:pt x="1709" y="1105"/>
                    <a:pt x="1689" y="1065"/>
                  </a:cubicBezTo>
                  <a:cubicBezTo>
                    <a:pt x="1687" y="1060"/>
                    <a:pt x="1684" y="1055"/>
                    <a:pt x="1681" y="1049"/>
                  </a:cubicBezTo>
                  <a:cubicBezTo>
                    <a:pt x="1680" y="1048"/>
                    <a:pt x="1680" y="1046"/>
                    <a:pt x="1679" y="1045"/>
                  </a:cubicBezTo>
                  <a:cubicBezTo>
                    <a:pt x="1678" y="1042"/>
                    <a:pt x="1676" y="1039"/>
                    <a:pt x="1674" y="1036"/>
                  </a:cubicBezTo>
                  <a:cubicBezTo>
                    <a:pt x="1671" y="1030"/>
                    <a:pt x="1668" y="1024"/>
                    <a:pt x="1665" y="1018"/>
                  </a:cubicBezTo>
                  <a:cubicBezTo>
                    <a:pt x="1664" y="1016"/>
                    <a:pt x="1663" y="1013"/>
                    <a:pt x="1662" y="1011"/>
                  </a:cubicBezTo>
                  <a:cubicBezTo>
                    <a:pt x="1658" y="1004"/>
                    <a:pt x="1654" y="997"/>
                    <a:pt x="1651" y="990"/>
                  </a:cubicBezTo>
                  <a:cubicBezTo>
                    <a:pt x="1649" y="988"/>
                    <a:pt x="1648" y="986"/>
                    <a:pt x="1647" y="984"/>
                  </a:cubicBezTo>
                  <a:cubicBezTo>
                    <a:pt x="1635" y="962"/>
                    <a:pt x="1623" y="939"/>
                    <a:pt x="1609" y="917"/>
                  </a:cubicBezTo>
                  <a:cubicBezTo>
                    <a:pt x="1609" y="916"/>
                    <a:pt x="1608" y="915"/>
                    <a:pt x="1608" y="914"/>
                  </a:cubicBezTo>
                  <a:cubicBezTo>
                    <a:pt x="1590" y="885"/>
                    <a:pt x="1572" y="856"/>
                    <a:pt x="1552" y="827"/>
                  </a:cubicBezTo>
                  <a:cubicBezTo>
                    <a:pt x="1552" y="827"/>
                    <a:pt x="1551" y="826"/>
                    <a:pt x="1550" y="825"/>
                  </a:cubicBezTo>
                  <a:cubicBezTo>
                    <a:pt x="1550" y="824"/>
                    <a:pt x="1550" y="824"/>
                    <a:pt x="1549" y="824"/>
                  </a:cubicBezTo>
                  <a:cubicBezTo>
                    <a:pt x="1534" y="802"/>
                    <a:pt x="1519" y="780"/>
                    <a:pt x="1503" y="759"/>
                  </a:cubicBezTo>
                  <a:cubicBezTo>
                    <a:pt x="1503" y="758"/>
                    <a:pt x="1503" y="758"/>
                    <a:pt x="1502" y="758"/>
                  </a:cubicBezTo>
                  <a:cubicBezTo>
                    <a:pt x="1489" y="739"/>
                    <a:pt x="1475" y="720"/>
                    <a:pt x="1461" y="701"/>
                  </a:cubicBezTo>
                  <a:cubicBezTo>
                    <a:pt x="1461" y="701"/>
                    <a:pt x="1461" y="700"/>
                    <a:pt x="1461" y="700"/>
                  </a:cubicBezTo>
                  <a:cubicBezTo>
                    <a:pt x="1448" y="682"/>
                    <a:pt x="1435" y="665"/>
                    <a:pt x="1423" y="648"/>
                  </a:cubicBezTo>
                  <a:cubicBezTo>
                    <a:pt x="1423" y="647"/>
                    <a:pt x="1423" y="647"/>
                    <a:pt x="1423" y="647"/>
                  </a:cubicBezTo>
                  <a:cubicBezTo>
                    <a:pt x="1411" y="630"/>
                    <a:pt x="1399" y="614"/>
                    <a:pt x="1388" y="597"/>
                  </a:cubicBezTo>
                  <a:cubicBezTo>
                    <a:pt x="1388" y="597"/>
                    <a:pt x="1388" y="597"/>
                    <a:pt x="1388" y="596"/>
                  </a:cubicBezTo>
                  <a:cubicBezTo>
                    <a:pt x="1376" y="580"/>
                    <a:pt x="1366" y="564"/>
                    <a:pt x="1356" y="548"/>
                  </a:cubicBezTo>
                  <a:cubicBezTo>
                    <a:pt x="1356" y="548"/>
                    <a:pt x="1355" y="547"/>
                    <a:pt x="1355" y="547"/>
                  </a:cubicBezTo>
                  <a:cubicBezTo>
                    <a:pt x="1345" y="530"/>
                    <a:pt x="1335" y="514"/>
                    <a:pt x="1326" y="498"/>
                  </a:cubicBezTo>
                  <a:cubicBezTo>
                    <a:pt x="1326" y="498"/>
                    <a:pt x="1326" y="498"/>
                    <a:pt x="1326" y="497"/>
                  </a:cubicBezTo>
                  <a:cubicBezTo>
                    <a:pt x="1316" y="480"/>
                    <a:pt x="1308" y="463"/>
                    <a:pt x="1301" y="447"/>
                  </a:cubicBezTo>
                  <a:cubicBezTo>
                    <a:pt x="1301" y="447"/>
                    <a:pt x="1300" y="446"/>
                    <a:pt x="1300" y="446"/>
                  </a:cubicBezTo>
                  <a:cubicBezTo>
                    <a:pt x="1290" y="422"/>
                    <a:pt x="1283" y="399"/>
                    <a:pt x="1280" y="379"/>
                  </a:cubicBezTo>
                  <a:cubicBezTo>
                    <a:pt x="1280" y="379"/>
                    <a:pt x="1280" y="379"/>
                    <a:pt x="1280" y="378"/>
                  </a:cubicBezTo>
                  <a:cubicBezTo>
                    <a:pt x="1280" y="374"/>
                    <a:pt x="1280" y="369"/>
                    <a:pt x="1280" y="364"/>
                  </a:cubicBezTo>
                  <a:cubicBezTo>
                    <a:pt x="1280" y="346"/>
                    <a:pt x="1284" y="331"/>
                    <a:pt x="1293" y="318"/>
                  </a:cubicBezTo>
                  <a:cubicBezTo>
                    <a:pt x="1293" y="318"/>
                    <a:pt x="1294" y="317"/>
                    <a:pt x="1294" y="317"/>
                  </a:cubicBezTo>
                  <a:cubicBezTo>
                    <a:pt x="1298" y="311"/>
                    <a:pt x="1303" y="307"/>
                    <a:pt x="1309" y="302"/>
                  </a:cubicBezTo>
                  <a:cubicBezTo>
                    <a:pt x="1337" y="281"/>
                    <a:pt x="1363" y="256"/>
                    <a:pt x="1384" y="230"/>
                  </a:cubicBezTo>
                  <a:cubicBezTo>
                    <a:pt x="1384" y="229"/>
                    <a:pt x="1385" y="229"/>
                    <a:pt x="1385" y="228"/>
                  </a:cubicBezTo>
                  <a:cubicBezTo>
                    <a:pt x="1392" y="220"/>
                    <a:pt x="1398" y="211"/>
                    <a:pt x="1404" y="202"/>
                  </a:cubicBezTo>
                  <a:cubicBezTo>
                    <a:pt x="1404" y="201"/>
                    <a:pt x="1404" y="201"/>
                    <a:pt x="1405" y="200"/>
                  </a:cubicBezTo>
                  <a:cubicBezTo>
                    <a:pt x="1413" y="187"/>
                    <a:pt x="1419" y="174"/>
                    <a:pt x="1423" y="161"/>
                  </a:cubicBezTo>
                  <a:cubicBezTo>
                    <a:pt x="1424" y="161"/>
                    <a:pt x="1424" y="160"/>
                    <a:pt x="1424" y="160"/>
                  </a:cubicBezTo>
                  <a:cubicBezTo>
                    <a:pt x="1429" y="146"/>
                    <a:pt x="1431" y="133"/>
                    <a:pt x="1431" y="120"/>
                  </a:cubicBezTo>
                  <a:cubicBezTo>
                    <a:pt x="1431" y="116"/>
                    <a:pt x="1431" y="113"/>
                    <a:pt x="1431" y="110"/>
                  </a:cubicBezTo>
                  <a:cubicBezTo>
                    <a:pt x="1431" y="110"/>
                    <a:pt x="1431" y="110"/>
                    <a:pt x="1430" y="109"/>
                  </a:cubicBezTo>
                  <a:cubicBezTo>
                    <a:pt x="1428" y="91"/>
                    <a:pt x="1421" y="74"/>
                    <a:pt x="1408" y="60"/>
                  </a:cubicBezTo>
                  <a:cubicBezTo>
                    <a:pt x="1408" y="59"/>
                    <a:pt x="1407" y="59"/>
                    <a:pt x="1407" y="59"/>
                  </a:cubicBezTo>
                  <a:cubicBezTo>
                    <a:pt x="1394" y="44"/>
                    <a:pt x="1374" y="32"/>
                    <a:pt x="1347" y="22"/>
                  </a:cubicBezTo>
                  <a:cubicBezTo>
                    <a:pt x="1346" y="22"/>
                    <a:pt x="1346" y="22"/>
                    <a:pt x="1346" y="22"/>
                  </a:cubicBezTo>
                  <a:cubicBezTo>
                    <a:pt x="1328" y="15"/>
                    <a:pt x="1306" y="10"/>
                    <a:pt x="1281" y="6"/>
                  </a:cubicBezTo>
                  <a:cubicBezTo>
                    <a:pt x="1280" y="6"/>
                    <a:pt x="1280" y="6"/>
                    <a:pt x="1280" y="6"/>
                  </a:cubicBezTo>
                  <a:cubicBezTo>
                    <a:pt x="1280" y="6"/>
                    <a:pt x="1280" y="6"/>
                    <a:pt x="1280" y="6"/>
                  </a:cubicBezTo>
                  <a:cubicBezTo>
                    <a:pt x="1279" y="6"/>
                    <a:pt x="1279" y="6"/>
                    <a:pt x="1279" y="6"/>
                  </a:cubicBezTo>
                  <a:cubicBezTo>
                    <a:pt x="1278" y="6"/>
                    <a:pt x="1276" y="6"/>
                    <a:pt x="1275" y="5"/>
                  </a:cubicBezTo>
                  <a:cubicBezTo>
                    <a:pt x="1275" y="5"/>
                    <a:pt x="1275" y="5"/>
                    <a:pt x="1274" y="5"/>
                  </a:cubicBezTo>
                  <a:cubicBezTo>
                    <a:pt x="1273" y="5"/>
                    <a:pt x="1272" y="5"/>
                    <a:pt x="1271" y="5"/>
                  </a:cubicBezTo>
                  <a:cubicBezTo>
                    <a:pt x="1271" y="5"/>
                    <a:pt x="1270" y="5"/>
                    <a:pt x="1270" y="5"/>
                  </a:cubicBezTo>
                  <a:cubicBezTo>
                    <a:pt x="1270" y="5"/>
                    <a:pt x="1269" y="5"/>
                    <a:pt x="1269" y="5"/>
                  </a:cubicBezTo>
                  <a:cubicBezTo>
                    <a:pt x="1268" y="5"/>
                    <a:pt x="1268" y="5"/>
                    <a:pt x="1268" y="4"/>
                  </a:cubicBezTo>
                  <a:cubicBezTo>
                    <a:pt x="1268" y="4"/>
                    <a:pt x="1268" y="4"/>
                    <a:pt x="1268" y="4"/>
                  </a:cubicBezTo>
                  <a:cubicBezTo>
                    <a:pt x="1267" y="4"/>
                    <a:pt x="1267" y="4"/>
                    <a:pt x="1266" y="4"/>
                  </a:cubicBezTo>
                  <a:cubicBezTo>
                    <a:pt x="1264" y="4"/>
                    <a:pt x="1262" y="4"/>
                    <a:pt x="1260" y="4"/>
                  </a:cubicBezTo>
                  <a:cubicBezTo>
                    <a:pt x="1260" y="4"/>
                    <a:pt x="1259" y="4"/>
                    <a:pt x="1259" y="3"/>
                  </a:cubicBezTo>
                  <a:cubicBezTo>
                    <a:pt x="1259" y="3"/>
                    <a:pt x="1258" y="3"/>
                    <a:pt x="1258" y="3"/>
                  </a:cubicBezTo>
                  <a:cubicBezTo>
                    <a:pt x="1258" y="3"/>
                    <a:pt x="1257" y="3"/>
                    <a:pt x="1257" y="3"/>
                  </a:cubicBezTo>
                  <a:cubicBezTo>
                    <a:pt x="1257" y="3"/>
                    <a:pt x="1256" y="3"/>
                    <a:pt x="1256" y="3"/>
                  </a:cubicBezTo>
                  <a:cubicBezTo>
                    <a:pt x="1254" y="3"/>
                    <a:pt x="1252" y="3"/>
                    <a:pt x="1250" y="3"/>
                  </a:cubicBezTo>
                  <a:cubicBezTo>
                    <a:pt x="1249" y="3"/>
                    <a:pt x="1249" y="3"/>
                    <a:pt x="1249" y="2"/>
                  </a:cubicBezTo>
                  <a:cubicBezTo>
                    <a:pt x="1245" y="2"/>
                    <a:pt x="1242" y="2"/>
                    <a:pt x="1238" y="2"/>
                  </a:cubicBezTo>
                  <a:cubicBezTo>
                    <a:pt x="1238" y="2"/>
                    <a:pt x="1237" y="2"/>
                    <a:pt x="1237" y="2"/>
                  </a:cubicBezTo>
                  <a:cubicBezTo>
                    <a:pt x="1236" y="1"/>
                    <a:pt x="1235" y="1"/>
                    <a:pt x="1234" y="1"/>
                  </a:cubicBezTo>
                  <a:cubicBezTo>
                    <a:pt x="1233" y="1"/>
                    <a:pt x="1233" y="1"/>
                    <a:pt x="1232" y="1"/>
                  </a:cubicBezTo>
                  <a:cubicBezTo>
                    <a:pt x="1230" y="1"/>
                    <a:pt x="1227" y="1"/>
                    <a:pt x="1225" y="1"/>
                  </a:cubicBezTo>
                  <a:cubicBezTo>
                    <a:pt x="1225" y="1"/>
                    <a:pt x="1224" y="1"/>
                    <a:pt x="1224" y="1"/>
                  </a:cubicBezTo>
                  <a:cubicBezTo>
                    <a:pt x="1220" y="1"/>
                    <a:pt x="1215" y="0"/>
                    <a:pt x="1211" y="0"/>
                  </a:cubicBezTo>
                  <a:cubicBezTo>
                    <a:pt x="1211" y="0"/>
                    <a:pt x="1210" y="0"/>
                    <a:pt x="1210" y="0"/>
                  </a:cubicBezTo>
                  <a:cubicBezTo>
                    <a:pt x="1210" y="0"/>
                    <a:pt x="1210" y="0"/>
                    <a:pt x="1210" y="0"/>
                  </a:cubicBezTo>
                  <a:cubicBezTo>
                    <a:pt x="1209" y="0"/>
                    <a:pt x="1209" y="0"/>
                    <a:pt x="1208" y="0"/>
                  </a:cubicBezTo>
                  <a:cubicBezTo>
                    <a:pt x="1202" y="0"/>
                    <a:pt x="1195" y="0"/>
                    <a:pt x="1188" y="0"/>
                  </a:cubicBezTo>
                  <a:cubicBezTo>
                    <a:pt x="1187" y="0"/>
                    <a:pt x="1187" y="0"/>
                    <a:pt x="1186" y="0"/>
                  </a:cubicBezTo>
                  <a:cubicBezTo>
                    <a:pt x="1185" y="0"/>
                    <a:pt x="1183" y="0"/>
                    <a:pt x="1181" y="0"/>
                  </a:cubicBezTo>
                  <a:moveTo>
                    <a:pt x="954" y="46"/>
                  </a:moveTo>
                  <a:cubicBezTo>
                    <a:pt x="953" y="47"/>
                    <a:pt x="952" y="47"/>
                    <a:pt x="951" y="47"/>
                  </a:cubicBezTo>
                  <a:cubicBezTo>
                    <a:pt x="944" y="52"/>
                    <a:pt x="937" y="57"/>
                    <a:pt x="931" y="62"/>
                  </a:cubicBezTo>
                  <a:cubicBezTo>
                    <a:pt x="930" y="62"/>
                    <a:pt x="930" y="63"/>
                    <a:pt x="929" y="63"/>
                  </a:cubicBezTo>
                  <a:cubicBezTo>
                    <a:pt x="928" y="65"/>
                    <a:pt x="926" y="66"/>
                    <a:pt x="924" y="68"/>
                  </a:cubicBezTo>
                  <a:cubicBezTo>
                    <a:pt x="925" y="68"/>
                    <a:pt x="926" y="67"/>
                    <a:pt x="926" y="67"/>
                  </a:cubicBezTo>
                  <a:cubicBezTo>
                    <a:pt x="927" y="67"/>
                    <a:pt x="928" y="66"/>
                    <a:pt x="929" y="65"/>
                  </a:cubicBezTo>
                  <a:cubicBezTo>
                    <a:pt x="929" y="65"/>
                    <a:pt x="930" y="64"/>
                    <a:pt x="930" y="64"/>
                  </a:cubicBezTo>
                  <a:cubicBezTo>
                    <a:pt x="938" y="58"/>
                    <a:pt x="946" y="52"/>
                    <a:pt x="954" y="46"/>
                  </a:cubicBezTo>
                  <a:moveTo>
                    <a:pt x="925" y="69"/>
                  </a:moveTo>
                  <a:cubicBezTo>
                    <a:pt x="924" y="69"/>
                    <a:pt x="924" y="69"/>
                    <a:pt x="923" y="69"/>
                  </a:cubicBezTo>
                  <a:cubicBezTo>
                    <a:pt x="915" y="76"/>
                    <a:pt x="908" y="84"/>
                    <a:pt x="902" y="92"/>
                  </a:cubicBezTo>
                  <a:cubicBezTo>
                    <a:pt x="903" y="92"/>
                    <a:pt x="903" y="92"/>
                    <a:pt x="903" y="92"/>
                  </a:cubicBezTo>
                  <a:cubicBezTo>
                    <a:pt x="910" y="84"/>
                    <a:pt x="917" y="76"/>
                    <a:pt x="925" y="69"/>
                  </a:cubicBezTo>
                  <a:moveTo>
                    <a:pt x="903" y="93"/>
                  </a:moveTo>
                  <a:cubicBezTo>
                    <a:pt x="902" y="93"/>
                    <a:pt x="902" y="93"/>
                    <a:pt x="901" y="93"/>
                  </a:cubicBezTo>
                  <a:cubicBezTo>
                    <a:pt x="898" y="98"/>
                    <a:pt x="894" y="104"/>
                    <a:pt x="891" y="109"/>
                  </a:cubicBezTo>
                  <a:cubicBezTo>
                    <a:pt x="891" y="109"/>
                    <a:pt x="891" y="109"/>
                    <a:pt x="891" y="110"/>
                  </a:cubicBezTo>
                  <a:cubicBezTo>
                    <a:pt x="889" y="114"/>
                    <a:pt x="887" y="117"/>
                    <a:pt x="885" y="121"/>
                  </a:cubicBezTo>
                  <a:cubicBezTo>
                    <a:pt x="885" y="121"/>
                    <a:pt x="885" y="121"/>
                    <a:pt x="886" y="121"/>
                  </a:cubicBezTo>
                  <a:cubicBezTo>
                    <a:pt x="888" y="118"/>
                    <a:pt x="889" y="114"/>
                    <a:pt x="891" y="111"/>
                  </a:cubicBezTo>
                  <a:cubicBezTo>
                    <a:pt x="892" y="110"/>
                    <a:pt x="892" y="110"/>
                    <a:pt x="892" y="110"/>
                  </a:cubicBezTo>
                  <a:cubicBezTo>
                    <a:pt x="895" y="104"/>
                    <a:pt x="899" y="99"/>
                    <a:pt x="903" y="93"/>
                  </a:cubicBezTo>
                  <a:moveTo>
                    <a:pt x="885" y="122"/>
                  </a:moveTo>
                  <a:cubicBezTo>
                    <a:pt x="885" y="122"/>
                    <a:pt x="885" y="122"/>
                    <a:pt x="884" y="122"/>
                  </a:cubicBezTo>
                  <a:cubicBezTo>
                    <a:pt x="884" y="123"/>
                    <a:pt x="884" y="124"/>
                    <a:pt x="883" y="125"/>
                  </a:cubicBezTo>
                  <a:cubicBezTo>
                    <a:pt x="883" y="125"/>
                    <a:pt x="883" y="125"/>
                    <a:pt x="883" y="125"/>
                  </a:cubicBezTo>
                  <a:cubicBezTo>
                    <a:pt x="880" y="131"/>
                    <a:pt x="878" y="137"/>
                    <a:pt x="876" y="143"/>
                  </a:cubicBezTo>
                  <a:cubicBezTo>
                    <a:pt x="876" y="143"/>
                    <a:pt x="876" y="144"/>
                    <a:pt x="876" y="144"/>
                  </a:cubicBezTo>
                  <a:cubicBezTo>
                    <a:pt x="875" y="146"/>
                    <a:pt x="874" y="148"/>
                    <a:pt x="874" y="150"/>
                  </a:cubicBezTo>
                  <a:cubicBezTo>
                    <a:pt x="874" y="150"/>
                    <a:pt x="874" y="150"/>
                    <a:pt x="875" y="150"/>
                  </a:cubicBezTo>
                  <a:cubicBezTo>
                    <a:pt x="875" y="148"/>
                    <a:pt x="876" y="146"/>
                    <a:pt x="877" y="145"/>
                  </a:cubicBezTo>
                  <a:cubicBezTo>
                    <a:pt x="877" y="144"/>
                    <a:pt x="877" y="144"/>
                    <a:pt x="877" y="144"/>
                  </a:cubicBezTo>
                  <a:cubicBezTo>
                    <a:pt x="879" y="138"/>
                    <a:pt x="881" y="132"/>
                    <a:pt x="884" y="126"/>
                  </a:cubicBezTo>
                  <a:cubicBezTo>
                    <a:pt x="884" y="126"/>
                    <a:pt x="884" y="126"/>
                    <a:pt x="884" y="125"/>
                  </a:cubicBezTo>
                  <a:cubicBezTo>
                    <a:pt x="884" y="124"/>
                    <a:pt x="885" y="123"/>
                    <a:pt x="885" y="122"/>
                  </a:cubicBezTo>
                  <a:moveTo>
                    <a:pt x="873" y="151"/>
                  </a:moveTo>
                  <a:cubicBezTo>
                    <a:pt x="873" y="153"/>
                    <a:pt x="873" y="154"/>
                    <a:pt x="872" y="156"/>
                  </a:cubicBezTo>
                  <a:cubicBezTo>
                    <a:pt x="872" y="156"/>
                    <a:pt x="872" y="156"/>
                    <a:pt x="872" y="157"/>
                  </a:cubicBezTo>
                  <a:cubicBezTo>
                    <a:pt x="872" y="157"/>
                    <a:pt x="872" y="157"/>
                    <a:pt x="872" y="157"/>
                  </a:cubicBezTo>
                  <a:cubicBezTo>
                    <a:pt x="872" y="157"/>
                    <a:pt x="872" y="158"/>
                    <a:pt x="871" y="159"/>
                  </a:cubicBezTo>
                  <a:cubicBezTo>
                    <a:pt x="871" y="160"/>
                    <a:pt x="871" y="160"/>
                    <a:pt x="871" y="161"/>
                  </a:cubicBezTo>
                  <a:cubicBezTo>
                    <a:pt x="871" y="161"/>
                    <a:pt x="871" y="162"/>
                    <a:pt x="871" y="162"/>
                  </a:cubicBezTo>
                  <a:cubicBezTo>
                    <a:pt x="870" y="165"/>
                    <a:pt x="869" y="168"/>
                    <a:pt x="869" y="171"/>
                  </a:cubicBezTo>
                  <a:cubicBezTo>
                    <a:pt x="869" y="172"/>
                    <a:pt x="868" y="172"/>
                    <a:pt x="868" y="173"/>
                  </a:cubicBezTo>
                  <a:cubicBezTo>
                    <a:pt x="868" y="173"/>
                    <a:pt x="868" y="173"/>
                    <a:pt x="868" y="173"/>
                  </a:cubicBezTo>
                  <a:cubicBezTo>
                    <a:pt x="868" y="177"/>
                    <a:pt x="867" y="180"/>
                    <a:pt x="867" y="183"/>
                  </a:cubicBezTo>
                  <a:cubicBezTo>
                    <a:pt x="867" y="184"/>
                    <a:pt x="866" y="184"/>
                    <a:pt x="866" y="184"/>
                  </a:cubicBezTo>
                  <a:cubicBezTo>
                    <a:pt x="866" y="186"/>
                    <a:pt x="866" y="187"/>
                    <a:pt x="866" y="189"/>
                  </a:cubicBezTo>
                  <a:cubicBezTo>
                    <a:pt x="866" y="189"/>
                    <a:pt x="866" y="190"/>
                    <a:pt x="866" y="190"/>
                  </a:cubicBezTo>
                  <a:cubicBezTo>
                    <a:pt x="865" y="192"/>
                    <a:pt x="865" y="194"/>
                    <a:pt x="865" y="195"/>
                  </a:cubicBezTo>
                  <a:cubicBezTo>
                    <a:pt x="865" y="196"/>
                    <a:pt x="865" y="196"/>
                    <a:pt x="865" y="197"/>
                  </a:cubicBezTo>
                  <a:cubicBezTo>
                    <a:pt x="865" y="197"/>
                    <a:pt x="865" y="198"/>
                    <a:pt x="865" y="198"/>
                  </a:cubicBezTo>
                  <a:cubicBezTo>
                    <a:pt x="865" y="199"/>
                    <a:pt x="865" y="199"/>
                    <a:pt x="865" y="200"/>
                  </a:cubicBezTo>
                  <a:cubicBezTo>
                    <a:pt x="865" y="201"/>
                    <a:pt x="864" y="203"/>
                    <a:pt x="864" y="205"/>
                  </a:cubicBezTo>
                  <a:cubicBezTo>
                    <a:pt x="864" y="205"/>
                    <a:pt x="864" y="205"/>
                    <a:pt x="864" y="206"/>
                  </a:cubicBezTo>
                  <a:cubicBezTo>
                    <a:pt x="864" y="208"/>
                    <a:pt x="864" y="210"/>
                    <a:pt x="864" y="212"/>
                  </a:cubicBezTo>
                  <a:cubicBezTo>
                    <a:pt x="864" y="213"/>
                    <a:pt x="864" y="213"/>
                    <a:pt x="864" y="214"/>
                  </a:cubicBezTo>
                  <a:cubicBezTo>
                    <a:pt x="864" y="215"/>
                    <a:pt x="864" y="215"/>
                    <a:pt x="864" y="216"/>
                  </a:cubicBezTo>
                  <a:cubicBezTo>
                    <a:pt x="864" y="217"/>
                    <a:pt x="864" y="218"/>
                    <a:pt x="864" y="218"/>
                  </a:cubicBezTo>
                  <a:cubicBezTo>
                    <a:pt x="864" y="220"/>
                    <a:pt x="864" y="222"/>
                    <a:pt x="864" y="224"/>
                  </a:cubicBezTo>
                  <a:cubicBezTo>
                    <a:pt x="864" y="225"/>
                    <a:pt x="864" y="225"/>
                    <a:pt x="864" y="225"/>
                  </a:cubicBezTo>
                  <a:cubicBezTo>
                    <a:pt x="864" y="226"/>
                    <a:pt x="864" y="228"/>
                    <a:pt x="864" y="229"/>
                  </a:cubicBezTo>
                  <a:cubicBezTo>
                    <a:pt x="864" y="229"/>
                    <a:pt x="864" y="229"/>
                    <a:pt x="864" y="229"/>
                  </a:cubicBezTo>
                  <a:cubicBezTo>
                    <a:pt x="864" y="230"/>
                    <a:pt x="864" y="230"/>
                    <a:pt x="864" y="230"/>
                  </a:cubicBezTo>
                  <a:cubicBezTo>
                    <a:pt x="864" y="235"/>
                    <a:pt x="864" y="240"/>
                    <a:pt x="864" y="246"/>
                  </a:cubicBezTo>
                  <a:cubicBezTo>
                    <a:pt x="864" y="246"/>
                    <a:pt x="864" y="246"/>
                    <a:pt x="864" y="247"/>
                  </a:cubicBezTo>
                  <a:cubicBezTo>
                    <a:pt x="864" y="248"/>
                    <a:pt x="864" y="250"/>
                    <a:pt x="864" y="251"/>
                  </a:cubicBezTo>
                  <a:cubicBezTo>
                    <a:pt x="864" y="252"/>
                    <a:pt x="864" y="252"/>
                    <a:pt x="864" y="253"/>
                  </a:cubicBezTo>
                  <a:cubicBezTo>
                    <a:pt x="864" y="253"/>
                    <a:pt x="864" y="254"/>
                    <a:pt x="864" y="254"/>
                  </a:cubicBezTo>
                  <a:cubicBezTo>
                    <a:pt x="864" y="255"/>
                    <a:pt x="864" y="255"/>
                    <a:pt x="864" y="255"/>
                  </a:cubicBezTo>
                  <a:cubicBezTo>
                    <a:pt x="864" y="257"/>
                    <a:pt x="865" y="259"/>
                    <a:pt x="865" y="261"/>
                  </a:cubicBezTo>
                  <a:cubicBezTo>
                    <a:pt x="865" y="261"/>
                    <a:pt x="865" y="262"/>
                    <a:pt x="865" y="262"/>
                  </a:cubicBezTo>
                  <a:cubicBezTo>
                    <a:pt x="865" y="262"/>
                    <a:pt x="865" y="263"/>
                    <a:pt x="865" y="263"/>
                  </a:cubicBezTo>
                  <a:cubicBezTo>
                    <a:pt x="865" y="265"/>
                    <a:pt x="865" y="267"/>
                    <a:pt x="865" y="269"/>
                  </a:cubicBezTo>
                  <a:cubicBezTo>
                    <a:pt x="865" y="269"/>
                    <a:pt x="865" y="270"/>
                    <a:pt x="865" y="270"/>
                  </a:cubicBezTo>
                  <a:cubicBezTo>
                    <a:pt x="865" y="271"/>
                    <a:pt x="866" y="272"/>
                    <a:pt x="866" y="273"/>
                  </a:cubicBezTo>
                  <a:cubicBezTo>
                    <a:pt x="866" y="273"/>
                    <a:pt x="866" y="274"/>
                    <a:pt x="866" y="274"/>
                  </a:cubicBezTo>
                  <a:cubicBezTo>
                    <a:pt x="866" y="275"/>
                    <a:pt x="866" y="275"/>
                    <a:pt x="866" y="275"/>
                  </a:cubicBezTo>
                  <a:cubicBezTo>
                    <a:pt x="866" y="276"/>
                    <a:pt x="866" y="276"/>
                    <a:pt x="866" y="276"/>
                  </a:cubicBezTo>
                  <a:cubicBezTo>
                    <a:pt x="866" y="276"/>
                    <a:pt x="866" y="276"/>
                    <a:pt x="866" y="276"/>
                  </a:cubicBezTo>
                  <a:cubicBezTo>
                    <a:pt x="866" y="277"/>
                    <a:pt x="866" y="278"/>
                    <a:pt x="866" y="278"/>
                  </a:cubicBezTo>
                  <a:cubicBezTo>
                    <a:pt x="866" y="279"/>
                    <a:pt x="866" y="279"/>
                    <a:pt x="866" y="280"/>
                  </a:cubicBezTo>
                  <a:cubicBezTo>
                    <a:pt x="866" y="280"/>
                    <a:pt x="866" y="280"/>
                    <a:pt x="866" y="280"/>
                  </a:cubicBezTo>
                  <a:cubicBezTo>
                    <a:pt x="866" y="281"/>
                    <a:pt x="866" y="281"/>
                    <a:pt x="866" y="281"/>
                  </a:cubicBezTo>
                  <a:cubicBezTo>
                    <a:pt x="866" y="281"/>
                    <a:pt x="866" y="282"/>
                    <a:pt x="866" y="282"/>
                  </a:cubicBezTo>
                  <a:cubicBezTo>
                    <a:pt x="866" y="282"/>
                    <a:pt x="866" y="282"/>
                    <a:pt x="867" y="283"/>
                  </a:cubicBezTo>
                  <a:cubicBezTo>
                    <a:pt x="867" y="283"/>
                    <a:pt x="867" y="283"/>
                    <a:pt x="867" y="283"/>
                  </a:cubicBezTo>
                  <a:cubicBezTo>
                    <a:pt x="867" y="283"/>
                    <a:pt x="867" y="284"/>
                    <a:pt x="867" y="284"/>
                  </a:cubicBezTo>
                  <a:cubicBezTo>
                    <a:pt x="867" y="285"/>
                    <a:pt x="867" y="285"/>
                    <a:pt x="867" y="285"/>
                  </a:cubicBezTo>
                  <a:cubicBezTo>
                    <a:pt x="867" y="285"/>
                    <a:pt x="867" y="286"/>
                    <a:pt x="867" y="286"/>
                  </a:cubicBezTo>
                  <a:cubicBezTo>
                    <a:pt x="867" y="286"/>
                    <a:pt x="867" y="286"/>
                    <a:pt x="867" y="286"/>
                  </a:cubicBezTo>
                  <a:cubicBezTo>
                    <a:pt x="867" y="287"/>
                    <a:pt x="867" y="287"/>
                    <a:pt x="867" y="288"/>
                  </a:cubicBezTo>
                  <a:cubicBezTo>
                    <a:pt x="867" y="288"/>
                    <a:pt x="867" y="288"/>
                    <a:pt x="867" y="288"/>
                  </a:cubicBezTo>
                  <a:cubicBezTo>
                    <a:pt x="867" y="288"/>
                    <a:pt x="867" y="288"/>
                    <a:pt x="867" y="288"/>
                  </a:cubicBezTo>
                  <a:cubicBezTo>
                    <a:pt x="867" y="289"/>
                    <a:pt x="867" y="289"/>
                    <a:pt x="867" y="289"/>
                  </a:cubicBezTo>
                  <a:cubicBezTo>
                    <a:pt x="868" y="293"/>
                    <a:pt x="868" y="297"/>
                    <a:pt x="868" y="301"/>
                  </a:cubicBezTo>
                  <a:cubicBezTo>
                    <a:pt x="869" y="301"/>
                    <a:pt x="869" y="301"/>
                    <a:pt x="869" y="302"/>
                  </a:cubicBezTo>
                  <a:cubicBezTo>
                    <a:pt x="870" y="314"/>
                    <a:pt x="871" y="325"/>
                    <a:pt x="872" y="335"/>
                  </a:cubicBezTo>
                  <a:cubicBezTo>
                    <a:pt x="873" y="338"/>
                    <a:pt x="873" y="341"/>
                    <a:pt x="873" y="344"/>
                  </a:cubicBezTo>
                  <a:cubicBezTo>
                    <a:pt x="873" y="346"/>
                    <a:pt x="873" y="349"/>
                    <a:pt x="873" y="351"/>
                  </a:cubicBezTo>
                  <a:cubicBezTo>
                    <a:pt x="873" y="351"/>
                    <a:pt x="873" y="352"/>
                    <a:pt x="872" y="352"/>
                  </a:cubicBezTo>
                  <a:cubicBezTo>
                    <a:pt x="872" y="353"/>
                    <a:pt x="872" y="354"/>
                    <a:pt x="872" y="355"/>
                  </a:cubicBezTo>
                  <a:cubicBezTo>
                    <a:pt x="872" y="355"/>
                    <a:pt x="872" y="356"/>
                    <a:pt x="872" y="356"/>
                  </a:cubicBezTo>
                  <a:cubicBezTo>
                    <a:pt x="872" y="356"/>
                    <a:pt x="872" y="356"/>
                    <a:pt x="872" y="356"/>
                  </a:cubicBezTo>
                  <a:cubicBezTo>
                    <a:pt x="872" y="357"/>
                    <a:pt x="872" y="357"/>
                    <a:pt x="872" y="357"/>
                  </a:cubicBezTo>
                  <a:cubicBezTo>
                    <a:pt x="872" y="358"/>
                    <a:pt x="871" y="358"/>
                    <a:pt x="871" y="359"/>
                  </a:cubicBezTo>
                  <a:cubicBezTo>
                    <a:pt x="870" y="363"/>
                    <a:pt x="869" y="366"/>
                    <a:pt x="867" y="369"/>
                  </a:cubicBezTo>
                  <a:cubicBezTo>
                    <a:pt x="867" y="370"/>
                    <a:pt x="866" y="370"/>
                    <a:pt x="866" y="370"/>
                  </a:cubicBezTo>
                  <a:cubicBezTo>
                    <a:pt x="862" y="376"/>
                    <a:pt x="856" y="380"/>
                    <a:pt x="848" y="380"/>
                  </a:cubicBezTo>
                  <a:cubicBezTo>
                    <a:pt x="848" y="380"/>
                    <a:pt x="848" y="380"/>
                    <a:pt x="848" y="380"/>
                  </a:cubicBezTo>
                  <a:cubicBezTo>
                    <a:pt x="845" y="380"/>
                    <a:pt x="843" y="379"/>
                    <a:pt x="840" y="379"/>
                  </a:cubicBezTo>
                  <a:cubicBezTo>
                    <a:pt x="840" y="379"/>
                    <a:pt x="840" y="379"/>
                    <a:pt x="840" y="379"/>
                  </a:cubicBezTo>
                  <a:cubicBezTo>
                    <a:pt x="839" y="379"/>
                    <a:pt x="839" y="378"/>
                    <a:pt x="838" y="378"/>
                  </a:cubicBezTo>
                  <a:cubicBezTo>
                    <a:pt x="834" y="377"/>
                    <a:pt x="830" y="375"/>
                    <a:pt x="826" y="373"/>
                  </a:cubicBezTo>
                  <a:cubicBezTo>
                    <a:pt x="825" y="373"/>
                    <a:pt x="825" y="372"/>
                    <a:pt x="825" y="372"/>
                  </a:cubicBezTo>
                  <a:cubicBezTo>
                    <a:pt x="823" y="371"/>
                    <a:pt x="822" y="371"/>
                    <a:pt x="820" y="370"/>
                  </a:cubicBezTo>
                  <a:cubicBezTo>
                    <a:pt x="820" y="370"/>
                    <a:pt x="820" y="370"/>
                    <a:pt x="820" y="371"/>
                  </a:cubicBezTo>
                  <a:cubicBezTo>
                    <a:pt x="821" y="371"/>
                    <a:pt x="822" y="372"/>
                    <a:pt x="823" y="373"/>
                  </a:cubicBezTo>
                  <a:cubicBezTo>
                    <a:pt x="824" y="373"/>
                    <a:pt x="824" y="373"/>
                    <a:pt x="824" y="373"/>
                  </a:cubicBezTo>
                  <a:cubicBezTo>
                    <a:pt x="829" y="376"/>
                    <a:pt x="833" y="377"/>
                    <a:pt x="836" y="379"/>
                  </a:cubicBezTo>
                  <a:cubicBezTo>
                    <a:pt x="837" y="379"/>
                    <a:pt x="838" y="379"/>
                    <a:pt x="838" y="379"/>
                  </a:cubicBezTo>
                  <a:cubicBezTo>
                    <a:pt x="838" y="379"/>
                    <a:pt x="839" y="379"/>
                    <a:pt x="839" y="379"/>
                  </a:cubicBezTo>
                  <a:cubicBezTo>
                    <a:pt x="842" y="380"/>
                    <a:pt x="845" y="381"/>
                    <a:pt x="848" y="381"/>
                  </a:cubicBezTo>
                  <a:cubicBezTo>
                    <a:pt x="856" y="381"/>
                    <a:pt x="863" y="377"/>
                    <a:pt x="868" y="370"/>
                  </a:cubicBezTo>
                  <a:cubicBezTo>
                    <a:pt x="868" y="370"/>
                    <a:pt x="868" y="369"/>
                    <a:pt x="868" y="369"/>
                  </a:cubicBezTo>
                  <a:cubicBezTo>
                    <a:pt x="870" y="366"/>
                    <a:pt x="872" y="362"/>
                    <a:pt x="873" y="358"/>
                  </a:cubicBezTo>
                  <a:cubicBezTo>
                    <a:pt x="873" y="357"/>
                    <a:pt x="873" y="357"/>
                    <a:pt x="873" y="357"/>
                  </a:cubicBezTo>
                  <a:cubicBezTo>
                    <a:pt x="873" y="356"/>
                    <a:pt x="873" y="356"/>
                    <a:pt x="873" y="355"/>
                  </a:cubicBezTo>
                  <a:cubicBezTo>
                    <a:pt x="873" y="355"/>
                    <a:pt x="873" y="355"/>
                    <a:pt x="873" y="355"/>
                  </a:cubicBezTo>
                  <a:cubicBezTo>
                    <a:pt x="873" y="354"/>
                    <a:pt x="873" y="353"/>
                    <a:pt x="874" y="352"/>
                  </a:cubicBezTo>
                  <a:cubicBezTo>
                    <a:pt x="874" y="351"/>
                    <a:pt x="874" y="351"/>
                    <a:pt x="874" y="351"/>
                  </a:cubicBezTo>
                  <a:cubicBezTo>
                    <a:pt x="874" y="348"/>
                    <a:pt x="874" y="346"/>
                    <a:pt x="874" y="344"/>
                  </a:cubicBezTo>
                  <a:cubicBezTo>
                    <a:pt x="874" y="341"/>
                    <a:pt x="874" y="338"/>
                    <a:pt x="873" y="335"/>
                  </a:cubicBezTo>
                  <a:cubicBezTo>
                    <a:pt x="872" y="325"/>
                    <a:pt x="871" y="313"/>
                    <a:pt x="870" y="301"/>
                  </a:cubicBezTo>
                  <a:cubicBezTo>
                    <a:pt x="869" y="301"/>
                    <a:pt x="869" y="301"/>
                    <a:pt x="869" y="300"/>
                  </a:cubicBezTo>
                  <a:cubicBezTo>
                    <a:pt x="869" y="296"/>
                    <a:pt x="869" y="292"/>
                    <a:pt x="868" y="288"/>
                  </a:cubicBezTo>
                  <a:cubicBezTo>
                    <a:pt x="868" y="288"/>
                    <a:pt x="868" y="287"/>
                    <a:pt x="868" y="287"/>
                  </a:cubicBezTo>
                  <a:cubicBezTo>
                    <a:pt x="868" y="287"/>
                    <a:pt x="868" y="287"/>
                    <a:pt x="868" y="287"/>
                  </a:cubicBezTo>
                  <a:cubicBezTo>
                    <a:pt x="868" y="286"/>
                    <a:pt x="868" y="286"/>
                    <a:pt x="868" y="285"/>
                  </a:cubicBezTo>
                  <a:cubicBezTo>
                    <a:pt x="868" y="285"/>
                    <a:pt x="868" y="285"/>
                    <a:pt x="868" y="285"/>
                  </a:cubicBezTo>
                  <a:cubicBezTo>
                    <a:pt x="868" y="285"/>
                    <a:pt x="868" y="285"/>
                    <a:pt x="868" y="285"/>
                  </a:cubicBezTo>
                  <a:cubicBezTo>
                    <a:pt x="868" y="284"/>
                    <a:pt x="868" y="284"/>
                    <a:pt x="868" y="283"/>
                  </a:cubicBezTo>
                  <a:cubicBezTo>
                    <a:pt x="868" y="283"/>
                    <a:pt x="868" y="283"/>
                    <a:pt x="867" y="282"/>
                  </a:cubicBezTo>
                  <a:cubicBezTo>
                    <a:pt x="867" y="282"/>
                    <a:pt x="867" y="282"/>
                    <a:pt x="867" y="282"/>
                  </a:cubicBezTo>
                  <a:cubicBezTo>
                    <a:pt x="867" y="282"/>
                    <a:pt x="867" y="281"/>
                    <a:pt x="867" y="281"/>
                  </a:cubicBezTo>
                  <a:cubicBezTo>
                    <a:pt x="867" y="280"/>
                    <a:pt x="867" y="280"/>
                    <a:pt x="867" y="280"/>
                  </a:cubicBezTo>
                  <a:cubicBezTo>
                    <a:pt x="867" y="279"/>
                    <a:pt x="867" y="279"/>
                    <a:pt x="867" y="279"/>
                  </a:cubicBezTo>
                  <a:cubicBezTo>
                    <a:pt x="867" y="278"/>
                    <a:pt x="867" y="278"/>
                    <a:pt x="867" y="278"/>
                  </a:cubicBezTo>
                  <a:cubicBezTo>
                    <a:pt x="867" y="277"/>
                    <a:pt x="867" y="276"/>
                    <a:pt x="867" y="276"/>
                  </a:cubicBezTo>
                  <a:cubicBezTo>
                    <a:pt x="867" y="275"/>
                    <a:pt x="867" y="275"/>
                    <a:pt x="867" y="275"/>
                  </a:cubicBezTo>
                  <a:cubicBezTo>
                    <a:pt x="867" y="274"/>
                    <a:pt x="867" y="274"/>
                    <a:pt x="867" y="274"/>
                  </a:cubicBezTo>
                  <a:cubicBezTo>
                    <a:pt x="867" y="273"/>
                    <a:pt x="867" y="273"/>
                    <a:pt x="867" y="273"/>
                  </a:cubicBezTo>
                  <a:cubicBezTo>
                    <a:pt x="867" y="273"/>
                    <a:pt x="867" y="272"/>
                    <a:pt x="866" y="272"/>
                  </a:cubicBezTo>
                  <a:cubicBezTo>
                    <a:pt x="866" y="271"/>
                    <a:pt x="866" y="270"/>
                    <a:pt x="866" y="269"/>
                  </a:cubicBezTo>
                  <a:cubicBezTo>
                    <a:pt x="866" y="269"/>
                    <a:pt x="866" y="269"/>
                    <a:pt x="866" y="268"/>
                  </a:cubicBezTo>
                  <a:cubicBezTo>
                    <a:pt x="866" y="266"/>
                    <a:pt x="866" y="264"/>
                    <a:pt x="866" y="262"/>
                  </a:cubicBezTo>
                  <a:cubicBezTo>
                    <a:pt x="866" y="262"/>
                    <a:pt x="866" y="262"/>
                    <a:pt x="866" y="261"/>
                  </a:cubicBezTo>
                  <a:cubicBezTo>
                    <a:pt x="866" y="261"/>
                    <a:pt x="866" y="261"/>
                    <a:pt x="866" y="260"/>
                  </a:cubicBezTo>
                  <a:cubicBezTo>
                    <a:pt x="865" y="258"/>
                    <a:pt x="865" y="257"/>
                    <a:pt x="865" y="255"/>
                  </a:cubicBezTo>
                  <a:cubicBezTo>
                    <a:pt x="865" y="255"/>
                    <a:pt x="865" y="254"/>
                    <a:pt x="865" y="254"/>
                  </a:cubicBezTo>
                  <a:cubicBezTo>
                    <a:pt x="865" y="253"/>
                    <a:pt x="865" y="253"/>
                    <a:pt x="865" y="252"/>
                  </a:cubicBezTo>
                  <a:cubicBezTo>
                    <a:pt x="865" y="251"/>
                    <a:pt x="865" y="251"/>
                    <a:pt x="865" y="251"/>
                  </a:cubicBezTo>
                  <a:cubicBezTo>
                    <a:pt x="865" y="249"/>
                    <a:pt x="865" y="248"/>
                    <a:pt x="865" y="246"/>
                  </a:cubicBezTo>
                  <a:cubicBezTo>
                    <a:pt x="865" y="246"/>
                    <a:pt x="865" y="245"/>
                    <a:pt x="865" y="245"/>
                  </a:cubicBezTo>
                  <a:cubicBezTo>
                    <a:pt x="865" y="240"/>
                    <a:pt x="865" y="235"/>
                    <a:pt x="865" y="229"/>
                  </a:cubicBezTo>
                  <a:cubicBezTo>
                    <a:pt x="865" y="229"/>
                    <a:pt x="865" y="229"/>
                    <a:pt x="865" y="229"/>
                  </a:cubicBezTo>
                  <a:cubicBezTo>
                    <a:pt x="865" y="229"/>
                    <a:pt x="865" y="228"/>
                    <a:pt x="865" y="228"/>
                  </a:cubicBezTo>
                  <a:cubicBezTo>
                    <a:pt x="865" y="227"/>
                    <a:pt x="865" y="226"/>
                    <a:pt x="865" y="225"/>
                  </a:cubicBezTo>
                  <a:cubicBezTo>
                    <a:pt x="865" y="224"/>
                    <a:pt x="865" y="224"/>
                    <a:pt x="865" y="223"/>
                  </a:cubicBezTo>
                  <a:cubicBezTo>
                    <a:pt x="865" y="222"/>
                    <a:pt x="865" y="221"/>
                    <a:pt x="865" y="220"/>
                  </a:cubicBezTo>
                  <a:cubicBezTo>
                    <a:pt x="865" y="219"/>
                    <a:pt x="865" y="218"/>
                    <a:pt x="865" y="218"/>
                  </a:cubicBezTo>
                  <a:cubicBezTo>
                    <a:pt x="865" y="216"/>
                    <a:pt x="865" y="214"/>
                    <a:pt x="865" y="213"/>
                  </a:cubicBezTo>
                  <a:cubicBezTo>
                    <a:pt x="865" y="212"/>
                    <a:pt x="865" y="212"/>
                    <a:pt x="865" y="211"/>
                  </a:cubicBezTo>
                  <a:cubicBezTo>
                    <a:pt x="865" y="210"/>
                    <a:pt x="865" y="208"/>
                    <a:pt x="865" y="206"/>
                  </a:cubicBezTo>
                  <a:cubicBezTo>
                    <a:pt x="865" y="205"/>
                    <a:pt x="865" y="205"/>
                    <a:pt x="865" y="205"/>
                  </a:cubicBezTo>
                  <a:cubicBezTo>
                    <a:pt x="865" y="203"/>
                    <a:pt x="866" y="201"/>
                    <a:pt x="866" y="199"/>
                  </a:cubicBezTo>
                  <a:cubicBezTo>
                    <a:pt x="866" y="198"/>
                    <a:pt x="866" y="198"/>
                    <a:pt x="866" y="197"/>
                  </a:cubicBezTo>
                  <a:cubicBezTo>
                    <a:pt x="866" y="197"/>
                    <a:pt x="866" y="197"/>
                    <a:pt x="866" y="196"/>
                  </a:cubicBezTo>
                  <a:cubicBezTo>
                    <a:pt x="866" y="194"/>
                    <a:pt x="867" y="192"/>
                    <a:pt x="867" y="189"/>
                  </a:cubicBezTo>
                  <a:cubicBezTo>
                    <a:pt x="867" y="189"/>
                    <a:pt x="867" y="188"/>
                    <a:pt x="867" y="188"/>
                  </a:cubicBezTo>
                  <a:cubicBezTo>
                    <a:pt x="867" y="187"/>
                    <a:pt x="867" y="186"/>
                    <a:pt x="867" y="185"/>
                  </a:cubicBezTo>
                  <a:cubicBezTo>
                    <a:pt x="867" y="185"/>
                    <a:pt x="867" y="185"/>
                    <a:pt x="868" y="184"/>
                  </a:cubicBezTo>
                  <a:cubicBezTo>
                    <a:pt x="868" y="181"/>
                    <a:pt x="869" y="177"/>
                    <a:pt x="869" y="174"/>
                  </a:cubicBezTo>
                  <a:cubicBezTo>
                    <a:pt x="869" y="174"/>
                    <a:pt x="869" y="174"/>
                    <a:pt x="869" y="174"/>
                  </a:cubicBezTo>
                  <a:cubicBezTo>
                    <a:pt x="869" y="173"/>
                    <a:pt x="869" y="173"/>
                    <a:pt x="869" y="172"/>
                  </a:cubicBezTo>
                  <a:cubicBezTo>
                    <a:pt x="870" y="169"/>
                    <a:pt x="871" y="166"/>
                    <a:pt x="872" y="163"/>
                  </a:cubicBezTo>
                  <a:cubicBezTo>
                    <a:pt x="872" y="162"/>
                    <a:pt x="872" y="162"/>
                    <a:pt x="872" y="162"/>
                  </a:cubicBezTo>
                  <a:cubicBezTo>
                    <a:pt x="872" y="160"/>
                    <a:pt x="872" y="159"/>
                    <a:pt x="873" y="157"/>
                  </a:cubicBezTo>
                  <a:cubicBezTo>
                    <a:pt x="873" y="157"/>
                    <a:pt x="873" y="157"/>
                    <a:pt x="873" y="157"/>
                  </a:cubicBezTo>
                  <a:cubicBezTo>
                    <a:pt x="873" y="156"/>
                    <a:pt x="873" y="156"/>
                    <a:pt x="873" y="155"/>
                  </a:cubicBezTo>
                  <a:cubicBezTo>
                    <a:pt x="874" y="154"/>
                    <a:pt x="874" y="152"/>
                    <a:pt x="875" y="151"/>
                  </a:cubicBezTo>
                  <a:cubicBezTo>
                    <a:pt x="874" y="151"/>
                    <a:pt x="874" y="151"/>
                    <a:pt x="873" y="151"/>
                  </a:cubicBezTo>
                  <a:moveTo>
                    <a:pt x="741" y="321"/>
                  </a:moveTo>
                  <a:cubicBezTo>
                    <a:pt x="741" y="321"/>
                    <a:pt x="740" y="321"/>
                    <a:pt x="740" y="321"/>
                  </a:cubicBezTo>
                  <a:cubicBezTo>
                    <a:pt x="730" y="321"/>
                    <a:pt x="720" y="322"/>
                    <a:pt x="710" y="325"/>
                  </a:cubicBezTo>
                  <a:cubicBezTo>
                    <a:pt x="709" y="325"/>
                    <a:pt x="708" y="325"/>
                    <a:pt x="707" y="325"/>
                  </a:cubicBezTo>
                  <a:cubicBezTo>
                    <a:pt x="700" y="327"/>
                    <a:pt x="693" y="329"/>
                    <a:pt x="686" y="331"/>
                  </a:cubicBezTo>
                  <a:cubicBezTo>
                    <a:pt x="686" y="332"/>
                    <a:pt x="686" y="332"/>
                    <a:pt x="686" y="332"/>
                  </a:cubicBezTo>
                  <a:cubicBezTo>
                    <a:pt x="692" y="330"/>
                    <a:pt x="698" y="328"/>
                    <a:pt x="704" y="327"/>
                  </a:cubicBezTo>
                  <a:cubicBezTo>
                    <a:pt x="705" y="327"/>
                    <a:pt x="706" y="326"/>
                    <a:pt x="707" y="326"/>
                  </a:cubicBezTo>
                  <a:cubicBezTo>
                    <a:pt x="718" y="324"/>
                    <a:pt x="729" y="322"/>
                    <a:pt x="739" y="322"/>
                  </a:cubicBezTo>
                  <a:cubicBezTo>
                    <a:pt x="739" y="322"/>
                    <a:pt x="740" y="322"/>
                    <a:pt x="740" y="322"/>
                  </a:cubicBezTo>
                  <a:cubicBezTo>
                    <a:pt x="740" y="322"/>
                    <a:pt x="741" y="322"/>
                    <a:pt x="741" y="322"/>
                  </a:cubicBezTo>
                  <a:cubicBezTo>
                    <a:pt x="743" y="322"/>
                    <a:pt x="745" y="322"/>
                    <a:pt x="748" y="322"/>
                  </a:cubicBezTo>
                  <a:cubicBezTo>
                    <a:pt x="747" y="322"/>
                    <a:pt x="747" y="321"/>
                    <a:pt x="747" y="321"/>
                  </a:cubicBezTo>
                  <a:cubicBezTo>
                    <a:pt x="745" y="321"/>
                    <a:pt x="743" y="321"/>
                    <a:pt x="741" y="321"/>
                  </a:cubicBezTo>
                  <a:cubicBezTo>
                    <a:pt x="741" y="321"/>
                    <a:pt x="741" y="321"/>
                    <a:pt x="741" y="321"/>
                  </a:cubicBezTo>
                  <a:moveTo>
                    <a:pt x="748" y="321"/>
                  </a:moveTo>
                  <a:cubicBezTo>
                    <a:pt x="748" y="321"/>
                    <a:pt x="749" y="322"/>
                    <a:pt x="749" y="322"/>
                  </a:cubicBezTo>
                  <a:cubicBezTo>
                    <a:pt x="751" y="322"/>
                    <a:pt x="753" y="323"/>
                    <a:pt x="756" y="323"/>
                  </a:cubicBezTo>
                  <a:cubicBezTo>
                    <a:pt x="756" y="323"/>
                    <a:pt x="757" y="323"/>
                    <a:pt x="757" y="323"/>
                  </a:cubicBezTo>
                  <a:cubicBezTo>
                    <a:pt x="761" y="324"/>
                    <a:pt x="765" y="325"/>
                    <a:pt x="769" y="327"/>
                  </a:cubicBezTo>
                  <a:cubicBezTo>
                    <a:pt x="769" y="327"/>
                    <a:pt x="770" y="327"/>
                    <a:pt x="770" y="327"/>
                  </a:cubicBezTo>
                  <a:cubicBezTo>
                    <a:pt x="770" y="327"/>
                    <a:pt x="771" y="327"/>
                    <a:pt x="771" y="327"/>
                  </a:cubicBezTo>
                  <a:cubicBezTo>
                    <a:pt x="771" y="327"/>
                    <a:pt x="772" y="328"/>
                    <a:pt x="772" y="328"/>
                  </a:cubicBezTo>
                  <a:cubicBezTo>
                    <a:pt x="773" y="328"/>
                    <a:pt x="774" y="329"/>
                    <a:pt x="776" y="330"/>
                  </a:cubicBezTo>
                  <a:cubicBezTo>
                    <a:pt x="776" y="330"/>
                    <a:pt x="776" y="330"/>
                    <a:pt x="776" y="330"/>
                  </a:cubicBezTo>
                  <a:cubicBezTo>
                    <a:pt x="777" y="330"/>
                    <a:pt x="777" y="330"/>
                    <a:pt x="777" y="330"/>
                  </a:cubicBezTo>
                  <a:cubicBezTo>
                    <a:pt x="778" y="331"/>
                    <a:pt x="778" y="331"/>
                    <a:pt x="779" y="332"/>
                  </a:cubicBezTo>
                  <a:cubicBezTo>
                    <a:pt x="779" y="332"/>
                    <a:pt x="780" y="332"/>
                    <a:pt x="780" y="332"/>
                  </a:cubicBezTo>
                  <a:cubicBezTo>
                    <a:pt x="781" y="333"/>
                    <a:pt x="782" y="334"/>
                    <a:pt x="782" y="334"/>
                  </a:cubicBezTo>
                  <a:cubicBezTo>
                    <a:pt x="783" y="335"/>
                    <a:pt x="783" y="335"/>
                    <a:pt x="783" y="335"/>
                  </a:cubicBezTo>
                  <a:cubicBezTo>
                    <a:pt x="783" y="335"/>
                    <a:pt x="783" y="335"/>
                    <a:pt x="784" y="335"/>
                  </a:cubicBezTo>
                  <a:cubicBezTo>
                    <a:pt x="784" y="336"/>
                    <a:pt x="784" y="336"/>
                    <a:pt x="784" y="336"/>
                  </a:cubicBezTo>
                  <a:cubicBezTo>
                    <a:pt x="784" y="336"/>
                    <a:pt x="784" y="336"/>
                    <a:pt x="785" y="337"/>
                  </a:cubicBezTo>
                  <a:cubicBezTo>
                    <a:pt x="785" y="337"/>
                    <a:pt x="785" y="337"/>
                    <a:pt x="786" y="338"/>
                  </a:cubicBezTo>
                  <a:cubicBezTo>
                    <a:pt x="786" y="338"/>
                    <a:pt x="786" y="338"/>
                    <a:pt x="786" y="338"/>
                  </a:cubicBezTo>
                  <a:cubicBezTo>
                    <a:pt x="787" y="339"/>
                    <a:pt x="787" y="339"/>
                    <a:pt x="787" y="340"/>
                  </a:cubicBezTo>
                  <a:cubicBezTo>
                    <a:pt x="787" y="340"/>
                    <a:pt x="788" y="340"/>
                    <a:pt x="788" y="340"/>
                  </a:cubicBezTo>
                  <a:cubicBezTo>
                    <a:pt x="788" y="340"/>
                    <a:pt x="788" y="340"/>
                    <a:pt x="788" y="340"/>
                  </a:cubicBezTo>
                  <a:cubicBezTo>
                    <a:pt x="788" y="341"/>
                    <a:pt x="788" y="341"/>
                    <a:pt x="789" y="341"/>
                  </a:cubicBezTo>
                  <a:cubicBezTo>
                    <a:pt x="789" y="342"/>
                    <a:pt x="789" y="342"/>
                    <a:pt x="789" y="342"/>
                  </a:cubicBezTo>
                  <a:cubicBezTo>
                    <a:pt x="789" y="342"/>
                    <a:pt x="789" y="343"/>
                    <a:pt x="790" y="343"/>
                  </a:cubicBezTo>
                  <a:cubicBezTo>
                    <a:pt x="790" y="343"/>
                    <a:pt x="790" y="343"/>
                    <a:pt x="790" y="343"/>
                  </a:cubicBezTo>
                  <a:cubicBezTo>
                    <a:pt x="790" y="343"/>
                    <a:pt x="790" y="344"/>
                    <a:pt x="790" y="344"/>
                  </a:cubicBezTo>
                  <a:cubicBezTo>
                    <a:pt x="790" y="344"/>
                    <a:pt x="790" y="344"/>
                    <a:pt x="791" y="345"/>
                  </a:cubicBezTo>
                  <a:cubicBezTo>
                    <a:pt x="791" y="345"/>
                    <a:pt x="791" y="345"/>
                    <a:pt x="791" y="345"/>
                  </a:cubicBezTo>
                  <a:cubicBezTo>
                    <a:pt x="791" y="345"/>
                    <a:pt x="791" y="345"/>
                    <a:pt x="791" y="345"/>
                  </a:cubicBezTo>
                  <a:cubicBezTo>
                    <a:pt x="791" y="346"/>
                    <a:pt x="792" y="346"/>
                    <a:pt x="792" y="346"/>
                  </a:cubicBezTo>
                  <a:cubicBezTo>
                    <a:pt x="792" y="346"/>
                    <a:pt x="792" y="347"/>
                    <a:pt x="793" y="347"/>
                  </a:cubicBezTo>
                  <a:cubicBezTo>
                    <a:pt x="793" y="347"/>
                    <a:pt x="793" y="348"/>
                    <a:pt x="794" y="348"/>
                  </a:cubicBezTo>
                  <a:cubicBezTo>
                    <a:pt x="794" y="348"/>
                    <a:pt x="794" y="348"/>
                    <a:pt x="794" y="348"/>
                  </a:cubicBezTo>
                  <a:cubicBezTo>
                    <a:pt x="794" y="348"/>
                    <a:pt x="794" y="349"/>
                    <a:pt x="794" y="349"/>
                  </a:cubicBezTo>
                  <a:cubicBezTo>
                    <a:pt x="794" y="349"/>
                    <a:pt x="794" y="349"/>
                    <a:pt x="794" y="349"/>
                  </a:cubicBezTo>
                  <a:cubicBezTo>
                    <a:pt x="795" y="349"/>
                    <a:pt x="795" y="349"/>
                    <a:pt x="795" y="349"/>
                  </a:cubicBezTo>
                  <a:cubicBezTo>
                    <a:pt x="796" y="350"/>
                    <a:pt x="796" y="351"/>
                    <a:pt x="797" y="351"/>
                  </a:cubicBezTo>
                  <a:cubicBezTo>
                    <a:pt x="797" y="351"/>
                    <a:pt x="797" y="352"/>
                    <a:pt x="797" y="352"/>
                  </a:cubicBezTo>
                  <a:cubicBezTo>
                    <a:pt x="798" y="352"/>
                    <a:pt x="798" y="352"/>
                    <a:pt x="798" y="352"/>
                  </a:cubicBezTo>
                  <a:cubicBezTo>
                    <a:pt x="799" y="353"/>
                    <a:pt x="799" y="354"/>
                    <a:pt x="800" y="355"/>
                  </a:cubicBezTo>
                  <a:cubicBezTo>
                    <a:pt x="802" y="356"/>
                    <a:pt x="803" y="357"/>
                    <a:pt x="804" y="358"/>
                  </a:cubicBezTo>
                  <a:cubicBezTo>
                    <a:pt x="804" y="358"/>
                    <a:pt x="805" y="359"/>
                    <a:pt x="805" y="359"/>
                  </a:cubicBezTo>
                  <a:cubicBezTo>
                    <a:pt x="810" y="363"/>
                    <a:pt x="815" y="367"/>
                    <a:pt x="819" y="370"/>
                  </a:cubicBezTo>
                  <a:cubicBezTo>
                    <a:pt x="819" y="370"/>
                    <a:pt x="819" y="370"/>
                    <a:pt x="819" y="369"/>
                  </a:cubicBezTo>
                  <a:cubicBezTo>
                    <a:pt x="819" y="369"/>
                    <a:pt x="819" y="369"/>
                    <a:pt x="819" y="369"/>
                  </a:cubicBezTo>
                  <a:cubicBezTo>
                    <a:pt x="815" y="366"/>
                    <a:pt x="811" y="363"/>
                    <a:pt x="806" y="358"/>
                  </a:cubicBezTo>
                  <a:cubicBezTo>
                    <a:pt x="806" y="358"/>
                    <a:pt x="805" y="358"/>
                    <a:pt x="805" y="358"/>
                  </a:cubicBezTo>
                  <a:cubicBezTo>
                    <a:pt x="804" y="357"/>
                    <a:pt x="804" y="357"/>
                    <a:pt x="803" y="356"/>
                  </a:cubicBezTo>
                  <a:cubicBezTo>
                    <a:pt x="802" y="355"/>
                    <a:pt x="802" y="355"/>
                    <a:pt x="801" y="354"/>
                  </a:cubicBezTo>
                  <a:cubicBezTo>
                    <a:pt x="800" y="353"/>
                    <a:pt x="799" y="352"/>
                    <a:pt x="798" y="351"/>
                  </a:cubicBezTo>
                  <a:cubicBezTo>
                    <a:pt x="798" y="351"/>
                    <a:pt x="798" y="351"/>
                    <a:pt x="798" y="351"/>
                  </a:cubicBezTo>
                  <a:cubicBezTo>
                    <a:pt x="797" y="350"/>
                    <a:pt x="796" y="349"/>
                    <a:pt x="796" y="349"/>
                  </a:cubicBezTo>
                  <a:cubicBezTo>
                    <a:pt x="796" y="349"/>
                    <a:pt x="795" y="348"/>
                    <a:pt x="795" y="348"/>
                  </a:cubicBezTo>
                  <a:cubicBezTo>
                    <a:pt x="795" y="348"/>
                    <a:pt x="795" y="348"/>
                    <a:pt x="795" y="348"/>
                  </a:cubicBezTo>
                  <a:cubicBezTo>
                    <a:pt x="795" y="348"/>
                    <a:pt x="795" y="347"/>
                    <a:pt x="794" y="347"/>
                  </a:cubicBezTo>
                  <a:cubicBezTo>
                    <a:pt x="794" y="347"/>
                    <a:pt x="794" y="347"/>
                    <a:pt x="793" y="346"/>
                  </a:cubicBezTo>
                  <a:cubicBezTo>
                    <a:pt x="793" y="346"/>
                    <a:pt x="793" y="346"/>
                    <a:pt x="793" y="346"/>
                  </a:cubicBezTo>
                  <a:cubicBezTo>
                    <a:pt x="792" y="345"/>
                    <a:pt x="792" y="345"/>
                    <a:pt x="792" y="345"/>
                  </a:cubicBezTo>
                  <a:cubicBezTo>
                    <a:pt x="792" y="345"/>
                    <a:pt x="792" y="345"/>
                    <a:pt x="792" y="345"/>
                  </a:cubicBezTo>
                  <a:cubicBezTo>
                    <a:pt x="792" y="344"/>
                    <a:pt x="792" y="344"/>
                    <a:pt x="791" y="344"/>
                  </a:cubicBezTo>
                  <a:cubicBezTo>
                    <a:pt x="791" y="344"/>
                    <a:pt x="791" y="344"/>
                    <a:pt x="791" y="343"/>
                  </a:cubicBezTo>
                  <a:cubicBezTo>
                    <a:pt x="791" y="343"/>
                    <a:pt x="791" y="343"/>
                    <a:pt x="791" y="343"/>
                  </a:cubicBezTo>
                  <a:cubicBezTo>
                    <a:pt x="790" y="343"/>
                    <a:pt x="790" y="343"/>
                    <a:pt x="790" y="343"/>
                  </a:cubicBezTo>
                  <a:cubicBezTo>
                    <a:pt x="790" y="342"/>
                    <a:pt x="790" y="342"/>
                    <a:pt x="790" y="342"/>
                  </a:cubicBezTo>
                  <a:cubicBezTo>
                    <a:pt x="790" y="341"/>
                    <a:pt x="790" y="341"/>
                    <a:pt x="789" y="341"/>
                  </a:cubicBezTo>
                  <a:cubicBezTo>
                    <a:pt x="789" y="340"/>
                    <a:pt x="789" y="340"/>
                    <a:pt x="789" y="340"/>
                  </a:cubicBezTo>
                  <a:cubicBezTo>
                    <a:pt x="788" y="340"/>
                    <a:pt x="788" y="339"/>
                    <a:pt x="788" y="339"/>
                  </a:cubicBezTo>
                  <a:cubicBezTo>
                    <a:pt x="788" y="339"/>
                    <a:pt x="788" y="339"/>
                    <a:pt x="788" y="339"/>
                  </a:cubicBezTo>
                  <a:cubicBezTo>
                    <a:pt x="788" y="339"/>
                    <a:pt x="787" y="338"/>
                    <a:pt x="787" y="338"/>
                  </a:cubicBezTo>
                  <a:cubicBezTo>
                    <a:pt x="787" y="338"/>
                    <a:pt x="787" y="337"/>
                    <a:pt x="786" y="337"/>
                  </a:cubicBezTo>
                  <a:cubicBezTo>
                    <a:pt x="786" y="337"/>
                    <a:pt x="786" y="336"/>
                    <a:pt x="786" y="336"/>
                  </a:cubicBezTo>
                  <a:cubicBezTo>
                    <a:pt x="785" y="336"/>
                    <a:pt x="785" y="336"/>
                    <a:pt x="785" y="335"/>
                  </a:cubicBezTo>
                  <a:cubicBezTo>
                    <a:pt x="785" y="335"/>
                    <a:pt x="784" y="335"/>
                    <a:pt x="784" y="335"/>
                  </a:cubicBezTo>
                  <a:cubicBezTo>
                    <a:pt x="784" y="335"/>
                    <a:pt x="784" y="335"/>
                    <a:pt x="784" y="334"/>
                  </a:cubicBezTo>
                  <a:cubicBezTo>
                    <a:pt x="784" y="334"/>
                    <a:pt x="783" y="334"/>
                    <a:pt x="783" y="334"/>
                  </a:cubicBezTo>
                  <a:cubicBezTo>
                    <a:pt x="782" y="333"/>
                    <a:pt x="782" y="332"/>
                    <a:pt x="781" y="332"/>
                  </a:cubicBezTo>
                  <a:cubicBezTo>
                    <a:pt x="780" y="332"/>
                    <a:pt x="780" y="331"/>
                    <a:pt x="780" y="331"/>
                  </a:cubicBezTo>
                  <a:cubicBezTo>
                    <a:pt x="779" y="331"/>
                    <a:pt x="779" y="330"/>
                    <a:pt x="778" y="330"/>
                  </a:cubicBezTo>
                  <a:cubicBezTo>
                    <a:pt x="778" y="330"/>
                    <a:pt x="777" y="330"/>
                    <a:pt x="777" y="329"/>
                  </a:cubicBezTo>
                  <a:cubicBezTo>
                    <a:pt x="777" y="329"/>
                    <a:pt x="777" y="329"/>
                    <a:pt x="777" y="329"/>
                  </a:cubicBezTo>
                  <a:cubicBezTo>
                    <a:pt x="775" y="328"/>
                    <a:pt x="774" y="328"/>
                    <a:pt x="773" y="327"/>
                  </a:cubicBezTo>
                  <a:cubicBezTo>
                    <a:pt x="773" y="327"/>
                    <a:pt x="772" y="327"/>
                    <a:pt x="772" y="327"/>
                  </a:cubicBezTo>
                  <a:cubicBezTo>
                    <a:pt x="772" y="327"/>
                    <a:pt x="772" y="327"/>
                    <a:pt x="772" y="327"/>
                  </a:cubicBezTo>
                  <a:cubicBezTo>
                    <a:pt x="771" y="326"/>
                    <a:pt x="771" y="326"/>
                    <a:pt x="771" y="326"/>
                  </a:cubicBezTo>
                  <a:cubicBezTo>
                    <a:pt x="771" y="326"/>
                    <a:pt x="771" y="326"/>
                    <a:pt x="771" y="326"/>
                  </a:cubicBezTo>
                  <a:cubicBezTo>
                    <a:pt x="770" y="326"/>
                    <a:pt x="770" y="326"/>
                    <a:pt x="770" y="326"/>
                  </a:cubicBezTo>
                  <a:cubicBezTo>
                    <a:pt x="770" y="326"/>
                    <a:pt x="769" y="325"/>
                    <a:pt x="769" y="325"/>
                  </a:cubicBezTo>
                  <a:cubicBezTo>
                    <a:pt x="766" y="324"/>
                    <a:pt x="762" y="323"/>
                    <a:pt x="759" y="322"/>
                  </a:cubicBezTo>
                  <a:cubicBezTo>
                    <a:pt x="758" y="322"/>
                    <a:pt x="758" y="322"/>
                    <a:pt x="757" y="322"/>
                  </a:cubicBezTo>
                  <a:cubicBezTo>
                    <a:pt x="754" y="322"/>
                    <a:pt x="751" y="321"/>
                    <a:pt x="748" y="321"/>
                  </a:cubicBezTo>
                  <a:moveTo>
                    <a:pt x="685" y="332"/>
                  </a:moveTo>
                  <a:cubicBezTo>
                    <a:pt x="670" y="337"/>
                    <a:pt x="656" y="344"/>
                    <a:pt x="644" y="352"/>
                  </a:cubicBezTo>
                  <a:cubicBezTo>
                    <a:pt x="645" y="352"/>
                    <a:pt x="646" y="352"/>
                    <a:pt x="647" y="352"/>
                  </a:cubicBezTo>
                  <a:cubicBezTo>
                    <a:pt x="658" y="344"/>
                    <a:pt x="671" y="338"/>
                    <a:pt x="685" y="333"/>
                  </a:cubicBezTo>
                  <a:cubicBezTo>
                    <a:pt x="685" y="332"/>
                    <a:pt x="685" y="332"/>
                    <a:pt x="685" y="332"/>
                  </a:cubicBezTo>
                  <a:moveTo>
                    <a:pt x="644" y="353"/>
                  </a:moveTo>
                  <a:cubicBezTo>
                    <a:pt x="643" y="353"/>
                    <a:pt x="642" y="354"/>
                    <a:pt x="641" y="354"/>
                  </a:cubicBezTo>
                  <a:cubicBezTo>
                    <a:pt x="639" y="355"/>
                    <a:pt x="637" y="357"/>
                    <a:pt x="635" y="359"/>
                  </a:cubicBezTo>
                  <a:cubicBezTo>
                    <a:pt x="633" y="360"/>
                    <a:pt x="632" y="361"/>
                    <a:pt x="630" y="362"/>
                  </a:cubicBezTo>
                  <a:cubicBezTo>
                    <a:pt x="630" y="362"/>
                    <a:pt x="631" y="363"/>
                    <a:pt x="631" y="363"/>
                  </a:cubicBezTo>
                  <a:cubicBezTo>
                    <a:pt x="632" y="362"/>
                    <a:pt x="634" y="361"/>
                    <a:pt x="635" y="359"/>
                  </a:cubicBezTo>
                  <a:cubicBezTo>
                    <a:pt x="638" y="357"/>
                    <a:pt x="641" y="355"/>
                    <a:pt x="644" y="353"/>
                  </a:cubicBezTo>
                  <a:moveTo>
                    <a:pt x="629" y="363"/>
                  </a:moveTo>
                  <a:cubicBezTo>
                    <a:pt x="627" y="365"/>
                    <a:pt x="624" y="367"/>
                    <a:pt x="620" y="369"/>
                  </a:cubicBezTo>
                  <a:cubicBezTo>
                    <a:pt x="620" y="370"/>
                    <a:pt x="619" y="370"/>
                    <a:pt x="618" y="371"/>
                  </a:cubicBezTo>
                  <a:cubicBezTo>
                    <a:pt x="618" y="371"/>
                    <a:pt x="617" y="372"/>
                    <a:pt x="616" y="372"/>
                  </a:cubicBezTo>
                  <a:cubicBezTo>
                    <a:pt x="616" y="372"/>
                    <a:pt x="617" y="372"/>
                    <a:pt x="618" y="372"/>
                  </a:cubicBezTo>
                  <a:cubicBezTo>
                    <a:pt x="619" y="372"/>
                    <a:pt x="620" y="371"/>
                    <a:pt x="621" y="370"/>
                  </a:cubicBezTo>
                  <a:cubicBezTo>
                    <a:pt x="621" y="370"/>
                    <a:pt x="622" y="369"/>
                    <a:pt x="623" y="369"/>
                  </a:cubicBezTo>
                  <a:cubicBezTo>
                    <a:pt x="625" y="367"/>
                    <a:pt x="628" y="365"/>
                    <a:pt x="630" y="364"/>
                  </a:cubicBezTo>
                  <a:cubicBezTo>
                    <a:pt x="630" y="363"/>
                    <a:pt x="630" y="363"/>
                    <a:pt x="629" y="363"/>
                  </a:cubicBezTo>
                  <a:moveTo>
                    <a:pt x="616" y="373"/>
                  </a:moveTo>
                  <a:cubicBezTo>
                    <a:pt x="615" y="373"/>
                    <a:pt x="615" y="374"/>
                    <a:pt x="614" y="374"/>
                  </a:cubicBezTo>
                  <a:cubicBezTo>
                    <a:pt x="607" y="378"/>
                    <a:pt x="599" y="383"/>
                    <a:pt x="591" y="388"/>
                  </a:cubicBezTo>
                  <a:cubicBezTo>
                    <a:pt x="590" y="389"/>
                    <a:pt x="590" y="389"/>
                    <a:pt x="589" y="390"/>
                  </a:cubicBezTo>
                  <a:cubicBezTo>
                    <a:pt x="586" y="391"/>
                    <a:pt x="583" y="393"/>
                    <a:pt x="580" y="395"/>
                  </a:cubicBezTo>
                  <a:cubicBezTo>
                    <a:pt x="580" y="395"/>
                    <a:pt x="581" y="395"/>
                    <a:pt x="581" y="395"/>
                  </a:cubicBezTo>
                  <a:cubicBezTo>
                    <a:pt x="585" y="393"/>
                    <a:pt x="588" y="391"/>
                    <a:pt x="591" y="389"/>
                  </a:cubicBezTo>
                  <a:cubicBezTo>
                    <a:pt x="592" y="389"/>
                    <a:pt x="592" y="389"/>
                    <a:pt x="593" y="388"/>
                  </a:cubicBezTo>
                  <a:cubicBezTo>
                    <a:pt x="601" y="383"/>
                    <a:pt x="609" y="378"/>
                    <a:pt x="616" y="373"/>
                  </a:cubicBezTo>
                  <a:moveTo>
                    <a:pt x="578" y="396"/>
                  </a:moveTo>
                  <a:cubicBezTo>
                    <a:pt x="573" y="399"/>
                    <a:pt x="568" y="402"/>
                    <a:pt x="563" y="404"/>
                  </a:cubicBezTo>
                  <a:cubicBezTo>
                    <a:pt x="563" y="405"/>
                    <a:pt x="562" y="405"/>
                    <a:pt x="561" y="405"/>
                  </a:cubicBezTo>
                  <a:cubicBezTo>
                    <a:pt x="553" y="410"/>
                    <a:pt x="544" y="415"/>
                    <a:pt x="535" y="420"/>
                  </a:cubicBezTo>
                  <a:cubicBezTo>
                    <a:pt x="535" y="420"/>
                    <a:pt x="534" y="420"/>
                    <a:pt x="534" y="420"/>
                  </a:cubicBezTo>
                  <a:cubicBezTo>
                    <a:pt x="535" y="420"/>
                    <a:pt x="535" y="420"/>
                    <a:pt x="536" y="420"/>
                  </a:cubicBezTo>
                  <a:cubicBezTo>
                    <a:pt x="537" y="420"/>
                    <a:pt x="537" y="419"/>
                    <a:pt x="538" y="419"/>
                  </a:cubicBezTo>
                  <a:cubicBezTo>
                    <a:pt x="547" y="414"/>
                    <a:pt x="556" y="410"/>
                    <a:pt x="564" y="405"/>
                  </a:cubicBezTo>
                  <a:cubicBezTo>
                    <a:pt x="565" y="405"/>
                    <a:pt x="565" y="404"/>
                    <a:pt x="566" y="404"/>
                  </a:cubicBezTo>
                  <a:cubicBezTo>
                    <a:pt x="570" y="402"/>
                    <a:pt x="575" y="399"/>
                    <a:pt x="579" y="397"/>
                  </a:cubicBezTo>
                  <a:cubicBezTo>
                    <a:pt x="579" y="396"/>
                    <a:pt x="579" y="396"/>
                    <a:pt x="579" y="396"/>
                  </a:cubicBezTo>
                  <a:cubicBezTo>
                    <a:pt x="578" y="396"/>
                    <a:pt x="578" y="396"/>
                    <a:pt x="578" y="396"/>
                  </a:cubicBezTo>
                  <a:moveTo>
                    <a:pt x="580" y="396"/>
                  </a:moveTo>
                  <a:cubicBezTo>
                    <a:pt x="580" y="396"/>
                    <a:pt x="580" y="396"/>
                    <a:pt x="580" y="396"/>
                  </a:cubicBezTo>
                  <a:cubicBezTo>
                    <a:pt x="580" y="396"/>
                    <a:pt x="580" y="396"/>
                    <a:pt x="580" y="396"/>
                  </a:cubicBezTo>
                  <a:cubicBezTo>
                    <a:pt x="580" y="396"/>
                    <a:pt x="580" y="396"/>
                    <a:pt x="580" y="396"/>
                  </a:cubicBezTo>
                  <a:moveTo>
                    <a:pt x="532" y="421"/>
                  </a:moveTo>
                  <a:cubicBezTo>
                    <a:pt x="523" y="426"/>
                    <a:pt x="513" y="431"/>
                    <a:pt x="504" y="435"/>
                  </a:cubicBezTo>
                  <a:cubicBezTo>
                    <a:pt x="503" y="436"/>
                    <a:pt x="502" y="436"/>
                    <a:pt x="501" y="437"/>
                  </a:cubicBezTo>
                  <a:cubicBezTo>
                    <a:pt x="495" y="440"/>
                    <a:pt x="489" y="442"/>
                    <a:pt x="483" y="445"/>
                  </a:cubicBezTo>
                  <a:cubicBezTo>
                    <a:pt x="484" y="445"/>
                    <a:pt x="485" y="445"/>
                    <a:pt x="485" y="445"/>
                  </a:cubicBezTo>
                  <a:cubicBezTo>
                    <a:pt x="492" y="442"/>
                    <a:pt x="498" y="439"/>
                    <a:pt x="504" y="436"/>
                  </a:cubicBezTo>
                  <a:cubicBezTo>
                    <a:pt x="505" y="436"/>
                    <a:pt x="506" y="435"/>
                    <a:pt x="507" y="435"/>
                  </a:cubicBezTo>
                  <a:cubicBezTo>
                    <a:pt x="516" y="430"/>
                    <a:pt x="525" y="426"/>
                    <a:pt x="534" y="421"/>
                  </a:cubicBezTo>
                  <a:cubicBezTo>
                    <a:pt x="534" y="421"/>
                    <a:pt x="533" y="421"/>
                    <a:pt x="532" y="421"/>
                  </a:cubicBezTo>
                  <a:moveTo>
                    <a:pt x="481" y="446"/>
                  </a:moveTo>
                  <a:cubicBezTo>
                    <a:pt x="476" y="448"/>
                    <a:pt x="471" y="451"/>
                    <a:pt x="465" y="453"/>
                  </a:cubicBezTo>
                  <a:cubicBezTo>
                    <a:pt x="464" y="454"/>
                    <a:pt x="463" y="455"/>
                    <a:pt x="462" y="455"/>
                  </a:cubicBezTo>
                  <a:cubicBezTo>
                    <a:pt x="460" y="456"/>
                    <a:pt x="459" y="456"/>
                    <a:pt x="458" y="457"/>
                  </a:cubicBezTo>
                  <a:cubicBezTo>
                    <a:pt x="457" y="457"/>
                    <a:pt x="457" y="457"/>
                    <a:pt x="456" y="458"/>
                  </a:cubicBezTo>
                  <a:cubicBezTo>
                    <a:pt x="456" y="458"/>
                    <a:pt x="456" y="458"/>
                    <a:pt x="456" y="458"/>
                  </a:cubicBezTo>
                  <a:cubicBezTo>
                    <a:pt x="455" y="458"/>
                    <a:pt x="455" y="458"/>
                    <a:pt x="455" y="458"/>
                  </a:cubicBezTo>
                  <a:cubicBezTo>
                    <a:pt x="454" y="458"/>
                    <a:pt x="454" y="459"/>
                    <a:pt x="453" y="459"/>
                  </a:cubicBezTo>
                  <a:cubicBezTo>
                    <a:pt x="439" y="465"/>
                    <a:pt x="424" y="471"/>
                    <a:pt x="410" y="477"/>
                  </a:cubicBezTo>
                  <a:cubicBezTo>
                    <a:pt x="408" y="478"/>
                    <a:pt x="405" y="479"/>
                    <a:pt x="403" y="480"/>
                  </a:cubicBezTo>
                  <a:cubicBezTo>
                    <a:pt x="402" y="480"/>
                    <a:pt x="401" y="481"/>
                    <a:pt x="401" y="481"/>
                  </a:cubicBezTo>
                  <a:cubicBezTo>
                    <a:pt x="400" y="481"/>
                    <a:pt x="399" y="482"/>
                    <a:pt x="398" y="482"/>
                  </a:cubicBezTo>
                  <a:cubicBezTo>
                    <a:pt x="386" y="487"/>
                    <a:pt x="374" y="492"/>
                    <a:pt x="362" y="496"/>
                  </a:cubicBezTo>
                  <a:cubicBezTo>
                    <a:pt x="361" y="496"/>
                    <a:pt x="361" y="496"/>
                    <a:pt x="360" y="496"/>
                  </a:cubicBezTo>
                  <a:cubicBezTo>
                    <a:pt x="359" y="497"/>
                    <a:pt x="357" y="498"/>
                    <a:pt x="355" y="498"/>
                  </a:cubicBezTo>
                  <a:cubicBezTo>
                    <a:pt x="355" y="498"/>
                    <a:pt x="355" y="498"/>
                    <a:pt x="354" y="499"/>
                  </a:cubicBezTo>
                  <a:cubicBezTo>
                    <a:pt x="353" y="499"/>
                    <a:pt x="352" y="499"/>
                    <a:pt x="350" y="500"/>
                  </a:cubicBezTo>
                  <a:cubicBezTo>
                    <a:pt x="350" y="500"/>
                    <a:pt x="350" y="500"/>
                    <a:pt x="350" y="500"/>
                  </a:cubicBezTo>
                  <a:cubicBezTo>
                    <a:pt x="350" y="500"/>
                    <a:pt x="350" y="500"/>
                    <a:pt x="349" y="500"/>
                  </a:cubicBezTo>
                  <a:cubicBezTo>
                    <a:pt x="347" y="501"/>
                    <a:pt x="344" y="502"/>
                    <a:pt x="342" y="503"/>
                  </a:cubicBezTo>
                  <a:cubicBezTo>
                    <a:pt x="341" y="503"/>
                    <a:pt x="341" y="503"/>
                    <a:pt x="340" y="504"/>
                  </a:cubicBezTo>
                  <a:cubicBezTo>
                    <a:pt x="336" y="505"/>
                    <a:pt x="331" y="507"/>
                    <a:pt x="327" y="509"/>
                  </a:cubicBezTo>
                  <a:cubicBezTo>
                    <a:pt x="326" y="509"/>
                    <a:pt x="326" y="509"/>
                    <a:pt x="325" y="509"/>
                  </a:cubicBezTo>
                  <a:cubicBezTo>
                    <a:pt x="325" y="509"/>
                    <a:pt x="324" y="510"/>
                    <a:pt x="323" y="510"/>
                  </a:cubicBezTo>
                  <a:cubicBezTo>
                    <a:pt x="323" y="510"/>
                    <a:pt x="322" y="510"/>
                    <a:pt x="321" y="511"/>
                  </a:cubicBezTo>
                  <a:cubicBezTo>
                    <a:pt x="320" y="511"/>
                    <a:pt x="319" y="511"/>
                    <a:pt x="318" y="512"/>
                  </a:cubicBezTo>
                  <a:cubicBezTo>
                    <a:pt x="318" y="512"/>
                    <a:pt x="318" y="512"/>
                    <a:pt x="317" y="512"/>
                  </a:cubicBezTo>
                  <a:cubicBezTo>
                    <a:pt x="316" y="512"/>
                    <a:pt x="315" y="513"/>
                    <a:pt x="315" y="513"/>
                  </a:cubicBezTo>
                  <a:cubicBezTo>
                    <a:pt x="314" y="513"/>
                    <a:pt x="313" y="514"/>
                    <a:pt x="313" y="514"/>
                  </a:cubicBezTo>
                  <a:cubicBezTo>
                    <a:pt x="311" y="514"/>
                    <a:pt x="310" y="515"/>
                    <a:pt x="308" y="516"/>
                  </a:cubicBezTo>
                  <a:cubicBezTo>
                    <a:pt x="307" y="516"/>
                    <a:pt x="307" y="516"/>
                    <a:pt x="306" y="517"/>
                  </a:cubicBezTo>
                  <a:cubicBezTo>
                    <a:pt x="305" y="517"/>
                    <a:pt x="303" y="517"/>
                    <a:pt x="302" y="518"/>
                  </a:cubicBezTo>
                  <a:cubicBezTo>
                    <a:pt x="301" y="518"/>
                    <a:pt x="300" y="519"/>
                    <a:pt x="299" y="519"/>
                  </a:cubicBezTo>
                  <a:cubicBezTo>
                    <a:pt x="297" y="520"/>
                    <a:pt x="294" y="521"/>
                    <a:pt x="292" y="522"/>
                  </a:cubicBezTo>
                  <a:cubicBezTo>
                    <a:pt x="291" y="522"/>
                    <a:pt x="289" y="523"/>
                    <a:pt x="288" y="524"/>
                  </a:cubicBezTo>
                  <a:cubicBezTo>
                    <a:pt x="284" y="525"/>
                    <a:pt x="280" y="527"/>
                    <a:pt x="276" y="529"/>
                  </a:cubicBezTo>
                  <a:cubicBezTo>
                    <a:pt x="275" y="529"/>
                    <a:pt x="275" y="529"/>
                    <a:pt x="274" y="529"/>
                  </a:cubicBezTo>
                  <a:cubicBezTo>
                    <a:pt x="272" y="530"/>
                    <a:pt x="270" y="531"/>
                    <a:pt x="268" y="532"/>
                  </a:cubicBezTo>
                  <a:cubicBezTo>
                    <a:pt x="268" y="532"/>
                    <a:pt x="267" y="532"/>
                    <a:pt x="267" y="532"/>
                  </a:cubicBezTo>
                  <a:cubicBezTo>
                    <a:pt x="267" y="532"/>
                    <a:pt x="267" y="532"/>
                    <a:pt x="267" y="532"/>
                  </a:cubicBezTo>
                  <a:cubicBezTo>
                    <a:pt x="266" y="532"/>
                    <a:pt x="265" y="533"/>
                    <a:pt x="265" y="533"/>
                  </a:cubicBezTo>
                  <a:cubicBezTo>
                    <a:pt x="264" y="533"/>
                    <a:pt x="263" y="534"/>
                    <a:pt x="262" y="534"/>
                  </a:cubicBezTo>
                  <a:cubicBezTo>
                    <a:pt x="261" y="534"/>
                    <a:pt x="261" y="535"/>
                    <a:pt x="260" y="535"/>
                  </a:cubicBezTo>
                  <a:cubicBezTo>
                    <a:pt x="260" y="535"/>
                    <a:pt x="259" y="535"/>
                    <a:pt x="259" y="535"/>
                  </a:cubicBezTo>
                  <a:cubicBezTo>
                    <a:pt x="259" y="536"/>
                    <a:pt x="258" y="536"/>
                    <a:pt x="258" y="536"/>
                  </a:cubicBezTo>
                  <a:cubicBezTo>
                    <a:pt x="258" y="536"/>
                    <a:pt x="257" y="536"/>
                    <a:pt x="257" y="536"/>
                  </a:cubicBezTo>
                  <a:cubicBezTo>
                    <a:pt x="257" y="536"/>
                    <a:pt x="257" y="536"/>
                    <a:pt x="257" y="536"/>
                  </a:cubicBezTo>
                  <a:cubicBezTo>
                    <a:pt x="256" y="536"/>
                    <a:pt x="256" y="537"/>
                    <a:pt x="256" y="537"/>
                  </a:cubicBezTo>
                  <a:cubicBezTo>
                    <a:pt x="255" y="537"/>
                    <a:pt x="255" y="537"/>
                    <a:pt x="255" y="537"/>
                  </a:cubicBezTo>
                  <a:cubicBezTo>
                    <a:pt x="255" y="537"/>
                    <a:pt x="255" y="537"/>
                    <a:pt x="255" y="537"/>
                  </a:cubicBezTo>
                  <a:cubicBezTo>
                    <a:pt x="254" y="537"/>
                    <a:pt x="254" y="537"/>
                    <a:pt x="254" y="538"/>
                  </a:cubicBezTo>
                  <a:cubicBezTo>
                    <a:pt x="253" y="538"/>
                    <a:pt x="253" y="538"/>
                    <a:pt x="252" y="538"/>
                  </a:cubicBezTo>
                  <a:cubicBezTo>
                    <a:pt x="252" y="538"/>
                    <a:pt x="252" y="538"/>
                    <a:pt x="252" y="538"/>
                  </a:cubicBezTo>
                  <a:cubicBezTo>
                    <a:pt x="252" y="538"/>
                    <a:pt x="252" y="538"/>
                    <a:pt x="252" y="538"/>
                  </a:cubicBezTo>
                  <a:cubicBezTo>
                    <a:pt x="251" y="539"/>
                    <a:pt x="251" y="539"/>
                    <a:pt x="250" y="539"/>
                  </a:cubicBezTo>
                  <a:cubicBezTo>
                    <a:pt x="250" y="539"/>
                    <a:pt x="250" y="539"/>
                    <a:pt x="249" y="540"/>
                  </a:cubicBezTo>
                  <a:cubicBezTo>
                    <a:pt x="249" y="540"/>
                    <a:pt x="249" y="540"/>
                    <a:pt x="249" y="540"/>
                  </a:cubicBezTo>
                  <a:cubicBezTo>
                    <a:pt x="249" y="540"/>
                    <a:pt x="248" y="540"/>
                    <a:pt x="248" y="540"/>
                  </a:cubicBezTo>
                  <a:cubicBezTo>
                    <a:pt x="245" y="541"/>
                    <a:pt x="241" y="543"/>
                    <a:pt x="238" y="544"/>
                  </a:cubicBezTo>
                  <a:cubicBezTo>
                    <a:pt x="238" y="544"/>
                    <a:pt x="237" y="545"/>
                    <a:pt x="237" y="545"/>
                  </a:cubicBezTo>
                  <a:cubicBezTo>
                    <a:pt x="233" y="547"/>
                    <a:pt x="228" y="549"/>
                    <a:pt x="224" y="550"/>
                  </a:cubicBezTo>
                  <a:cubicBezTo>
                    <a:pt x="224" y="551"/>
                    <a:pt x="223" y="551"/>
                    <a:pt x="223" y="551"/>
                  </a:cubicBezTo>
                  <a:cubicBezTo>
                    <a:pt x="222" y="551"/>
                    <a:pt x="222" y="551"/>
                    <a:pt x="221" y="552"/>
                  </a:cubicBezTo>
                  <a:cubicBezTo>
                    <a:pt x="221" y="552"/>
                    <a:pt x="221" y="552"/>
                    <a:pt x="220" y="552"/>
                  </a:cubicBezTo>
                  <a:cubicBezTo>
                    <a:pt x="220" y="552"/>
                    <a:pt x="220" y="552"/>
                    <a:pt x="219" y="553"/>
                  </a:cubicBezTo>
                  <a:cubicBezTo>
                    <a:pt x="219" y="553"/>
                    <a:pt x="218" y="553"/>
                    <a:pt x="218" y="553"/>
                  </a:cubicBezTo>
                  <a:cubicBezTo>
                    <a:pt x="217" y="554"/>
                    <a:pt x="216" y="554"/>
                    <a:pt x="215" y="555"/>
                  </a:cubicBezTo>
                  <a:cubicBezTo>
                    <a:pt x="212" y="556"/>
                    <a:pt x="209" y="557"/>
                    <a:pt x="206" y="559"/>
                  </a:cubicBezTo>
                  <a:cubicBezTo>
                    <a:pt x="206" y="559"/>
                    <a:pt x="206" y="559"/>
                    <a:pt x="205" y="559"/>
                  </a:cubicBezTo>
                  <a:cubicBezTo>
                    <a:pt x="202" y="561"/>
                    <a:pt x="198" y="562"/>
                    <a:pt x="195" y="564"/>
                  </a:cubicBezTo>
                  <a:cubicBezTo>
                    <a:pt x="195" y="564"/>
                    <a:pt x="194" y="564"/>
                    <a:pt x="194" y="564"/>
                  </a:cubicBezTo>
                  <a:cubicBezTo>
                    <a:pt x="191" y="566"/>
                    <a:pt x="188" y="567"/>
                    <a:pt x="184" y="569"/>
                  </a:cubicBezTo>
                  <a:cubicBezTo>
                    <a:pt x="184" y="569"/>
                    <a:pt x="183" y="569"/>
                    <a:pt x="183" y="570"/>
                  </a:cubicBezTo>
                  <a:cubicBezTo>
                    <a:pt x="183" y="570"/>
                    <a:pt x="182" y="570"/>
                    <a:pt x="182" y="570"/>
                  </a:cubicBezTo>
                  <a:cubicBezTo>
                    <a:pt x="182" y="570"/>
                    <a:pt x="181" y="570"/>
                    <a:pt x="181" y="570"/>
                  </a:cubicBezTo>
                  <a:cubicBezTo>
                    <a:pt x="179" y="571"/>
                    <a:pt x="177" y="572"/>
                    <a:pt x="175" y="573"/>
                  </a:cubicBezTo>
                  <a:cubicBezTo>
                    <a:pt x="174" y="574"/>
                    <a:pt x="173" y="574"/>
                    <a:pt x="172" y="575"/>
                  </a:cubicBezTo>
                  <a:cubicBezTo>
                    <a:pt x="170" y="576"/>
                    <a:pt x="168" y="577"/>
                    <a:pt x="166" y="578"/>
                  </a:cubicBezTo>
                  <a:cubicBezTo>
                    <a:pt x="165" y="578"/>
                    <a:pt x="165" y="579"/>
                    <a:pt x="164" y="579"/>
                  </a:cubicBezTo>
                  <a:cubicBezTo>
                    <a:pt x="164" y="579"/>
                    <a:pt x="164" y="579"/>
                    <a:pt x="164" y="579"/>
                  </a:cubicBezTo>
                  <a:cubicBezTo>
                    <a:pt x="164" y="579"/>
                    <a:pt x="163" y="579"/>
                    <a:pt x="163" y="579"/>
                  </a:cubicBezTo>
                  <a:cubicBezTo>
                    <a:pt x="162" y="580"/>
                    <a:pt x="162" y="580"/>
                    <a:pt x="161" y="580"/>
                  </a:cubicBezTo>
                  <a:cubicBezTo>
                    <a:pt x="161" y="580"/>
                    <a:pt x="161" y="581"/>
                    <a:pt x="160" y="581"/>
                  </a:cubicBezTo>
                  <a:cubicBezTo>
                    <a:pt x="160" y="581"/>
                    <a:pt x="159" y="581"/>
                    <a:pt x="159" y="581"/>
                  </a:cubicBezTo>
                  <a:cubicBezTo>
                    <a:pt x="157" y="583"/>
                    <a:pt x="154" y="584"/>
                    <a:pt x="152" y="585"/>
                  </a:cubicBezTo>
                  <a:cubicBezTo>
                    <a:pt x="152" y="585"/>
                    <a:pt x="151" y="585"/>
                    <a:pt x="151" y="586"/>
                  </a:cubicBezTo>
                  <a:cubicBezTo>
                    <a:pt x="148" y="587"/>
                    <a:pt x="146" y="588"/>
                    <a:pt x="143" y="590"/>
                  </a:cubicBezTo>
                  <a:cubicBezTo>
                    <a:pt x="143" y="590"/>
                    <a:pt x="142" y="590"/>
                    <a:pt x="142" y="590"/>
                  </a:cubicBezTo>
                  <a:cubicBezTo>
                    <a:pt x="141" y="591"/>
                    <a:pt x="140" y="591"/>
                    <a:pt x="140" y="592"/>
                  </a:cubicBezTo>
                  <a:cubicBezTo>
                    <a:pt x="139" y="592"/>
                    <a:pt x="138" y="592"/>
                    <a:pt x="138" y="592"/>
                  </a:cubicBezTo>
                  <a:cubicBezTo>
                    <a:pt x="135" y="594"/>
                    <a:pt x="133" y="595"/>
                    <a:pt x="131" y="596"/>
                  </a:cubicBezTo>
                  <a:cubicBezTo>
                    <a:pt x="131" y="596"/>
                    <a:pt x="130" y="597"/>
                    <a:pt x="130" y="597"/>
                  </a:cubicBezTo>
                  <a:cubicBezTo>
                    <a:pt x="128" y="598"/>
                    <a:pt x="126" y="599"/>
                    <a:pt x="124" y="600"/>
                  </a:cubicBezTo>
                  <a:cubicBezTo>
                    <a:pt x="123" y="600"/>
                    <a:pt x="123" y="601"/>
                    <a:pt x="123" y="601"/>
                  </a:cubicBezTo>
                  <a:cubicBezTo>
                    <a:pt x="123" y="601"/>
                    <a:pt x="123" y="601"/>
                    <a:pt x="123" y="601"/>
                  </a:cubicBezTo>
                  <a:cubicBezTo>
                    <a:pt x="122" y="601"/>
                    <a:pt x="122" y="601"/>
                    <a:pt x="121" y="601"/>
                  </a:cubicBezTo>
                  <a:cubicBezTo>
                    <a:pt x="112" y="606"/>
                    <a:pt x="104" y="611"/>
                    <a:pt x="96" y="617"/>
                  </a:cubicBezTo>
                  <a:cubicBezTo>
                    <a:pt x="95" y="617"/>
                    <a:pt x="95" y="617"/>
                    <a:pt x="94" y="617"/>
                  </a:cubicBezTo>
                  <a:cubicBezTo>
                    <a:pt x="86" y="622"/>
                    <a:pt x="78" y="628"/>
                    <a:pt x="70" y="633"/>
                  </a:cubicBezTo>
                  <a:cubicBezTo>
                    <a:pt x="70" y="633"/>
                    <a:pt x="70" y="633"/>
                    <a:pt x="69" y="634"/>
                  </a:cubicBezTo>
                  <a:cubicBezTo>
                    <a:pt x="27" y="662"/>
                    <a:pt x="0" y="691"/>
                    <a:pt x="0" y="715"/>
                  </a:cubicBezTo>
                  <a:cubicBezTo>
                    <a:pt x="0" y="740"/>
                    <a:pt x="28" y="760"/>
                    <a:pt x="95" y="772"/>
                  </a:cubicBezTo>
                  <a:cubicBezTo>
                    <a:pt x="96" y="772"/>
                    <a:pt x="96" y="772"/>
                    <a:pt x="97" y="772"/>
                  </a:cubicBezTo>
                  <a:cubicBezTo>
                    <a:pt x="103" y="773"/>
                    <a:pt x="110" y="774"/>
                    <a:pt x="118" y="775"/>
                  </a:cubicBezTo>
                  <a:cubicBezTo>
                    <a:pt x="118" y="775"/>
                    <a:pt x="119" y="775"/>
                    <a:pt x="119" y="775"/>
                  </a:cubicBezTo>
                  <a:cubicBezTo>
                    <a:pt x="126" y="776"/>
                    <a:pt x="134" y="777"/>
                    <a:pt x="142" y="778"/>
                  </a:cubicBezTo>
                  <a:cubicBezTo>
                    <a:pt x="143" y="778"/>
                    <a:pt x="144" y="777"/>
                    <a:pt x="145" y="777"/>
                  </a:cubicBezTo>
                  <a:cubicBezTo>
                    <a:pt x="136" y="776"/>
                    <a:pt x="128" y="775"/>
                    <a:pt x="120" y="774"/>
                  </a:cubicBezTo>
                  <a:cubicBezTo>
                    <a:pt x="120" y="774"/>
                    <a:pt x="119" y="774"/>
                    <a:pt x="119" y="774"/>
                  </a:cubicBezTo>
                  <a:cubicBezTo>
                    <a:pt x="111" y="773"/>
                    <a:pt x="104" y="772"/>
                    <a:pt x="98" y="771"/>
                  </a:cubicBezTo>
                  <a:cubicBezTo>
                    <a:pt x="97" y="771"/>
                    <a:pt x="97" y="771"/>
                    <a:pt x="96" y="771"/>
                  </a:cubicBezTo>
                  <a:cubicBezTo>
                    <a:pt x="28" y="759"/>
                    <a:pt x="1" y="739"/>
                    <a:pt x="1" y="715"/>
                  </a:cubicBezTo>
                  <a:cubicBezTo>
                    <a:pt x="1" y="691"/>
                    <a:pt x="28" y="663"/>
                    <a:pt x="71" y="634"/>
                  </a:cubicBezTo>
                  <a:cubicBezTo>
                    <a:pt x="71" y="633"/>
                    <a:pt x="72" y="633"/>
                    <a:pt x="72" y="633"/>
                  </a:cubicBezTo>
                  <a:cubicBezTo>
                    <a:pt x="80" y="628"/>
                    <a:pt x="88" y="623"/>
                    <a:pt x="96" y="618"/>
                  </a:cubicBezTo>
                  <a:cubicBezTo>
                    <a:pt x="96" y="617"/>
                    <a:pt x="97" y="617"/>
                    <a:pt x="97" y="617"/>
                  </a:cubicBezTo>
                  <a:cubicBezTo>
                    <a:pt x="105" y="612"/>
                    <a:pt x="114" y="607"/>
                    <a:pt x="123" y="602"/>
                  </a:cubicBezTo>
                  <a:cubicBezTo>
                    <a:pt x="123" y="602"/>
                    <a:pt x="123" y="601"/>
                    <a:pt x="124" y="601"/>
                  </a:cubicBezTo>
                  <a:cubicBezTo>
                    <a:pt x="124" y="601"/>
                    <a:pt x="124" y="601"/>
                    <a:pt x="124" y="601"/>
                  </a:cubicBezTo>
                  <a:cubicBezTo>
                    <a:pt x="124" y="601"/>
                    <a:pt x="124" y="601"/>
                    <a:pt x="125" y="601"/>
                  </a:cubicBezTo>
                  <a:cubicBezTo>
                    <a:pt x="127" y="600"/>
                    <a:pt x="129" y="599"/>
                    <a:pt x="131" y="597"/>
                  </a:cubicBezTo>
                  <a:cubicBezTo>
                    <a:pt x="131" y="597"/>
                    <a:pt x="131" y="597"/>
                    <a:pt x="132" y="597"/>
                  </a:cubicBezTo>
                  <a:cubicBezTo>
                    <a:pt x="133" y="596"/>
                    <a:pt x="135" y="595"/>
                    <a:pt x="137" y="594"/>
                  </a:cubicBezTo>
                  <a:cubicBezTo>
                    <a:pt x="137" y="594"/>
                    <a:pt x="138" y="594"/>
                    <a:pt x="138" y="593"/>
                  </a:cubicBezTo>
                  <a:cubicBezTo>
                    <a:pt x="140" y="593"/>
                    <a:pt x="142" y="592"/>
                    <a:pt x="143" y="591"/>
                  </a:cubicBezTo>
                  <a:cubicBezTo>
                    <a:pt x="144" y="591"/>
                    <a:pt x="144" y="590"/>
                    <a:pt x="144" y="590"/>
                  </a:cubicBezTo>
                  <a:cubicBezTo>
                    <a:pt x="147" y="589"/>
                    <a:pt x="150" y="587"/>
                    <a:pt x="152" y="586"/>
                  </a:cubicBezTo>
                  <a:cubicBezTo>
                    <a:pt x="153" y="586"/>
                    <a:pt x="153" y="585"/>
                    <a:pt x="154" y="585"/>
                  </a:cubicBezTo>
                  <a:cubicBezTo>
                    <a:pt x="156" y="584"/>
                    <a:pt x="158" y="583"/>
                    <a:pt x="160" y="582"/>
                  </a:cubicBezTo>
                  <a:cubicBezTo>
                    <a:pt x="161" y="582"/>
                    <a:pt x="161" y="582"/>
                    <a:pt x="161" y="581"/>
                  </a:cubicBezTo>
                  <a:cubicBezTo>
                    <a:pt x="162" y="581"/>
                    <a:pt x="162" y="581"/>
                    <a:pt x="162" y="581"/>
                  </a:cubicBezTo>
                  <a:cubicBezTo>
                    <a:pt x="162" y="581"/>
                    <a:pt x="163" y="581"/>
                    <a:pt x="163" y="580"/>
                  </a:cubicBezTo>
                  <a:cubicBezTo>
                    <a:pt x="164" y="580"/>
                    <a:pt x="164" y="580"/>
                    <a:pt x="165" y="580"/>
                  </a:cubicBezTo>
                  <a:cubicBezTo>
                    <a:pt x="165" y="580"/>
                    <a:pt x="165" y="579"/>
                    <a:pt x="166" y="579"/>
                  </a:cubicBezTo>
                  <a:cubicBezTo>
                    <a:pt x="166" y="579"/>
                    <a:pt x="167" y="579"/>
                    <a:pt x="167" y="578"/>
                  </a:cubicBezTo>
                  <a:cubicBezTo>
                    <a:pt x="169" y="578"/>
                    <a:pt x="170" y="577"/>
                    <a:pt x="171" y="576"/>
                  </a:cubicBezTo>
                  <a:cubicBezTo>
                    <a:pt x="172" y="576"/>
                    <a:pt x="172" y="576"/>
                    <a:pt x="173" y="575"/>
                  </a:cubicBezTo>
                  <a:cubicBezTo>
                    <a:pt x="176" y="574"/>
                    <a:pt x="179" y="573"/>
                    <a:pt x="182" y="571"/>
                  </a:cubicBezTo>
                  <a:cubicBezTo>
                    <a:pt x="183" y="571"/>
                    <a:pt x="183" y="571"/>
                    <a:pt x="183" y="570"/>
                  </a:cubicBezTo>
                  <a:cubicBezTo>
                    <a:pt x="184" y="570"/>
                    <a:pt x="184" y="570"/>
                    <a:pt x="185" y="570"/>
                  </a:cubicBezTo>
                  <a:cubicBezTo>
                    <a:pt x="185" y="570"/>
                    <a:pt x="186" y="569"/>
                    <a:pt x="186" y="569"/>
                  </a:cubicBezTo>
                  <a:cubicBezTo>
                    <a:pt x="189" y="568"/>
                    <a:pt x="191" y="567"/>
                    <a:pt x="194" y="565"/>
                  </a:cubicBezTo>
                  <a:cubicBezTo>
                    <a:pt x="194" y="565"/>
                    <a:pt x="195" y="565"/>
                    <a:pt x="195" y="565"/>
                  </a:cubicBezTo>
                  <a:cubicBezTo>
                    <a:pt x="195" y="565"/>
                    <a:pt x="196" y="564"/>
                    <a:pt x="196" y="564"/>
                  </a:cubicBezTo>
                  <a:cubicBezTo>
                    <a:pt x="200" y="563"/>
                    <a:pt x="203" y="561"/>
                    <a:pt x="206" y="560"/>
                  </a:cubicBezTo>
                  <a:cubicBezTo>
                    <a:pt x="206" y="560"/>
                    <a:pt x="207" y="559"/>
                    <a:pt x="207" y="559"/>
                  </a:cubicBezTo>
                  <a:cubicBezTo>
                    <a:pt x="211" y="557"/>
                    <a:pt x="215" y="556"/>
                    <a:pt x="220" y="554"/>
                  </a:cubicBezTo>
                  <a:cubicBezTo>
                    <a:pt x="220" y="553"/>
                    <a:pt x="221" y="553"/>
                    <a:pt x="221" y="553"/>
                  </a:cubicBezTo>
                  <a:cubicBezTo>
                    <a:pt x="221" y="553"/>
                    <a:pt x="222" y="553"/>
                    <a:pt x="222" y="552"/>
                  </a:cubicBezTo>
                  <a:cubicBezTo>
                    <a:pt x="223" y="552"/>
                    <a:pt x="223" y="552"/>
                    <a:pt x="224" y="552"/>
                  </a:cubicBezTo>
                  <a:cubicBezTo>
                    <a:pt x="225" y="551"/>
                    <a:pt x="225" y="551"/>
                    <a:pt x="225" y="551"/>
                  </a:cubicBezTo>
                  <a:cubicBezTo>
                    <a:pt x="230" y="549"/>
                    <a:pt x="234" y="547"/>
                    <a:pt x="238" y="545"/>
                  </a:cubicBezTo>
                  <a:cubicBezTo>
                    <a:pt x="238" y="545"/>
                    <a:pt x="239" y="545"/>
                    <a:pt x="239" y="545"/>
                  </a:cubicBezTo>
                  <a:cubicBezTo>
                    <a:pt x="242" y="544"/>
                    <a:pt x="246" y="542"/>
                    <a:pt x="249" y="541"/>
                  </a:cubicBezTo>
                  <a:cubicBezTo>
                    <a:pt x="250" y="540"/>
                    <a:pt x="250" y="540"/>
                    <a:pt x="250" y="540"/>
                  </a:cubicBezTo>
                  <a:cubicBezTo>
                    <a:pt x="251" y="540"/>
                    <a:pt x="251" y="540"/>
                    <a:pt x="251" y="540"/>
                  </a:cubicBezTo>
                  <a:cubicBezTo>
                    <a:pt x="251" y="540"/>
                    <a:pt x="252" y="539"/>
                    <a:pt x="252" y="539"/>
                  </a:cubicBezTo>
                  <a:cubicBezTo>
                    <a:pt x="253" y="539"/>
                    <a:pt x="253" y="539"/>
                    <a:pt x="253" y="539"/>
                  </a:cubicBezTo>
                  <a:cubicBezTo>
                    <a:pt x="253" y="539"/>
                    <a:pt x="254" y="539"/>
                    <a:pt x="254" y="539"/>
                  </a:cubicBezTo>
                  <a:cubicBezTo>
                    <a:pt x="254" y="538"/>
                    <a:pt x="255" y="538"/>
                    <a:pt x="255" y="538"/>
                  </a:cubicBezTo>
                  <a:cubicBezTo>
                    <a:pt x="255" y="538"/>
                    <a:pt x="255" y="538"/>
                    <a:pt x="255" y="538"/>
                  </a:cubicBezTo>
                  <a:cubicBezTo>
                    <a:pt x="256" y="538"/>
                    <a:pt x="256" y="538"/>
                    <a:pt x="256" y="538"/>
                  </a:cubicBezTo>
                  <a:cubicBezTo>
                    <a:pt x="256" y="538"/>
                    <a:pt x="256" y="538"/>
                    <a:pt x="256" y="538"/>
                  </a:cubicBezTo>
                  <a:cubicBezTo>
                    <a:pt x="256" y="537"/>
                    <a:pt x="257" y="537"/>
                    <a:pt x="257" y="537"/>
                  </a:cubicBezTo>
                  <a:cubicBezTo>
                    <a:pt x="257" y="537"/>
                    <a:pt x="258" y="537"/>
                    <a:pt x="258" y="537"/>
                  </a:cubicBezTo>
                  <a:cubicBezTo>
                    <a:pt x="258" y="537"/>
                    <a:pt x="259" y="537"/>
                    <a:pt x="259" y="536"/>
                  </a:cubicBezTo>
                  <a:cubicBezTo>
                    <a:pt x="260" y="536"/>
                    <a:pt x="260" y="536"/>
                    <a:pt x="261" y="536"/>
                  </a:cubicBezTo>
                  <a:cubicBezTo>
                    <a:pt x="261" y="536"/>
                    <a:pt x="261" y="535"/>
                    <a:pt x="262" y="535"/>
                  </a:cubicBezTo>
                  <a:cubicBezTo>
                    <a:pt x="262" y="535"/>
                    <a:pt x="263" y="535"/>
                    <a:pt x="263" y="535"/>
                  </a:cubicBezTo>
                  <a:cubicBezTo>
                    <a:pt x="264" y="534"/>
                    <a:pt x="265" y="534"/>
                    <a:pt x="267" y="533"/>
                  </a:cubicBezTo>
                  <a:cubicBezTo>
                    <a:pt x="267" y="533"/>
                    <a:pt x="268" y="533"/>
                    <a:pt x="268" y="533"/>
                  </a:cubicBezTo>
                  <a:cubicBezTo>
                    <a:pt x="268" y="532"/>
                    <a:pt x="269" y="532"/>
                    <a:pt x="269" y="532"/>
                  </a:cubicBezTo>
                  <a:cubicBezTo>
                    <a:pt x="271" y="531"/>
                    <a:pt x="273" y="530"/>
                    <a:pt x="275" y="530"/>
                  </a:cubicBezTo>
                  <a:cubicBezTo>
                    <a:pt x="276" y="529"/>
                    <a:pt x="276" y="529"/>
                    <a:pt x="277" y="529"/>
                  </a:cubicBezTo>
                  <a:cubicBezTo>
                    <a:pt x="279" y="528"/>
                    <a:pt x="281" y="527"/>
                    <a:pt x="284" y="526"/>
                  </a:cubicBezTo>
                  <a:cubicBezTo>
                    <a:pt x="285" y="526"/>
                    <a:pt x="287" y="525"/>
                    <a:pt x="288" y="524"/>
                  </a:cubicBezTo>
                  <a:cubicBezTo>
                    <a:pt x="291" y="523"/>
                    <a:pt x="294" y="522"/>
                    <a:pt x="297" y="521"/>
                  </a:cubicBezTo>
                  <a:cubicBezTo>
                    <a:pt x="298" y="521"/>
                    <a:pt x="299" y="520"/>
                    <a:pt x="300" y="520"/>
                  </a:cubicBezTo>
                  <a:cubicBezTo>
                    <a:pt x="301" y="519"/>
                    <a:pt x="303" y="519"/>
                    <a:pt x="304" y="518"/>
                  </a:cubicBezTo>
                  <a:cubicBezTo>
                    <a:pt x="305" y="518"/>
                    <a:pt x="306" y="518"/>
                    <a:pt x="306" y="517"/>
                  </a:cubicBezTo>
                  <a:cubicBezTo>
                    <a:pt x="308" y="517"/>
                    <a:pt x="310" y="516"/>
                    <a:pt x="312" y="515"/>
                  </a:cubicBezTo>
                  <a:cubicBezTo>
                    <a:pt x="312" y="515"/>
                    <a:pt x="313" y="515"/>
                    <a:pt x="314" y="515"/>
                  </a:cubicBezTo>
                  <a:cubicBezTo>
                    <a:pt x="315" y="514"/>
                    <a:pt x="316" y="513"/>
                    <a:pt x="318" y="513"/>
                  </a:cubicBezTo>
                  <a:cubicBezTo>
                    <a:pt x="318" y="513"/>
                    <a:pt x="319" y="513"/>
                    <a:pt x="319" y="513"/>
                  </a:cubicBezTo>
                  <a:cubicBezTo>
                    <a:pt x="320" y="512"/>
                    <a:pt x="322" y="511"/>
                    <a:pt x="323" y="511"/>
                  </a:cubicBezTo>
                  <a:cubicBezTo>
                    <a:pt x="324" y="511"/>
                    <a:pt x="325" y="510"/>
                    <a:pt x="326" y="510"/>
                  </a:cubicBezTo>
                  <a:cubicBezTo>
                    <a:pt x="326" y="510"/>
                    <a:pt x="326" y="510"/>
                    <a:pt x="326" y="510"/>
                  </a:cubicBezTo>
                  <a:cubicBezTo>
                    <a:pt x="331" y="508"/>
                    <a:pt x="335" y="506"/>
                    <a:pt x="340" y="505"/>
                  </a:cubicBezTo>
                  <a:cubicBezTo>
                    <a:pt x="340" y="505"/>
                    <a:pt x="341" y="504"/>
                    <a:pt x="341" y="504"/>
                  </a:cubicBezTo>
                  <a:cubicBezTo>
                    <a:pt x="344" y="503"/>
                    <a:pt x="346" y="503"/>
                    <a:pt x="349" y="502"/>
                  </a:cubicBezTo>
                  <a:cubicBezTo>
                    <a:pt x="349" y="501"/>
                    <a:pt x="350" y="501"/>
                    <a:pt x="350" y="501"/>
                  </a:cubicBezTo>
                  <a:cubicBezTo>
                    <a:pt x="350" y="501"/>
                    <a:pt x="351" y="501"/>
                    <a:pt x="351" y="501"/>
                  </a:cubicBezTo>
                  <a:cubicBezTo>
                    <a:pt x="352" y="501"/>
                    <a:pt x="353" y="500"/>
                    <a:pt x="354" y="500"/>
                  </a:cubicBezTo>
                  <a:cubicBezTo>
                    <a:pt x="354" y="500"/>
                    <a:pt x="355" y="500"/>
                    <a:pt x="355" y="499"/>
                  </a:cubicBezTo>
                  <a:cubicBezTo>
                    <a:pt x="357" y="499"/>
                    <a:pt x="359" y="498"/>
                    <a:pt x="361" y="497"/>
                  </a:cubicBezTo>
                  <a:cubicBezTo>
                    <a:pt x="362" y="497"/>
                    <a:pt x="362" y="497"/>
                    <a:pt x="363" y="497"/>
                  </a:cubicBezTo>
                  <a:cubicBezTo>
                    <a:pt x="375" y="492"/>
                    <a:pt x="388" y="487"/>
                    <a:pt x="401" y="482"/>
                  </a:cubicBezTo>
                  <a:cubicBezTo>
                    <a:pt x="402" y="482"/>
                    <a:pt x="403" y="481"/>
                    <a:pt x="403" y="481"/>
                  </a:cubicBezTo>
                  <a:cubicBezTo>
                    <a:pt x="405" y="480"/>
                    <a:pt x="407" y="480"/>
                    <a:pt x="408" y="479"/>
                  </a:cubicBezTo>
                  <a:cubicBezTo>
                    <a:pt x="409" y="479"/>
                    <a:pt x="409" y="479"/>
                    <a:pt x="409" y="479"/>
                  </a:cubicBezTo>
                  <a:cubicBezTo>
                    <a:pt x="410" y="478"/>
                    <a:pt x="410" y="478"/>
                    <a:pt x="410" y="478"/>
                  </a:cubicBezTo>
                  <a:cubicBezTo>
                    <a:pt x="412" y="477"/>
                    <a:pt x="415" y="476"/>
                    <a:pt x="417" y="476"/>
                  </a:cubicBezTo>
                  <a:cubicBezTo>
                    <a:pt x="430" y="470"/>
                    <a:pt x="442" y="465"/>
                    <a:pt x="455" y="459"/>
                  </a:cubicBezTo>
                  <a:cubicBezTo>
                    <a:pt x="456" y="459"/>
                    <a:pt x="457" y="458"/>
                    <a:pt x="458" y="458"/>
                  </a:cubicBezTo>
                  <a:cubicBezTo>
                    <a:pt x="458" y="458"/>
                    <a:pt x="458" y="458"/>
                    <a:pt x="458" y="458"/>
                  </a:cubicBezTo>
                  <a:cubicBezTo>
                    <a:pt x="459" y="457"/>
                    <a:pt x="459" y="457"/>
                    <a:pt x="460" y="457"/>
                  </a:cubicBezTo>
                  <a:cubicBezTo>
                    <a:pt x="462" y="456"/>
                    <a:pt x="464" y="455"/>
                    <a:pt x="466" y="454"/>
                  </a:cubicBezTo>
                  <a:cubicBezTo>
                    <a:pt x="467" y="454"/>
                    <a:pt x="469" y="453"/>
                    <a:pt x="470" y="452"/>
                  </a:cubicBezTo>
                  <a:cubicBezTo>
                    <a:pt x="474" y="450"/>
                    <a:pt x="479" y="448"/>
                    <a:pt x="483" y="446"/>
                  </a:cubicBezTo>
                  <a:cubicBezTo>
                    <a:pt x="483" y="446"/>
                    <a:pt x="482" y="446"/>
                    <a:pt x="481" y="446"/>
                  </a:cubicBezTo>
                  <a:moveTo>
                    <a:pt x="774" y="659"/>
                  </a:moveTo>
                  <a:cubicBezTo>
                    <a:pt x="775" y="659"/>
                    <a:pt x="775" y="659"/>
                    <a:pt x="775" y="660"/>
                  </a:cubicBezTo>
                  <a:cubicBezTo>
                    <a:pt x="779" y="660"/>
                    <a:pt x="782" y="660"/>
                    <a:pt x="786" y="660"/>
                  </a:cubicBezTo>
                  <a:cubicBezTo>
                    <a:pt x="785" y="660"/>
                    <a:pt x="785" y="659"/>
                    <a:pt x="784" y="659"/>
                  </a:cubicBezTo>
                  <a:cubicBezTo>
                    <a:pt x="781" y="659"/>
                    <a:pt x="778" y="659"/>
                    <a:pt x="774" y="659"/>
                  </a:cubicBezTo>
                  <a:moveTo>
                    <a:pt x="773" y="659"/>
                  </a:moveTo>
                  <a:cubicBezTo>
                    <a:pt x="767" y="659"/>
                    <a:pt x="760" y="659"/>
                    <a:pt x="754" y="659"/>
                  </a:cubicBezTo>
                  <a:cubicBezTo>
                    <a:pt x="753" y="659"/>
                    <a:pt x="753" y="659"/>
                    <a:pt x="752" y="659"/>
                  </a:cubicBezTo>
                  <a:cubicBezTo>
                    <a:pt x="744" y="660"/>
                    <a:pt x="737" y="661"/>
                    <a:pt x="729" y="662"/>
                  </a:cubicBezTo>
                  <a:cubicBezTo>
                    <a:pt x="727" y="662"/>
                    <a:pt x="725" y="663"/>
                    <a:pt x="724" y="663"/>
                  </a:cubicBezTo>
                  <a:cubicBezTo>
                    <a:pt x="711" y="665"/>
                    <a:pt x="697" y="667"/>
                    <a:pt x="683" y="670"/>
                  </a:cubicBezTo>
                  <a:cubicBezTo>
                    <a:pt x="683" y="670"/>
                    <a:pt x="683" y="671"/>
                    <a:pt x="682" y="671"/>
                  </a:cubicBezTo>
                  <a:cubicBezTo>
                    <a:pt x="681" y="671"/>
                    <a:pt x="679" y="671"/>
                    <a:pt x="678" y="672"/>
                  </a:cubicBezTo>
                  <a:cubicBezTo>
                    <a:pt x="677" y="672"/>
                    <a:pt x="676" y="672"/>
                    <a:pt x="675" y="672"/>
                  </a:cubicBezTo>
                  <a:cubicBezTo>
                    <a:pt x="671" y="673"/>
                    <a:pt x="666" y="674"/>
                    <a:pt x="661" y="676"/>
                  </a:cubicBezTo>
                  <a:cubicBezTo>
                    <a:pt x="661" y="676"/>
                    <a:pt x="660" y="676"/>
                    <a:pt x="659" y="676"/>
                  </a:cubicBezTo>
                  <a:cubicBezTo>
                    <a:pt x="658" y="676"/>
                    <a:pt x="657" y="677"/>
                    <a:pt x="655" y="677"/>
                  </a:cubicBezTo>
                  <a:cubicBezTo>
                    <a:pt x="655" y="677"/>
                    <a:pt x="655" y="677"/>
                    <a:pt x="655" y="677"/>
                  </a:cubicBezTo>
                  <a:cubicBezTo>
                    <a:pt x="654" y="677"/>
                    <a:pt x="654" y="677"/>
                    <a:pt x="653" y="678"/>
                  </a:cubicBezTo>
                  <a:cubicBezTo>
                    <a:pt x="652" y="678"/>
                    <a:pt x="652" y="678"/>
                    <a:pt x="651" y="678"/>
                  </a:cubicBezTo>
                  <a:cubicBezTo>
                    <a:pt x="650" y="678"/>
                    <a:pt x="649" y="679"/>
                    <a:pt x="649" y="679"/>
                  </a:cubicBezTo>
                  <a:cubicBezTo>
                    <a:pt x="642" y="680"/>
                    <a:pt x="636" y="682"/>
                    <a:pt x="630" y="684"/>
                  </a:cubicBezTo>
                  <a:cubicBezTo>
                    <a:pt x="630" y="684"/>
                    <a:pt x="629" y="684"/>
                    <a:pt x="629" y="684"/>
                  </a:cubicBezTo>
                  <a:cubicBezTo>
                    <a:pt x="622" y="686"/>
                    <a:pt x="615" y="688"/>
                    <a:pt x="608" y="690"/>
                  </a:cubicBezTo>
                  <a:cubicBezTo>
                    <a:pt x="607" y="690"/>
                    <a:pt x="607" y="690"/>
                    <a:pt x="606" y="691"/>
                  </a:cubicBezTo>
                  <a:cubicBezTo>
                    <a:pt x="598" y="693"/>
                    <a:pt x="591" y="695"/>
                    <a:pt x="583" y="697"/>
                  </a:cubicBezTo>
                  <a:cubicBezTo>
                    <a:pt x="582" y="697"/>
                    <a:pt x="581" y="698"/>
                    <a:pt x="581" y="698"/>
                  </a:cubicBezTo>
                  <a:cubicBezTo>
                    <a:pt x="573" y="700"/>
                    <a:pt x="566" y="703"/>
                    <a:pt x="558" y="705"/>
                  </a:cubicBezTo>
                  <a:cubicBezTo>
                    <a:pt x="557" y="705"/>
                    <a:pt x="556" y="705"/>
                    <a:pt x="555" y="706"/>
                  </a:cubicBezTo>
                  <a:cubicBezTo>
                    <a:pt x="550" y="707"/>
                    <a:pt x="545" y="709"/>
                    <a:pt x="541" y="710"/>
                  </a:cubicBezTo>
                  <a:cubicBezTo>
                    <a:pt x="538" y="711"/>
                    <a:pt x="536" y="712"/>
                    <a:pt x="534" y="712"/>
                  </a:cubicBezTo>
                  <a:cubicBezTo>
                    <a:pt x="533" y="713"/>
                    <a:pt x="532" y="713"/>
                    <a:pt x="531" y="713"/>
                  </a:cubicBezTo>
                  <a:cubicBezTo>
                    <a:pt x="524" y="715"/>
                    <a:pt x="517" y="717"/>
                    <a:pt x="510" y="720"/>
                  </a:cubicBezTo>
                  <a:cubicBezTo>
                    <a:pt x="509" y="720"/>
                    <a:pt x="508" y="720"/>
                    <a:pt x="507" y="721"/>
                  </a:cubicBezTo>
                  <a:cubicBezTo>
                    <a:pt x="500" y="723"/>
                    <a:pt x="493" y="725"/>
                    <a:pt x="486" y="727"/>
                  </a:cubicBezTo>
                  <a:cubicBezTo>
                    <a:pt x="485" y="727"/>
                    <a:pt x="484" y="727"/>
                    <a:pt x="483" y="728"/>
                  </a:cubicBezTo>
                  <a:cubicBezTo>
                    <a:pt x="477" y="730"/>
                    <a:pt x="470" y="731"/>
                    <a:pt x="463" y="733"/>
                  </a:cubicBezTo>
                  <a:cubicBezTo>
                    <a:pt x="462" y="734"/>
                    <a:pt x="461" y="734"/>
                    <a:pt x="460" y="734"/>
                  </a:cubicBezTo>
                  <a:cubicBezTo>
                    <a:pt x="454" y="736"/>
                    <a:pt x="447" y="738"/>
                    <a:pt x="441" y="740"/>
                  </a:cubicBezTo>
                  <a:cubicBezTo>
                    <a:pt x="440" y="740"/>
                    <a:pt x="439" y="740"/>
                    <a:pt x="438" y="741"/>
                  </a:cubicBezTo>
                  <a:cubicBezTo>
                    <a:pt x="431" y="743"/>
                    <a:pt x="425" y="744"/>
                    <a:pt x="418" y="746"/>
                  </a:cubicBezTo>
                  <a:cubicBezTo>
                    <a:pt x="417" y="746"/>
                    <a:pt x="416" y="747"/>
                    <a:pt x="415" y="747"/>
                  </a:cubicBezTo>
                  <a:cubicBezTo>
                    <a:pt x="407" y="749"/>
                    <a:pt x="398" y="751"/>
                    <a:pt x="389" y="754"/>
                  </a:cubicBezTo>
                  <a:cubicBezTo>
                    <a:pt x="388" y="754"/>
                    <a:pt x="387" y="754"/>
                    <a:pt x="386" y="754"/>
                  </a:cubicBezTo>
                  <a:cubicBezTo>
                    <a:pt x="377" y="757"/>
                    <a:pt x="367" y="759"/>
                    <a:pt x="358" y="761"/>
                  </a:cubicBezTo>
                  <a:cubicBezTo>
                    <a:pt x="356" y="761"/>
                    <a:pt x="355" y="762"/>
                    <a:pt x="354" y="762"/>
                  </a:cubicBezTo>
                  <a:cubicBezTo>
                    <a:pt x="353" y="762"/>
                    <a:pt x="353" y="762"/>
                    <a:pt x="352" y="762"/>
                  </a:cubicBezTo>
                  <a:cubicBezTo>
                    <a:pt x="352" y="762"/>
                    <a:pt x="351" y="762"/>
                    <a:pt x="351" y="763"/>
                  </a:cubicBezTo>
                  <a:cubicBezTo>
                    <a:pt x="343" y="764"/>
                    <a:pt x="335" y="766"/>
                    <a:pt x="326" y="767"/>
                  </a:cubicBezTo>
                  <a:cubicBezTo>
                    <a:pt x="324" y="768"/>
                    <a:pt x="322" y="768"/>
                    <a:pt x="320" y="769"/>
                  </a:cubicBezTo>
                  <a:cubicBezTo>
                    <a:pt x="311" y="770"/>
                    <a:pt x="302" y="772"/>
                    <a:pt x="293" y="773"/>
                  </a:cubicBezTo>
                  <a:cubicBezTo>
                    <a:pt x="288" y="774"/>
                    <a:pt x="284" y="774"/>
                    <a:pt x="280" y="775"/>
                  </a:cubicBezTo>
                  <a:cubicBezTo>
                    <a:pt x="278" y="775"/>
                    <a:pt x="276" y="776"/>
                    <a:pt x="273" y="776"/>
                  </a:cubicBezTo>
                  <a:cubicBezTo>
                    <a:pt x="269" y="777"/>
                    <a:pt x="264" y="778"/>
                    <a:pt x="260" y="778"/>
                  </a:cubicBezTo>
                  <a:cubicBezTo>
                    <a:pt x="271" y="777"/>
                    <a:pt x="282" y="776"/>
                    <a:pt x="293" y="774"/>
                  </a:cubicBezTo>
                  <a:cubicBezTo>
                    <a:pt x="297" y="774"/>
                    <a:pt x="301" y="773"/>
                    <a:pt x="306" y="772"/>
                  </a:cubicBezTo>
                  <a:cubicBezTo>
                    <a:pt x="313" y="771"/>
                    <a:pt x="320" y="770"/>
                    <a:pt x="326" y="768"/>
                  </a:cubicBezTo>
                  <a:cubicBezTo>
                    <a:pt x="329" y="768"/>
                    <a:pt x="331" y="768"/>
                    <a:pt x="333" y="767"/>
                  </a:cubicBezTo>
                  <a:cubicBezTo>
                    <a:pt x="339" y="766"/>
                    <a:pt x="346" y="765"/>
                    <a:pt x="352" y="763"/>
                  </a:cubicBezTo>
                  <a:cubicBezTo>
                    <a:pt x="353" y="763"/>
                    <a:pt x="353" y="763"/>
                    <a:pt x="354" y="763"/>
                  </a:cubicBezTo>
                  <a:cubicBezTo>
                    <a:pt x="355" y="763"/>
                    <a:pt x="357" y="762"/>
                    <a:pt x="358" y="762"/>
                  </a:cubicBezTo>
                  <a:cubicBezTo>
                    <a:pt x="359" y="762"/>
                    <a:pt x="361" y="761"/>
                    <a:pt x="362" y="761"/>
                  </a:cubicBezTo>
                  <a:cubicBezTo>
                    <a:pt x="371" y="759"/>
                    <a:pt x="381" y="757"/>
                    <a:pt x="390" y="755"/>
                  </a:cubicBezTo>
                  <a:cubicBezTo>
                    <a:pt x="391" y="754"/>
                    <a:pt x="392" y="754"/>
                    <a:pt x="393" y="754"/>
                  </a:cubicBezTo>
                  <a:cubicBezTo>
                    <a:pt x="401" y="752"/>
                    <a:pt x="410" y="749"/>
                    <a:pt x="418" y="747"/>
                  </a:cubicBezTo>
                  <a:cubicBezTo>
                    <a:pt x="419" y="747"/>
                    <a:pt x="420" y="747"/>
                    <a:pt x="421" y="746"/>
                  </a:cubicBezTo>
                  <a:cubicBezTo>
                    <a:pt x="428" y="745"/>
                    <a:pt x="434" y="743"/>
                    <a:pt x="441" y="741"/>
                  </a:cubicBezTo>
                  <a:cubicBezTo>
                    <a:pt x="442" y="741"/>
                    <a:pt x="443" y="740"/>
                    <a:pt x="444" y="740"/>
                  </a:cubicBezTo>
                  <a:cubicBezTo>
                    <a:pt x="451" y="738"/>
                    <a:pt x="457" y="736"/>
                    <a:pt x="464" y="734"/>
                  </a:cubicBezTo>
                  <a:cubicBezTo>
                    <a:pt x="465" y="734"/>
                    <a:pt x="466" y="734"/>
                    <a:pt x="467" y="734"/>
                  </a:cubicBezTo>
                  <a:cubicBezTo>
                    <a:pt x="473" y="732"/>
                    <a:pt x="480" y="730"/>
                    <a:pt x="487" y="728"/>
                  </a:cubicBezTo>
                  <a:cubicBezTo>
                    <a:pt x="488" y="727"/>
                    <a:pt x="489" y="727"/>
                    <a:pt x="490" y="727"/>
                  </a:cubicBezTo>
                  <a:cubicBezTo>
                    <a:pt x="497" y="725"/>
                    <a:pt x="503" y="723"/>
                    <a:pt x="510" y="721"/>
                  </a:cubicBezTo>
                  <a:cubicBezTo>
                    <a:pt x="511" y="720"/>
                    <a:pt x="512" y="720"/>
                    <a:pt x="513" y="720"/>
                  </a:cubicBezTo>
                  <a:cubicBezTo>
                    <a:pt x="517" y="718"/>
                    <a:pt x="521" y="717"/>
                    <a:pt x="526" y="716"/>
                  </a:cubicBezTo>
                  <a:cubicBezTo>
                    <a:pt x="528" y="715"/>
                    <a:pt x="531" y="714"/>
                    <a:pt x="533" y="713"/>
                  </a:cubicBezTo>
                  <a:cubicBezTo>
                    <a:pt x="534" y="713"/>
                    <a:pt x="534" y="713"/>
                    <a:pt x="534" y="713"/>
                  </a:cubicBezTo>
                  <a:cubicBezTo>
                    <a:pt x="535" y="713"/>
                    <a:pt x="536" y="713"/>
                    <a:pt x="537" y="712"/>
                  </a:cubicBezTo>
                  <a:cubicBezTo>
                    <a:pt x="544" y="710"/>
                    <a:pt x="551" y="708"/>
                    <a:pt x="559" y="706"/>
                  </a:cubicBezTo>
                  <a:cubicBezTo>
                    <a:pt x="560" y="705"/>
                    <a:pt x="561" y="705"/>
                    <a:pt x="562" y="705"/>
                  </a:cubicBezTo>
                  <a:cubicBezTo>
                    <a:pt x="569" y="703"/>
                    <a:pt x="576" y="701"/>
                    <a:pt x="583" y="699"/>
                  </a:cubicBezTo>
                  <a:cubicBezTo>
                    <a:pt x="583" y="698"/>
                    <a:pt x="583" y="698"/>
                    <a:pt x="584" y="698"/>
                  </a:cubicBezTo>
                  <a:cubicBezTo>
                    <a:pt x="584" y="698"/>
                    <a:pt x="584" y="698"/>
                    <a:pt x="584" y="698"/>
                  </a:cubicBezTo>
                  <a:cubicBezTo>
                    <a:pt x="585" y="698"/>
                    <a:pt x="586" y="698"/>
                    <a:pt x="587" y="697"/>
                  </a:cubicBezTo>
                  <a:cubicBezTo>
                    <a:pt x="594" y="695"/>
                    <a:pt x="601" y="693"/>
                    <a:pt x="608" y="691"/>
                  </a:cubicBezTo>
                  <a:cubicBezTo>
                    <a:pt x="609" y="691"/>
                    <a:pt x="610" y="690"/>
                    <a:pt x="611" y="690"/>
                  </a:cubicBezTo>
                  <a:cubicBezTo>
                    <a:pt x="618" y="688"/>
                    <a:pt x="624" y="687"/>
                    <a:pt x="630" y="685"/>
                  </a:cubicBezTo>
                  <a:cubicBezTo>
                    <a:pt x="630" y="685"/>
                    <a:pt x="631" y="685"/>
                    <a:pt x="631" y="685"/>
                  </a:cubicBezTo>
                  <a:cubicBezTo>
                    <a:pt x="638" y="683"/>
                    <a:pt x="644" y="681"/>
                    <a:pt x="651" y="679"/>
                  </a:cubicBezTo>
                  <a:cubicBezTo>
                    <a:pt x="652" y="679"/>
                    <a:pt x="652" y="679"/>
                    <a:pt x="653" y="679"/>
                  </a:cubicBezTo>
                  <a:cubicBezTo>
                    <a:pt x="654" y="678"/>
                    <a:pt x="654" y="678"/>
                    <a:pt x="655" y="678"/>
                  </a:cubicBezTo>
                  <a:cubicBezTo>
                    <a:pt x="656" y="678"/>
                    <a:pt x="656" y="678"/>
                    <a:pt x="657" y="678"/>
                  </a:cubicBezTo>
                  <a:cubicBezTo>
                    <a:pt x="658" y="677"/>
                    <a:pt x="660" y="677"/>
                    <a:pt x="661" y="677"/>
                  </a:cubicBezTo>
                  <a:cubicBezTo>
                    <a:pt x="662" y="676"/>
                    <a:pt x="662" y="676"/>
                    <a:pt x="663" y="676"/>
                  </a:cubicBezTo>
                  <a:cubicBezTo>
                    <a:pt x="668" y="675"/>
                    <a:pt x="673" y="674"/>
                    <a:pt x="678" y="673"/>
                  </a:cubicBezTo>
                  <a:cubicBezTo>
                    <a:pt x="678" y="673"/>
                    <a:pt x="679" y="672"/>
                    <a:pt x="680" y="672"/>
                  </a:cubicBezTo>
                  <a:cubicBezTo>
                    <a:pt x="681" y="672"/>
                    <a:pt x="682" y="672"/>
                    <a:pt x="683" y="671"/>
                  </a:cubicBezTo>
                  <a:cubicBezTo>
                    <a:pt x="683" y="671"/>
                    <a:pt x="684" y="671"/>
                    <a:pt x="684" y="671"/>
                  </a:cubicBezTo>
                  <a:cubicBezTo>
                    <a:pt x="696" y="669"/>
                    <a:pt x="708" y="666"/>
                    <a:pt x="719" y="665"/>
                  </a:cubicBezTo>
                  <a:cubicBezTo>
                    <a:pt x="721" y="664"/>
                    <a:pt x="722" y="664"/>
                    <a:pt x="724" y="664"/>
                  </a:cubicBezTo>
                  <a:cubicBezTo>
                    <a:pt x="734" y="662"/>
                    <a:pt x="744" y="661"/>
                    <a:pt x="753" y="660"/>
                  </a:cubicBezTo>
                  <a:cubicBezTo>
                    <a:pt x="754" y="660"/>
                    <a:pt x="754" y="660"/>
                    <a:pt x="755" y="660"/>
                  </a:cubicBezTo>
                  <a:cubicBezTo>
                    <a:pt x="761" y="660"/>
                    <a:pt x="768" y="660"/>
                    <a:pt x="774" y="660"/>
                  </a:cubicBezTo>
                  <a:cubicBezTo>
                    <a:pt x="774" y="660"/>
                    <a:pt x="774" y="660"/>
                    <a:pt x="774" y="660"/>
                  </a:cubicBezTo>
                  <a:cubicBezTo>
                    <a:pt x="774" y="659"/>
                    <a:pt x="773" y="659"/>
                    <a:pt x="773" y="659"/>
                  </a:cubicBezTo>
                  <a:moveTo>
                    <a:pt x="786" y="659"/>
                  </a:moveTo>
                  <a:cubicBezTo>
                    <a:pt x="786" y="659"/>
                    <a:pt x="787" y="660"/>
                    <a:pt x="787" y="660"/>
                  </a:cubicBezTo>
                  <a:cubicBezTo>
                    <a:pt x="791" y="660"/>
                    <a:pt x="794" y="660"/>
                    <a:pt x="797" y="661"/>
                  </a:cubicBezTo>
                  <a:cubicBezTo>
                    <a:pt x="797" y="660"/>
                    <a:pt x="796" y="660"/>
                    <a:pt x="795" y="660"/>
                  </a:cubicBezTo>
                  <a:cubicBezTo>
                    <a:pt x="792" y="659"/>
                    <a:pt x="789" y="659"/>
                    <a:pt x="786" y="659"/>
                  </a:cubicBezTo>
                  <a:moveTo>
                    <a:pt x="797" y="660"/>
                  </a:moveTo>
                  <a:cubicBezTo>
                    <a:pt x="798" y="660"/>
                    <a:pt x="798" y="661"/>
                    <a:pt x="799" y="661"/>
                  </a:cubicBezTo>
                  <a:cubicBezTo>
                    <a:pt x="801" y="661"/>
                    <a:pt x="803" y="662"/>
                    <a:pt x="805" y="662"/>
                  </a:cubicBezTo>
                  <a:cubicBezTo>
                    <a:pt x="804" y="661"/>
                    <a:pt x="803" y="661"/>
                    <a:pt x="802" y="660"/>
                  </a:cubicBezTo>
                  <a:cubicBezTo>
                    <a:pt x="800" y="660"/>
                    <a:pt x="799" y="660"/>
                    <a:pt x="797" y="660"/>
                  </a:cubicBezTo>
                  <a:moveTo>
                    <a:pt x="805" y="661"/>
                  </a:moveTo>
                  <a:cubicBezTo>
                    <a:pt x="806" y="661"/>
                    <a:pt x="807" y="662"/>
                    <a:pt x="808" y="662"/>
                  </a:cubicBezTo>
                  <a:cubicBezTo>
                    <a:pt x="808" y="662"/>
                    <a:pt x="808" y="662"/>
                    <a:pt x="808" y="662"/>
                  </a:cubicBezTo>
                  <a:cubicBezTo>
                    <a:pt x="810" y="663"/>
                    <a:pt x="811" y="663"/>
                    <a:pt x="813" y="663"/>
                  </a:cubicBezTo>
                  <a:cubicBezTo>
                    <a:pt x="813" y="664"/>
                    <a:pt x="814" y="664"/>
                    <a:pt x="814" y="664"/>
                  </a:cubicBezTo>
                  <a:cubicBezTo>
                    <a:pt x="812" y="663"/>
                    <a:pt x="810" y="662"/>
                    <a:pt x="808" y="661"/>
                  </a:cubicBezTo>
                  <a:cubicBezTo>
                    <a:pt x="807" y="661"/>
                    <a:pt x="806" y="661"/>
                    <a:pt x="805" y="661"/>
                  </a:cubicBezTo>
                  <a:moveTo>
                    <a:pt x="814" y="663"/>
                  </a:moveTo>
                  <a:cubicBezTo>
                    <a:pt x="816" y="663"/>
                    <a:pt x="818" y="664"/>
                    <a:pt x="820" y="665"/>
                  </a:cubicBezTo>
                  <a:cubicBezTo>
                    <a:pt x="820" y="665"/>
                    <a:pt x="820" y="665"/>
                    <a:pt x="820" y="665"/>
                  </a:cubicBezTo>
                  <a:cubicBezTo>
                    <a:pt x="823" y="666"/>
                    <a:pt x="826" y="667"/>
                    <a:pt x="829" y="668"/>
                  </a:cubicBezTo>
                  <a:cubicBezTo>
                    <a:pt x="830" y="668"/>
                    <a:pt x="831" y="669"/>
                    <a:pt x="832" y="669"/>
                  </a:cubicBezTo>
                  <a:cubicBezTo>
                    <a:pt x="835" y="670"/>
                    <a:pt x="839" y="672"/>
                    <a:pt x="842" y="674"/>
                  </a:cubicBezTo>
                  <a:cubicBezTo>
                    <a:pt x="843" y="674"/>
                    <a:pt x="843" y="674"/>
                    <a:pt x="844" y="675"/>
                  </a:cubicBezTo>
                  <a:cubicBezTo>
                    <a:pt x="847" y="676"/>
                    <a:pt x="849" y="678"/>
                    <a:pt x="852" y="679"/>
                  </a:cubicBezTo>
                  <a:cubicBezTo>
                    <a:pt x="852" y="680"/>
                    <a:pt x="853" y="680"/>
                    <a:pt x="853" y="680"/>
                  </a:cubicBezTo>
                  <a:cubicBezTo>
                    <a:pt x="855" y="681"/>
                    <a:pt x="857" y="683"/>
                    <a:pt x="858" y="684"/>
                  </a:cubicBezTo>
                  <a:cubicBezTo>
                    <a:pt x="859" y="685"/>
                    <a:pt x="859" y="685"/>
                    <a:pt x="860" y="685"/>
                  </a:cubicBezTo>
                  <a:cubicBezTo>
                    <a:pt x="861" y="686"/>
                    <a:pt x="862" y="688"/>
                    <a:pt x="864" y="689"/>
                  </a:cubicBezTo>
                  <a:cubicBezTo>
                    <a:pt x="864" y="689"/>
                    <a:pt x="865" y="689"/>
                    <a:pt x="865" y="690"/>
                  </a:cubicBezTo>
                  <a:cubicBezTo>
                    <a:pt x="867" y="692"/>
                    <a:pt x="870" y="695"/>
                    <a:pt x="872" y="697"/>
                  </a:cubicBezTo>
                  <a:cubicBezTo>
                    <a:pt x="872" y="697"/>
                    <a:pt x="872" y="698"/>
                    <a:pt x="873" y="698"/>
                  </a:cubicBezTo>
                  <a:cubicBezTo>
                    <a:pt x="877" y="703"/>
                    <a:pt x="880" y="708"/>
                    <a:pt x="883" y="714"/>
                  </a:cubicBezTo>
                  <a:cubicBezTo>
                    <a:pt x="884" y="714"/>
                    <a:pt x="884" y="715"/>
                    <a:pt x="884" y="716"/>
                  </a:cubicBezTo>
                  <a:cubicBezTo>
                    <a:pt x="888" y="723"/>
                    <a:pt x="892" y="732"/>
                    <a:pt x="895" y="741"/>
                  </a:cubicBezTo>
                  <a:cubicBezTo>
                    <a:pt x="895" y="741"/>
                    <a:pt x="895" y="742"/>
                    <a:pt x="895" y="742"/>
                  </a:cubicBezTo>
                  <a:cubicBezTo>
                    <a:pt x="896" y="745"/>
                    <a:pt x="897" y="748"/>
                    <a:pt x="898" y="750"/>
                  </a:cubicBezTo>
                  <a:cubicBezTo>
                    <a:pt x="898" y="753"/>
                    <a:pt x="899" y="755"/>
                    <a:pt x="900" y="757"/>
                  </a:cubicBezTo>
                  <a:cubicBezTo>
                    <a:pt x="900" y="758"/>
                    <a:pt x="900" y="758"/>
                    <a:pt x="900" y="758"/>
                  </a:cubicBezTo>
                  <a:cubicBezTo>
                    <a:pt x="900" y="759"/>
                    <a:pt x="900" y="760"/>
                    <a:pt x="901" y="760"/>
                  </a:cubicBezTo>
                  <a:cubicBezTo>
                    <a:pt x="901" y="761"/>
                    <a:pt x="901" y="761"/>
                    <a:pt x="901" y="762"/>
                  </a:cubicBezTo>
                  <a:cubicBezTo>
                    <a:pt x="902" y="764"/>
                    <a:pt x="903" y="767"/>
                    <a:pt x="904" y="770"/>
                  </a:cubicBezTo>
                  <a:cubicBezTo>
                    <a:pt x="904" y="770"/>
                    <a:pt x="904" y="770"/>
                    <a:pt x="904" y="771"/>
                  </a:cubicBezTo>
                  <a:cubicBezTo>
                    <a:pt x="905" y="772"/>
                    <a:pt x="905" y="773"/>
                    <a:pt x="906" y="775"/>
                  </a:cubicBezTo>
                  <a:cubicBezTo>
                    <a:pt x="906" y="775"/>
                    <a:pt x="906" y="776"/>
                    <a:pt x="906" y="776"/>
                  </a:cubicBezTo>
                  <a:cubicBezTo>
                    <a:pt x="907" y="777"/>
                    <a:pt x="907" y="777"/>
                    <a:pt x="907" y="778"/>
                  </a:cubicBezTo>
                  <a:cubicBezTo>
                    <a:pt x="907" y="778"/>
                    <a:pt x="907" y="779"/>
                    <a:pt x="908" y="779"/>
                  </a:cubicBezTo>
                  <a:cubicBezTo>
                    <a:pt x="908" y="779"/>
                    <a:pt x="908" y="779"/>
                    <a:pt x="908" y="779"/>
                  </a:cubicBezTo>
                  <a:cubicBezTo>
                    <a:pt x="908" y="780"/>
                    <a:pt x="908" y="780"/>
                    <a:pt x="908" y="781"/>
                  </a:cubicBezTo>
                  <a:cubicBezTo>
                    <a:pt x="909" y="781"/>
                    <a:pt x="909" y="782"/>
                    <a:pt x="909" y="782"/>
                  </a:cubicBezTo>
                  <a:cubicBezTo>
                    <a:pt x="1007" y="1000"/>
                    <a:pt x="1552" y="1425"/>
                    <a:pt x="1742" y="1426"/>
                  </a:cubicBezTo>
                  <a:cubicBezTo>
                    <a:pt x="1762" y="1426"/>
                    <a:pt x="1778" y="1421"/>
                    <a:pt x="1789" y="1410"/>
                  </a:cubicBezTo>
                  <a:cubicBezTo>
                    <a:pt x="1801" y="1399"/>
                    <a:pt x="1807" y="1383"/>
                    <a:pt x="1807" y="1360"/>
                  </a:cubicBezTo>
                  <a:cubicBezTo>
                    <a:pt x="1807" y="1342"/>
                    <a:pt x="1803" y="1320"/>
                    <a:pt x="1795" y="1294"/>
                  </a:cubicBezTo>
                  <a:cubicBezTo>
                    <a:pt x="1794" y="1293"/>
                    <a:pt x="1794" y="1292"/>
                    <a:pt x="1793" y="1291"/>
                  </a:cubicBezTo>
                  <a:cubicBezTo>
                    <a:pt x="1802" y="1319"/>
                    <a:pt x="1806" y="1342"/>
                    <a:pt x="1806" y="1360"/>
                  </a:cubicBezTo>
                  <a:cubicBezTo>
                    <a:pt x="1806" y="1405"/>
                    <a:pt x="1782" y="1424"/>
                    <a:pt x="1742" y="1425"/>
                  </a:cubicBezTo>
                  <a:cubicBezTo>
                    <a:pt x="1741" y="1425"/>
                    <a:pt x="1741" y="1425"/>
                    <a:pt x="1741" y="1425"/>
                  </a:cubicBezTo>
                  <a:cubicBezTo>
                    <a:pt x="1553" y="1425"/>
                    <a:pt x="1009" y="1000"/>
                    <a:pt x="910" y="782"/>
                  </a:cubicBezTo>
                  <a:cubicBezTo>
                    <a:pt x="910" y="782"/>
                    <a:pt x="910" y="782"/>
                    <a:pt x="910" y="781"/>
                  </a:cubicBezTo>
                  <a:cubicBezTo>
                    <a:pt x="909" y="781"/>
                    <a:pt x="909" y="780"/>
                    <a:pt x="909" y="780"/>
                  </a:cubicBezTo>
                  <a:cubicBezTo>
                    <a:pt x="909" y="780"/>
                    <a:pt x="909" y="780"/>
                    <a:pt x="909" y="780"/>
                  </a:cubicBezTo>
                  <a:cubicBezTo>
                    <a:pt x="909" y="779"/>
                    <a:pt x="909" y="779"/>
                    <a:pt x="908" y="778"/>
                  </a:cubicBezTo>
                  <a:cubicBezTo>
                    <a:pt x="908" y="778"/>
                    <a:pt x="908" y="777"/>
                    <a:pt x="908" y="777"/>
                  </a:cubicBezTo>
                  <a:cubicBezTo>
                    <a:pt x="907" y="776"/>
                    <a:pt x="907" y="776"/>
                    <a:pt x="907" y="775"/>
                  </a:cubicBezTo>
                  <a:cubicBezTo>
                    <a:pt x="907" y="774"/>
                    <a:pt x="906" y="773"/>
                    <a:pt x="906" y="772"/>
                  </a:cubicBezTo>
                  <a:cubicBezTo>
                    <a:pt x="905" y="771"/>
                    <a:pt x="905" y="771"/>
                    <a:pt x="905" y="770"/>
                  </a:cubicBezTo>
                  <a:cubicBezTo>
                    <a:pt x="904" y="767"/>
                    <a:pt x="903" y="765"/>
                    <a:pt x="902" y="762"/>
                  </a:cubicBezTo>
                  <a:cubicBezTo>
                    <a:pt x="902" y="762"/>
                    <a:pt x="902" y="761"/>
                    <a:pt x="902" y="761"/>
                  </a:cubicBezTo>
                  <a:cubicBezTo>
                    <a:pt x="902" y="760"/>
                    <a:pt x="901" y="760"/>
                    <a:pt x="901" y="759"/>
                  </a:cubicBezTo>
                  <a:cubicBezTo>
                    <a:pt x="901" y="759"/>
                    <a:pt x="901" y="758"/>
                    <a:pt x="901" y="758"/>
                  </a:cubicBezTo>
                  <a:cubicBezTo>
                    <a:pt x="900" y="755"/>
                    <a:pt x="899" y="753"/>
                    <a:pt x="899" y="750"/>
                  </a:cubicBezTo>
                  <a:cubicBezTo>
                    <a:pt x="898" y="747"/>
                    <a:pt x="897" y="745"/>
                    <a:pt x="896" y="742"/>
                  </a:cubicBezTo>
                  <a:cubicBezTo>
                    <a:pt x="896" y="742"/>
                    <a:pt x="896" y="741"/>
                    <a:pt x="896" y="741"/>
                  </a:cubicBezTo>
                  <a:cubicBezTo>
                    <a:pt x="893" y="732"/>
                    <a:pt x="890" y="724"/>
                    <a:pt x="886" y="717"/>
                  </a:cubicBezTo>
                  <a:cubicBezTo>
                    <a:pt x="886" y="716"/>
                    <a:pt x="885" y="716"/>
                    <a:pt x="885" y="715"/>
                  </a:cubicBezTo>
                  <a:cubicBezTo>
                    <a:pt x="885" y="715"/>
                    <a:pt x="885" y="715"/>
                    <a:pt x="885" y="714"/>
                  </a:cubicBezTo>
                  <a:cubicBezTo>
                    <a:pt x="882" y="709"/>
                    <a:pt x="878" y="703"/>
                    <a:pt x="874" y="699"/>
                  </a:cubicBezTo>
                  <a:cubicBezTo>
                    <a:pt x="874" y="698"/>
                    <a:pt x="874" y="698"/>
                    <a:pt x="873" y="697"/>
                  </a:cubicBezTo>
                  <a:cubicBezTo>
                    <a:pt x="871" y="695"/>
                    <a:pt x="869" y="692"/>
                    <a:pt x="866" y="690"/>
                  </a:cubicBezTo>
                  <a:cubicBezTo>
                    <a:pt x="866" y="690"/>
                    <a:pt x="866" y="689"/>
                    <a:pt x="865" y="689"/>
                  </a:cubicBezTo>
                  <a:cubicBezTo>
                    <a:pt x="864" y="688"/>
                    <a:pt x="863" y="686"/>
                    <a:pt x="861" y="685"/>
                  </a:cubicBezTo>
                  <a:cubicBezTo>
                    <a:pt x="861" y="685"/>
                    <a:pt x="860" y="684"/>
                    <a:pt x="860" y="684"/>
                  </a:cubicBezTo>
                  <a:cubicBezTo>
                    <a:pt x="858" y="683"/>
                    <a:pt x="857" y="681"/>
                    <a:pt x="855" y="680"/>
                  </a:cubicBezTo>
                  <a:cubicBezTo>
                    <a:pt x="854" y="680"/>
                    <a:pt x="854" y="679"/>
                    <a:pt x="853" y="679"/>
                  </a:cubicBezTo>
                  <a:cubicBezTo>
                    <a:pt x="851" y="678"/>
                    <a:pt x="848" y="676"/>
                    <a:pt x="846" y="675"/>
                  </a:cubicBezTo>
                  <a:cubicBezTo>
                    <a:pt x="845" y="674"/>
                    <a:pt x="845" y="674"/>
                    <a:pt x="844" y="674"/>
                  </a:cubicBezTo>
                  <a:cubicBezTo>
                    <a:pt x="841" y="672"/>
                    <a:pt x="838" y="670"/>
                    <a:pt x="835" y="669"/>
                  </a:cubicBezTo>
                  <a:cubicBezTo>
                    <a:pt x="834" y="669"/>
                    <a:pt x="833" y="668"/>
                    <a:pt x="832" y="668"/>
                  </a:cubicBezTo>
                  <a:cubicBezTo>
                    <a:pt x="828" y="667"/>
                    <a:pt x="824" y="665"/>
                    <a:pt x="820" y="664"/>
                  </a:cubicBezTo>
                  <a:cubicBezTo>
                    <a:pt x="820" y="664"/>
                    <a:pt x="820" y="664"/>
                    <a:pt x="819" y="664"/>
                  </a:cubicBezTo>
                  <a:cubicBezTo>
                    <a:pt x="819" y="664"/>
                    <a:pt x="818" y="664"/>
                    <a:pt x="818" y="664"/>
                  </a:cubicBezTo>
                  <a:cubicBezTo>
                    <a:pt x="817" y="663"/>
                    <a:pt x="816" y="663"/>
                    <a:pt x="814" y="663"/>
                  </a:cubicBezTo>
                  <a:moveTo>
                    <a:pt x="260" y="777"/>
                  </a:moveTo>
                  <a:cubicBezTo>
                    <a:pt x="258" y="778"/>
                    <a:pt x="257" y="778"/>
                    <a:pt x="255" y="778"/>
                  </a:cubicBezTo>
                  <a:cubicBezTo>
                    <a:pt x="255" y="778"/>
                    <a:pt x="254" y="778"/>
                    <a:pt x="254" y="778"/>
                  </a:cubicBezTo>
                  <a:cubicBezTo>
                    <a:pt x="249" y="778"/>
                    <a:pt x="243" y="779"/>
                    <a:pt x="238" y="779"/>
                  </a:cubicBezTo>
                  <a:cubicBezTo>
                    <a:pt x="235" y="780"/>
                    <a:pt x="233" y="780"/>
                    <a:pt x="231" y="781"/>
                  </a:cubicBezTo>
                  <a:cubicBezTo>
                    <a:pt x="236" y="780"/>
                    <a:pt x="242" y="780"/>
                    <a:pt x="247" y="780"/>
                  </a:cubicBezTo>
                  <a:cubicBezTo>
                    <a:pt x="251" y="779"/>
                    <a:pt x="255" y="778"/>
                    <a:pt x="260" y="777"/>
                  </a:cubicBezTo>
                  <a:moveTo>
                    <a:pt x="148" y="777"/>
                  </a:moveTo>
                  <a:cubicBezTo>
                    <a:pt x="147" y="778"/>
                    <a:pt x="146" y="778"/>
                    <a:pt x="145" y="778"/>
                  </a:cubicBezTo>
                  <a:cubicBezTo>
                    <a:pt x="146" y="778"/>
                    <a:pt x="146" y="778"/>
                    <a:pt x="147" y="778"/>
                  </a:cubicBezTo>
                  <a:cubicBezTo>
                    <a:pt x="148" y="778"/>
                    <a:pt x="148" y="778"/>
                    <a:pt x="148" y="779"/>
                  </a:cubicBezTo>
                  <a:cubicBezTo>
                    <a:pt x="155" y="779"/>
                    <a:pt x="162" y="780"/>
                    <a:pt x="169" y="780"/>
                  </a:cubicBezTo>
                  <a:cubicBezTo>
                    <a:pt x="170" y="780"/>
                    <a:pt x="171" y="780"/>
                    <a:pt x="172" y="779"/>
                  </a:cubicBezTo>
                  <a:cubicBezTo>
                    <a:pt x="171" y="779"/>
                    <a:pt x="171" y="779"/>
                    <a:pt x="170" y="779"/>
                  </a:cubicBezTo>
                  <a:cubicBezTo>
                    <a:pt x="163" y="779"/>
                    <a:pt x="156" y="778"/>
                    <a:pt x="149" y="778"/>
                  </a:cubicBezTo>
                  <a:cubicBezTo>
                    <a:pt x="149" y="778"/>
                    <a:pt x="148" y="778"/>
                    <a:pt x="148" y="777"/>
                  </a:cubicBezTo>
                  <a:cubicBezTo>
                    <a:pt x="148" y="777"/>
                    <a:pt x="148" y="777"/>
                    <a:pt x="148" y="777"/>
                  </a:cubicBezTo>
                  <a:moveTo>
                    <a:pt x="175" y="780"/>
                  </a:moveTo>
                  <a:cubicBezTo>
                    <a:pt x="174" y="780"/>
                    <a:pt x="173" y="780"/>
                    <a:pt x="172" y="780"/>
                  </a:cubicBezTo>
                  <a:cubicBezTo>
                    <a:pt x="177" y="781"/>
                    <a:pt x="182" y="781"/>
                    <a:pt x="187" y="781"/>
                  </a:cubicBezTo>
                  <a:cubicBezTo>
                    <a:pt x="188" y="781"/>
                    <a:pt x="188" y="781"/>
                    <a:pt x="188" y="781"/>
                  </a:cubicBezTo>
                  <a:cubicBezTo>
                    <a:pt x="190" y="781"/>
                    <a:pt x="192" y="781"/>
                    <a:pt x="193" y="781"/>
                  </a:cubicBezTo>
                  <a:cubicBezTo>
                    <a:pt x="195" y="781"/>
                    <a:pt x="196" y="781"/>
                    <a:pt x="197" y="780"/>
                  </a:cubicBezTo>
                  <a:cubicBezTo>
                    <a:pt x="195" y="780"/>
                    <a:pt x="192" y="780"/>
                    <a:pt x="189" y="780"/>
                  </a:cubicBezTo>
                  <a:cubicBezTo>
                    <a:pt x="189" y="780"/>
                    <a:pt x="188" y="780"/>
                    <a:pt x="188" y="780"/>
                  </a:cubicBezTo>
                  <a:cubicBezTo>
                    <a:pt x="184" y="780"/>
                    <a:pt x="179" y="780"/>
                    <a:pt x="175" y="780"/>
                  </a:cubicBezTo>
                  <a:moveTo>
                    <a:pt x="231" y="780"/>
                  </a:moveTo>
                  <a:cubicBezTo>
                    <a:pt x="221" y="780"/>
                    <a:pt x="212" y="780"/>
                    <a:pt x="202" y="780"/>
                  </a:cubicBezTo>
                  <a:cubicBezTo>
                    <a:pt x="202" y="780"/>
                    <a:pt x="202" y="780"/>
                    <a:pt x="202" y="780"/>
                  </a:cubicBezTo>
                  <a:cubicBezTo>
                    <a:pt x="200" y="781"/>
                    <a:pt x="199" y="781"/>
                    <a:pt x="197" y="781"/>
                  </a:cubicBezTo>
                  <a:cubicBezTo>
                    <a:pt x="199" y="781"/>
                    <a:pt x="201" y="781"/>
                    <a:pt x="202" y="781"/>
                  </a:cubicBezTo>
                  <a:cubicBezTo>
                    <a:pt x="210" y="781"/>
                    <a:pt x="217" y="781"/>
                    <a:pt x="225" y="781"/>
                  </a:cubicBezTo>
                  <a:cubicBezTo>
                    <a:pt x="227" y="780"/>
                    <a:pt x="229" y="780"/>
                    <a:pt x="231" y="780"/>
                  </a:cubicBezTo>
                  <a:moveTo>
                    <a:pt x="1768" y="1226"/>
                  </a:moveTo>
                  <a:cubicBezTo>
                    <a:pt x="1769" y="1229"/>
                    <a:pt x="1770" y="1232"/>
                    <a:pt x="1772" y="1235"/>
                  </a:cubicBezTo>
                  <a:cubicBezTo>
                    <a:pt x="1773" y="1237"/>
                    <a:pt x="1774" y="1239"/>
                    <a:pt x="1775" y="1241"/>
                  </a:cubicBezTo>
                  <a:cubicBezTo>
                    <a:pt x="1774" y="1239"/>
                    <a:pt x="1773" y="1237"/>
                    <a:pt x="1773" y="1236"/>
                  </a:cubicBezTo>
                  <a:cubicBezTo>
                    <a:pt x="1771" y="1232"/>
                    <a:pt x="1769" y="1229"/>
                    <a:pt x="1768" y="1226"/>
                  </a:cubicBezTo>
                  <a:moveTo>
                    <a:pt x="1774" y="1241"/>
                  </a:moveTo>
                  <a:cubicBezTo>
                    <a:pt x="1777" y="1249"/>
                    <a:pt x="1780" y="1256"/>
                    <a:pt x="1783" y="1262"/>
                  </a:cubicBezTo>
                  <a:cubicBezTo>
                    <a:pt x="1784" y="1263"/>
                    <a:pt x="1784" y="1265"/>
                    <a:pt x="1785" y="1266"/>
                  </a:cubicBezTo>
                  <a:cubicBezTo>
                    <a:pt x="1783" y="1260"/>
                    <a:pt x="1781" y="1254"/>
                    <a:pt x="1778" y="1247"/>
                  </a:cubicBezTo>
                  <a:cubicBezTo>
                    <a:pt x="1777" y="1246"/>
                    <a:pt x="1776" y="1243"/>
                    <a:pt x="1774" y="1241"/>
                  </a:cubicBezTo>
                  <a:moveTo>
                    <a:pt x="1784" y="1266"/>
                  </a:moveTo>
                  <a:cubicBezTo>
                    <a:pt x="1787" y="1274"/>
                    <a:pt x="1790" y="1281"/>
                    <a:pt x="1792" y="1289"/>
                  </a:cubicBezTo>
                  <a:cubicBezTo>
                    <a:pt x="1793" y="1289"/>
                    <a:pt x="1793" y="1290"/>
                    <a:pt x="1794" y="1291"/>
                  </a:cubicBezTo>
                  <a:cubicBezTo>
                    <a:pt x="1792" y="1284"/>
                    <a:pt x="1789" y="1277"/>
                    <a:pt x="1787" y="1270"/>
                  </a:cubicBezTo>
                  <a:cubicBezTo>
                    <a:pt x="1786" y="1269"/>
                    <a:pt x="1785" y="1268"/>
                    <a:pt x="1784" y="1266"/>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71" name="Freeform 100"/>
            <p:cNvSpPr>
              <a:spLocks noEditPoints="1"/>
            </p:cNvSpPr>
            <p:nvPr userDrawn="1"/>
          </p:nvSpPr>
          <p:spPr bwMode="auto">
            <a:xfrm>
              <a:off x="1733" y="4129"/>
              <a:ext cx="3765" cy="2928"/>
            </a:xfrm>
            <a:custGeom>
              <a:avLst/>
              <a:gdLst>
                <a:gd name="T0" fmla="*/ 2147483646 w 1858"/>
                <a:gd name="T1" fmla="*/ 2147483646 h 1444"/>
                <a:gd name="T2" fmla="*/ 2147483646 w 1858"/>
                <a:gd name="T3" fmla="*/ 2147483646 h 1444"/>
                <a:gd name="T4" fmla="*/ 2147483646 w 1858"/>
                <a:gd name="T5" fmla="*/ 2147483646 h 1444"/>
                <a:gd name="T6" fmla="*/ 2147483646 w 1858"/>
                <a:gd name="T7" fmla="*/ 2147483646 h 1444"/>
                <a:gd name="T8" fmla="*/ 2147483646 w 1858"/>
                <a:gd name="T9" fmla="*/ 2147483646 h 1444"/>
                <a:gd name="T10" fmla="*/ 2147483646 w 1858"/>
                <a:gd name="T11" fmla="*/ 2147483646 h 1444"/>
                <a:gd name="T12" fmla="*/ 2147483646 w 1858"/>
                <a:gd name="T13" fmla="*/ 2147483646 h 1444"/>
                <a:gd name="T14" fmla="*/ 2147483646 w 1858"/>
                <a:gd name="T15" fmla="*/ 2147483646 h 1444"/>
                <a:gd name="T16" fmla="*/ 2147483646 w 1858"/>
                <a:gd name="T17" fmla="*/ 2147483646 h 1444"/>
                <a:gd name="T18" fmla="*/ 2147483646 w 1858"/>
                <a:gd name="T19" fmla="*/ 2147483646 h 1444"/>
                <a:gd name="T20" fmla="*/ 2147483646 w 1858"/>
                <a:gd name="T21" fmla="*/ 2147483646 h 1444"/>
                <a:gd name="T22" fmla="*/ 2147483646 w 1858"/>
                <a:gd name="T23" fmla="*/ 2147483646 h 1444"/>
                <a:gd name="T24" fmla="*/ 2147483646 w 1858"/>
                <a:gd name="T25" fmla="*/ 2147483646 h 1444"/>
                <a:gd name="T26" fmla="*/ 2147483646 w 1858"/>
                <a:gd name="T27" fmla="*/ 2147483646 h 1444"/>
                <a:gd name="T28" fmla="*/ 2147483646 w 1858"/>
                <a:gd name="T29" fmla="*/ 0 h 1444"/>
                <a:gd name="T30" fmla="*/ 2147483646 w 1858"/>
                <a:gd name="T31" fmla="*/ 2147483646 h 1444"/>
                <a:gd name="T32" fmla="*/ 2147483646 w 1858"/>
                <a:gd name="T33" fmla="*/ 2147483646 h 1444"/>
                <a:gd name="T34" fmla="*/ 2147483646 w 1858"/>
                <a:gd name="T35" fmla="*/ 2147483646 h 1444"/>
                <a:gd name="T36" fmla="*/ 2147483646 w 1858"/>
                <a:gd name="T37" fmla="*/ 2147483646 h 1444"/>
                <a:gd name="T38" fmla="*/ 2147483646 w 1858"/>
                <a:gd name="T39" fmla="*/ 2147483646 h 1444"/>
                <a:gd name="T40" fmla="*/ 2147483646 w 1858"/>
                <a:gd name="T41" fmla="*/ 2147483646 h 1444"/>
                <a:gd name="T42" fmla="*/ 2147483646 w 1858"/>
                <a:gd name="T43" fmla="*/ 2147483646 h 1444"/>
                <a:gd name="T44" fmla="*/ 2147483646 w 1858"/>
                <a:gd name="T45" fmla="*/ 2147483646 h 1444"/>
                <a:gd name="T46" fmla="*/ 2147483646 w 1858"/>
                <a:gd name="T47" fmla="*/ 2147483646 h 1444"/>
                <a:gd name="T48" fmla="*/ 2147483646 w 1858"/>
                <a:gd name="T49" fmla="*/ 2147483646 h 1444"/>
                <a:gd name="T50" fmla="*/ 2147483646 w 1858"/>
                <a:gd name="T51" fmla="*/ 2147483646 h 1444"/>
                <a:gd name="T52" fmla="*/ 2147483646 w 1858"/>
                <a:gd name="T53" fmla="*/ 2147483646 h 1444"/>
                <a:gd name="T54" fmla="*/ 2147483646 w 1858"/>
                <a:gd name="T55" fmla="*/ 2147483646 h 1444"/>
                <a:gd name="T56" fmla="*/ 2147483646 w 1858"/>
                <a:gd name="T57" fmla="*/ 2147483646 h 1444"/>
                <a:gd name="T58" fmla="*/ 2147483646 w 1858"/>
                <a:gd name="T59" fmla="*/ 2147483646 h 1444"/>
                <a:gd name="T60" fmla="*/ 2147483646 w 1858"/>
                <a:gd name="T61" fmla="*/ 2147483646 h 1444"/>
                <a:gd name="T62" fmla="*/ 2147483646 w 1858"/>
                <a:gd name="T63" fmla="*/ 2147483646 h 1444"/>
                <a:gd name="T64" fmla="*/ 2147483646 w 1858"/>
                <a:gd name="T65" fmla="*/ 2147483646 h 1444"/>
                <a:gd name="T66" fmla="*/ 2147483646 w 1858"/>
                <a:gd name="T67" fmla="*/ 2147483646 h 1444"/>
                <a:gd name="T68" fmla="*/ 2147483646 w 1858"/>
                <a:gd name="T69" fmla="*/ 2147483646 h 1444"/>
                <a:gd name="T70" fmla="*/ 2147483646 w 1858"/>
                <a:gd name="T71" fmla="*/ 2147483646 h 1444"/>
                <a:gd name="T72" fmla="*/ 2147483646 w 1858"/>
                <a:gd name="T73" fmla="*/ 2147483646 h 1444"/>
                <a:gd name="T74" fmla="*/ 2147483646 w 1858"/>
                <a:gd name="T75" fmla="*/ 2147483646 h 1444"/>
                <a:gd name="T76" fmla="*/ 2147483646 w 1858"/>
                <a:gd name="T77" fmla="*/ 2147483646 h 1444"/>
                <a:gd name="T78" fmla="*/ 2147483646 w 1858"/>
                <a:gd name="T79" fmla="*/ 2147483646 h 1444"/>
                <a:gd name="T80" fmla="*/ 2147483646 w 1858"/>
                <a:gd name="T81" fmla="*/ 2147483646 h 1444"/>
                <a:gd name="T82" fmla="*/ 2147483646 w 1858"/>
                <a:gd name="T83" fmla="*/ 2147483646 h 1444"/>
                <a:gd name="T84" fmla="*/ 2147483646 w 1858"/>
                <a:gd name="T85" fmla="*/ 2147483646 h 1444"/>
                <a:gd name="T86" fmla="*/ 2147483646 w 1858"/>
                <a:gd name="T87" fmla="*/ 2147483646 h 1444"/>
                <a:gd name="T88" fmla="*/ 2147483646 w 1858"/>
                <a:gd name="T89" fmla="*/ 2147483646 h 1444"/>
                <a:gd name="T90" fmla="*/ 2147483646 w 1858"/>
                <a:gd name="T91" fmla="*/ 2147483646 h 1444"/>
                <a:gd name="T92" fmla="*/ 2147483646 w 1858"/>
                <a:gd name="T93" fmla="*/ 2147483646 h 1444"/>
                <a:gd name="T94" fmla="*/ 2147483646 w 1858"/>
                <a:gd name="T95" fmla="*/ 2147483646 h 1444"/>
                <a:gd name="T96" fmla="*/ 2147483646 w 1858"/>
                <a:gd name="T97" fmla="*/ 2147483646 h 1444"/>
                <a:gd name="T98" fmla="*/ 2147483646 w 1858"/>
                <a:gd name="T99" fmla="*/ 2147483646 h 1444"/>
                <a:gd name="T100" fmla="*/ 2147483646 w 1858"/>
                <a:gd name="T101" fmla="*/ 2147483646 h 1444"/>
                <a:gd name="T102" fmla="*/ 2147483646 w 1858"/>
                <a:gd name="T103" fmla="*/ 2147483646 h 1444"/>
                <a:gd name="T104" fmla="*/ 2147483646 w 1858"/>
                <a:gd name="T105" fmla="*/ 2147483646 h 1444"/>
                <a:gd name="T106" fmla="*/ 2147483646 w 1858"/>
                <a:gd name="T107" fmla="*/ 2147483646 h 1444"/>
                <a:gd name="T108" fmla="*/ 2147483646 w 1858"/>
                <a:gd name="T109" fmla="*/ 2147483646 h 1444"/>
                <a:gd name="T110" fmla="*/ 2147483646 w 1858"/>
                <a:gd name="T111" fmla="*/ 2147483646 h 1444"/>
                <a:gd name="T112" fmla="*/ 2147483646 w 1858"/>
                <a:gd name="T113" fmla="*/ 2147483646 h 1444"/>
                <a:gd name="T114" fmla="*/ 2147483646 w 1858"/>
                <a:gd name="T115" fmla="*/ 2147483646 h 1444"/>
                <a:gd name="T116" fmla="*/ 2147483646 w 1858"/>
                <a:gd name="T117" fmla="*/ 2147483646 h 1444"/>
                <a:gd name="T118" fmla="*/ 2147483646 w 1858"/>
                <a:gd name="T119" fmla="*/ 2147483646 h 1444"/>
                <a:gd name="T120" fmla="*/ 2147483646 w 1858"/>
                <a:gd name="T121" fmla="*/ 2147483646 h 144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58" h="1444">
                  <a:moveTo>
                    <a:pt x="1148" y="0"/>
                  </a:moveTo>
                  <a:cubicBezTo>
                    <a:pt x="1142" y="0"/>
                    <a:pt x="1136" y="0"/>
                    <a:pt x="1130" y="0"/>
                  </a:cubicBezTo>
                  <a:cubicBezTo>
                    <a:pt x="1129" y="0"/>
                    <a:pt x="1129" y="0"/>
                    <a:pt x="1128" y="0"/>
                  </a:cubicBezTo>
                  <a:cubicBezTo>
                    <a:pt x="1128" y="0"/>
                    <a:pt x="1128" y="0"/>
                    <a:pt x="1128" y="0"/>
                  </a:cubicBezTo>
                  <a:cubicBezTo>
                    <a:pt x="1127" y="0"/>
                    <a:pt x="1127" y="0"/>
                    <a:pt x="1126" y="0"/>
                  </a:cubicBezTo>
                  <a:cubicBezTo>
                    <a:pt x="1126" y="0"/>
                    <a:pt x="1126" y="0"/>
                    <a:pt x="1125" y="0"/>
                  </a:cubicBezTo>
                  <a:cubicBezTo>
                    <a:pt x="1125" y="0"/>
                    <a:pt x="1124" y="0"/>
                    <a:pt x="1123" y="1"/>
                  </a:cubicBezTo>
                  <a:cubicBezTo>
                    <a:pt x="1123" y="1"/>
                    <a:pt x="1122" y="1"/>
                    <a:pt x="1122" y="1"/>
                  </a:cubicBezTo>
                  <a:cubicBezTo>
                    <a:pt x="1115" y="1"/>
                    <a:pt x="1108" y="1"/>
                    <a:pt x="1101" y="1"/>
                  </a:cubicBezTo>
                  <a:cubicBezTo>
                    <a:pt x="1101" y="1"/>
                    <a:pt x="1100" y="1"/>
                    <a:pt x="1100" y="1"/>
                  </a:cubicBezTo>
                  <a:cubicBezTo>
                    <a:pt x="1096" y="1"/>
                    <a:pt x="1093" y="2"/>
                    <a:pt x="1089" y="2"/>
                  </a:cubicBezTo>
                  <a:cubicBezTo>
                    <a:pt x="1089" y="2"/>
                    <a:pt x="1088" y="2"/>
                    <a:pt x="1088" y="2"/>
                  </a:cubicBezTo>
                  <a:cubicBezTo>
                    <a:pt x="1088" y="2"/>
                    <a:pt x="1088" y="2"/>
                    <a:pt x="1088" y="2"/>
                  </a:cubicBezTo>
                  <a:cubicBezTo>
                    <a:pt x="1088" y="2"/>
                    <a:pt x="1087" y="2"/>
                    <a:pt x="1087" y="2"/>
                  </a:cubicBezTo>
                  <a:cubicBezTo>
                    <a:pt x="1085" y="2"/>
                    <a:pt x="1083" y="2"/>
                    <a:pt x="1081" y="2"/>
                  </a:cubicBezTo>
                  <a:cubicBezTo>
                    <a:pt x="1079" y="2"/>
                    <a:pt x="1076" y="2"/>
                    <a:pt x="1074" y="3"/>
                  </a:cubicBezTo>
                  <a:cubicBezTo>
                    <a:pt x="1073" y="3"/>
                    <a:pt x="1073" y="3"/>
                    <a:pt x="1072" y="3"/>
                  </a:cubicBezTo>
                  <a:cubicBezTo>
                    <a:pt x="1068" y="3"/>
                    <a:pt x="1063" y="3"/>
                    <a:pt x="1058" y="4"/>
                  </a:cubicBezTo>
                  <a:cubicBezTo>
                    <a:pt x="1058" y="4"/>
                    <a:pt x="1057" y="4"/>
                    <a:pt x="1056" y="4"/>
                  </a:cubicBezTo>
                  <a:cubicBezTo>
                    <a:pt x="1056" y="4"/>
                    <a:pt x="1056" y="4"/>
                    <a:pt x="1055" y="4"/>
                  </a:cubicBezTo>
                  <a:cubicBezTo>
                    <a:pt x="1055" y="4"/>
                    <a:pt x="1055" y="4"/>
                    <a:pt x="1054" y="4"/>
                  </a:cubicBezTo>
                  <a:cubicBezTo>
                    <a:pt x="1045" y="5"/>
                    <a:pt x="1036" y="6"/>
                    <a:pt x="1028" y="7"/>
                  </a:cubicBezTo>
                  <a:cubicBezTo>
                    <a:pt x="1027" y="8"/>
                    <a:pt x="1027" y="8"/>
                    <a:pt x="1026" y="8"/>
                  </a:cubicBezTo>
                  <a:cubicBezTo>
                    <a:pt x="1025" y="8"/>
                    <a:pt x="1024" y="8"/>
                    <a:pt x="1023" y="8"/>
                  </a:cubicBezTo>
                  <a:cubicBezTo>
                    <a:pt x="1023" y="8"/>
                    <a:pt x="1022" y="8"/>
                    <a:pt x="1022" y="8"/>
                  </a:cubicBezTo>
                  <a:cubicBezTo>
                    <a:pt x="1021" y="8"/>
                    <a:pt x="1020" y="9"/>
                    <a:pt x="1019" y="9"/>
                  </a:cubicBezTo>
                  <a:cubicBezTo>
                    <a:pt x="1019" y="9"/>
                    <a:pt x="1019" y="9"/>
                    <a:pt x="1018" y="9"/>
                  </a:cubicBezTo>
                  <a:cubicBezTo>
                    <a:pt x="1018" y="9"/>
                    <a:pt x="1018" y="9"/>
                    <a:pt x="1018" y="9"/>
                  </a:cubicBezTo>
                  <a:cubicBezTo>
                    <a:pt x="1017" y="9"/>
                    <a:pt x="1017" y="9"/>
                    <a:pt x="1016" y="9"/>
                  </a:cubicBezTo>
                  <a:cubicBezTo>
                    <a:pt x="1016" y="9"/>
                    <a:pt x="1016" y="9"/>
                    <a:pt x="1015" y="9"/>
                  </a:cubicBezTo>
                  <a:cubicBezTo>
                    <a:pt x="1014" y="10"/>
                    <a:pt x="1013" y="10"/>
                    <a:pt x="1011" y="10"/>
                  </a:cubicBezTo>
                  <a:cubicBezTo>
                    <a:pt x="1011" y="10"/>
                    <a:pt x="1011" y="10"/>
                    <a:pt x="1010" y="10"/>
                  </a:cubicBezTo>
                  <a:cubicBezTo>
                    <a:pt x="1003" y="12"/>
                    <a:pt x="996" y="13"/>
                    <a:pt x="989" y="15"/>
                  </a:cubicBezTo>
                  <a:cubicBezTo>
                    <a:pt x="988" y="15"/>
                    <a:pt x="987" y="15"/>
                    <a:pt x="986" y="15"/>
                  </a:cubicBezTo>
                  <a:cubicBezTo>
                    <a:pt x="979" y="17"/>
                    <a:pt x="973" y="19"/>
                    <a:pt x="966" y="21"/>
                  </a:cubicBezTo>
                  <a:cubicBezTo>
                    <a:pt x="966" y="21"/>
                    <a:pt x="965" y="21"/>
                    <a:pt x="965" y="21"/>
                  </a:cubicBezTo>
                  <a:cubicBezTo>
                    <a:pt x="959" y="23"/>
                    <a:pt x="954" y="25"/>
                    <a:pt x="949" y="27"/>
                  </a:cubicBezTo>
                  <a:cubicBezTo>
                    <a:pt x="948" y="27"/>
                    <a:pt x="947" y="27"/>
                    <a:pt x="947" y="28"/>
                  </a:cubicBezTo>
                  <a:cubicBezTo>
                    <a:pt x="936" y="32"/>
                    <a:pt x="926" y="36"/>
                    <a:pt x="917" y="41"/>
                  </a:cubicBezTo>
                  <a:cubicBezTo>
                    <a:pt x="916" y="42"/>
                    <a:pt x="916" y="42"/>
                    <a:pt x="916" y="42"/>
                  </a:cubicBezTo>
                  <a:cubicBezTo>
                    <a:pt x="914" y="43"/>
                    <a:pt x="912" y="44"/>
                    <a:pt x="910" y="45"/>
                  </a:cubicBezTo>
                  <a:cubicBezTo>
                    <a:pt x="909" y="46"/>
                    <a:pt x="909" y="46"/>
                    <a:pt x="908" y="46"/>
                  </a:cubicBezTo>
                  <a:cubicBezTo>
                    <a:pt x="908" y="46"/>
                    <a:pt x="908" y="46"/>
                    <a:pt x="908" y="46"/>
                  </a:cubicBezTo>
                  <a:cubicBezTo>
                    <a:pt x="909" y="46"/>
                    <a:pt x="910" y="46"/>
                    <a:pt x="911" y="46"/>
                  </a:cubicBezTo>
                  <a:cubicBezTo>
                    <a:pt x="913" y="45"/>
                    <a:pt x="915" y="44"/>
                    <a:pt x="916" y="43"/>
                  </a:cubicBezTo>
                  <a:cubicBezTo>
                    <a:pt x="917" y="43"/>
                    <a:pt x="917" y="42"/>
                    <a:pt x="917" y="42"/>
                  </a:cubicBezTo>
                  <a:cubicBezTo>
                    <a:pt x="926" y="38"/>
                    <a:pt x="935" y="33"/>
                    <a:pt x="946" y="29"/>
                  </a:cubicBezTo>
                  <a:cubicBezTo>
                    <a:pt x="946" y="29"/>
                    <a:pt x="947" y="29"/>
                    <a:pt x="947" y="28"/>
                  </a:cubicBezTo>
                  <a:cubicBezTo>
                    <a:pt x="953" y="26"/>
                    <a:pt x="959" y="24"/>
                    <a:pt x="965" y="22"/>
                  </a:cubicBezTo>
                  <a:cubicBezTo>
                    <a:pt x="965" y="22"/>
                    <a:pt x="966" y="22"/>
                    <a:pt x="966" y="22"/>
                  </a:cubicBezTo>
                  <a:cubicBezTo>
                    <a:pt x="971" y="20"/>
                    <a:pt x="977" y="19"/>
                    <a:pt x="983" y="17"/>
                  </a:cubicBezTo>
                  <a:cubicBezTo>
                    <a:pt x="984" y="17"/>
                    <a:pt x="985" y="17"/>
                    <a:pt x="986" y="16"/>
                  </a:cubicBezTo>
                  <a:cubicBezTo>
                    <a:pt x="987" y="16"/>
                    <a:pt x="987" y="16"/>
                    <a:pt x="987" y="16"/>
                  </a:cubicBezTo>
                  <a:cubicBezTo>
                    <a:pt x="987" y="16"/>
                    <a:pt x="988" y="16"/>
                    <a:pt x="988" y="16"/>
                  </a:cubicBezTo>
                  <a:cubicBezTo>
                    <a:pt x="995" y="14"/>
                    <a:pt x="1002" y="13"/>
                    <a:pt x="1010" y="11"/>
                  </a:cubicBezTo>
                  <a:cubicBezTo>
                    <a:pt x="1010" y="11"/>
                    <a:pt x="1011" y="11"/>
                    <a:pt x="1011" y="11"/>
                  </a:cubicBezTo>
                  <a:cubicBezTo>
                    <a:pt x="1012" y="11"/>
                    <a:pt x="1014" y="11"/>
                    <a:pt x="1015" y="10"/>
                  </a:cubicBezTo>
                  <a:cubicBezTo>
                    <a:pt x="1015" y="10"/>
                    <a:pt x="1015" y="10"/>
                    <a:pt x="1015" y="10"/>
                  </a:cubicBezTo>
                  <a:cubicBezTo>
                    <a:pt x="1016" y="10"/>
                    <a:pt x="1016" y="10"/>
                    <a:pt x="1017" y="10"/>
                  </a:cubicBezTo>
                  <a:cubicBezTo>
                    <a:pt x="1017" y="10"/>
                    <a:pt x="1018" y="10"/>
                    <a:pt x="1018" y="10"/>
                  </a:cubicBezTo>
                  <a:cubicBezTo>
                    <a:pt x="1018" y="10"/>
                    <a:pt x="1019" y="10"/>
                    <a:pt x="1019" y="10"/>
                  </a:cubicBezTo>
                  <a:cubicBezTo>
                    <a:pt x="1020" y="10"/>
                    <a:pt x="1020" y="10"/>
                    <a:pt x="1021" y="10"/>
                  </a:cubicBezTo>
                  <a:cubicBezTo>
                    <a:pt x="1021" y="9"/>
                    <a:pt x="1022" y="9"/>
                    <a:pt x="1022" y="9"/>
                  </a:cubicBezTo>
                  <a:cubicBezTo>
                    <a:pt x="1023" y="9"/>
                    <a:pt x="1024" y="9"/>
                    <a:pt x="1025" y="9"/>
                  </a:cubicBezTo>
                  <a:cubicBezTo>
                    <a:pt x="1026" y="9"/>
                    <a:pt x="1026" y="9"/>
                    <a:pt x="1027" y="9"/>
                  </a:cubicBezTo>
                  <a:cubicBezTo>
                    <a:pt x="1035" y="7"/>
                    <a:pt x="1044" y="6"/>
                    <a:pt x="1054" y="5"/>
                  </a:cubicBezTo>
                  <a:cubicBezTo>
                    <a:pt x="1054" y="5"/>
                    <a:pt x="1054" y="5"/>
                    <a:pt x="1054" y="5"/>
                  </a:cubicBezTo>
                  <a:cubicBezTo>
                    <a:pt x="1055" y="5"/>
                    <a:pt x="1056" y="5"/>
                    <a:pt x="1056" y="5"/>
                  </a:cubicBezTo>
                  <a:cubicBezTo>
                    <a:pt x="1061" y="5"/>
                    <a:pt x="1066" y="4"/>
                    <a:pt x="1072" y="4"/>
                  </a:cubicBezTo>
                  <a:cubicBezTo>
                    <a:pt x="1072" y="4"/>
                    <a:pt x="1072" y="4"/>
                    <a:pt x="1073" y="4"/>
                  </a:cubicBezTo>
                  <a:cubicBezTo>
                    <a:pt x="1076" y="4"/>
                    <a:pt x="1079" y="3"/>
                    <a:pt x="1081" y="3"/>
                  </a:cubicBezTo>
                  <a:cubicBezTo>
                    <a:pt x="1083" y="3"/>
                    <a:pt x="1084" y="3"/>
                    <a:pt x="1086" y="3"/>
                  </a:cubicBezTo>
                  <a:cubicBezTo>
                    <a:pt x="1086" y="3"/>
                    <a:pt x="1087" y="3"/>
                    <a:pt x="1087" y="3"/>
                  </a:cubicBezTo>
                  <a:cubicBezTo>
                    <a:pt x="1087" y="3"/>
                    <a:pt x="1088" y="3"/>
                    <a:pt x="1088" y="3"/>
                  </a:cubicBezTo>
                  <a:cubicBezTo>
                    <a:pt x="1088" y="3"/>
                    <a:pt x="1088" y="3"/>
                    <a:pt x="1089" y="3"/>
                  </a:cubicBezTo>
                  <a:cubicBezTo>
                    <a:pt x="1092" y="3"/>
                    <a:pt x="1096" y="2"/>
                    <a:pt x="1099" y="2"/>
                  </a:cubicBezTo>
                  <a:cubicBezTo>
                    <a:pt x="1100" y="2"/>
                    <a:pt x="1100" y="2"/>
                    <a:pt x="1100" y="2"/>
                  </a:cubicBezTo>
                  <a:cubicBezTo>
                    <a:pt x="1108" y="2"/>
                    <a:pt x="1115" y="2"/>
                    <a:pt x="1122" y="2"/>
                  </a:cubicBezTo>
                  <a:cubicBezTo>
                    <a:pt x="1122" y="2"/>
                    <a:pt x="1122" y="1"/>
                    <a:pt x="1123" y="1"/>
                  </a:cubicBezTo>
                  <a:cubicBezTo>
                    <a:pt x="1124" y="1"/>
                    <a:pt x="1125" y="1"/>
                    <a:pt x="1125" y="1"/>
                  </a:cubicBezTo>
                  <a:cubicBezTo>
                    <a:pt x="1126" y="1"/>
                    <a:pt x="1126" y="1"/>
                    <a:pt x="1126" y="1"/>
                  </a:cubicBezTo>
                  <a:cubicBezTo>
                    <a:pt x="1127" y="1"/>
                    <a:pt x="1127" y="1"/>
                    <a:pt x="1127" y="1"/>
                  </a:cubicBezTo>
                  <a:cubicBezTo>
                    <a:pt x="1127" y="1"/>
                    <a:pt x="1128" y="1"/>
                    <a:pt x="1128" y="1"/>
                  </a:cubicBezTo>
                  <a:cubicBezTo>
                    <a:pt x="1128" y="1"/>
                    <a:pt x="1129" y="1"/>
                    <a:pt x="1129" y="1"/>
                  </a:cubicBezTo>
                  <a:cubicBezTo>
                    <a:pt x="1136" y="1"/>
                    <a:pt x="1142" y="1"/>
                    <a:pt x="1148" y="1"/>
                  </a:cubicBezTo>
                  <a:cubicBezTo>
                    <a:pt x="1149" y="1"/>
                    <a:pt x="1150" y="1"/>
                    <a:pt x="1151" y="1"/>
                  </a:cubicBezTo>
                  <a:cubicBezTo>
                    <a:pt x="1152" y="1"/>
                    <a:pt x="1152" y="1"/>
                    <a:pt x="1153" y="1"/>
                  </a:cubicBezTo>
                  <a:cubicBezTo>
                    <a:pt x="1153" y="1"/>
                    <a:pt x="1153" y="1"/>
                    <a:pt x="1153" y="1"/>
                  </a:cubicBezTo>
                  <a:cubicBezTo>
                    <a:pt x="1154" y="1"/>
                    <a:pt x="1154" y="1"/>
                    <a:pt x="1154" y="1"/>
                  </a:cubicBezTo>
                  <a:cubicBezTo>
                    <a:pt x="1156" y="1"/>
                    <a:pt x="1157" y="1"/>
                    <a:pt x="1159" y="1"/>
                  </a:cubicBezTo>
                  <a:cubicBezTo>
                    <a:pt x="1159" y="1"/>
                    <a:pt x="1160" y="1"/>
                    <a:pt x="1160" y="1"/>
                  </a:cubicBezTo>
                  <a:cubicBezTo>
                    <a:pt x="1160" y="1"/>
                    <a:pt x="1161" y="1"/>
                    <a:pt x="1162" y="1"/>
                  </a:cubicBezTo>
                  <a:cubicBezTo>
                    <a:pt x="1162" y="1"/>
                    <a:pt x="1162" y="1"/>
                    <a:pt x="1162" y="1"/>
                  </a:cubicBezTo>
                  <a:cubicBezTo>
                    <a:pt x="1163" y="1"/>
                    <a:pt x="1164" y="1"/>
                    <a:pt x="1164" y="1"/>
                  </a:cubicBezTo>
                  <a:cubicBezTo>
                    <a:pt x="1165" y="1"/>
                    <a:pt x="1165" y="1"/>
                    <a:pt x="1165" y="1"/>
                  </a:cubicBezTo>
                  <a:cubicBezTo>
                    <a:pt x="1167" y="1"/>
                    <a:pt x="1169" y="1"/>
                    <a:pt x="1170" y="1"/>
                  </a:cubicBezTo>
                  <a:cubicBezTo>
                    <a:pt x="1171" y="1"/>
                    <a:pt x="1171" y="1"/>
                    <a:pt x="1172" y="1"/>
                  </a:cubicBezTo>
                  <a:cubicBezTo>
                    <a:pt x="1172" y="1"/>
                    <a:pt x="1172" y="1"/>
                    <a:pt x="1172" y="1"/>
                  </a:cubicBezTo>
                  <a:cubicBezTo>
                    <a:pt x="1173" y="1"/>
                    <a:pt x="1173" y="2"/>
                    <a:pt x="1174" y="2"/>
                  </a:cubicBezTo>
                  <a:cubicBezTo>
                    <a:pt x="1175" y="2"/>
                    <a:pt x="1177" y="2"/>
                    <a:pt x="1178" y="2"/>
                  </a:cubicBezTo>
                  <a:cubicBezTo>
                    <a:pt x="1179" y="2"/>
                    <a:pt x="1179" y="2"/>
                    <a:pt x="1179" y="2"/>
                  </a:cubicBezTo>
                  <a:cubicBezTo>
                    <a:pt x="1181" y="2"/>
                    <a:pt x="1182" y="2"/>
                    <a:pt x="1184" y="2"/>
                  </a:cubicBezTo>
                  <a:cubicBezTo>
                    <a:pt x="1184" y="2"/>
                    <a:pt x="1185" y="2"/>
                    <a:pt x="1185" y="2"/>
                  </a:cubicBezTo>
                  <a:cubicBezTo>
                    <a:pt x="1188" y="2"/>
                    <a:pt x="1190" y="2"/>
                    <a:pt x="1193" y="2"/>
                  </a:cubicBezTo>
                  <a:cubicBezTo>
                    <a:pt x="1193" y="2"/>
                    <a:pt x="1193" y="2"/>
                    <a:pt x="1194" y="2"/>
                  </a:cubicBezTo>
                  <a:cubicBezTo>
                    <a:pt x="1201" y="3"/>
                    <a:pt x="1208" y="3"/>
                    <a:pt x="1214" y="4"/>
                  </a:cubicBezTo>
                  <a:cubicBezTo>
                    <a:pt x="1214" y="4"/>
                    <a:pt x="1215" y="4"/>
                    <a:pt x="1215" y="4"/>
                  </a:cubicBezTo>
                  <a:cubicBezTo>
                    <a:pt x="1219" y="4"/>
                    <a:pt x="1222" y="4"/>
                    <a:pt x="1225" y="5"/>
                  </a:cubicBezTo>
                  <a:cubicBezTo>
                    <a:pt x="1226" y="5"/>
                    <a:pt x="1226" y="5"/>
                    <a:pt x="1226" y="5"/>
                  </a:cubicBezTo>
                  <a:cubicBezTo>
                    <a:pt x="1230" y="5"/>
                    <a:pt x="1233" y="5"/>
                    <a:pt x="1236" y="6"/>
                  </a:cubicBezTo>
                  <a:cubicBezTo>
                    <a:pt x="1236" y="6"/>
                    <a:pt x="1237" y="6"/>
                    <a:pt x="1237" y="6"/>
                  </a:cubicBezTo>
                  <a:cubicBezTo>
                    <a:pt x="1238" y="6"/>
                    <a:pt x="1239" y="6"/>
                    <a:pt x="1239" y="6"/>
                  </a:cubicBezTo>
                  <a:cubicBezTo>
                    <a:pt x="1240" y="6"/>
                    <a:pt x="1240" y="6"/>
                    <a:pt x="1241" y="6"/>
                  </a:cubicBezTo>
                  <a:cubicBezTo>
                    <a:pt x="1243" y="7"/>
                    <a:pt x="1246" y="7"/>
                    <a:pt x="1249" y="8"/>
                  </a:cubicBezTo>
                  <a:cubicBezTo>
                    <a:pt x="1249" y="8"/>
                    <a:pt x="1250" y="8"/>
                    <a:pt x="1251" y="8"/>
                  </a:cubicBezTo>
                  <a:cubicBezTo>
                    <a:pt x="1251" y="8"/>
                    <a:pt x="1252" y="8"/>
                    <a:pt x="1252" y="8"/>
                  </a:cubicBezTo>
                  <a:cubicBezTo>
                    <a:pt x="1253" y="8"/>
                    <a:pt x="1253" y="8"/>
                    <a:pt x="1253" y="8"/>
                  </a:cubicBezTo>
                  <a:cubicBezTo>
                    <a:pt x="1257" y="9"/>
                    <a:pt x="1260" y="9"/>
                    <a:pt x="1264" y="10"/>
                  </a:cubicBezTo>
                  <a:cubicBezTo>
                    <a:pt x="1264" y="10"/>
                    <a:pt x="1264" y="10"/>
                    <a:pt x="1265" y="10"/>
                  </a:cubicBezTo>
                  <a:cubicBezTo>
                    <a:pt x="1267" y="10"/>
                    <a:pt x="1268" y="11"/>
                    <a:pt x="1270" y="11"/>
                  </a:cubicBezTo>
                  <a:cubicBezTo>
                    <a:pt x="1271" y="11"/>
                    <a:pt x="1271" y="11"/>
                    <a:pt x="1271" y="11"/>
                  </a:cubicBezTo>
                  <a:cubicBezTo>
                    <a:pt x="1272" y="11"/>
                    <a:pt x="1273" y="12"/>
                    <a:pt x="1273" y="12"/>
                  </a:cubicBezTo>
                  <a:cubicBezTo>
                    <a:pt x="1274" y="12"/>
                    <a:pt x="1274" y="12"/>
                    <a:pt x="1274" y="12"/>
                  </a:cubicBezTo>
                  <a:cubicBezTo>
                    <a:pt x="1274" y="12"/>
                    <a:pt x="1275" y="12"/>
                    <a:pt x="1275" y="12"/>
                  </a:cubicBezTo>
                  <a:cubicBezTo>
                    <a:pt x="1276" y="12"/>
                    <a:pt x="1278" y="13"/>
                    <a:pt x="1279" y="13"/>
                  </a:cubicBezTo>
                  <a:cubicBezTo>
                    <a:pt x="1280" y="13"/>
                    <a:pt x="1280" y="13"/>
                    <a:pt x="1280" y="13"/>
                  </a:cubicBezTo>
                  <a:cubicBezTo>
                    <a:pt x="1281" y="13"/>
                    <a:pt x="1281" y="13"/>
                    <a:pt x="1281" y="13"/>
                  </a:cubicBezTo>
                  <a:cubicBezTo>
                    <a:pt x="1281" y="13"/>
                    <a:pt x="1282" y="13"/>
                    <a:pt x="1282" y="14"/>
                  </a:cubicBezTo>
                  <a:cubicBezTo>
                    <a:pt x="1284" y="14"/>
                    <a:pt x="1285" y="14"/>
                    <a:pt x="1287" y="15"/>
                  </a:cubicBezTo>
                  <a:cubicBezTo>
                    <a:pt x="1287" y="15"/>
                    <a:pt x="1287" y="15"/>
                    <a:pt x="1288" y="15"/>
                  </a:cubicBezTo>
                  <a:cubicBezTo>
                    <a:pt x="1288" y="15"/>
                    <a:pt x="1289" y="15"/>
                    <a:pt x="1290" y="15"/>
                  </a:cubicBezTo>
                  <a:cubicBezTo>
                    <a:pt x="1290" y="15"/>
                    <a:pt x="1291" y="16"/>
                    <a:pt x="1291" y="16"/>
                  </a:cubicBezTo>
                  <a:cubicBezTo>
                    <a:pt x="1291" y="16"/>
                    <a:pt x="1291" y="16"/>
                    <a:pt x="1291" y="16"/>
                  </a:cubicBezTo>
                  <a:cubicBezTo>
                    <a:pt x="1312" y="21"/>
                    <a:pt x="1330" y="28"/>
                    <a:pt x="1344" y="35"/>
                  </a:cubicBezTo>
                  <a:cubicBezTo>
                    <a:pt x="1347" y="37"/>
                    <a:pt x="1349" y="38"/>
                    <a:pt x="1351" y="39"/>
                  </a:cubicBezTo>
                  <a:cubicBezTo>
                    <a:pt x="1352" y="39"/>
                    <a:pt x="1352" y="40"/>
                    <a:pt x="1352" y="40"/>
                  </a:cubicBezTo>
                  <a:cubicBezTo>
                    <a:pt x="1373" y="52"/>
                    <a:pt x="1386" y="67"/>
                    <a:pt x="1393" y="83"/>
                  </a:cubicBezTo>
                  <a:cubicBezTo>
                    <a:pt x="1393" y="84"/>
                    <a:pt x="1393" y="84"/>
                    <a:pt x="1394" y="84"/>
                  </a:cubicBezTo>
                  <a:cubicBezTo>
                    <a:pt x="1398" y="95"/>
                    <a:pt x="1400" y="106"/>
                    <a:pt x="1400" y="117"/>
                  </a:cubicBezTo>
                  <a:cubicBezTo>
                    <a:pt x="1400" y="123"/>
                    <a:pt x="1400" y="128"/>
                    <a:pt x="1399" y="134"/>
                  </a:cubicBezTo>
                  <a:cubicBezTo>
                    <a:pt x="1399" y="134"/>
                    <a:pt x="1399" y="135"/>
                    <a:pt x="1399" y="135"/>
                  </a:cubicBezTo>
                  <a:cubicBezTo>
                    <a:pt x="1396" y="149"/>
                    <a:pt x="1391" y="163"/>
                    <a:pt x="1384" y="177"/>
                  </a:cubicBezTo>
                  <a:cubicBezTo>
                    <a:pt x="1384" y="178"/>
                    <a:pt x="1383" y="178"/>
                    <a:pt x="1383" y="179"/>
                  </a:cubicBezTo>
                  <a:cubicBezTo>
                    <a:pt x="1378" y="189"/>
                    <a:pt x="1372" y="198"/>
                    <a:pt x="1365" y="208"/>
                  </a:cubicBezTo>
                  <a:cubicBezTo>
                    <a:pt x="1365" y="209"/>
                    <a:pt x="1364" y="209"/>
                    <a:pt x="1364" y="210"/>
                  </a:cubicBezTo>
                  <a:cubicBezTo>
                    <a:pt x="1360" y="216"/>
                    <a:pt x="1355" y="221"/>
                    <a:pt x="1351" y="227"/>
                  </a:cubicBezTo>
                  <a:cubicBezTo>
                    <a:pt x="1350" y="227"/>
                    <a:pt x="1350" y="228"/>
                    <a:pt x="1349" y="228"/>
                  </a:cubicBezTo>
                  <a:cubicBezTo>
                    <a:pt x="1329" y="252"/>
                    <a:pt x="1305" y="274"/>
                    <a:pt x="1279" y="292"/>
                  </a:cubicBezTo>
                  <a:cubicBezTo>
                    <a:pt x="1270" y="299"/>
                    <a:pt x="1263" y="307"/>
                    <a:pt x="1259" y="316"/>
                  </a:cubicBezTo>
                  <a:cubicBezTo>
                    <a:pt x="1259" y="317"/>
                    <a:pt x="1259" y="317"/>
                    <a:pt x="1259" y="317"/>
                  </a:cubicBezTo>
                  <a:cubicBezTo>
                    <a:pt x="1255" y="326"/>
                    <a:pt x="1253" y="336"/>
                    <a:pt x="1253" y="347"/>
                  </a:cubicBezTo>
                  <a:cubicBezTo>
                    <a:pt x="1253" y="357"/>
                    <a:pt x="1255" y="368"/>
                    <a:pt x="1258" y="380"/>
                  </a:cubicBezTo>
                  <a:cubicBezTo>
                    <a:pt x="1258" y="381"/>
                    <a:pt x="1258" y="381"/>
                    <a:pt x="1258" y="381"/>
                  </a:cubicBezTo>
                  <a:cubicBezTo>
                    <a:pt x="1264" y="402"/>
                    <a:pt x="1273" y="424"/>
                    <a:pt x="1287" y="449"/>
                  </a:cubicBezTo>
                  <a:cubicBezTo>
                    <a:pt x="1287" y="449"/>
                    <a:pt x="1287" y="449"/>
                    <a:pt x="1287" y="450"/>
                  </a:cubicBezTo>
                  <a:cubicBezTo>
                    <a:pt x="1296" y="466"/>
                    <a:pt x="1307" y="484"/>
                    <a:pt x="1319" y="502"/>
                  </a:cubicBezTo>
                  <a:cubicBezTo>
                    <a:pt x="1319" y="502"/>
                    <a:pt x="1319" y="503"/>
                    <a:pt x="1319" y="503"/>
                  </a:cubicBezTo>
                  <a:cubicBezTo>
                    <a:pt x="1330" y="519"/>
                    <a:pt x="1342" y="536"/>
                    <a:pt x="1355" y="554"/>
                  </a:cubicBezTo>
                  <a:cubicBezTo>
                    <a:pt x="1355" y="554"/>
                    <a:pt x="1355" y="554"/>
                    <a:pt x="1355" y="555"/>
                  </a:cubicBezTo>
                  <a:cubicBezTo>
                    <a:pt x="1367" y="571"/>
                    <a:pt x="1380" y="588"/>
                    <a:pt x="1393" y="605"/>
                  </a:cubicBezTo>
                  <a:cubicBezTo>
                    <a:pt x="1393" y="605"/>
                    <a:pt x="1393" y="606"/>
                    <a:pt x="1394" y="606"/>
                  </a:cubicBezTo>
                  <a:cubicBezTo>
                    <a:pt x="1407" y="623"/>
                    <a:pt x="1420" y="640"/>
                    <a:pt x="1434" y="658"/>
                  </a:cubicBezTo>
                  <a:cubicBezTo>
                    <a:pt x="1434" y="658"/>
                    <a:pt x="1435" y="658"/>
                    <a:pt x="1435" y="659"/>
                  </a:cubicBezTo>
                  <a:cubicBezTo>
                    <a:pt x="1449" y="677"/>
                    <a:pt x="1464" y="695"/>
                    <a:pt x="1478" y="713"/>
                  </a:cubicBezTo>
                  <a:cubicBezTo>
                    <a:pt x="1479" y="713"/>
                    <a:pt x="1479" y="714"/>
                    <a:pt x="1479" y="714"/>
                  </a:cubicBezTo>
                  <a:cubicBezTo>
                    <a:pt x="1495" y="734"/>
                    <a:pt x="1511" y="754"/>
                    <a:pt x="1527" y="773"/>
                  </a:cubicBezTo>
                  <a:cubicBezTo>
                    <a:pt x="1527" y="774"/>
                    <a:pt x="1528" y="774"/>
                    <a:pt x="1528" y="775"/>
                  </a:cubicBezTo>
                  <a:cubicBezTo>
                    <a:pt x="1543" y="793"/>
                    <a:pt x="1557" y="811"/>
                    <a:pt x="1572" y="830"/>
                  </a:cubicBezTo>
                  <a:cubicBezTo>
                    <a:pt x="1575" y="834"/>
                    <a:pt x="1579" y="839"/>
                    <a:pt x="1582" y="843"/>
                  </a:cubicBezTo>
                  <a:cubicBezTo>
                    <a:pt x="1583" y="844"/>
                    <a:pt x="1583" y="844"/>
                    <a:pt x="1584" y="845"/>
                  </a:cubicBezTo>
                  <a:cubicBezTo>
                    <a:pt x="1616" y="887"/>
                    <a:pt x="1645" y="930"/>
                    <a:pt x="1672" y="971"/>
                  </a:cubicBezTo>
                  <a:cubicBezTo>
                    <a:pt x="1675" y="976"/>
                    <a:pt x="1678" y="980"/>
                    <a:pt x="1681" y="985"/>
                  </a:cubicBezTo>
                  <a:cubicBezTo>
                    <a:pt x="1705" y="1023"/>
                    <a:pt x="1726" y="1059"/>
                    <a:pt x="1745" y="1092"/>
                  </a:cubicBezTo>
                  <a:cubicBezTo>
                    <a:pt x="1746" y="1094"/>
                    <a:pt x="1747" y="1096"/>
                    <a:pt x="1749" y="1098"/>
                  </a:cubicBezTo>
                  <a:cubicBezTo>
                    <a:pt x="1751" y="1102"/>
                    <a:pt x="1753" y="1106"/>
                    <a:pt x="1755" y="1110"/>
                  </a:cubicBezTo>
                  <a:cubicBezTo>
                    <a:pt x="1757" y="1113"/>
                    <a:pt x="1758" y="1116"/>
                    <a:pt x="1760" y="1119"/>
                  </a:cubicBezTo>
                  <a:cubicBezTo>
                    <a:pt x="1761" y="1120"/>
                    <a:pt x="1761" y="1121"/>
                    <a:pt x="1762" y="1122"/>
                  </a:cubicBezTo>
                  <a:cubicBezTo>
                    <a:pt x="1762" y="1123"/>
                    <a:pt x="1762" y="1123"/>
                    <a:pt x="1763" y="1124"/>
                  </a:cubicBezTo>
                  <a:cubicBezTo>
                    <a:pt x="1768" y="1134"/>
                    <a:pt x="1773" y="1143"/>
                    <a:pt x="1778" y="1153"/>
                  </a:cubicBezTo>
                  <a:cubicBezTo>
                    <a:pt x="1783" y="1163"/>
                    <a:pt x="1788" y="1173"/>
                    <a:pt x="1793" y="1182"/>
                  </a:cubicBezTo>
                  <a:cubicBezTo>
                    <a:pt x="1793" y="1182"/>
                    <a:pt x="1793" y="1182"/>
                    <a:pt x="1793" y="1182"/>
                  </a:cubicBezTo>
                  <a:cubicBezTo>
                    <a:pt x="1798" y="1190"/>
                    <a:pt x="1802" y="1198"/>
                    <a:pt x="1806" y="1205"/>
                  </a:cubicBezTo>
                  <a:cubicBezTo>
                    <a:pt x="1802" y="1198"/>
                    <a:pt x="1799" y="1191"/>
                    <a:pt x="1795" y="1184"/>
                  </a:cubicBezTo>
                  <a:cubicBezTo>
                    <a:pt x="1795" y="1183"/>
                    <a:pt x="1794" y="1182"/>
                    <a:pt x="1794" y="1182"/>
                  </a:cubicBezTo>
                  <a:cubicBezTo>
                    <a:pt x="1787" y="1167"/>
                    <a:pt x="1779" y="1152"/>
                    <a:pt x="1770" y="1135"/>
                  </a:cubicBezTo>
                  <a:cubicBezTo>
                    <a:pt x="1768" y="1131"/>
                    <a:pt x="1766" y="1128"/>
                    <a:pt x="1764" y="1124"/>
                  </a:cubicBezTo>
                  <a:cubicBezTo>
                    <a:pt x="1758" y="1114"/>
                    <a:pt x="1753" y="1103"/>
                    <a:pt x="1746" y="1092"/>
                  </a:cubicBezTo>
                  <a:cubicBezTo>
                    <a:pt x="1746" y="1092"/>
                    <a:pt x="1746" y="1092"/>
                    <a:pt x="1746" y="1092"/>
                  </a:cubicBezTo>
                  <a:cubicBezTo>
                    <a:pt x="1745" y="1090"/>
                    <a:pt x="1744" y="1087"/>
                    <a:pt x="1742" y="1085"/>
                  </a:cubicBezTo>
                  <a:cubicBezTo>
                    <a:pt x="1722" y="1049"/>
                    <a:pt x="1699" y="1010"/>
                    <a:pt x="1673" y="970"/>
                  </a:cubicBezTo>
                  <a:cubicBezTo>
                    <a:pt x="1670" y="966"/>
                    <a:pt x="1667" y="961"/>
                    <a:pt x="1664" y="956"/>
                  </a:cubicBezTo>
                  <a:cubicBezTo>
                    <a:pt x="1639" y="919"/>
                    <a:pt x="1612" y="880"/>
                    <a:pt x="1583" y="843"/>
                  </a:cubicBezTo>
                  <a:cubicBezTo>
                    <a:pt x="1583" y="842"/>
                    <a:pt x="1583" y="842"/>
                    <a:pt x="1582" y="842"/>
                  </a:cubicBezTo>
                  <a:cubicBezTo>
                    <a:pt x="1579" y="837"/>
                    <a:pt x="1576" y="833"/>
                    <a:pt x="1573" y="829"/>
                  </a:cubicBezTo>
                  <a:cubicBezTo>
                    <a:pt x="1558" y="810"/>
                    <a:pt x="1543" y="792"/>
                    <a:pt x="1528" y="773"/>
                  </a:cubicBezTo>
                  <a:cubicBezTo>
                    <a:pt x="1528" y="773"/>
                    <a:pt x="1528" y="772"/>
                    <a:pt x="1527" y="772"/>
                  </a:cubicBezTo>
                  <a:cubicBezTo>
                    <a:pt x="1511" y="752"/>
                    <a:pt x="1495" y="733"/>
                    <a:pt x="1480" y="713"/>
                  </a:cubicBezTo>
                  <a:cubicBezTo>
                    <a:pt x="1479" y="713"/>
                    <a:pt x="1479" y="712"/>
                    <a:pt x="1479" y="712"/>
                  </a:cubicBezTo>
                  <a:cubicBezTo>
                    <a:pt x="1464" y="694"/>
                    <a:pt x="1449" y="676"/>
                    <a:pt x="1435" y="658"/>
                  </a:cubicBezTo>
                  <a:cubicBezTo>
                    <a:pt x="1435" y="657"/>
                    <a:pt x="1435" y="657"/>
                    <a:pt x="1435" y="657"/>
                  </a:cubicBezTo>
                  <a:cubicBezTo>
                    <a:pt x="1421" y="639"/>
                    <a:pt x="1407" y="622"/>
                    <a:pt x="1394" y="605"/>
                  </a:cubicBezTo>
                  <a:cubicBezTo>
                    <a:pt x="1394" y="605"/>
                    <a:pt x="1394" y="604"/>
                    <a:pt x="1394" y="604"/>
                  </a:cubicBezTo>
                  <a:cubicBezTo>
                    <a:pt x="1380" y="587"/>
                    <a:pt x="1368" y="570"/>
                    <a:pt x="1356" y="554"/>
                  </a:cubicBezTo>
                  <a:cubicBezTo>
                    <a:pt x="1356" y="553"/>
                    <a:pt x="1355" y="553"/>
                    <a:pt x="1355" y="553"/>
                  </a:cubicBezTo>
                  <a:cubicBezTo>
                    <a:pt x="1343" y="536"/>
                    <a:pt x="1331" y="519"/>
                    <a:pt x="1320" y="502"/>
                  </a:cubicBezTo>
                  <a:cubicBezTo>
                    <a:pt x="1320" y="502"/>
                    <a:pt x="1320" y="502"/>
                    <a:pt x="1320" y="501"/>
                  </a:cubicBezTo>
                  <a:cubicBezTo>
                    <a:pt x="1308" y="483"/>
                    <a:pt x="1297" y="466"/>
                    <a:pt x="1288" y="449"/>
                  </a:cubicBezTo>
                  <a:cubicBezTo>
                    <a:pt x="1288" y="449"/>
                    <a:pt x="1288" y="449"/>
                    <a:pt x="1288" y="448"/>
                  </a:cubicBezTo>
                  <a:cubicBezTo>
                    <a:pt x="1274" y="424"/>
                    <a:pt x="1264" y="401"/>
                    <a:pt x="1259" y="381"/>
                  </a:cubicBezTo>
                  <a:cubicBezTo>
                    <a:pt x="1259" y="380"/>
                    <a:pt x="1259" y="380"/>
                    <a:pt x="1259" y="380"/>
                  </a:cubicBezTo>
                  <a:cubicBezTo>
                    <a:pt x="1255" y="368"/>
                    <a:pt x="1254" y="357"/>
                    <a:pt x="1254" y="347"/>
                  </a:cubicBezTo>
                  <a:cubicBezTo>
                    <a:pt x="1254" y="336"/>
                    <a:pt x="1256" y="326"/>
                    <a:pt x="1260" y="317"/>
                  </a:cubicBezTo>
                  <a:cubicBezTo>
                    <a:pt x="1260" y="316"/>
                    <a:pt x="1260" y="316"/>
                    <a:pt x="1261" y="315"/>
                  </a:cubicBezTo>
                  <a:cubicBezTo>
                    <a:pt x="1265" y="307"/>
                    <a:pt x="1271" y="300"/>
                    <a:pt x="1280" y="293"/>
                  </a:cubicBezTo>
                  <a:cubicBezTo>
                    <a:pt x="1306" y="274"/>
                    <a:pt x="1331" y="252"/>
                    <a:pt x="1351" y="228"/>
                  </a:cubicBezTo>
                  <a:cubicBezTo>
                    <a:pt x="1352" y="227"/>
                    <a:pt x="1352" y="227"/>
                    <a:pt x="1353" y="226"/>
                  </a:cubicBezTo>
                  <a:cubicBezTo>
                    <a:pt x="1357" y="220"/>
                    <a:pt x="1362" y="215"/>
                    <a:pt x="1366" y="209"/>
                  </a:cubicBezTo>
                  <a:cubicBezTo>
                    <a:pt x="1366" y="208"/>
                    <a:pt x="1367" y="208"/>
                    <a:pt x="1367" y="207"/>
                  </a:cubicBezTo>
                  <a:cubicBezTo>
                    <a:pt x="1374" y="198"/>
                    <a:pt x="1380" y="188"/>
                    <a:pt x="1385" y="178"/>
                  </a:cubicBezTo>
                  <a:cubicBezTo>
                    <a:pt x="1385" y="177"/>
                    <a:pt x="1385" y="177"/>
                    <a:pt x="1386" y="176"/>
                  </a:cubicBezTo>
                  <a:cubicBezTo>
                    <a:pt x="1393" y="162"/>
                    <a:pt x="1397" y="148"/>
                    <a:pt x="1400" y="134"/>
                  </a:cubicBezTo>
                  <a:cubicBezTo>
                    <a:pt x="1400" y="134"/>
                    <a:pt x="1400" y="133"/>
                    <a:pt x="1400" y="133"/>
                  </a:cubicBezTo>
                  <a:cubicBezTo>
                    <a:pt x="1401" y="128"/>
                    <a:pt x="1401" y="122"/>
                    <a:pt x="1401" y="117"/>
                  </a:cubicBezTo>
                  <a:cubicBezTo>
                    <a:pt x="1401" y="106"/>
                    <a:pt x="1399" y="94"/>
                    <a:pt x="1394" y="84"/>
                  </a:cubicBezTo>
                  <a:cubicBezTo>
                    <a:pt x="1394" y="83"/>
                    <a:pt x="1394" y="83"/>
                    <a:pt x="1394" y="83"/>
                  </a:cubicBezTo>
                  <a:cubicBezTo>
                    <a:pt x="1386" y="66"/>
                    <a:pt x="1373" y="51"/>
                    <a:pt x="1353" y="39"/>
                  </a:cubicBezTo>
                  <a:cubicBezTo>
                    <a:pt x="1352" y="39"/>
                    <a:pt x="1352" y="39"/>
                    <a:pt x="1352" y="38"/>
                  </a:cubicBezTo>
                  <a:cubicBezTo>
                    <a:pt x="1336" y="29"/>
                    <a:pt x="1316" y="21"/>
                    <a:pt x="1292" y="15"/>
                  </a:cubicBezTo>
                  <a:cubicBezTo>
                    <a:pt x="1291" y="15"/>
                    <a:pt x="1291" y="15"/>
                    <a:pt x="1291" y="15"/>
                  </a:cubicBezTo>
                  <a:cubicBezTo>
                    <a:pt x="1291" y="15"/>
                    <a:pt x="1291" y="15"/>
                    <a:pt x="1290" y="15"/>
                  </a:cubicBezTo>
                  <a:cubicBezTo>
                    <a:pt x="1290" y="14"/>
                    <a:pt x="1289" y="14"/>
                    <a:pt x="1288" y="14"/>
                  </a:cubicBezTo>
                  <a:cubicBezTo>
                    <a:pt x="1288" y="14"/>
                    <a:pt x="1288" y="14"/>
                    <a:pt x="1287" y="14"/>
                  </a:cubicBezTo>
                  <a:cubicBezTo>
                    <a:pt x="1286" y="13"/>
                    <a:pt x="1284" y="13"/>
                    <a:pt x="1282" y="13"/>
                  </a:cubicBezTo>
                  <a:cubicBezTo>
                    <a:pt x="1282" y="13"/>
                    <a:pt x="1282" y="13"/>
                    <a:pt x="1282" y="12"/>
                  </a:cubicBezTo>
                  <a:cubicBezTo>
                    <a:pt x="1281" y="12"/>
                    <a:pt x="1281" y="12"/>
                    <a:pt x="1281" y="12"/>
                  </a:cubicBezTo>
                  <a:cubicBezTo>
                    <a:pt x="1280" y="12"/>
                    <a:pt x="1280" y="12"/>
                    <a:pt x="1280" y="12"/>
                  </a:cubicBezTo>
                  <a:cubicBezTo>
                    <a:pt x="1278" y="12"/>
                    <a:pt x="1277" y="11"/>
                    <a:pt x="1275" y="11"/>
                  </a:cubicBezTo>
                  <a:cubicBezTo>
                    <a:pt x="1275" y="11"/>
                    <a:pt x="1275" y="11"/>
                    <a:pt x="1275" y="11"/>
                  </a:cubicBezTo>
                  <a:cubicBezTo>
                    <a:pt x="1274" y="11"/>
                    <a:pt x="1274" y="11"/>
                    <a:pt x="1274" y="11"/>
                  </a:cubicBezTo>
                  <a:cubicBezTo>
                    <a:pt x="1273" y="11"/>
                    <a:pt x="1273" y="11"/>
                    <a:pt x="1272" y="11"/>
                  </a:cubicBezTo>
                  <a:cubicBezTo>
                    <a:pt x="1272" y="10"/>
                    <a:pt x="1271" y="10"/>
                    <a:pt x="1271" y="10"/>
                  </a:cubicBezTo>
                  <a:cubicBezTo>
                    <a:pt x="1269" y="10"/>
                    <a:pt x="1267" y="10"/>
                    <a:pt x="1265" y="9"/>
                  </a:cubicBezTo>
                  <a:cubicBezTo>
                    <a:pt x="1265" y="9"/>
                    <a:pt x="1264" y="9"/>
                    <a:pt x="1264" y="9"/>
                  </a:cubicBezTo>
                  <a:cubicBezTo>
                    <a:pt x="1261" y="8"/>
                    <a:pt x="1257" y="8"/>
                    <a:pt x="1254" y="7"/>
                  </a:cubicBezTo>
                  <a:cubicBezTo>
                    <a:pt x="1253" y="7"/>
                    <a:pt x="1253" y="7"/>
                    <a:pt x="1253" y="7"/>
                  </a:cubicBezTo>
                  <a:cubicBezTo>
                    <a:pt x="1252" y="7"/>
                    <a:pt x="1252" y="7"/>
                    <a:pt x="1252" y="7"/>
                  </a:cubicBezTo>
                  <a:cubicBezTo>
                    <a:pt x="1251" y="7"/>
                    <a:pt x="1251" y="7"/>
                    <a:pt x="1250" y="7"/>
                  </a:cubicBezTo>
                  <a:cubicBezTo>
                    <a:pt x="1247" y="6"/>
                    <a:pt x="1244" y="6"/>
                    <a:pt x="1241" y="6"/>
                  </a:cubicBezTo>
                  <a:cubicBezTo>
                    <a:pt x="1241" y="5"/>
                    <a:pt x="1240" y="5"/>
                    <a:pt x="1240" y="5"/>
                  </a:cubicBezTo>
                  <a:cubicBezTo>
                    <a:pt x="1239" y="5"/>
                    <a:pt x="1239" y="5"/>
                    <a:pt x="1238" y="5"/>
                  </a:cubicBezTo>
                  <a:cubicBezTo>
                    <a:pt x="1238" y="5"/>
                    <a:pt x="1237" y="5"/>
                    <a:pt x="1237" y="5"/>
                  </a:cubicBezTo>
                  <a:cubicBezTo>
                    <a:pt x="1234" y="5"/>
                    <a:pt x="1230" y="4"/>
                    <a:pt x="1227" y="4"/>
                  </a:cubicBezTo>
                  <a:cubicBezTo>
                    <a:pt x="1226" y="4"/>
                    <a:pt x="1226" y="4"/>
                    <a:pt x="1226" y="4"/>
                  </a:cubicBezTo>
                  <a:cubicBezTo>
                    <a:pt x="1222" y="3"/>
                    <a:pt x="1219" y="3"/>
                    <a:pt x="1216" y="3"/>
                  </a:cubicBezTo>
                  <a:cubicBezTo>
                    <a:pt x="1216" y="3"/>
                    <a:pt x="1215" y="3"/>
                    <a:pt x="1215" y="3"/>
                  </a:cubicBezTo>
                  <a:cubicBezTo>
                    <a:pt x="1208" y="2"/>
                    <a:pt x="1202" y="2"/>
                    <a:pt x="1195" y="1"/>
                  </a:cubicBezTo>
                  <a:cubicBezTo>
                    <a:pt x="1194" y="1"/>
                    <a:pt x="1194" y="1"/>
                    <a:pt x="1193" y="1"/>
                  </a:cubicBezTo>
                  <a:cubicBezTo>
                    <a:pt x="1191" y="1"/>
                    <a:pt x="1188" y="1"/>
                    <a:pt x="1185" y="1"/>
                  </a:cubicBezTo>
                  <a:cubicBezTo>
                    <a:pt x="1185" y="1"/>
                    <a:pt x="1185" y="1"/>
                    <a:pt x="1184" y="1"/>
                  </a:cubicBezTo>
                  <a:cubicBezTo>
                    <a:pt x="1183" y="1"/>
                    <a:pt x="1181" y="1"/>
                    <a:pt x="1180" y="1"/>
                  </a:cubicBezTo>
                  <a:cubicBezTo>
                    <a:pt x="1179" y="1"/>
                    <a:pt x="1179" y="1"/>
                    <a:pt x="1179" y="1"/>
                  </a:cubicBezTo>
                  <a:cubicBezTo>
                    <a:pt x="1177" y="1"/>
                    <a:pt x="1176" y="1"/>
                    <a:pt x="1174" y="1"/>
                  </a:cubicBezTo>
                  <a:cubicBezTo>
                    <a:pt x="1174" y="1"/>
                    <a:pt x="1174" y="1"/>
                    <a:pt x="1173" y="1"/>
                  </a:cubicBezTo>
                  <a:cubicBezTo>
                    <a:pt x="1172" y="1"/>
                    <a:pt x="1172" y="1"/>
                    <a:pt x="1171" y="0"/>
                  </a:cubicBezTo>
                  <a:cubicBezTo>
                    <a:pt x="1171" y="0"/>
                    <a:pt x="1170" y="0"/>
                    <a:pt x="1170" y="0"/>
                  </a:cubicBezTo>
                  <a:cubicBezTo>
                    <a:pt x="1169" y="0"/>
                    <a:pt x="1167" y="0"/>
                    <a:pt x="1166" y="0"/>
                  </a:cubicBezTo>
                  <a:cubicBezTo>
                    <a:pt x="1165" y="0"/>
                    <a:pt x="1165" y="0"/>
                    <a:pt x="1165" y="0"/>
                  </a:cubicBezTo>
                  <a:cubicBezTo>
                    <a:pt x="1164" y="0"/>
                    <a:pt x="1163" y="0"/>
                    <a:pt x="1163" y="0"/>
                  </a:cubicBezTo>
                  <a:cubicBezTo>
                    <a:pt x="1162" y="0"/>
                    <a:pt x="1162" y="0"/>
                    <a:pt x="1162" y="0"/>
                  </a:cubicBezTo>
                  <a:cubicBezTo>
                    <a:pt x="1161" y="0"/>
                    <a:pt x="1161" y="0"/>
                    <a:pt x="1160" y="0"/>
                  </a:cubicBezTo>
                  <a:cubicBezTo>
                    <a:pt x="1160" y="0"/>
                    <a:pt x="1160" y="0"/>
                    <a:pt x="1159" y="0"/>
                  </a:cubicBezTo>
                  <a:cubicBezTo>
                    <a:pt x="1157" y="0"/>
                    <a:pt x="1156" y="0"/>
                    <a:pt x="1154" y="0"/>
                  </a:cubicBezTo>
                  <a:cubicBezTo>
                    <a:pt x="1154" y="0"/>
                    <a:pt x="1153" y="0"/>
                    <a:pt x="1153" y="0"/>
                  </a:cubicBezTo>
                  <a:cubicBezTo>
                    <a:pt x="1153" y="0"/>
                    <a:pt x="1152" y="0"/>
                    <a:pt x="1152" y="0"/>
                  </a:cubicBezTo>
                  <a:cubicBezTo>
                    <a:pt x="1151" y="0"/>
                    <a:pt x="1150" y="0"/>
                    <a:pt x="1148" y="0"/>
                  </a:cubicBezTo>
                  <a:moveTo>
                    <a:pt x="908" y="47"/>
                  </a:moveTo>
                  <a:cubicBezTo>
                    <a:pt x="907" y="48"/>
                    <a:pt x="906" y="48"/>
                    <a:pt x="905" y="48"/>
                  </a:cubicBezTo>
                  <a:cubicBezTo>
                    <a:pt x="904" y="49"/>
                    <a:pt x="904" y="49"/>
                    <a:pt x="903" y="50"/>
                  </a:cubicBezTo>
                  <a:cubicBezTo>
                    <a:pt x="902" y="50"/>
                    <a:pt x="901" y="51"/>
                    <a:pt x="901" y="51"/>
                  </a:cubicBezTo>
                  <a:cubicBezTo>
                    <a:pt x="899" y="52"/>
                    <a:pt x="898" y="53"/>
                    <a:pt x="897" y="54"/>
                  </a:cubicBezTo>
                  <a:cubicBezTo>
                    <a:pt x="897" y="54"/>
                    <a:pt x="897" y="54"/>
                    <a:pt x="896" y="54"/>
                  </a:cubicBezTo>
                  <a:cubicBezTo>
                    <a:pt x="892" y="58"/>
                    <a:pt x="887" y="61"/>
                    <a:pt x="883" y="65"/>
                  </a:cubicBezTo>
                  <a:cubicBezTo>
                    <a:pt x="883" y="65"/>
                    <a:pt x="884" y="65"/>
                    <a:pt x="885" y="65"/>
                  </a:cubicBezTo>
                  <a:cubicBezTo>
                    <a:pt x="889" y="61"/>
                    <a:pt x="893" y="58"/>
                    <a:pt x="897" y="55"/>
                  </a:cubicBezTo>
                  <a:cubicBezTo>
                    <a:pt x="898" y="55"/>
                    <a:pt x="898" y="54"/>
                    <a:pt x="898" y="54"/>
                  </a:cubicBezTo>
                  <a:cubicBezTo>
                    <a:pt x="898" y="54"/>
                    <a:pt x="899" y="54"/>
                    <a:pt x="899" y="54"/>
                  </a:cubicBezTo>
                  <a:cubicBezTo>
                    <a:pt x="900" y="53"/>
                    <a:pt x="900" y="53"/>
                    <a:pt x="901" y="52"/>
                  </a:cubicBezTo>
                  <a:cubicBezTo>
                    <a:pt x="903" y="51"/>
                    <a:pt x="906" y="49"/>
                    <a:pt x="908" y="48"/>
                  </a:cubicBezTo>
                  <a:cubicBezTo>
                    <a:pt x="908" y="48"/>
                    <a:pt x="908" y="48"/>
                    <a:pt x="908" y="47"/>
                  </a:cubicBezTo>
                  <a:moveTo>
                    <a:pt x="883" y="66"/>
                  </a:moveTo>
                  <a:cubicBezTo>
                    <a:pt x="883" y="66"/>
                    <a:pt x="882" y="66"/>
                    <a:pt x="882" y="66"/>
                  </a:cubicBezTo>
                  <a:cubicBezTo>
                    <a:pt x="881" y="67"/>
                    <a:pt x="880" y="67"/>
                    <a:pt x="880" y="68"/>
                  </a:cubicBezTo>
                  <a:cubicBezTo>
                    <a:pt x="878" y="70"/>
                    <a:pt x="876" y="72"/>
                    <a:pt x="874" y="74"/>
                  </a:cubicBezTo>
                  <a:cubicBezTo>
                    <a:pt x="870" y="78"/>
                    <a:pt x="866" y="82"/>
                    <a:pt x="863" y="86"/>
                  </a:cubicBezTo>
                  <a:cubicBezTo>
                    <a:pt x="863" y="87"/>
                    <a:pt x="863" y="87"/>
                    <a:pt x="863" y="87"/>
                  </a:cubicBezTo>
                  <a:cubicBezTo>
                    <a:pt x="861" y="89"/>
                    <a:pt x="860" y="91"/>
                    <a:pt x="858" y="93"/>
                  </a:cubicBezTo>
                  <a:cubicBezTo>
                    <a:pt x="859" y="93"/>
                    <a:pt x="859" y="93"/>
                    <a:pt x="860" y="93"/>
                  </a:cubicBezTo>
                  <a:cubicBezTo>
                    <a:pt x="861" y="91"/>
                    <a:pt x="862" y="89"/>
                    <a:pt x="863" y="88"/>
                  </a:cubicBezTo>
                  <a:cubicBezTo>
                    <a:pt x="864" y="87"/>
                    <a:pt x="864" y="87"/>
                    <a:pt x="864" y="87"/>
                  </a:cubicBezTo>
                  <a:cubicBezTo>
                    <a:pt x="865" y="86"/>
                    <a:pt x="866" y="85"/>
                    <a:pt x="867" y="84"/>
                  </a:cubicBezTo>
                  <a:cubicBezTo>
                    <a:pt x="869" y="80"/>
                    <a:pt x="872" y="77"/>
                    <a:pt x="875" y="74"/>
                  </a:cubicBezTo>
                  <a:cubicBezTo>
                    <a:pt x="876" y="73"/>
                    <a:pt x="877" y="72"/>
                    <a:pt x="879" y="70"/>
                  </a:cubicBezTo>
                  <a:cubicBezTo>
                    <a:pt x="879" y="70"/>
                    <a:pt x="879" y="70"/>
                    <a:pt x="879" y="70"/>
                  </a:cubicBezTo>
                  <a:cubicBezTo>
                    <a:pt x="881" y="68"/>
                    <a:pt x="882" y="67"/>
                    <a:pt x="883" y="66"/>
                  </a:cubicBezTo>
                  <a:moveTo>
                    <a:pt x="859" y="94"/>
                  </a:moveTo>
                  <a:cubicBezTo>
                    <a:pt x="858" y="94"/>
                    <a:pt x="858" y="94"/>
                    <a:pt x="858" y="94"/>
                  </a:cubicBezTo>
                  <a:cubicBezTo>
                    <a:pt x="857" y="95"/>
                    <a:pt x="856" y="97"/>
                    <a:pt x="855" y="98"/>
                  </a:cubicBezTo>
                  <a:cubicBezTo>
                    <a:pt x="855" y="98"/>
                    <a:pt x="855" y="98"/>
                    <a:pt x="855" y="99"/>
                  </a:cubicBezTo>
                  <a:cubicBezTo>
                    <a:pt x="854" y="100"/>
                    <a:pt x="853" y="101"/>
                    <a:pt x="853" y="102"/>
                  </a:cubicBezTo>
                  <a:cubicBezTo>
                    <a:pt x="853" y="102"/>
                    <a:pt x="852" y="102"/>
                    <a:pt x="852" y="103"/>
                  </a:cubicBezTo>
                  <a:cubicBezTo>
                    <a:pt x="852" y="104"/>
                    <a:pt x="851" y="105"/>
                    <a:pt x="850" y="107"/>
                  </a:cubicBezTo>
                  <a:cubicBezTo>
                    <a:pt x="849" y="108"/>
                    <a:pt x="849" y="109"/>
                    <a:pt x="848" y="111"/>
                  </a:cubicBezTo>
                  <a:cubicBezTo>
                    <a:pt x="847" y="112"/>
                    <a:pt x="846" y="114"/>
                    <a:pt x="846" y="116"/>
                  </a:cubicBezTo>
                  <a:cubicBezTo>
                    <a:pt x="846" y="116"/>
                    <a:pt x="845" y="116"/>
                    <a:pt x="845" y="117"/>
                  </a:cubicBezTo>
                  <a:cubicBezTo>
                    <a:pt x="845" y="118"/>
                    <a:pt x="844" y="119"/>
                    <a:pt x="843" y="121"/>
                  </a:cubicBezTo>
                  <a:cubicBezTo>
                    <a:pt x="844" y="121"/>
                    <a:pt x="844" y="121"/>
                    <a:pt x="845" y="121"/>
                  </a:cubicBezTo>
                  <a:cubicBezTo>
                    <a:pt x="846" y="117"/>
                    <a:pt x="848" y="113"/>
                    <a:pt x="850" y="109"/>
                  </a:cubicBezTo>
                  <a:cubicBezTo>
                    <a:pt x="850" y="109"/>
                    <a:pt x="851" y="108"/>
                    <a:pt x="851" y="107"/>
                  </a:cubicBezTo>
                  <a:cubicBezTo>
                    <a:pt x="852" y="106"/>
                    <a:pt x="852" y="105"/>
                    <a:pt x="853" y="103"/>
                  </a:cubicBezTo>
                  <a:cubicBezTo>
                    <a:pt x="853" y="103"/>
                    <a:pt x="853" y="103"/>
                    <a:pt x="853" y="103"/>
                  </a:cubicBezTo>
                  <a:cubicBezTo>
                    <a:pt x="853" y="103"/>
                    <a:pt x="854" y="103"/>
                    <a:pt x="854" y="102"/>
                  </a:cubicBezTo>
                  <a:cubicBezTo>
                    <a:pt x="854" y="101"/>
                    <a:pt x="855" y="100"/>
                    <a:pt x="856" y="99"/>
                  </a:cubicBezTo>
                  <a:cubicBezTo>
                    <a:pt x="856" y="99"/>
                    <a:pt x="856" y="99"/>
                    <a:pt x="856" y="98"/>
                  </a:cubicBezTo>
                  <a:cubicBezTo>
                    <a:pt x="857" y="97"/>
                    <a:pt x="858" y="95"/>
                    <a:pt x="859" y="94"/>
                  </a:cubicBezTo>
                  <a:moveTo>
                    <a:pt x="844" y="122"/>
                  </a:moveTo>
                  <a:cubicBezTo>
                    <a:pt x="844" y="122"/>
                    <a:pt x="843" y="122"/>
                    <a:pt x="843" y="122"/>
                  </a:cubicBezTo>
                  <a:cubicBezTo>
                    <a:pt x="843" y="122"/>
                    <a:pt x="843" y="122"/>
                    <a:pt x="843" y="122"/>
                  </a:cubicBezTo>
                  <a:cubicBezTo>
                    <a:pt x="843" y="122"/>
                    <a:pt x="843" y="123"/>
                    <a:pt x="843" y="123"/>
                  </a:cubicBezTo>
                  <a:cubicBezTo>
                    <a:pt x="841" y="127"/>
                    <a:pt x="840" y="131"/>
                    <a:pt x="839" y="135"/>
                  </a:cubicBezTo>
                  <a:cubicBezTo>
                    <a:pt x="839" y="135"/>
                    <a:pt x="838" y="135"/>
                    <a:pt x="838" y="136"/>
                  </a:cubicBezTo>
                  <a:cubicBezTo>
                    <a:pt x="836" y="143"/>
                    <a:pt x="834" y="151"/>
                    <a:pt x="833" y="160"/>
                  </a:cubicBezTo>
                  <a:cubicBezTo>
                    <a:pt x="833" y="160"/>
                    <a:pt x="833" y="160"/>
                    <a:pt x="833" y="161"/>
                  </a:cubicBezTo>
                  <a:cubicBezTo>
                    <a:pt x="833" y="161"/>
                    <a:pt x="833" y="161"/>
                    <a:pt x="833" y="161"/>
                  </a:cubicBezTo>
                  <a:cubicBezTo>
                    <a:pt x="833" y="162"/>
                    <a:pt x="833" y="162"/>
                    <a:pt x="833" y="163"/>
                  </a:cubicBezTo>
                  <a:cubicBezTo>
                    <a:pt x="832" y="169"/>
                    <a:pt x="831" y="174"/>
                    <a:pt x="831" y="180"/>
                  </a:cubicBezTo>
                  <a:cubicBezTo>
                    <a:pt x="831" y="181"/>
                    <a:pt x="831" y="181"/>
                    <a:pt x="831" y="182"/>
                  </a:cubicBezTo>
                  <a:cubicBezTo>
                    <a:pt x="831" y="184"/>
                    <a:pt x="831" y="185"/>
                    <a:pt x="831" y="187"/>
                  </a:cubicBezTo>
                  <a:cubicBezTo>
                    <a:pt x="831" y="187"/>
                    <a:pt x="831" y="188"/>
                    <a:pt x="831" y="188"/>
                  </a:cubicBezTo>
                  <a:cubicBezTo>
                    <a:pt x="831" y="190"/>
                    <a:pt x="831" y="192"/>
                    <a:pt x="831" y="194"/>
                  </a:cubicBezTo>
                  <a:cubicBezTo>
                    <a:pt x="831" y="195"/>
                    <a:pt x="831" y="195"/>
                    <a:pt x="831" y="195"/>
                  </a:cubicBezTo>
                  <a:cubicBezTo>
                    <a:pt x="831" y="195"/>
                    <a:pt x="831" y="195"/>
                    <a:pt x="831" y="195"/>
                  </a:cubicBezTo>
                  <a:cubicBezTo>
                    <a:pt x="831" y="201"/>
                    <a:pt x="831" y="207"/>
                    <a:pt x="831" y="214"/>
                  </a:cubicBezTo>
                  <a:cubicBezTo>
                    <a:pt x="831" y="214"/>
                    <a:pt x="831" y="214"/>
                    <a:pt x="831" y="215"/>
                  </a:cubicBezTo>
                  <a:cubicBezTo>
                    <a:pt x="831" y="215"/>
                    <a:pt x="831" y="215"/>
                    <a:pt x="831" y="215"/>
                  </a:cubicBezTo>
                  <a:cubicBezTo>
                    <a:pt x="831" y="215"/>
                    <a:pt x="831" y="216"/>
                    <a:pt x="831" y="216"/>
                  </a:cubicBezTo>
                  <a:cubicBezTo>
                    <a:pt x="831" y="217"/>
                    <a:pt x="831" y="217"/>
                    <a:pt x="831" y="218"/>
                  </a:cubicBezTo>
                  <a:cubicBezTo>
                    <a:pt x="831" y="218"/>
                    <a:pt x="832" y="219"/>
                    <a:pt x="832" y="219"/>
                  </a:cubicBezTo>
                  <a:cubicBezTo>
                    <a:pt x="832" y="221"/>
                    <a:pt x="832" y="222"/>
                    <a:pt x="832" y="224"/>
                  </a:cubicBezTo>
                  <a:cubicBezTo>
                    <a:pt x="832" y="224"/>
                    <a:pt x="832" y="225"/>
                    <a:pt x="832" y="225"/>
                  </a:cubicBezTo>
                  <a:cubicBezTo>
                    <a:pt x="832" y="226"/>
                    <a:pt x="832" y="226"/>
                    <a:pt x="832" y="227"/>
                  </a:cubicBezTo>
                  <a:cubicBezTo>
                    <a:pt x="832" y="227"/>
                    <a:pt x="832" y="228"/>
                    <a:pt x="832" y="228"/>
                  </a:cubicBezTo>
                  <a:cubicBezTo>
                    <a:pt x="833" y="231"/>
                    <a:pt x="833" y="235"/>
                    <a:pt x="834" y="238"/>
                  </a:cubicBezTo>
                  <a:cubicBezTo>
                    <a:pt x="834" y="239"/>
                    <a:pt x="834" y="239"/>
                    <a:pt x="834" y="239"/>
                  </a:cubicBezTo>
                  <a:cubicBezTo>
                    <a:pt x="834" y="243"/>
                    <a:pt x="835" y="247"/>
                    <a:pt x="835" y="251"/>
                  </a:cubicBezTo>
                  <a:cubicBezTo>
                    <a:pt x="835" y="251"/>
                    <a:pt x="835" y="252"/>
                    <a:pt x="836" y="252"/>
                  </a:cubicBezTo>
                  <a:cubicBezTo>
                    <a:pt x="836" y="252"/>
                    <a:pt x="836" y="253"/>
                    <a:pt x="836" y="253"/>
                  </a:cubicBezTo>
                  <a:cubicBezTo>
                    <a:pt x="836" y="254"/>
                    <a:pt x="836" y="254"/>
                    <a:pt x="836" y="254"/>
                  </a:cubicBezTo>
                  <a:cubicBezTo>
                    <a:pt x="836" y="256"/>
                    <a:pt x="836" y="257"/>
                    <a:pt x="837" y="259"/>
                  </a:cubicBezTo>
                  <a:cubicBezTo>
                    <a:pt x="837" y="259"/>
                    <a:pt x="837" y="260"/>
                    <a:pt x="837" y="260"/>
                  </a:cubicBezTo>
                  <a:cubicBezTo>
                    <a:pt x="837" y="261"/>
                    <a:pt x="837" y="263"/>
                    <a:pt x="838" y="264"/>
                  </a:cubicBezTo>
                  <a:cubicBezTo>
                    <a:pt x="838" y="265"/>
                    <a:pt x="838" y="265"/>
                    <a:pt x="838" y="265"/>
                  </a:cubicBezTo>
                  <a:cubicBezTo>
                    <a:pt x="838" y="266"/>
                    <a:pt x="838" y="267"/>
                    <a:pt x="838" y="268"/>
                  </a:cubicBezTo>
                  <a:cubicBezTo>
                    <a:pt x="838" y="268"/>
                    <a:pt x="838" y="269"/>
                    <a:pt x="839" y="269"/>
                  </a:cubicBezTo>
                  <a:cubicBezTo>
                    <a:pt x="839" y="270"/>
                    <a:pt x="839" y="271"/>
                    <a:pt x="839" y="272"/>
                  </a:cubicBezTo>
                  <a:cubicBezTo>
                    <a:pt x="839" y="272"/>
                    <a:pt x="839" y="272"/>
                    <a:pt x="839" y="273"/>
                  </a:cubicBezTo>
                  <a:cubicBezTo>
                    <a:pt x="839" y="273"/>
                    <a:pt x="839" y="274"/>
                    <a:pt x="840" y="275"/>
                  </a:cubicBezTo>
                  <a:cubicBezTo>
                    <a:pt x="840" y="275"/>
                    <a:pt x="840" y="275"/>
                    <a:pt x="840" y="276"/>
                  </a:cubicBezTo>
                  <a:cubicBezTo>
                    <a:pt x="840" y="277"/>
                    <a:pt x="840" y="278"/>
                    <a:pt x="841" y="280"/>
                  </a:cubicBezTo>
                  <a:cubicBezTo>
                    <a:pt x="841" y="280"/>
                    <a:pt x="841" y="280"/>
                    <a:pt x="841" y="280"/>
                  </a:cubicBezTo>
                  <a:cubicBezTo>
                    <a:pt x="841" y="280"/>
                    <a:pt x="841" y="281"/>
                    <a:pt x="841" y="281"/>
                  </a:cubicBezTo>
                  <a:cubicBezTo>
                    <a:pt x="841" y="281"/>
                    <a:pt x="841" y="281"/>
                    <a:pt x="841" y="281"/>
                  </a:cubicBezTo>
                  <a:cubicBezTo>
                    <a:pt x="841" y="282"/>
                    <a:pt x="841" y="282"/>
                    <a:pt x="841" y="283"/>
                  </a:cubicBezTo>
                  <a:cubicBezTo>
                    <a:pt x="841" y="283"/>
                    <a:pt x="841" y="283"/>
                    <a:pt x="841" y="284"/>
                  </a:cubicBezTo>
                  <a:cubicBezTo>
                    <a:pt x="842" y="284"/>
                    <a:pt x="842" y="285"/>
                    <a:pt x="842" y="286"/>
                  </a:cubicBezTo>
                  <a:cubicBezTo>
                    <a:pt x="842" y="286"/>
                    <a:pt x="842" y="287"/>
                    <a:pt x="842" y="287"/>
                  </a:cubicBezTo>
                  <a:cubicBezTo>
                    <a:pt x="842" y="287"/>
                    <a:pt x="842" y="288"/>
                    <a:pt x="842" y="288"/>
                  </a:cubicBezTo>
                  <a:cubicBezTo>
                    <a:pt x="842" y="289"/>
                    <a:pt x="843" y="289"/>
                    <a:pt x="843" y="290"/>
                  </a:cubicBezTo>
                  <a:cubicBezTo>
                    <a:pt x="843" y="290"/>
                    <a:pt x="843" y="291"/>
                    <a:pt x="843" y="292"/>
                  </a:cubicBezTo>
                  <a:cubicBezTo>
                    <a:pt x="843" y="293"/>
                    <a:pt x="843" y="293"/>
                    <a:pt x="843" y="293"/>
                  </a:cubicBezTo>
                  <a:cubicBezTo>
                    <a:pt x="843" y="293"/>
                    <a:pt x="843" y="293"/>
                    <a:pt x="843" y="293"/>
                  </a:cubicBezTo>
                  <a:cubicBezTo>
                    <a:pt x="843" y="294"/>
                    <a:pt x="844" y="294"/>
                    <a:pt x="844" y="294"/>
                  </a:cubicBezTo>
                  <a:cubicBezTo>
                    <a:pt x="844" y="294"/>
                    <a:pt x="844" y="295"/>
                    <a:pt x="844" y="295"/>
                  </a:cubicBezTo>
                  <a:cubicBezTo>
                    <a:pt x="844" y="295"/>
                    <a:pt x="844" y="295"/>
                    <a:pt x="844" y="295"/>
                  </a:cubicBezTo>
                  <a:cubicBezTo>
                    <a:pt x="844" y="296"/>
                    <a:pt x="844" y="296"/>
                    <a:pt x="844" y="297"/>
                  </a:cubicBezTo>
                  <a:cubicBezTo>
                    <a:pt x="844" y="297"/>
                    <a:pt x="844" y="297"/>
                    <a:pt x="844" y="297"/>
                  </a:cubicBezTo>
                  <a:cubicBezTo>
                    <a:pt x="844" y="298"/>
                    <a:pt x="844" y="298"/>
                    <a:pt x="844" y="298"/>
                  </a:cubicBezTo>
                  <a:cubicBezTo>
                    <a:pt x="845" y="299"/>
                    <a:pt x="845" y="299"/>
                    <a:pt x="845" y="299"/>
                  </a:cubicBezTo>
                  <a:cubicBezTo>
                    <a:pt x="845" y="300"/>
                    <a:pt x="845" y="300"/>
                    <a:pt x="845" y="301"/>
                  </a:cubicBezTo>
                  <a:cubicBezTo>
                    <a:pt x="845" y="301"/>
                    <a:pt x="845" y="302"/>
                    <a:pt x="845" y="302"/>
                  </a:cubicBezTo>
                  <a:cubicBezTo>
                    <a:pt x="845" y="303"/>
                    <a:pt x="846" y="304"/>
                    <a:pt x="846" y="305"/>
                  </a:cubicBezTo>
                  <a:cubicBezTo>
                    <a:pt x="846" y="305"/>
                    <a:pt x="846" y="305"/>
                    <a:pt x="846" y="306"/>
                  </a:cubicBezTo>
                  <a:cubicBezTo>
                    <a:pt x="846" y="306"/>
                    <a:pt x="846" y="307"/>
                    <a:pt x="846" y="307"/>
                  </a:cubicBezTo>
                  <a:cubicBezTo>
                    <a:pt x="846" y="308"/>
                    <a:pt x="846" y="308"/>
                    <a:pt x="846" y="308"/>
                  </a:cubicBezTo>
                  <a:cubicBezTo>
                    <a:pt x="847" y="308"/>
                    <a:pt x="847" y="309"/>
                    <a:pt x="847" y="309"/>
                  </a:cubicBezTo>
                  <a:cubicBezTo>
                    <a:pt x="848" y="313"/>
                    <a:pt x="848" y="317"/>
                    <a:pt x="849" y="321"/>
                  </a:cubicBezTo>
                  <a:cubicBezTo>
                    <a:pt x="849" y="321"/>
                    <a:pt x="849" y="322"/>
                    <a:pt x="849" y="322"/>
                  </a:cubicBezTo>
                  <a:cubicBezTo>
                    <a:pt x="849" y="323"/>
                    <a:pt x="850" y="323"/>
                    <a:pt x="850" y="324"/>
                  </a:cubicBezTo>
                  <a:cubicBezTo>
                    <a:pt x="850" y="326"/>
                    <a:pt x="851" y="329"/>
                    <a:pt x="851" y="332"/>
                  </a:cubicBezTo>
                  <a:cubicBezTo>
                    <a:pt x="851" y="332"/>
                    <a:pt x="851" y="332"/>
                    <a:pt x="851" y="333"/>
                  </a:cubicBezTo>
                  <a:cubicBezTo>
                    <a:pt x="851" y="335"/>
                    <a:pt x="851" y="337"/>
                    <a:pt x="851" y="339"/>
                  </a:cubicBezTo>
                  <a:cubicBezTo>
                    <a:pt x="851" y="339"/>
                    <a:pt x="851" y="339"/>
                    <a:pt x="851" y="339"/>
                  </a:cubicBezTo>
                  <a:cubicBezTo>
                    <a:pt x="851" y="340"/>
                    <a:pt x="851" y="340"/>
                    <a:pt x="851" y="340"/>
                  </a:cubicBezTo>
                  <a:cubicBezTo>
                    <a:pt x="851" y="342"/>
                    <a:pt x="851" y="343"/>
                    <a:pt x="851" y="344"/>
                  </a:cubicBezTo>
                  <a:cubicBezTo>
                    <a:pt x="851" y="345"/>
                    <a:pt x="851" y="345"/>
                    <a:pt x="851" y="345"/>
                  </a:cubicBezTo>
                  <a:cubicBezTo>
                    <a:pt x="851" y="349"/>
                    <a:pt x="850" y="352"/>
                    <a:pt x="849" y="355"/>
                  </a:cubicBezTo>
                  <a:cubicBezTo>
                    <a:pt x="848" y="356"/>
                    <a:pt x="848" y="356"/>
                    <a:pt x="848" y="357"/>
                  </a:cubicBezTo>
                  <a:cubicBezTo>
                    <a:pt x="847" y="359"/>
                    <a:pt x="846" y="361"/>
                    <a:pt x="844" y="362"/>
                  </a:cubicBezTo>
                  <a:cubicBezTo>
                    <a:pt x="841" y="365"/>
                    <a:pt x="837" y="367"/>
                    <a:pt x="833" y="367"/>
                  </a:cubicBezTo>
                  <a:cubicBezTo>
                    <a:pt x="832" y="367"/>
                    <a:pt x="831" y="368"/>
                    <a:pt x="830" y="368"/>
                  </a:cubicBezTo>
                  <a:cubicBezTo>
                    <a:pt x="830" y="368"/>
                    <a:pt x="830" y="368"/>
                    <a:pt x="830" y="368"/>
                  </a:cubicBezTo>
                  <a:cubicBezTo>
                    <a:pt x="828" y="368"/>
                    <a:pt x="825" y="367"/>
                    <a:pt x="823" y="367"/>
                  </a:cubicBezTo>
                  <a:cubicBezTo>
                    <a:pt x="822" y="367"/>
                    <a:pt x="821" y="366"/>
                    <a:pt x="820" y="366"/>
                  </a:cubicBezTo>
                  <a:cubicBezTo>
                    <a:pt x="820" y="366"/>
                    <a:pt x="819" y="366"/>
                    <a:pt x="818" y="366"/>
                  </a:cubicBezTo>
                  <a:cubicBezTo>
                    <a:pt x="814" y="365"/>
                    <a:pt x="810" y="363"/>
                    <a:pt x="806" y="360"/>
                  </a:cubicBezTo>
                  <a:cubicBezTo>
                    <a:pt x="805" y="360"/>
                    <a:pt x="805" y="360"/>
                    <a:pt x="804" y="360"/>
                  </a:cubicBezTo>
                  <a:cubicBezTo>
                    <a:pt x="803" y="359"/>
                    <a:pt x="801" y="358"/>
                    <a:pt x="799" y="357"/>
                  </a:cubicBezTo>
                  <a:cubicBezTo>
                    <a:pt x="799" y="357"/>
                    <a:pt x="799" y="358"/>
                    <a:pt x="799" y="358"/>
                  </a:cubicBezTo>
                  <a:cubicBezTo>
                    <a:pt x="800" y="359"/>
                    <a:pt x="802" y="359"/>
                    <a:pt x="803" y="360"/>
                  </a:cubicBezTo>
                  <a:cubicBezTo>
                    <a:pt x="803" y="360"/>
                    <a:pt x="804" y="361"/>
                    <a:pt x="804" y="361"/>
                  </a:cubicBezTo>
                  <a:cubicBezTo>
                    <a:pt x="809" y="363"/>
                    <a:pt x="813" y="365"/>
                    <a:pt x="817" y="366"/>
                  </a:cubicBezTo>
                  <a:cubicBezTo>
                    <a:pt x="817" y="366"/>
                    <a:pt x="818" y="367"/>
                    <a:pt x="818" y="367"/>
                  </a:cubicBezTo>
                  <a:cubicBezTo>
                    <a:pt x="820" y="367"/>
                    <a:pt x="821" y="367"/>
                    <a:pt x="822" y="368"/>
                  </a:cubicBezTo>
                  <a:cubicBezTo>
                    <a:pt x="823" y="368"/>
                    <a:pt x="824" y="368"/>
                    <a:pt x="825" y="368"/>
                  </a:cubicBezTo>
                  <a:cubicBezTo>
                    <a:pt x="827" y="368"/>
                    <a:pt x="828" y="369"/>
                    <a:pt x="830" y="369"/>
                  </a:cubicBezTo>
                  <a:cubicBezTo>
                    <a:pt x="830" y="369"/>
                    <a:pt x="830" y="369"/>
                    <a:pt x="830" y="369"/>
                  </a:cubicBezTo>
                  <a:cubicBezTo>
                    <a:pt x="831" y="369"/>
                    <a:pt x="832" y="368"/>
                    <a:pt x="833" y="368"/>
                  </a:cubicBezTo>
                  <a:cubicBezTo>
                    <a:pt x="838" y="368"/>
                    <a:pt x="841" y="366"/>
                    <a:pt x="844" y="363"/>
                  </a:cubicBezTo>
                  <a:cubicBezTo>
                    <a:pt x="845" y="363"/>
                    <a:pt x="846" y="362"/>
                    <a:pt x="846" y="361"/>
                  </a:cubicBezTo>
                  <a:cubicBezTo>
                    <a:pt x="847" y="360"/>
                    <a:pt x="848" y="358"/>
                    <a:pt x="849" y="356"/>
                  </a:cubicBezTo>
                  <a:cubicBezTo>
                    <a:pt x="849" y="356"/>
                    <a:pt x="850" y="355"/>
                    <a:pt x="850" y="355"/>
                  </a:cubicBezTo>
                  <a:cubicBezTo>
                    <a:pt x="851" y="352"/>
                    <a:pt x="852" y="349"/>
                    <a:pt x="852" y="345"/>
                  </a:cubicBezTo>
                  <a:cubicBezTo>
                    <a:pt x="852" y="345"/>
                    <a:pt x="852" y="344"/>
                    <a:pt x="852" y="344"/>
                  </a:cubicBezTo>
                  <a:cubicBezTo>
                    <a:pt x="852" y="343"/>
                    <a:pt x="852" y="342"/>
                    <a:pt x="852" y="341"/>
                  </a:cubicBezTo>
                  <a:cubicBezTo>
                    <a:pt x="852" y="340"/>
                    <a:pt x="852" y="340"/>
                    <a:pt x="852" y="340"/>
                  </a:cubicBezTo>
                  <a:cubicBezTo>
                    <a:pt x="852" y="339"/>
                    <a:pt x="852" y="339"/>
                    <a:pt x="852" y="339"/>
                  </a:cubicBezTo>
                  <a:cubicBezTo>
                    <a:pt x="852" y="337"/>
                    <a:pt x="852" y="335"/>
                    <a:pt x="852" y="333"/>
                  </a:cubicBezTo>
                  <a:cubicBezTo>
                    <a:pt x="852" y="333"/>
                    <a:pt x="852" y="332"/>
                    <a:pt x="852" y="332"/>
                  </a:cubicBezTo>
                  <a:cubicBezTo>
                    <a:pt x="852" y="329"/>
                    <a:pt x="851" y="326"/>
                    <a:pt x="851" y="323"/>
                  </a:cubicBezTo>
                  <a:cubicBezTo>
                    <a:pt x="851" y="323"/>
                    <a:pt x="850" y="322"/>
                    <a:pt x="850" y="321"/>
                  </a:cubicBezTo>
                  <a:cubicBezTo>
                    <a:pt x="850" y="321"/>
                    <a:pt x="850" y="321"/>
                    <a:pt x="850" y="320"/>
                  </a:cubicBezTo>
                  <a:cubicBezTo>
                    <a:pt x="849" y="317"/>
                    <a:pt x="848" y="313"/>
                    <a:pt x="848" y="308"/>
                  </a:cubicBezTo>
                  <a:cubicBezTo>
                    <a:pt x="848" y="308"/>
                    <a:pt x="847" y="308"/>
                    <a:pt x="847" y="307"/>
                  </a:cubicBezTo>
                  <a:cubicBezTo>
                    <a:pt x="847" y="307"/>
                    <a:pt x="847" y="307"/>
                    <a:pt x="847" y="307"/>
                  </a:cubicBezTo>
                  <a:cubicBezTo>
                    <a:pt x="847" y="306"/>
                    <a:pt x="847" y="306"/>
                    <a:pt x="847" y="305"/>
                  </a:cubicBezTo>
                  <a:cubicBezTo>
                    <a:pt x="847" y="305"/>
                    <a:pt x="847" y="304"/>
                    <a:pt x="847" y="304"/>
                  </a:cubicBezTo>
                  <a:cubicBezTo>
                    <a:pt x="846" y="303"/>
                    <a:pt x="846" y="302"/>
                    <a:pt x="846" y="301"/>
                  </a:cubicBezTo>
                  <a:cubicBezTo>
                    <a:pt x="846" y="301"/>
                    <a:pt x="846" y="301"/>
                    <a:pt x="846" y="300"/>
                  </a:cubicBezTo>
                  <a:cubicBezTo>
                    <a:pt x="846" y="300"/>
                    <a:pt x="846" y="299"/>
                    <a:pt x="846" y="299"/>
                  </a:cubicBezTo>
                  <a:cubicBezTo>
                    <a:pt x="845" y="298"/>
                    <a:pt x="845" y="298"/>
                    <a:pt x="845" y="298"/>
                  </a:cubicBezTo>
                  <a:cubicBezTo>
                    <a:pt x="845" y="297"/>
                    <a:pt x="845" y="297"/>
                    <a:pt x="845" y="297"/>
                  </a:cubicBezTo>
                  <a:cubicBezTo>
                    <a:pt x="845" y="296"/>
                    <a:pt x="845" y="296"/>
                    <a:pt x="845" y="296"/>
                  </a:cubicBezTo>
                  <a:cubicBezTo>
                    <a:pt x="845" y="296"/>
                    <a:pt x="845" y="295"/>
                    <a:pt x="845" y="295"/>
                  </a:cubicBezTo>
                  <a:cubicBezTo>
                    <a:pt x="845" y="295"/>
                    <a:pt x="845" y="294"/>
                    <a:pt x="845" y="294"/>
                  </a:cubicBezTo>
                  <a:cubicBezTo>
                    <a:pt x="845" y="294"/>
                    <a:pt x="845" y="294"/>
                    <a:pt x="844" y="294"/>
                  </a:cubicBezTo>
                  <a:cubicBezTo>
                    <a:pt x="844" y="293"/>
                    <a:pt x="844" y="293"/>
                    <a:pt x="844" y="293"/>
                  </a:cubicBezTo>
                  <a:cubicBezTo>
                    <a:pt x="844" y="293"/>
                    <a:pt x="844" y="293"/>
                    <a:pt x="844" y="293"/>
                  </a:cubicBezTo>
                  <a:cubicBezTo>
                    <a:pt x="844" y="293"/>
                    <a:pt x="844" y="292"/>
                    <a:pt x="844" y="292"/>
                  </a:cubicBezTo>
                  <a:cubicBezTo>
                    <a:pt x="844" y="292"/>
                    <a:pt x="844" y="292"/>
                    <a:pt x="844" y="291"/>
                  </a:cubicBezTo>
                  <a:cubicBezTo>
                    <a:pt x="844" y="291"/>
                    <a:pt x="844" y="290"/>
                    <a:pt x="843" y="289"/>
                  </a:cubicBezTo>
                  <a:cubicBezTo>
                    <a:pt x="843" y="289"/>
                    <a:pt x="843" y="288"/>
                    <a:pt x="843" y="288"/>
                  </a:cubicBezTo>
                  <a:cubicBezTo>
                    <a:pt x="843" y="287"/>
                    <a:pt x="843" y="287"/>
                    <a:pt x="843" y="286"/>
                  </a:cubicBezTo>
                  <a:cubicBezTo>
                    <a:pt x="843" y="286"/>
                    <a:pt x="843" y="286"/>
                    <a:pt x="843" y="285"/>
                  </a:cubicBezTo>
                  <a:cubicBezTo>
                    <a:pt x="843" y="285"/>
                    <a:pt x="842" y="284"/>
                    <a:pt x="842" y="283"/>
                  </a:cubicBezTo>
                  <a:cubicBezTo>
                    <a:pt x="842" y="283"/>
                    <a:pt x="842" y="282"/>
                    <a:pt x="842" y="282"/>
                  </a:cubicBezTo>
                  <a:cubicBezTo>
                    <a:pt x="842" y="282"/>
                    <a:pt x="842" y="281"/>
                    <a:pt x="842" y="281"/>
                  </a:cubicBezTo>
                  <a:cubicBezTo>
                    <a:pt x="842" y="281"/>
                    <a:pt x="842" y="281"/>
                    <a:pt x="842" y="280"/>
                  </a:cubicBezTo>
                  <a:cubicBezTo>
                    <a:pt x="842" y="280"/>
                    <a:pt x="842" y="280"/>
                    <a:pt x="842" y="280"/>
                  </a:cubicBezTo>
                  <a:cubicBezTo>
                    <a:pt x="842" y="280"/>
                    <a:pt x="842" y="279"/>
                    <a:pt x="841" y="279"/>
                  </a:cubicBezTo>
                  <a:cubicBezTo>
                    <a:pt x="841" y="278"/>
                    <a:pt x="841" y="276"/>
                    <a:pt x="841" y="275"/>
                  </a:cubicBezTo>
                  <a:cubicBezTo>
                    <a:pt x="841" y="275"/>
                    <a:pt x="841" y="274"/>
                    <a:pt x="840" y="274"/>
                  </a:cubicBezTo>
                  <a:cubicBezTo>
                    <a:pt x="840" y="274"/>
                    <a:pt x="840" y="273"/>
                    <a:pt x="840" y="273"/>
                  </a:cubicBezTo>
                  <a:cubicBezTo>
                    <a:pt x="840" y="273"/>
                    <a:pt x="840" y="272"/>
                    <a:pt x="840" y="272"/>
                  </a:cubicBezTo>
                  <a:cubicBezTo>
                    <a:pt x="840" y="271"/>
                    <a:pt x="840" y="270"/>
                    <a:pt x="840" y="269"/>
                  </a:cubicBezTo>
                  <a:cubicBezTo>
                    <a:pt x="839" y="269"/>
                    <a:pt x="839" y="269"/>
                    <a:pt x="839" y="268"/>
                  </a:cubicBezTo>
                  <a:cubicBezTo>
                    <a:pt x="839" y="267"/>
                    <a:pt x="839" y="266"/>
                    <a:pt x="839" y="265"/>
                  </a:cubicBezTo>
                  <a:cubicBezTo>
                    <a:pt x="839" y="264"/>
                    <a:pt x="839" y="264"/>
                    <a:pt x="839" y="264"/>
                  </a:cubicBezTo>
                  <a:cubicBezTo>
                    <a:pt x="838" y="262"/>
                    <a:pt x="838" y="261"/>
                    <a:pt x="838" y="259"/>
                  </a:cubicBezTo>
                  <a:cubicBezTo>
                    <a:pt x="838" y="259"/>
                    <a:pt x="838" y="258"/>
                    <a:pt x="838" y="258"/>
                  </a:cubicBezTo>
                  <a:cubicBezTo>
                    <a:pt x="837" y="257"/>
                    <a:pt x="837" y="255"/>
                    <a:pt x="837" y="254"/>
                  </a:cubicBezTo>
                  <a:cubicBezTo>
                    <a:pt x="837" y="253"/>
                    <a:pt x="837" y="253"/>
                    <a:pt x="837" y="252"/>
                  </a:cubicBezTo>
                  <a:cubicBezTo>
                    <a:pt x="837" y="252"/>
                    <a:pt x="837" y="252"/>
                    <a:pt x="836" y="252"/>
                  </a:cubicBezTo>
                  <a:cubicBezTo>
                    <a:pt x="836" y="251"/>
                    <a:pt x="836" y="251"/>
                    <a:pt x="836" y="251"/>
                  </a:cubicBezTo>
                  <a:cubicBezTo>
                    <a:pt x="836" y="247"/>
                    <a:pt x="835" y="243"/>
                    <a:pt x="835" y="239"/>
                  </a:cubicBezTo>
                  <a:cubicBezTo>
                    <a:pt x="835" y="238"/>
                    <a:pt x="835" y="238"/>
                    <a:pt x="834" y="238"/>
                  </a:cubicBezTo>
                  <a:cubicBezTo>
                    <a:pt x="834" y="234"/>
                    <a:pt x="834" y="231"/>
                    <a:pt x="833" y="227"/>
                  </a:cubicBezTo>
                  <a:cubicBezTo>
                    <a:pt x="833" y="227"/>
                    <a:pt x="833" y="227"/>
                    <a:pt x="833" y="226"/>
                  </a:cubicBezTo>
                  <a:cubicBezTo>
                    <a:pt x="833" y="225"/>
                    <a:pt x="833" y="225"/>
                    <a:pt x="833" y="224"/>
                  </a:cubicBezTo>
                  <a:cubicBezTo>
                    <a:pt x="833" y="223"/>
                    <a:pt x="833" y="223"/>
                    <a:pt x="833" y="223"/>
                  </a:cubicBezTo>
                  <a:cubicBezTo>
                    <a:pt x="833" y="222"/>
                    <a:pt x="833" y="221"/>
                    <a:pt x="833" y="220"/>
                  </a:cubicBezTo>
                  <a:cubicBezTo>
                    <a:pt x="833" y="220"/>
                    <a:pt x="833" y="219"/>
                    <a:pt x="833" y="219"/>
                  </a:cubicBezTo>
                  <a:cubicBezTo>
                    <a:pt x="832" y="218"/>
                    <a:pt x="832" y="217"/>
                    <a:pt x="832" y="216"/>
                  </a:cubicBezTo>
                  <a:cubicBezTo>
                    <a:pt x="832" y="216"/>
                    <a:pt x="832" y="216"/>
                    <a:pt x="832" y="215"/>
                  </a:cubicBezTo>
                  <a:cubicBezTo>
                    <a:pt x="832" y="215"/>
                    <a:pt x="832" y="215"/>
                    <a:pt x="832" y="214"/>
                  </a:cubicBezTo>
                  <a:cubicBezTo>
                    <a:pt x="832" y="214"/>
                    <a:pt x="832" y="214"/>
                    <a:pt x="832" y="213"/>
                  </a:cubicBezTo>
                  <a:cubicBezTo>
                    <a:pt x="832" y="207"/>
                    <a:pt x="832" y="201"/>
                    <a:pt x="832" y="195"/>
                  </a:cubicBezTo>
                  <a:cubicBezTo>
                    <a:pt x="832" y="194"/>
                    <a:pt x="832" y="194"/>
                    <a:pt x="832" y="194"/>
                  </a:cubicBezTo>
                  <a:cubicBezTo>
                    <a:pt x="832" y="194"/>
                    <a:pt x="832" y="193"/>
                    <a:pt x="832" y="193"/>
                  </a:cubicBezTo>
                  <a:cubicBezTo>
                    <a:pt x="832" y="192"/>
                    <a:pt x="832" y="190"/>
                    <a:pt x="832" y="189"/>
                  </a:cubicBezTo>
                  <a:cubicBezTo>
                    <a:pt x="832" y="189"/>
                    <a:pt x="832" y="188"/>
                    <a:pt x="832" y="188"/>
                  </a:cubicBezTo>
                  <a:cubicBezTo>
                    <a:pt x="832" y="185"/>
                    <a:pt x="832" y="183"/>
                    <a:pt x="832" y="181"/>
                  </a:cubicBezTo>
                  <a:cubicBezTo>
                    <a:pt x="832" y="180"/>
                    <a:pt x="832" y="180"/>
                    <a:pt x="832" y="179"/>
                  </a:cubicBezTo>
                  <a:cubicBezTo>
                    <a:pt x="832" y="173"/>
                    <a:pt x="833" y="167"/>
                    <a:pt x="834" y="162"/>
                  </a:cubicBezTo>
                  <a:cubicBezTo>
                    <a:pt x="834" y="161"/>
                    <a:pt x="834" y="161"/>
                    <a:pt x="834" y="160"/>
                  </a:cubicBezTo>
                  <a:cubicBezTo>
                    <a:pt x="835" y="153"/>
                    <a:pt x="837" y="146"/>
                    <a:pt x="839" y="139"/>
                  </a:cubicBezTo>
                  <a:cubicBezTo>
                    <a:pt x="840" y="133"/>
                    <a:pt x="842" y="127"/>
                    <a:pt x="844" y="122"/>
                  </a:cubicBezTo>
                  <a:moveTo>
                    <a:pt x="718" y="317"/>
                  </a:moveTo>
                  <a:cubicBezTo>
                    <a:pt x="717" y="317"/>
                    <a:pt x="715" y="317"/>
                    <a:pt x="713" y="317"/>
                  </a:cubicBezTo>
                  <a:cubicBezTo>
                    <a:pt x="713" y="317"/>
                    <a:pt x="712" y="317"/>
                    <a:pt x="712" y="317"/>
                  </a:cubicBezTo>
                  <a:cubicBezTo>
                    <a:pt x="701" y="317"/>
                    <a:pt x="690" y="319"/>
                    <a:pt x="679" y="322"/>
                  </a:cubicBezTo>
                  <a:cubicBezTo>
                    <a:pt x="678" y="322"/>
                    <a:pt x="677" y="322"/>
                    <a:pt x="676" y="322"/>
                  </a:cubicBezTo>
                  <a:cubicBezTo>
                    <a:pt x="670" y="324"/>
                    <a:pt x="665" y="325"/>
                    <a:pt x="660" y="327"/>
                  </a:cubicBezTo>
                  <a:cubicBezTo>
                    <a:pt x="660" y="327"/>
                    <a:pt x="660" y="328"/>
                    <a:pt x="660" y="328"/>
                  </a:cubicBezTo>
                  <a:cubicBezTo>
                    <a:pt x="664" y="326"/>
                    <a:pt x="669" y="325"/>
                    <a:pt x="673" y="324"/>
                  </a:cubicBezTo>
                  <a:cubicBezTo>
                    <a:pt x="674" y="324"/>
                    <a:pt x="675" y="323"/>
                    <a:pt x="676" y="323"/>
                  </a:cubicBezTo>
                  <a:cubicBezTo>
                    <a:pt x="688" y="320"/>
                    <a:pt x="699" y="318"/>
                    <a:pt x="711" y="318"/>
                  </a:cubicBezTo>
                  <a:cubicBezTo>
                    <a:pt x="711" y="318"/>
                    <a:pt x="712" y="318"/>
                    <a:pt x="712" y="318"/>
                  </a:cubicBezTo>
                  <a:cubicBezTo>
                    <a:pt x="714" y="318"/>
                    <a:pt x="716" y="318"/>
                    <a:pt x="718" y="318"/>
                  </a:cubicBezTo>
                  <a:cubicBezTo>
                    <a:pt x="720" y="318"/>
                    <a:pt x="722" y="318"/>
                    <a:pt x="723" y="318"/>
                  </a:cubicBezTo>
                  <a:cubicBezTo>
                    <a:pt x="723" y="317"/>
                    <a:pt x="723" y="317"/>
                    <a:pt x="723" y="317"/>
                  </a:cubicBezTo>
                  <a:cubicBezTo>
                    <a:pt x="721" y="317"/>
                    <a:pt x="720" y="317"/>
                    <a:pt x="718" y="317"/>
                  </a:cubicBezTo>
                  <a:moveTo>
                    <a:pt x="724" y="317"/>
                  </a:moveTo>
                  <a:cubicBezTo>
                    <a:pt x="724" y="317"/>
                    <a:pt x="724" y="317"/>
                    <a:pt x="724" y="318"/>
                  </a:cubicBezTo>
                  <a:cubicBezTo>
                    <a:pt x="726" y="318"/>
                    <a:pt x="728" y="318"/>
                    <a:pt x="730" y="318"/>
                  </a:cubicBezTo>
                  <a:cubicBezTo>
                    <a:pt x="731" y="318"/>
                    <a:pt x="732" y="318"/>
                    <a:pt x="733" y="318"/>
                  </a:cubicBezTo>
                  <a:cubicBezTo>
                    <a:pt x="735" y="319"/>
                    <a:pt x="738" y="319"/>
                    <a:pt x="741" y="320"/>
                  </a:cubicBezTo>
                  <a:cubicBezTo>
                    <a:pt x="741" y="320"/>
                    <a:pt x="742" y="320"/>
                    <a:pt x="742" y="320"/>
                  </a:cubicBezTo>
                  <a:cubicBezTo>
                    <a:pt x="745" y="321"/>
                    <a:pt x="748" y="322"/>
                    <a:pt x="751" y="323"/>
                  </a:cubicBezTo>
                  <a:cubicBezTo>
                    <a:pt x="751" y="323"/>
                    <a:pt x="752" y="323"/>
                    <a:pt x="752" y="323"/>
                  </a:cubicBezTo>
                  <a:cubicBezTo>
                    <a:pt x="755" y="325"/>
                    <a:pt x="758" y="326"/>
                    <a:pt x="761" y="328"/>
                  </a:cubicBezTo>
                  <a:cubicBezTo>
                    <a:pt x="761" y="328"/>
                    <a:pt x="761" y="328"/>
                    <a:pt x="761" y="328"/>
                  </a:cubicBezTo>
                  <a:cubicBezTo>
                    <a:pt x="761" y="329"/>
                    <a:pt x="762" y="329"/>
                    <a:pt x="762" y="329"/>
                  </a:cubicBezTo>
                  <a:cubicBezTo>
                    <a:pt x="762" y="329"/>
                    <a:pt x="762" y="329"/>
                    <a:pt x="762" y="329"/>
                  </a:cubicBezTo>
                  <a:cubicBezTo>
                    <a:pt x="763" y="329"/>
                    <a:pt x="763" y="330"/>
                    <a:pt x="763" y="330"/>
                  </a:cubicBezTo>
                  <a:cubicBezTo>
                    <a:pt x="763" y="330"/>
                    <a:pt x="763" y="330"/>
                    <a:pt x="763" y="330"/>
                  </a:cubicBezTo>
                  <a:cubicBezTo>
                    <a:pt x="764" y="330"/>
                    <a:pt x="764" y="331"/>
                    <a:pt x="764" y="331"/>
                  </a:cubicBezTo>
                  <a:cubicBezTo>
                    <a:pt x="765" y="332"/>
                    <a:pt x="766" y="332"/>
                    <a:pt x="767" y="333"/>
                  </a:cubicBezTo>
                  <a:cubicBezTo>
                    <a:pt x="767" y="334"/>
                    <a:pt x="767" y="334"/>
                    <a:pt x="768" y="334"/>
                  </a:cubicBezTo>
                  <a:cubicBezTo>
                    <a:pt x="768" y="334"/>
                    <a:pt x="768" y="335"/>
                    <a:pt x="769" y="335"/>
                  </a:cubicBezTo>
                  <a:cubicBezTo>
                    <a:pt x="769" y="335"/>
                    <a:pt x="769" y="335"/>
                    <a:pt x="769" y="336"/>
                  </a:cubicBezTo>
                  <a:cubicBezTo>
                    <a:pt x="769" y="336"/>
                    <a:pt x="769" y="336"/>
                    <a:pt x="769" y="336"/>
                  </a:cubicBezTo>
                  <a:cubicBezTo>
                    <a:pt x="770" y="336"/>
                    <a:pt x="770" y="337"/>
                    <a:pt x="770" y="337"/>
                  </a:cubicBezTo>
                  <a:cubicBezTo>
                    <a:pt x="770" y="337"/>
                    <a:pt x="771" y="337"/>
                    <a:pt x="771" y="338"/>
                  </a:cubicBezTo>
                  <a:cubicBezTo>
                    <a:pt x="771" y="338"/>
                    <a:pt x="771" y="338"/>
                    <a:pt x="771" y="338"/>
                  </a:cubicBezTo>
                  <a:cubicBezTo>
                    <a:pt x="771" y="338"/>
                    <a:pt x="772" y="338"/>
                    <a:pt x="772" y="338"/>
                  </a:cubicBezTo>
                  <a:cubicBezTo>
                    <a:pt x="773" y="339"/>
                    <a:pt x="773" y="340"/>
                    <a:pt x="774" y="340"/>
                  </a:cubicBezTo>
                  <a:cubicBezTo>
                    <a:pt x="774" y="340"/>
                    <a:pt x="775" y="341"/>
                    <a:pt x="775" y="341"/>
                  </a:cubicBezTo>
                  <a:cubicBezTo>
                    <a:pt x="775" y="341"/>
                    <a:pt x="776" y="342"/>
                    <a:pt x="776" y="342"/>
                  </a:cubicBezTo>
                  <a:cubicBezTo>
                    <a:pt x="776" y="342"/>
                    <a:pt x="776" y="342"/>
                    <a:pt x="777" y="342"/>
                  </a:cubicBezTo>
                  <a:cubicBezTo>
                    <a:pt x="777" y="343"/>
                    <a:pt x="777" y="343"/>
                    <a:pt x="778" y="343"/>
                  </a:cubicBezTo>
                  <a:cubicBezTo>
                    <a:pt x="778" y="343"/>
                    <a:pt x="778" y="343"/>
                    <a:pt x="778" y="344"/>
                  </a:cubicBezTo>
                  <a:cubicBezTo>
                    <a:pt x="778" y="344"/>
                    <a:pt x="778" y="344"/>
                    <a:pt x="778" y="344"/>
                  </a:cubicBezTo>
                  <a:cubicBezTo>
                    <a:pt x="778" y="344"/>
                    <a:pt x="779" y="344"/>
                    <a:pt x="779" y="344"/>
                  </a:cubicBezTo>
                  <a:cubicBezTo>
                    <a:pt x="779" y="344"/>
                    <a:pt x="779" y="344"/>
                    <a:pt x="780" y="345"/>
                  </a:cubicBezTo>
                  <a:cubicBezTo>
                    <a:pt x="781" y="345"/>
                    <a:pt x="781" y="346"/>
                    <a:pt x="782" y="347"/>
                  </a:cubicBezTo>
                  <a:cubicBezTo>
                    <a:pt x="783" y="347"/>
                    <a:pt x="783" y="347"/>
                    <a:pt x="783" y="347"/>
                  </a:cubicBezTo>
                  <a:cubicBezTo>
                    <a:pt x="784" y="348"/>
                    <a:pt x="785" y="349"/>
                    <a:pt x="786" y="349"/>
                  </a:cubicBezTo>
                  <a:cubicBezTo>
                    <a:pt x="786" y="349"/>
                    <a:pt x="786" y="350"/>
                    <a:pt x="786" y="350"/>
                  </a:cubicBezTo>
                  <a:cubicBezTo>
                    <a:pt x="787" y="350"/>
                    <a:pt x="787" y="350"/>
                    <a:pt x="787" y="350"/>
                  </a:cubicBezTo>
                  <a:cubicBezTo>
                    <a:pt x="787" y="350"/>
                    <a:pt x="787" y="350"/>
                    <a:pt x="787" y="350"/>
                  </a:cubicBezTo>
                  <a:cubicBezTo>
                    <a:pt x="787" y="350"/>
                    <a:pt x="788" y="351"/>
                    <a:pt x="788" y="351"/>
                  </a:cubicBezTo>
                  <a:cubicBezTo>
                    <a:pt x="788" y="351"/>
                    <a:pt x="788" y="351"/>
                    <a:pt x="788" y="351"/>
                  </a:cubicBezTo>
                  <a:cubicBezTo>
                    <a:pt x="789" y="351"/>
                    <a:pt x="789" y="351"/>
                    <a:pt x="789" y="352"/>
                  </a:cubicBezTo>
                  <a:cubicBezTo>
                    <a:pt x="789" y="352"/>
                    <a:pt x="790" y="352"/>
                    <a:pt x="790" y="352"/>
                  </a:cubicBezTo>
                  <a:cubicBezTo>
                    <a:pt x="793" y="354"/>
                    <a:pt x="795" y="356"/>
                    <a:pt x="798" y="357"/>
                  </a:cubicBezTo>
                  <a:cubicBezTo>
                    <a:pt x="798" y="357"/>
                    <a:pt x="798" y="357"/>
                    <a:pt x="798" y="356"/>
                  </a:cubicBezTo>
                  <a:cubicBezTo>
                    <a:pt x="796" y="355"/>
                    <a:pt x="793" y="353"/>
                    <a:pt x="791" y="351"/>
                  </a:cubicBezTo>
                  <a:cubicBezTo>
                    <a:pt x="790" y="351"/>
                    <a:pt x="790" y="351"/>
                    <a:pt x="790" y="351"/>
                  </a:cubicBezTo>
                  <a:cubicBezTo>
                    <a:pt x="790" y="351"/>
                    <a:pt x="790" y="351"/>
                    <a:pt x="789" y="351"/>
                  </a:cubicBezTo>
                  <a:cubicBezTo>
                    <a:pt x="789" y="350"/>
                    <a:pt x="789" y="350"/>
                    <a:pt x="788" y="350"/>
                  </a:cubicBezTo>
                  <a:cubicBezTo>
                    <a:pt x="788" y="350"/>
                    <a:pt x="788" y="350"/>
                    <a:pt x="788" y="349"/>
                  </a:cubicBezTo>
                  <a:cubicBezTo>
                    <a:pt x="788" y="349"/>
                    <a:pt x="788" y="349"/>
                    <a:pt x="787" y="349"/>
                  </a:cubicBezTo>
                  <a:cubicBezTo>
                    <a:pt x="787" y="349"/>
                    <a:pt x="787" y="349"/>
                    <a:pt x="787" y="349"/>
                  </a:cubicBezTo>
                  <a:cubicBezTo>
                    <a:pt x="786" y="348"/>
                    <a:pt x="786" y="348"/>
                    <a:pt x="786" y="348"/>
                  </a:cubicBezTo>
                  <a:cubicBezTo>
                    <a:pt x="785" y="348"/>
                    <a:pt x="785" y="347"/>
                    <a:pt x="784" y="347"/>
                  </a:cubicBezTo>
                  <a:cubicBezTo>
                    <a:pt x="784" y="347"/>
                    <a:pt x="783" y="346"/>
                    <a:pt x="783" y="346"/>
                  </a:cubicBezTo>
                  <a:cubicBezTo>
                    <a:pt x="782" y="345"/>
                    <a:pt x="781" y="345"/>
                    <a:pt x="781" y="344"/>
                  </a:cubicBezTo>
                  <a:cubicBezTo>
                    <a:pt x="780" y="344"/>
                    <a:pt x="780" y="344"/>
                    <a:pt x="780" y="343"/>
                  </a:cubicBezTo>
                  <a:cubicBezTo>
                    <a:pt x="779" y="343"/>
                    <a:pt x="779" y="343"/>
                    <a:pt x="779" y="343"/>
                  </a:cubicBezTo>
                  <a:cubicBezTo>
                    <a:pt x="779" y="343"/>
                    <a:pt x="779" y="343"/>
                    <a:pt x="778" y="342"/>
                  </a:cubicBezTo>
                  <a:cubicBezTo>
                    <a:pt x="778" y="342"/>
                    <a:pt x="778" y="342"/>
                    <a:pt x="778" y="342"/>
                  </a:cubicBezTo>
                  <a:cubicBezTo>
                    <a:pt x="777" y="342"/>
                    <a:pt x="777" y="341"/>
                    <a:pt x="777" y="341"/>
                  </a:cubicBezTo>
                  <a:cubicBezTo>
                    <a:pt x="777" y="341"/>
                    <a:pt x="776" y="341"/>
                    <a:pt x="776" y="341"/>
                  </a:cubicBezTo>
                  <a:cubicBezTo>
                    <a:pt x="776" y="340"/>
                    <a:pt x="775" y="340"/>
                    <a:pt x="775" y="339"/>
                  </a:cubicBezTo>
                  <a:cubicBezTo>
                    <a:pt x="774" y="339"/>
                    <a:pt x="773" y="338"/>
                    <a:pt x="773" y="338"/>
                  </a:cubicBezTo>
                  <a:cubicBezTo>
                    <a:pt x="773" y="338"/>
                    <a:pt x="772" y="337"/>
                    <a:pt x="772" y="337"/>
                  </a:cubicBezTo>
                  <a:cubicBezTo>
                    <a:pt x="772" y="337"/>
                    <a:pt x="772" y="337"/>
                    <a:pt x="772" y="337"/>
                  </a:cubicBezTo>
                  <a:cubicBezTo>
                    <a:pt x="772" y="337"/>
                    <a:pt x="771" y="336"/>
                    <a:pt x="771" y="336"/>
                  </a:cubicBezTo>
                  <a:cubicBezTo>
                    <a:pt x="771" y="336"/>
                    <a:pt x="770" y="336"/>
                    <a:pt x="770" y="335"/>
                  </a:cubicBezTo>
                  <a:cubicBezTo>
                    <a:pt x="770" y="335"/>
                    <a:pt x="770" y="335"/>
                    <a:pt x="770" y="335"/>
                  </a:cubicBezTo>
                  <a:cubicBezTo>
                    <a:pt x="770" y="335"/>
                    <a:pt x="770" y="335"/>
                    <a:pt x="769" y="335"/>
                  </a:cubicBezTo>
                  <a:cubicBezTo>
                    <a:pt x="769" y="334"/>
                    <a:pt x="769" y="334"/>
                    <a:pt x="769" y="334"/>
                  </a:cubicBezTo>
                  <a:cubicBezTo>
                    <a:pt x="768" y="333"/>
                    <a:pt x="768" y="333"/>
                    <a:pt x="768" y="333"/>
                  </a:cubicBezTo>
                  <a:cubicBezTo>
                    <a:pt x="767" y="332"/>
                    <a:pt x="766" y="331"/>
                    <a:pt x="765" y="330"/>
                  </a:cubicBezTo>
                  <a:cubicBezTo>
                    <a:pt x="765" y="330"/>
                    <a:pt x="765" y="330"/>
                    <a:pt x="764" y="329"/>
                  </a:cubicBezTo>
                  <a:cubicBezTo>
                    <a:pt x="764" y="329"/>
                    <a:pt x="764" y="329"/>
                    <a:pt x="764" y="329"/>
                  </a:cubicBezTo>
                  <a:cubicBezTo>
                    <a:pt x="764" y="329"/>
                    <a:pt x="763" y="329"/>
                    <a:pt x="763" y="329"/>
                  </a:cubicBezTo>
                  <a:cubicBezTo>
                    <a:pt x="763" y="329"/>
                    <a:pt x="763" y="329"/>
                    <a:pt x="763" y="329"/>
                  </a:cubicBezTo>
                  <a:cubicBezTo>
                    <a:pt x="763" y="328"/>
                    <a:pt x="762" y="328"/>
                    <a:pt x="762" y="328"/>
                  </a:cubicBezTo>
                  <a:cubicBezTo>
                    <a:pt x="762" y="328"/>
                    <a:pt x="762" y="328"/>
                    <a:pt x="762" y="328"/>
                  </a:cubicBezTo>
                  <a:cubicBezTo>
                    <a:pt x="759" y="326"/>
                    <a:pt x="757" y="324"/>
                    <a:pt x="754" y="323"/>
                  </a:cubicBezTo>
                  <a:cubicBezTo>
                    <a:pt x="753" y="323"/>
                    <a:pt x="753" y="323"/>
                    <a:pt x="752" y="322"/>
                  </a:cubicBezTo>
                  <a:cubicBezTo>
                    <a:pt x="749" y="321"/>
                    <a:pt x="746" y="320"/>
                    <a:pt x="743" y="319"/>
                  </a:cubicBezTo>
                  <a:cubicBezTo>
                    <a:pt x="743" y="319"/>
                    <a:pt x="742" y="319"/>
                    <a:pt x="742" y="319"/>
                  </a:cubicBezTo>
                  <a:cubicBezTo>
                    <a:pt x="740" y="318"/>
                    <a:pt x="737" y="318"/>
                    <a:pt x="735" y="318"/>
                  </a:cubicBezTo>
                  <a:cubicBezTo>
                    <a:pt x="734" y="318"/>
                    <a:pt x="733" y="317"/>
                    <a:pt x="733" y="317"/>
                  </a:cubicBezTo>
                  <a:cubicBezTo>
                    <a:pt x="730" y="317"/>
                    <a:pt x="727" y="317"/>
                    <a:pt x="724" y="317"/>
                  </a:cubicBezTo>
                  <a:moveTo>
                    <a:pt x="659" y="327"/>
                  </a:moveTo>
                  <a:cubicBezTo>
                    <a:pt x="646" y="331"/>
                    <a:pt x="634" y="337"/>
                    <a:pt x="624" y="343"/>
                  </a:cubicBezTo>
                  <a:cubicBezTo>
                    <a:pt x="623" y="343"/>
                    <a:pt x="622" y="343"/>
                    <a:pt x="622" y="344"/>
                  </a:cubicBezTo>
                  <a:cubicBezTo>
                    <a:pt x="619" y="345"/>
                    <a:pt x="617" y="347"/>
                    <a:pt x="615" y="348"/>
                  </a:cubicBezTo>
                  <a:cubicBezTo>
                    <a:pt x="615" y="348"/>
                    <a:pt x="614" y="348"/>
                    <a:pt x="614" y="348"/>
                  </a:cubicBezTo>
                  <a:cubicBezTo>
                    <a:pt x="615" y="348"/>
                    <a:pt x="616" y="348"/>
                    <a:pt x="617" y="347"/>
                  </a:cubicBezTo>
                  <a:cubicBezTo>
                    <a:pt x="620" y="346"/>
                    <a:pt x="622" y="345"/>
                    <a:pt x="624" y="344"/>
                  </a:cubicBezTo>
                  <a:cubicBezTo>
                    <a:pt x="625" y="343"/>
                    <a:pt x="626" y="343"/>
                    <a:pt x="626" y="342"/>
                  </a:cubicBezTo>
                  <a:cubicBezTo>
                    <a:pt x="636" y="337"/>
                    <a:pt x="648" y="332"/>
                    <a:pt x="659" y="328"/>
                  </a:cubicBezTo>
                  <a:cubicBezTo>
                    <a:pt x="659" y="328"/>
                    <a:pt x="659" y="328"/>
                    <a:pt x="659" y="327"/>
                  </a:cubicBezTo>
                  <a:moveTo>
                    <a:pt x="615" y="349"/>
                  </a:moveTo>
                  <a:cubicBezTo>
                    <a:pt x="614" y="349"/>
                    <a:pt x="613" y="350"/>
                    <a:pt x="612" y="350"/>
                  </a:cubicBezTo>
                  <a:cubicBezTo>
                    <a:pt x="609" y="351"/>
                    <a:pt x="607" y="353"/>
                    <a:pt x="604" y="355"/>
                  </a:cubicBezTo>
                  <a:cubicBezTo>
                    <a:pt x="604" y="355"/>
                    <a:pt x="604" y="355"/>
                    <a:pt x="604" y="355"/>
                  </a:cubicBezTo>
                  <a:cubicBezTo>
                    <a:pt x="608" y="353"/>
                    <a:pt x="612" y="351"/>
                    <a:pt x="615" y="349"/>
                  </a:cubicBezTo>
                  <a:moveTo>
                    <a:pt x="603" y="355"/>
                  </a:moveTo>
                  <a:cubicBezTo>
                    <a:pt x="600" y="357"/>
                    <a:pt x="597" y="359"/>
                    <a:pt x="593" y="361"/>
                  </a:cubicBezTo>
                  <a:cubicBezTo>
                    <a:pt x="593" y="361"/>
                    <a:pt x="592" y="362"/>
                    <a:pt x="591" y="362"/>
                  </a:cubicBezTo>
                  <a:cubicBezTo>
                    <a:pt x="589" y="364"/>
                    <a:pt x="586" y="365"/>
                    <a:pt x="583" y="367"/>
                  </a:cubicBezTo>
                  <a:cubicBezTo>
                    <a:pt x="584" y="367"/>
                    <a:pt x="585" y="366"/>
                    <a:pt x="586" y="366"/>
                  </a:cubicBezTo>
                  <a:cubicBezTo>
                    <a:pt x="589" y="365"/>
                    <a:pt x="591" y="363"/>
                    <a:pt x="594" y="362"/>
                  </a:cubicBezTo>
                  <a:cubicBezTo>
                    <a:pt x="594" y="361"/>
                    <a:pt x="595" y="361"/>
                    <a:pt x="596" y="361"/>
                  </a:cubicBezTo>
                  <a:cubicBezTo>
                    <a:pt x="598" y="359"/>
                    <a:pt x="601" y="358"/>
                    <a:pt x="604" y="356"/>
                  </a:cubicBezTo>
                  <a:cubicBezTo>
                    <a:pt x="603" y="356"/>
                    <a:pt x="603" y="355"/>
                    <a:pt x="603" y="355"/>
                  </a:cubicBezTo>
                  <a:moveTo>
                    <a:pt x="584" y="368"/>
                  </a:moveTo>
                  <a:cubicBezTo>
                    <a:pt x="583" y="368"/>
                    <a:pt x="582" y="368"/>
                    <a:pt x="581" y="368"/>
                  </a:cubicBezTo>
                  <a:cubicBezTo>
                    <a:pt x="575" y="371"/>
                    <a:pt x="569" y="375"/>
                    <a:pt x="563" y="378"/>
                  </a:cubicBezTo>
                  <a:cubicBezTo>
                    <a:pt x="562" y="378"/>
                    <a:pt x="561" y="379"/>
                    <a:pt x="560" y="379"/>
                  </a:cubicBezTo>
                  <a:cubicBezTo>
                    <a:pt x="554" y="383"/>
                    <a:pt x="547" y="386"/>
                    <a:pt x="539" y="390"/>
                  </a:cubicBezTo>
                  <a:cubicBezTo>
                    <a:pt x="540" y="390"/>
                    <a:pt x="541" y="390"/>
                    <a:pt x="542" y="390"/>
                  </a:cubicBezTo>
                  <a:cubicBezTo>
                    <a:pt x="549" y="386"/>
                    <a:pt x="556" y="382"/>
                    <a:pt x="563" y="379"/>
                  </a:cubicBezTo>
                  <a:cubicBezTo>
                    <a:pt x="564" y="378"/>
                    <a:pt x="565" y="378"/>
                    <a:pt x="565" y="378"/>
                  </a:cubicBezTo>
                  <a:cubicBezTo>
                    <a:pt x="572" y="374"/>
                    <a:pt x="578" y="371"/>
                    <a:pt x="584" y="368"/>
                  </a:cubicBezTo>
                  <a:moveTo>
                    <a:pt x="540" y="391"/>
                  </a:moveTo>
                  <a:cubicBezTo>
                    <a:pt x="539" y="391"/>
                    <a:pt x="538" y="391"/>
                    <a:pt x="537" y="391"/>
                  </a:cubicBezTo>
                  <a:cubicBezTo>
                    <a:pt x="535" y="392"/>
                    <a:pt x="532" y="394"/>
                    <a:pt x="530" y="395"/>
                  </a:cubicBezTo>
                  <a:cubicBezTo>
                    <a:pt x="529" y="395"/>
                    <a:pt x="528" y="396"/>
                    <a:pt x="527" y="396"/>
                  </a:cubicBezTo>
                  <a:cubicBezTo>
                    <a:pt x="516" y="402"/>
                    <a:pt x="505" y="407"/>
                    <a:pt x="493" y="413"/>
                  </a:cubicBezTo>
                  <a:cubicBezTo>
                    <a:pt x="492" y="413"/>
                    <a:pt x="491" y="414"/>
                    <a:pt x="490" y="414"/>
                  </a:cubicBezTo>
                  <a:cubicBezTo>
                    <a:pt x="490" y="414"/>
                    <a:pt x="489" y="414"/>
                    <a:pt x="489" y="415"/>
                  </a:cubicBezTo>
                  <a:cubicBezTo>
                    <a:pt x="490" y="414"/>
                    <a:pt x="491" y="414"/>
                    <a:pt x="492" y="414"/>
                  </a:cubicBezTo>
                  <a:cubicBezTo>
                    <a:pt x="492" y="414"/>
                    <a:pt x="493" y="414"/>
                    <a:pt x="493" y="414"/>
                  </a:cubicBezTo>
                  <a:cubicBezTo>
                    <a:pt x="495" y="413"/>
                    <a:pt x="496" y="413"/>
                    <a:pt x="497" y="412"/>
                  </a:cubicBezTo>
                  <a:cubicBezTo>
                    <a:pt x="508" y="407"/>
                    <a:pt x="520" y="401"/>
                    <a:pt x="531" y="396"/>
                  </a:cubicBezTo>
                  <a:cubicBezTo>
                    <a:pt x="531" y="395"/>
                    <a:pt x="532" y="395"/>
                    <a:pt x="533" y="394"/>
                  </a:cubicBezTo>
                  <a:cubicBezTo>
                    <a:pt x="535" y="393"/>
                    <a:pt x="537" y="392"/>
                    <a:pt x="540" y="391"/>
                  </a:cubicBezTo>
                  <a:moveTo>
                    <a:pt x="490" y="416"/>
                  </a:moveTo>
                  <a:cubicBezTo>
                    <a:pt x="489" y="416"/>
                    <a:pt x="488" y="416"/>
                    <a:pt x="487" y="416"/>
                  </a:cubicBezTo>
                  <a:cubicBezTo>
                    <a:pt x="481" y="418"/>
                    <a:pt x="476" y="421"/>
                    <a:pt x="470" y="424"/>
                  </a:cubicBezTo>
                  <a:cubicBezTo>
                    <a:pt x="469" y="424"/>
                    <a:pt x="469" y="424"/>
                    <a:pt x="468" y="424"/>
                  </a:cubicBezTo>
                  <a:cubicBezTo>
                    <a:pt x="466" y="425"/>
                    <a:pt x="464" y="426"/>
                    <a:pt x="462" y="427"/>
                  </a:cubicBezTo>
                  <a:cubicBezTo>
                    <a:pt x="461" y="428"/>
                    <a:pt x="460" y="428"/>
                    <a:pt x="460" y="428"/>
                  </a:cubicBezTo>
                  <a:cubicBezTo>
                    <a:pt x="459" y="428"/>
                    <a:pt x="459" y="429"/>
                    <a:pt x="458" y="429"/>
                  </a:cubicBezTo>
                  <a:cubicBezTo>
                    <a:pt x="458" y="429"/>
                    <a:pt x="457" y="429"/>
                    <a:pt x="456" y="430"/>
                  </a:cubicBezTo>
                  <a:cubicBezTo>
                    <a:pt x="453" y="431"/>
                    <a:pt x="449" y="433"/>
                    <a:pt x="446" y="434"/>
                  </a:cubicBezTo>
                  <a:cubicBezTo>
                    <a:pt x="445" y="435"/>
                    <a:pt x="443" y="436"/>
                    <a:pt x="441" y="436"/>
                  </a:cubicBezTo>
                  <a:cubicBezTo>
                    <a:pt x="438" y="438"/>
                    <a:pt x="434" y="439"/>
                    <a:pt x="431" y="441"/>
                  </a:cubicBezTo>
                  <a:cubicBezTo>
                    <a:pt x="431" y="441"/>
                    <a:pt x="430" y="441"/>
                    <a:pt x="430" y="441"/>
                  </a:cubicBezTo>
                  <a:cubicBezTo>
                    <a:pt x="422" y="445"/>
                    <a:pt x="415" y="448"/>
                    <a:pt x="408" y="451"/>
                  </a:cubicBezTo>
                  <a:cubicBezTo>
                    <a:pt x="407" y="451"/>
                    <a:pt x="406" y="452"/>
                    <a:pt x="405" y="452"/>
                  </a:cubicBezTo>
                  <a:cubicBezTo>
                    <a:pt x="400" y="454"/>
                    <a:pt x="395" y="456"/>
                    <a:pt x="390" y="458"/>
                  </a:cubicBezTo>
                  <a:cubicBezTo>
                    <a:pt x="390" y="458"/>
                    <a:pt x="389" y="459"/>
                    <a:pt x="389" y="459"/>
                  </a:cubicBezTo>
                  <a:cubicBezTo>
                    <a:pt x="388" y="459"/>
                    <a:pt x="387" y="460"/>
                    <a:pt x="385" y="460"/>
                  </a:cubicBezTo>
                  <a:cubicBezTo>
                    <a:pt x="385" y="460"/>
                    <a:pt x="385" y="460"/>
                    <a:pt x="385" y="460"/>
                  </a:cubicBezTo>
                  <a:cubicBezTo>
                    <a:pt x="385" y="460"/>
                    <a:pt x="385" y="460"/>
                    <a:pt x="384" y="461"/>
                  </a:cubicBezTo>
                  <a:cubicBezTo>
                    <a:pt x="384" y="461"/>
                    <a:pt x="384" y="461"/>
                    <a:pt x="384" y="461"/>
                  </a:cubicBezTo>
                  <a:cubicBezTo>
                    <a:pt x="382" y="462"/>
                    <a:pt x="380" y="463"/>
                    <a:pt x="378" y="463"/>
                  </a:cubicBezTo>
                  <a:cubicBezTo>
                    <a:pt x="377" y="464"/>
                    <a:pt x="377" y="464"/>
                    <a:pt x="376" y="464"/>
                  </a:cubicBezTo>
                  <a:cubicBezTo>
                    <a:pt x="374" y="465"/>
                    <a:pt x="371" y="466"/>
                    <a:pt x="369" y="467"/>
                  </a:cubicBezTo>
                  <a:cubicBezTo>
                    <a:pt x="365" y="468"/>
                    <a:pt x="361" y="470"/>
                    <a:pt x="358" y="471"/>
                  </a:cubicBezTo>
                  <a:cubicBezTo>
                    <a:pt x="357" y="472"/>
                    <a:pt x="355" y="472"/>
                    <a:pt x="354" y="473"/>
                  </a:cubicBezTo>
                  <a:cubicBezTo>
                    <a:pt x="354" y="473"/>
                    <a:pt x="354" y="473"/>
                    <a:pt x="353" y="473"/>
                  </a:cubicBezTo>
                  <a:cubicBezTo>
                    <a:pt x="352" y="474"/>
                    <a:pt x="350" y="474"/>
                    <a:pt x="348" y="475"/>
                  </a:cubicBezTo>
                  <a:cubicBezTo>
                    <a:pt x="347" y="475"/>
                    <a:pt x="346" y="476"/>
                    <a:pt x="345" y="476"/>
                  </a:cubicBezTo>
                  <a:cubicBezTo>
                    <a:pt x="344" y="477"/>
                    <a:pt x="344" y="477"/>
                    <a:pt x="344" y="477"/>
                  </a:cubicBezTo>
                  <a:cubicBezTo>
                    <a:pt x="342" y="477"/>
                    <a:pt x="341" y="478"/>
                    <a:pt x="339" y="479"/>
                  </a:cubicBezTo>
                  <a:cubicBezTo>
                    <a:pt x="339" y="479"/>
                    <a:pt x="338" y="479"/>
                    <a:pt x="337" y="479"/>
                  </a:cubicBezTo>
                  <a:cubicBezTo>
                    <a:pt x="337" y="479"/>
                    <a:pt x="337" y="479"/>
                    <a:pt x="337" y="479"/>
                  </a:cubicBezTo>
                  <a:cubicBezTo>
                    <a:pt x="326" y="484"/>
                    <a:pt x="314" y="488"/>
                    <a:pt x="303" y="493"/>
                  </a:cubicBezTo>
                  <a:cubicBezTo>
                    <a:pt x="302" y="493"/>
                    <a:pt x="301" y="494"/>
                    <a:pt x="300" y="494"/>
                  </a:cubicBezTo>
                  <a:cubicBezTo>
                    <a:pt x="299" y="494"/>
                    <a:pt x="299" y="494"/>
                    <a:pt x="299" y="495"/>
                  </a:cubicBezTo>
                  <a:cubicBezTo>
                    <a:pt x="298" y="495"/>
                    <a:pt x="298" y="495"/>
                    <a:pt x="298" y="495"/>
                  </a:cubicBezTo>
                  <a:cubicBezTo>
                    <a:pt x="296" y="496"/>
                    <a:pt x="295" y="496"/>
                    <a:pt x="294" y="497"/>
                  </a:cubicBezTo>
                  <a:cubicBezTo>
                    <a:pt x="293" y="497"/>
                    <a:pt x="292" y="497"/>
                    <a:pt x="291" y="498"/>
                  </a:cubicBezTo>
                  <a:cubicBezTo>
                    <a:pt x="291" y="498"/>
                    <a:pt x="290" y="498"/>
                    <a:pt x="290" y="498"/>
                  </a:cubicBezTo>
                  <a:cubicBezTo>
                    <a:pt x="288" y="499"/>
                    <a:pt x="287" y="499"/>
                    <a:pt x="286" y="500"/>
                  </a:cubicBezTo>
                  <a:cubicBezTo>
                    <a:pt x="285" y="500"/>
                    <a:pt x="285" y="500"/>
                    <a:pt x="285" y="500"/>
                  </a:cubicBezTo>
                  <a:cubicBezTo>
                    <a:pt x="284" y="501"/>
                    <a:pt x="284" y="501"/>
                    <a:pt x="283" y="501"/>
                  </a:cubicBezTo>
                  <a:cubicBezTo>
                    <a:pt x="283" y="501"/>
                    <a:pt x="282" y="502"/>
                    <a:pt x="281" y="502"/>
                  </a:cubicBezTo>
                  <a:cubicBezTo>
                    <a:pt x="280" y="502"/>
                    <a:pt x="280" y="502"/>
                    <a:pt x="280" y="503"/>
                  </a:cubicBezTo>
                  <a:cubicBezTo>
                    <a:pt x="280" y="503"/>
                    <a:pt x="280" y="503"/>
                    <a:pt x="279" y="503"/>
                  </a:cubicBezTo>
                  <a:cubicBezTo>
                    <a:pt x="279" y="503"/>
                    <a:pt x="279" y="503"/>
                    <a:pt x="278" y="503"/>
                  </a:cubicBezTo>
                  <a:cubicBezTo>
                    <a:pt x="278" y="503"/>
                    <a:pt x="278" y="503"/>
                    <a:pt x="278" y="503"/>
                  </a:cubicBezTo>
                  <a:cubicBezTo>
                    <a:pt x="278" y="503"/>
                    <a:pt x="278" y="503"/>
                    <a:pt x="278" y="504"/>
                  </a:cubicBezTo>
                  <a:cubicBezTo>
                    <a:pt x="277" y="504"/>
                    <a:pt x="277" y="504"/>
                    <a:pt x="277" y="504"/>
                  </a:cubicBezTo>
                  <a:cubicBezTo>
                    <a:pt x="277" y="504"/>
                    <a:pt x="276" y="504"/>
                    <a:pt x="276" y="504"/>
                  </a:cubicBezTo>
                  <a:cubicBezTo>
                    <a:pt x="276" y="504"/>
                    <a:pt x="275" y="505"/>
                    <a:pt x="275" y="505"/>
                  </a:cubicBezTo>
                  <a:cubicBezTo>
                    <a:pt x="274" y="505"/>
                    <a:pt x="274" y="505"/>
                    <a:pt x="274" y="505"/>
                  </a:cubicBezTo>
                  <a:cubicBezTo>
                    <a:pt x="273" y="505"/>
                    <a:pt x="273" y="506"/>
                    <a:pt x="273" y="506"/>
                  </a:cubicBezTo>
                  <a:cubicBezTo>
                    <a:pt x="272" y="506"/>
                    <a:pt x="272" y="506"/>
                    <a:pt x="271" y="506"/>
                  </a:cubicBezTo>
                  <a:cubicBezTo>
                    <a:pt x="270" y="507"/>
                    <a:pt x="269" y="507"/>
                    <a:pt x="268" y="508"/>
                  </a:cubicBezTo>
                  <a:cubicBezTo>
                    <a:pt x="267" y="508"/>
                    <a:pt x="265" y="509"/>
                    <a:pt x="264" y="509"/>
                  </a:cubicBezTo>
                  <a:cubicBezTo>
                    <a:pt x="264" y="509"/>
                    <a:pt x="264" y="509"/>
                    <a:pt x="264" y="509"/>
                  </a:cubicBezTo>
                  <a:cubicBezTo>
                    <a:pt x="264" y="509"/>
                    <a:pt x="264" y="510"/>
                    <a:pt x="264" y="510"/>
                  </a:cubicBezTo>
                  <a:cubicBezTo>
                    <a:pt x="259" y="511"/>
                    <a:pt x="255" y="513"/>
                    <a:pt x="251" y="515"/>
                  </a:cubicBezTo>
                  <a:cubicBezTo>
                    <a:pt x="250" y="516"/>
                    <a:pt x="249" y="516"/>
                    <a:pt x="248" y="517"/>
                  </a:cubicBezTo>
                  <a:cubicBezTo>
                    <a:pt x="248" y="517"/>
                    <a:pt x="248" y="517"/>
                    <a:pt x="248" y="517"/>
                  </a:cubicBezTo>
                  <a:cubicBezTo>
                    <a:pt x="248" y="517"/>
                    <a:pt x="248" y="517"/>
                    <a:pt x="248" y="517"/>
                  </a:cubicBezTo>
                  <a:cubicBezTo>
                    <a:pt x="247" y="517"/>
                    <a:pt x="247" y="517"/>
                    <a:pt x="246" y="517"/>
                  </a:cubicBezTo>
                  <a:cubicBezTo>
                    <a:pt x="246" y="517"/>
                    <a:pt x="246" y="518"/>
                    <a:pt x="245" y="518"/>
                  </a:cubicBezTo>
                  <a:cubicBezTo>
                    <a:pt x="244" y="518"/>
                    <a:pt x="243" y="519"/>
                    <a:pt x="242" y="519"/>
                  </a:cubicBezTo>
                  <a:cubicBezTo>
                    <a:pt x="241" y="519"/>
                    <a:pt x="241" y="520"/>
                    <a:pt x="240" y="520"/>
                  </a:cubicBezTo>
                  <a:cubicBezTo>
                    <a:pt x="240" y="520"/>
                    <a:pt x="240" y="520"/>
                    <a:pt x="240" y="520"/>
                  </a:cubicBezTo>
                  <a:cubicBezTo>
                    <a:pt x="238" y="521"/>
                    <a:pt x="236" y="522"/>
                    <a:pt x="235" y="523"/>
                  </a:cubicBezTo>
                  <a:cubicBezTo>
                    <a:pt x="234" y="523"/>
                    <a:pt x="234" y="523"/>
                    <a:pt x="234" y="523"/>
                  </a:cubicBezTo>
                  <a:cubicBezTo>
                    <a:pt x="232" y="524"/>
                    <a:pt x="230" y="525"/>
                    <a:pt x="228" y="526"/>
                  </a:cubicBezTo>
                  <a:cubicBezTo>
                    <a:pt x="228" y="526"/>
                    <a:pt x="227" y="526"/>
                    <a:pt x="227" y="526"/>
                  </a:cubicBezTo>
                  <a:cubicBezTo>
                    <a:pt x="226" y="526"/>
                    <a:pt x="226" y="527"/>
                    <a:pt x="225" y="527"/>
                  </a:cubicBezTo>
                  <a:cubicBezTo>
                    <a:pt x="223" y="528"/>
                    <a:pt x="220" y="529"/>
                    <a:pt x="217" y="531"/>
                  </a:cubicBezTo>
                  <a:cubicBezTo>
                    <a:pt x="214" y="533"/>
                    <a:pt x="210" y="534"/>
                    <a:pt x="206" y="536"/>
                  </a:cubicBezTo>
                  <a:cubicBezTo>
                    <a:pt x="206" y="536"/>
                    <a:pt x="206" y="536"/>
                    <a:pt x="205" y="537"/>
                  </a:cubicBezTo>
                  <a:cubicBezTo>
                    <a:pt x="205" y="537"/>
                    <a:pt x="205" y="537"/>
                    <a:pt x="205" y="537"/>
                  </a:cubicBezTo>
                  <a:cubicBezTo>
                    <a:pt x="205" y="537"/>
                    <a:pt x="204" y="537"/>
                    <a:pt x="204" y="537"/>
                  </a:cubicBezTo>
                  <a:cubicBezTo>
                    <a:pt x="198" y="540"/>
                    <a:pt x="193" y="543"/>
                    <a:pt x="187" y="546"/>
                  </a:cubicBezTo>
                  <a:cubicBezTo>
                    <a:pt x="186" y="546"/>
                    <a:pt x="185" y="547"/>
                    <a:pt x="184" y="547"/>
                  </a:cubicBezTo>
                  <a:cubicBezTo>
                    <a:pt x="183" y="548"/>
                    <a:pt x="183" y="548"/>
                    <a:pt x="182" y="548"/>
                  </a:cubicBezTo>
                  <a:cubicBezTo>
                    <a:pt x="182" y="548"/>
                    <a:pt x="182" y="548"/>
                    <a:pt x="182" y="548"/>
                  </a:cubicBezTo>
                  <a:cubicBezTo>
                    <a:pt x="182" y="548"/>
                    <a:pt x="182" y="548"/>
                    <a:pt x="182" y="548"/>
                  </a:cubicBezTo>
                  <a:cubicBezTo>
                    <a:pt x="181" y="549"/>
                    <a:pt x="181" y="549"/>
                    <a:pt x="180" y="549"/>
                  </a:cubicBezTo>
                  <a:cubicBezTo>
                    <a:pt x="178" y="550"/>
                    <a:pt x="175" y="552"/>
                    <a:pt x="172" y="553"/>
                  </a:cubicBezTo>
                  <a:cubicBezTo>
                    <a:pt x="172" y="554"/>
                    <a:pt x="171" y="554"/>
                    <a:pt x="171" y="554"/>
                  </a:cubicBezTo>
                  <a:cubicBezTo>
                    <a:pt x="170" y="554"/>
                    <a:pt x="169" y="555"/>
                    <a:pt x="168" y="555"/>
                  </a:cubicBezTo>
                  <a:cubicBezTo>
                    <a:pt x="168" y="555"/>
                    <a:pt x="168" y="556"/>
                    <a:pt x="167" y="556"/>
                  </a:cubicBezTo>
                  <a:cubicBezTo>
                    <a:pt x="164" y="558"/>
                    <a:pt x="160" y="559"/>
                    <a:pt x="157" y="561"/>
                  </a:cubicBezTo>
                  <a:cubicBezTo>
                    <a:pt x="157" y="561"/>
                    <a:pt x="156" y="562"/>
                    <a:pt x="156" y="562"/>
                  </a:cubicBezTo>
                  <a:cubicBezTo>
                    <a:pt x="156" y="562"/>
                    <a:pt x="156" y="562"/>
                    <a:pt x="156" y="562"/>
                  </a:cubicBezTo>
                  <a:cubicBezTo>
                    <a:pt x="155" y="562"/>
                    <a:pt x="155" y="562"/>
                    <a:pt x="155" y="563"/>
                  </a:cubicBezTo>
                  <a:cubicBezTo>
                    <a:pt x="154" y="563"/>
                    <a:pt x="153" y="564"/>
                    <a:pt x="152" y="564"/>
                  </a:cubicBezTo>
                  <a:cubicBezTo>
                    <a:pt x="151" y="564"/>
                    <a:pt x="151" y="565"/>
                    <a:pt x="151" y="565"/>
                  </a:cubicBezTo>
                  <a:cubicBezTo>
                    <a:pt x="148" y="566"/>
                    <a:pt x="146" y="568"/>
                    <a:pt x="143" y="569"/>
                  </a:cubicBezTo>
                  <a:cubicBezTo>
                    <a:pt x="143" y="569"/>
                    <a:pt x="142" y="569"/>
                    <a:pt x="142" y="570"/>
                  </a:cubicBezTo>
                  <a:cubicBezTo>
                    <a:pt x="133" y="575"/>
                    <a:pt x="124" y="580"/>
                    <a:pt x="116" y="585"/>
                  </a:cubicBezTo>
                  <a:cubicBezTo>
                    <a:pt x="115" y="585"/>
                    <a:pt x="115" y="585"/>
                    <a:pt x="114" y="586"/>
                  </a:cubicBezTo>
                  <a:cubicBezTo>
                    <a:pt x="106" y="591"/>
                    <a:pt x="98" y="596"/>
                    <a:pt x="90" y="601"/>
                  </a:cubicBezTo>
                  <a:cubicBezTo>
                    <a:pt x="90" y="601"/>
                    <a:pt x="89" y="601"/>
                    <a:pt x="89" y="602"/>
                  </a:cubicBezTo>
                  <a:cubicBezTo>
                    <a:pt x="36" y="637"/>
                    <a:pt x="0" y="672"/>
                    <a:pt x="0" y="700"/>
                  </a:cubicBezTo>
                  <a:cubicBezTo>
                    <a:pt x="0" y="726"/>
                    <a:pt x="32" y="747"/>
                    <a:pt x="110" y="755"/>
                  </a:cubicBezTo>
                  <a:cubicBezTo>
                    <a:pt x="111" y="755"/>
                    <a:pt x="111" y="755"/>
                    <a:pt x="111" y="756"/>
                  </a:cubicBezTo>
                  <a:cubicBezTo>
                    <a:pt x="119" y="756"/>
                    <a:pt x="127" y="757"/>
                    <a:pt x="136" y="758"/>
                  </a:cubicBezTo>
                  <a:cubicBezTo>
                    <a:pt x="137" y="758"/>
                    <a:pt x="137" y="758"/>
                    <a:pt x="137" y="758"/>
                  </a:cubicBezTo>
                  <a:cubicBezTo>
                    <a:pt x="138" y="758"/>
                    <a:pt x="138" y="758"/>
                    <a:pt x="139" y="758"/>
                  </a:cubicBezTo>
                  <a:cubicBezTo>
                    <a:pt x="140" y="758"/>
                    <a:pt x="141" y="757"/>
                    <a:pt x="142" y="757"/>
                  </a:cubicBezTo>
                  <a:cubicBezTo>
                    <a:pt x="141" y="757"/>
                    <a:pt x="140" y="757"/>
                    <a:pt x="138" y="757"/>
                  </a:cubicBezTo>
                  <a:cubicBezTo>
                    <a:pt x="138" y="757"/>
                    <a:pt x="137" y="757"/>
                    <a:pt x="137" y="757"/>
                  </a:cubicBezTo>
                  <a:cubicBezTo>
                    <a:pt x="128" y="756"/>
                    <a:pt x="120" y="755"/>
                    <a:pt x="113" y="755"/>
                  </a:cubicBezTo>
                  <a:cubicBezTo>
                    <a:pt x="112" y="755"/>
                    <a:pt x="112" y="755"/>
                    <a:pt x="111" y="754"/>
                  </a:cubicBezTo>
                  <a:cubicBezTo>
                    <a:pt x="32" y="746"/>
                    <a:pt x="0" y="726"/>
                    <a:pt x="1" y="700"/>
                  </a:cubicBezTo>
                  <a:cubicBezTo>
                    <a:pt x="0" y="672"/>
                    <a:pt x="37" y="637"/>
                    <a:pt x="91" y="602"/>
                  </a:cubicBezTo>
                  <a:cubicBezTo>
                    <a:pt x="91" y="602"/>
                    <a:pt x="91" y="601"/>
                    <a:pt x="92" y="601"/>
                  </a:cubicBezTo>
                  <a:cubicBezTo>
                    <a:pt x="100" y="596"/>
                    <a:pt x="108" y="591"/>
                    <a:pt x="116" y="586"/>
                  </a:cubicBezTo>
                  <a:cubicBezTo>
                    <a:pt x="117" y="586"/>
                    <a:pt x="117" y="585"/>
                    <a:pt x="117" y="585"/>
                  </a:cubicBezTo>
                  <a:cubicBezTo>
                    <a:pt x="126" y="580"/>
                    <a:pt x="134" y="575"/>
                    <a:pt x="143" y="570"/>
                  </a:cubicBezTo>
                  <a:cubicBezTo>
                    <a:pt x="144" y="570"/>
                    <a:pt x="144" y="569"/>
                    <a:pt x="145" y="569"/>
                  </a:cubicBezTo>
                  <a:cubicBezTo>
                    <a:pt x="147" y="568"/>
                    <a:pt x="149" y="567"/>
                    <a:pt x="151" y="566"/>
                  </a:cubicBezTo>
                  <a:cubicBezTo>
                    <a:pt x="152" y="565"/>
                    <a:pt x="152" y="565"/>
                    <a:pt x="152" y="565"/>
                  </a:cubicBezTo>
                  <a:cubicBezTo>
                    <a:pt x="153" y="565"/>
                    <a:pt x="154" y="564"/>
                    <a:pt x="155" y="564"/>
                  </a:cubicBezTo>
                  <a:cubicBezTo>
                    <a:pt x="155" y="564"/>
                    <a:pt x="155" y="563"/>
                    <a:pt x="156" y="563"/>
                  </a:cubicBezTo>
                  <a:cubicBezTo>
                    <a:pt x="156" y="563"/>
                    <a:pt x="156" y="563"/>
                    <a:pt x="157" y="563"/>
                  </a:cubicBezTo>
                  <a:cubicBezTo>
                    <a:pt x="157" y="562"/>
                    <a:pt x="158" y="562"/>
                    <a:pt x="158" y="562"/>
                  </a:cubicBezTo>
                  <a:cubicBezTo>
                    <a:pt x="161" y="560"/>
                    <a:pt x="165" y="558"/>
                    <a:pt x="168" y="556"/>
                  </a:cubicBezTo>
                  <a:cubicBezTo>
                    <a:pt x="169" y="556"/>
                    <a:pt x="169" y="556"/>
                    <a:pt x="169" y="556"/>
                  </a:cubicBezTo>
                  <a:cubicBezTo>
                    <a:pt x="170" y="555"/>
                    <a:pt x="171" y="555"/>
                    <a:pt x="172" y="554"/>
                  </a:cubicBezTo>
                  <a:cubicBezTo>
                    <a:pt x="173" y="554"/>
                    <a:pt x="173" y="554"/>
                    <a:pt x="174" y="554"/>
                  </a:cubicBezTo>
                  <a:cubicBezTo>
                    <a:pt x="176" y="552"/>
                    <a:pt x="178" y="551"/>
                    <a:pt x="181" y="550"/>
                  </a:cubicBezTo>
                  <a:cubicBezTo>
                    <a:pt x="182" y="549"/>
                    <a:pt x="183" y="549"/>
                    <a:pt x="184" y="548"/>
                  </a:cubicBezTo>
                  <a:cubicBezTo>
                    <a:pt x="184" y="548"/>
                    <a:pt x="184" y="548"/>
                    <a:pt x="185" y="548"/>
                  </a:cubicBezTo>
                  <a:cubicBezTo>
                    <a:pt x="185" y="548"/>
                    <a:pt x="185" y="548"/>
                    <a:pt x="186" y="547"/>
                  </a:cubicBezTo>
                  <a:cubicBezTo>
                    <a:pt x="186" y="547"/>
                    <a:pt x="186" y="547"/>
                    <a:pt x="186" y="547"/>
                  </a:cubicBezTo>
                  <a:cubicBezTo>
                    <a:pt x="186" y="547"/>
                    <a:pt x="186" y="547"/>
                    <a:pt x="187" y="547"/>
                  </a:cubicBezTo>
                  <a:cubicBezTo>
                    <a:pt x="187" y="547"/>
                    <a:pt x="188" y="547"/>
                    <a:pt x="188" y="546"/>
                  </a:cubicBezTo>
                  <a:cubicBezTo>
                    <a:pt x="194" y="543"/>
                    <a:pt x="199" y="541"/>
                    <a:pt x="205" y="538"/>
                  </a:cubicBezTo>
                  <a:cubicBezTo>
                    <a:pt x="206" y="538"/>
                    <a:pt x="206" y="537"/>
                    <a:pt x="206" y="537"/>
                  </a:cubicBezTo>
                  <a:cubicBezTo>
                    <a:pt x="207" y="537"/>
                    <a:pt x="207" y="537"/>
                    <a:pt x="207" y="537"/>
                  </a:cubicBezTo>
                  <a:cubicBezTo>
                    <a:pt x="211" y="535"/>
                    <a:pt x="215" y="533"/>
                    <a:pt x="219" y="531"/>
                  </a:cubicBezTo>
                  <a:cubicBezTo>
                    <a:pt x="220" y="531"/>
                    <a:pt x="221" y="530"/>
                    <a:pt x="222" y="530"/>
                  </a:cubicBezTo>
                  <a:cubicBezTo>
                    <a:pt x="223" y="529"/>
                    <a:pt x="224" y="528"/>
                    <a:pt x="226" y="528"/>
                  </a:cubicBezTo>
                  <a:cubicBezTo>
                    <a:pt x="230" y="526"/>
                    <a:pt x="235" y="524"/>
                    <a:pt x="239" y="522"/>
                  </a:cubicBezTo>
                  <a:cubicBezTo>
                    <a:pt x="241" y="521"/>
                    <a:pt x="243" y="520"/>
                    <a:pt x="245" y="519"/>
                  </a:cubicBezTo>
                  <a:cubicBezTo>
                    <a:pt x="246" y="518"/>
                    <a:pt x="247" y="518"/>
                    <a:pt x="248" y="518"/>
                  </a:cubicBezTo>
                  <a:cubicBezTo>
                    <a:pt x="248" y="518"/>
                    <a:pt x="248" y="517"/>
                    <a:pt x="249" y="517"/>
                  </a:cubicBezTo>
                  <a:cubicBezTo>
                    <a:pt x="249" y="517"/>
                    <a:pt x="249" y="517"/>
                    <a:pt x="249" y="517"/>
                  </a:cubicBezTo>
                  <a:cubicBezTo>
                    <a:pt x="254" y="515"/>
                    <a:pt x="258" y="513"/>
                    <a:pt x="263" y="511"/>
                  </a:cubicBezTo>
                  <a:cubicBezTo>
                    <a:pt x="263" y="511"/>
                    <a:pt x="264" y="510"/>
                    <a:pt x="265" y="510"/>
                  </a:cubicBezTo>
                  <a:cubicBezTo>
                    <a:pt x="265" y="510"/>
                    <a:pt x="265" y="510"/>
                    <a:pt x="265" y="510"/>
                  </a:cubicBezTo>
                  <a:cubicBezTo>
                    <a:pt x="266" y="509"/>
                    <a:pt x="267" y="509"/>
                    <a:pt x="268" y="509"/>
                  </a:cubicBezTo>
                  <a:cubicBezTo>
                    <a:pt x="269" y="508"/>
                    <a:pt x="271" y="507"/>
                    <a:pt x="272" y="507"/>
                  </a:cubicBezTo>
                  <a:cubicBezTo>
                    <a:pt x="273" y="507"/>
                    <a:pt x="273" y="506"/>
                    <a:pt x="274" y="506"/>
                  </a:cubicBezTo>
                  <a:cubicBezTo>
                    <a:pt x="274" y="506"/>
                    <a:pt x="275" y="506"/>
                    <a:pt x="275" y="506"/>
                  </a:cubicBezTo>
                  <a:cubicBezTo>
                    <a:pt x="275" y="505"/>
                    <a:pt x="276" y="505"/>
                    <a:pt x="276" y="505"/>
                  </a:cubicBezTo>
                  <a:cubicBezTo>
                    <a:pt x="277" y="505"/>
                    <a:pt x="277" y="505"/>
                    <a:pt x="277" y="505"/>
                  </a:cubicBezTo>
                  <a:cubicBezTo>
                    <a:pt x="278" y="504"/>
                    <a:pt x="278" y="504"/>
                    <a:pt x="279" y="504"/>
                  </a:cubicBezTo>
                  <a:cubicBezTo>
                    <a:pt x="279" y="504"/>
                    <a:pt x="279" y="504"/>
                    <a:pt x="279" y="504"/>
                  </a:cubicBezTo>
                  <a:cubicBezTo>
                    <a:pt x="279" y="504"/>
                    <a:pt x="279" y="504"/>
                    <a:pt x="279" y="504"/>
                  </a:cubicBezTo>
                  <a:cubicBezTo>
                    <a:pt x="279" y="504"/>
                    <a:pt x="279" y="504"/>
                    <a:pt x="279" y="504"/>
                  </a:cubicBezTo>
                  <a:cubicBezTo>
                    <a:pt x="280" y="504"/>
                    <a:pt x="280" y="503"/>
                    <a:pt x="281" y="503"/>
                  </a:cubicBezTo>
                  <a:cubicBezTo>
                    <a:pt x="281" y="503"/>
                    <a:pt x="281" y="503"/>
                    <a:pt x="281" y="503"/>
                  </a:cubicBezTo>
                  <a:cubicBezTo>
                    <a:pt x="281" y="503"/>
                    <a:pt x="282" y="503"/>
                    <a:pt x="282" y="503"/>
                  </a:cubicBezTo>
                  <a:cubicBezTo>
                    <a:pt x="282" y="503"/>
                    <a:pt x="282" y="502"/>
                    <a:pt x="283" y="502"/>
                  </a:cubicBezTo>
                  <a:cubicBezTo>
                    <a:pt x="283" y="502"/>
                    <a:pt x="283" y="502"/>
                    <a:pt x="284" y="502"/>
                  </a:cubicBezTo>
                  <a:cubicBezTo>
                    <a:pt x="284" y="502"/>
                    <a:pt x="284" y="502"/>
                    <a:pt x="285" y="502"/>
                  </a:cubicBezTo>
                  <a:cubicBezTo>
                    <a:pt x="285" y="501"/>
                    <a:pt x="285" y="501"/>
                    <a:pt x="286" y="501"/>
                  </a:cubicBezTo>
                  <a:cubicBezTo>
                    <a:pt x="286" y="501"/>
                    <a:pt x="287" y="501"/>
                    <a:pt x="287" y="500"/>
                  </a:cubicBezTo>
                  <a:cubicBezTo>
                    <a:pt x="287" y="500"/>
                    <a:pt x="287" y="500"/>
                    <a:pt x="287" y="500"/>
                  </a:cubicBezTo>
                  <a:cubicBezTo>
                    <a:pt x="289" y="500"/>
                    <a:pt x="290" y="499"/>
                    <a:pt x="291" y="499"/>
                  </a:cubicBezTo>
                  <a:cubicBezTo>
                    <a:pt x="292" y="499"/>
                    <a:pt x="292" y="498"/>
                    <a:pt x="292" y="498"/>
                  </a:cubicBezTo>
                  <a:cubicBezTo>
                    <a:pt x="293" y="498"/>
                    <a:pt x="294" y="498"/>
                    <a:pt x="295" y="497"/>
                  </a:cubicBezTo>
                  <a:cubicBezTo>
                    <a:pt x="296" y="497"/>
                    <a:pt x="297" y="497"/>
                    <a:pt x="297" y="496"/>
                  </a:cubicBezTo>
                  <a:cubicBezTo>
                    <a:pt x="298" y="496"/>
                    <a:pt x="298" y="496"/>
                    <a:pt x="299" y="496"/>
                  </a:cubicBezTo>
                  <a:cubicBezTo>
                    <a:pt x="299" y="495"/>
                    <a:pt x="300" y="495"/>
                    <a:pt x="300" y="495"/>
                  </a:cubicBezTo>
                  <a:cubicBezTo>
                    <a:pt x="313" y="490"/>
                    <a:pt x="325" y="485"/>
                    <a:pt x="338" y="480"/>
                  </a:cubicBezTo>
                  <a:cubicBezTo>
                    <a:pt x="338" y="480"/>
                    <a:pt x="339" y="480"/>
                    <a:pt x="339" y="480"/>
                  </a:cubicBezTo>
                  <a:cubicBezTo>
                    <a:pt x="340" y="479"/>
                    <a:pt x="341" y="479"/>
                    <a:pt x="341" y="479"/>
                  </a:cubicBezTo>
                  <a:cubicBezTo>
                    <a:pt x="342" y="478"/>
                    <a:pt x="343" y="478"/>
                    <a:pt x="344" y="478"/>
                  </a:cubicBezTo>
                  <a:cubicBezTo>
                    <a:pt x="344" y="478"/>
                    <a:pt x="344" y="478"/>
                    <a:pt x="345" y="478"/>
                  </a:cubicBezTo>
                  <a:cubicBezTo>
                    <a:pt x="345" y="477"/>
                    <a:pt x="345" y="477"/>
                    <a:pt x="345" y="477"/>
                  </a:cubicBezTo>
                  <a:cubicBezTo>
                    <a:pt x="347" y="477"/>
                    <a:pt x="348" y="476"/>
                    <a:pt x="349" y="476"/>
                  </a:cubicBezTo>
                  <a:cubicBezTo>
                    <a:pt x="349" y="476"/>
                    <a:pt x="349" y="476"/>
                    <a:pt x="349" y="476"/>
                  </a:cubicBezTo>
                  <a:cubicBezTo>
                    <a:pt x="350" y="476"/>
                    <a:pt x="350" y="475"/>
                    <a:pt x="350" y="475"/>
                  </a:cubicBezTo>
                  <a:cubicBezTo>
                    <a:pt x="350" y="475"/>
                    <a:pt x="351" y="475"/>
                    <a:pt x="351" y="475"/>
                  </a:cubicBezTo>
                  <a:cubicBezTo>
                    <a:pt x="352" y="475"/>
                    <a:pt x="353" y="474"/>
                    <a:pt x="353" y="474"/>
                  </a:cubicBezTo>
                  <a:cubicBezTo>
                    <a:pt x="356" y="473"/>
                    <a:pt x="359" y="472"/>
                    <a:pt x="362" y="471"/>
                  </a:cubicBezTo>
                  <a:cubicBezTo>
                    <a:pt x="362" y="471"/>
                    <a:pt x="363" y="470"/>
                    <a:pt x="363" y="470"/>
                  </a:cubicBezTo>
                  <a:cubicBezTo>
                    <a:pt x="365" y="470"/>
                    <a:pt x="367" y="469"/>
                    <a:pt x="369" y="468"/>
                  </a:cubicBezTo>
                  <a:cubicBezTo>
                    <a:pt x="372" y="467"/>
                    <a:pt x="375" y="466"/>
                    <a:pt x="378" y="464"/>
                  </a:cubicBezTo>
                  <a:cubicBezTo>
                    <a:pt x="380" y="464"/>
                    <a:pt x="382" y="463"/>
                    <a:pt x="384" y="462"/>
                  </a:cubicBezTo>
                  <a:cubicBezTo>
                    <a:pt x="384" y="462"/>
                    <a:pt x="385" y="462"/>
                    <a:pt x="385" y="461"/>
                  </a:cubicBezTo>
                  <a:cubicBezTo>
                    <a:pt x="385" y="461"/>
                    <a:pt x="385" y="461"/>
                    <a:pt x="385" y="461"/>
                  </a:cubicBezTo>
                  <a:cubicBezTo>
                    <a:pt x="386" y="461"/>
                    <a:pt x="386" y="461"/>
                    <a:pt x="386" y="461"/>
                  </a:cubicBezTo>
                  <a:cubicBezTo>
                    <a:pt x="387" y="461"/>
                    <a:pt x="388" y="460"/>
                    <a:pt x="389" y="460"/>
                  </a:cubicBezTo>
                  <a:cubicBezTo>
                    <a:pt x="389" y="460"/>
                    <a:pt x="389" y="460"/>
                    <a:pt x="390" y="459"/>
                  </a:cubicBezTo>
                  <a:cubicBezTo>
                    <a:pt x="396" y="457"/>
                    <a:pt x="402" y="455"/>
                    <a:pt x="408" y="452"/>
                  </a:cubicBezTo>
                  <a:cubicBezTo>
                    <a:pt x="408" y="452"/>
                    <a:pt x="409" y="451"/>
                    <a:pt x="410" y="451"/>
                  </a:cubicBezTo>
                  <a:cubicBezTo>
                    <a:pt x="417" y="448"/>
                    <a:pt x="424" y="445"/>
                    <a:pt x="431" y="442"/>
                  </a:cubicBezTo>
                  <a:cubicBezTo>
                    <a:pt x="431" y="442"/>
                    <a:pt x="432" y="442"/>
                    <a:pt x="432" y="442"/>
                  </a:cubicBezTo>
                  <a:cubicBezTo>
                    <a:pt x="437" y="439"/>
                    <a:pt x="442" y="437"/>
                    <a:pt x="446" y="435"/>
                  </a:cubicBezTo>
                  <a:cubicBezTo>
                    <a:pt x="448" y="435"/>
                    <a:pt x="449" y="434"/>
                    <a:pt x="451" y="433"/>
                  </a:cubicBezTo>
                  <a:cubicBezTo>
                    <a:pt x="453" y="432"/>
                    <a:pt x="456" y="431"/>
                    <a:pt x="459" y="430"/>
                  </a:cubicBezTo>
                  <a:cubicBezTo>
                    <a:pt x="459" y="429"/>
                    <a:pt x="460" y="429"/>
                    <a:pt x="461" y="429"/>
                  </a:cubicBezTo>
                  <a:cubicBezTo>
                    <a:pt x="461" y="429"/>
                    <a:pt x="462" y="428"/>
                    <a:pt x="462" y="428"/>
                  </a:cubicBezTo>
                  <a:cubicBezTo>
                    <a:pt x="463" y="428"/>
                    <a:pt x="463" y="428"/>
                    <a:pt x="464" y="427"/>
                  </a:cubicBezTo>
                  <a:cubicBezTo>
                    <a:pt x="466" y="426"/>
                    <a:pt x="468" y="426"/>
                    <a:pt x="470" y="425"/>
                  </a:cubicBezTo>
                  <a:cubicBezTo>
                    <a:pt x="470" y="424"/>
                    <a:pt x="471" y="424"/>
                    <a:pt x="471" y="424"/>
                  </a:cubicBezTo>
                  <a:cubicBezTo>
                    <a:pt x="477" y="421"/>
                    <a:pt x="484" y="418"/>
                    <a:pt x="490" y="416"/>
                  </a:cubicBezTo>
                  <a:moveTo>
                    <a:pt x="787" y="623"/>
                  </a:moveTo>
                  <a:cubicBezTo>
                    <a:pt x="787" y="623"/>
                    <a:pt x="787" y="623"/>
                    <a:pt x="787" y="623"/>
                  </a:cubicBezTo>
                  <a:cubicBezTo>
                    <a:pt x="787" y="623"/>
                    <a:pt x="786" y="623"/>
                    <a:pt x="786" y="623"/>
                  </a:cubicBezTo>
                  <a:cubicBezTo>
                    <a:pt x="785" y="623"/>
                    <a:pt x="784" y="623"/>
                    <a:pt x="783" y="623"/>
                  </a:cubicBezTo>
                  <a:cubicBezTo>
                    <a:pt x="781" y="623"/>
                    <a:pt x="779" y="623"/>
                    <a:pt x="777" y="623"/>
                  </a:cubicBezTo>
                  <a:cubicBezTo>
                    <a:pt x="777" y="623"/>
                    <a:pt x="776" y="623"/>
                    <a:pt x="776" y="623"/>
                  </a:cubicBezTo>
                  <a:cubicBezTo>
                    <a:pt x="754" y="624"/>
                    <a:pt x="732" y="627"/>
                    <a:pt x="707" y="632"/>
                  </a:cubicBezTo>
                  <a:cubicBezTo>
                    <a:pt x="707" y="632"/>
                    <a:pt x="706" y="633"/>
                    <a:pt x="706" y="633"/>
                  </a:cubicBezTo>
                  <a:cubicBezTo>
                    <a:pt x="700" y="634"/>
                    <a:pt x="694" y="635"/>
                    <a:pt x="687" y="637"/>
                  </a:cubicBezTo>
                  <a:cubicBezTo>
                    <a:pt x="687" y="637"/>
                    <a:pt x="686" y="637"/>
                    <a:pt x="685" y="637"/>
                  </a:cubicBezTo>
                  <a:cubicBezTo>
                    <a:pt x="682" y="638"/>
                    <a:pt x="678" y="639"/>
                    <a:pt x="674" y="640"/>
                  </a:cubicBezTo>
                  <a:cubicBezTo>
                    <a:pt x="674" y="640"/>
                    <a:pt x="673" y="640"/>
                    <a:pt x="672" y="640"/>
                  </a:cubicBezTo>
                  <a:cubicBezTo>
                    <a:pt x="672" y="641"/>
                    <a:pt x="671" y="641"/>
                    <a:pt x="670" y="641"/>
                  </a:cubicBezTo>
                  <a:cubicBezTo>
                    <a:pt x="669" y="641"/>
                    <a:pt x="669" y="641"/>
                    <a:pt x="668" y="642"/>
                  </a:cubicBezTo>
                  <a:cubicBezTo>
                    <a:pt x="668" y="642"/>
                    <a:pt x="667" y="642"/>
                    <a:pt x="667" y="642"/>
                  </a:cubicBezTo>
                  <a:cubicBezTo>
                    <a:pt x="666" y="642"/>
                    <a:pt x="666" y="642"/>
                    <a:pt x="665" y="642"/>
                  </a:cubicBezTo>
                  <a:cubicBezTo>
                    <a:pt x="663" y="643"/>
                    <a:pt x="661" y="643"/>
                    <a:pt x="659" y="644"/>
                  </a:cubicBezTo>
                  <a:cubicBezTo>
                    <a:pt x="659" y="644"/>
                    <a:pt x="658" y="644"/>
                    <a:pt x="657" y="644"/>
                  </a:cubicBezTo>
                  <a:cubicBezTo>
                    <a:pt x="656" y="645"/>
                    <a:pt x="655" y="645"/>
                    <a:pt x="655" y="645"/>
                  </a:cubicBezTo>
                  <a:cubicBezTo>
                    <a:pt x="654" y="645"/>
                    <a:pt x="654" y="645"/>
                    <a:pt x="654" y="645"/>
                  </a:cubicBezTo>
                  <a:cubicBezTo>
                    <a:pt x="648" y="647"/>
                    <a:pt x="643" y="648"/>
                    <a:pt x="638" y="650"/>
                  </a:cubicBezTo>
                  <a:cubicBezTo>
                    <a:pt x="636" y="650"/>
                    <a:pt x="634" y="651"/>
                    <a:pt x="631" y="652"/>
                  </a:cubicBezTo>
                  <a:cubicBezTo>
                    <a:pt x="625" y="653"/>
                    <a:pt x="618" y="655"/>
                    <a:pt x="612" y="657"/>
                  </a:cubicBezTo>
                  <a:cubicBezTo>
                    <a:pt x="611" y="658"/>
                    <a:pt x="610" y="658"/>
                    <a:pt x="609" y="658"/>
                  </a:cubicBezTo>
                  <a:cubicBezTo>
                    <a:pt x="609" y="658"/>
                    <a:pt x="609" y="658"/>
                    <a:pt x="608" y="658"/>
                  </a:cubicBezTo>
                  <a:cubicBezTo>
                    <a:pt x="608" y="659"/>
                    <a:pt x="608" y="659"/>
                    <a:pt x="607" y="659"/>
                  </a:cubicBezTo>
                  <a:cubicBezTo>
                    <a:pt x="600" y="661"/>
                    <a:pt x="592" y="663"/>
                    <a:pt x="585" y="666"/>
                  </a:cubicBezTo>
                  <a:cubicBezTo>
                    <a:pt x="584" y="666"/>
                    <a:pt x="583" y="666"/>
                    <a:pt x="582" y="667"/>
                  </a:cubicBezTo>
                  <a:cubicBezTo>
                    <a:pt x="574" y="669"/>
                    <a:pt x="567" y="671"/>
                    <a:pt x="559" y="674"/>
                  </a:cubicBezTo>
                  <a:cubicBezTo>
                    <a:pt x="558" y="674"/>
                    <a:pt x="557" y="674"/>
                    <a:pt x="556" y="675"/>
                  </a:cubicBezTo>
                  <a:cubicBezTo>
                    <a:pt x="549" y="677"/>
                    <a:pt x="542" y="679"/>
                    <a:pt x="535" y="681"/>
                  </a:cubicBezTo>
                  <a:cubicBezTo>
                    <a:pt x="534" y="682"/>
                    <a:pt x="533" y="682"/>
                    <a:pt x="532" y="682"/>
                  </a:cubicBezTo>
                  <a:cubicBezTo>
                    <a:pt x="525" y="684"/>
                    <a:pt x="519" y="687"/>
                    <a:pt x="512" y="689"/>
                  </a:cubicBezTo>
                  <a:cubicBezTo>
                    <a:pt x="511" y="689"/>
                    <a:pt x="510" y="689"/>
                    <a:pt x="509" y="689"/>
                  </a:cubicBezTo>
                  <a:cubicBezTo>
                    <a:pt x="503" y="691"/>
                    <a:pt x="497" y="693"/>
                    <a:pt x="491" y="695"/>
                  </a:cubicBezTo>
                  <a:cubicBezTo>
                    <a:pt x="490" y="696"/>
                    <a:pt x="489" y="696"/>
                    <a:pt x="488" y="696"/>
                  </a:cubicBezTo>
                  <a:cubicBezTo>
                    <a:pt x="482" y="698"/>
                    <a:pt x="476" y="700"/>
                    <a:pt x="470" y="702"/>
                  </a:cubicBezTo>
                  <a:cubicBezTo>
                    <a:pt x="469" y="702"/>
                    <a:pt x="468" y="702"/>
                    <a:pt x="467" y="703"/>
                  </a:cubicBezTo>
                  <a:cubicBezTo>
                    <a:pt x="461" y="704"/>
                    <a:pt x="456" y="706"/>
                    <a:pt x="450" y="708"/>
                  </a:cubicBezTo>
                  <a:cubicBezTo>
                    <a:pt x="449" y="708"/>
                    <a:pt x="448" y="708"/>
                    <a:pt x="447" y="709"/>
                  </a:cubicBezTo>
                  <a:cubicBezTo>
                    <a:pt x="441" y="710"/>
                    <a:pt x="436" y="712"/>
                    <a:pt x="430" y="714"/>
                  </a:cubicBezTo>
                  <a:cubicBezTo>
                    <a:pt x="429" y="714"/>
                    <a:pt x="428" y="714"/>
                    <a:pt x="427" y="715"/>
                  </a:cubicBezTo>
                  <a:cubicBezTo>
                    <a:pt x="419" y="717"/>
                    <a:pt x="410" y="720"/>
                    <a:pt x="401" y="722"/>
                  </a:cubicBezTo>
                  <a:cubicBezTo>
                    <a:pt x="400" y="722"/>
                    <a:pt x="400" y="722"/>
                    <a:pt x="399" y="723"/>
                  </a:cubicBezTo>
                  <a:cubicBezTo>
                    <a:pt x="392" y="724"/>
                    <a:pt x="385" y="726"/>
                    <a:pt x="379" y="728"/>
                  </a:cubicBezTo>
                  <a:cubicBezTo>
                    <a:pt x="378" y="728"/>
                    <a:pt x="378" y="728"/>
                    <a:pt x="378" y="728"/>
                  </a:cubicBezTo>
                  <a:cubicBezTo>
                    <a:pt x="375" y="729"/>
                    <a:pt x="372" y="730"/>
                    <a:pt x="369" y="730"/>
                  </a:cubicBezTo>
                  <a:cubicBezTo>
                    <a:pt x="368" y="731"/>
                    <a:pt x="367" y="731"/>
                    <a:pt x="366" y="731"/>
                  </a:cubicBezTo>
                  <a:cubicBezTo>
                    <a:pt x="357" y="733"/>
                    <a:pt x="348" y="736"/>
                    <a:pt x="339" y="738"/>
                  </a:cubicBezTo>
                  <a:cubicBezTo>
                    <a:pt x="337" y="738"/>
                    <a:pt x="336" y="738"/>
                    <a:pt x="334" y="739"/>
                  </a:cubicBezTo>
                  <a:cubicBezTo>
                    <a:pt x="326" y="741"/>
                    <a:pt x="318" y="742"/>
                    <a:pt x="309" y="744"/>
                  </a:cubicBezTo>
                  <a:cubicBezTo>
                    <a:pt x="307" y="744"/>
                    <a:pt x="305" y="745"/>
                    <a:pt x="303" y="745"/>
                  </a:cubicBezTo>
                  <a:cubicBezTo>
                    <a:pt x="299" y="746"/>
                    <a:pt x="295" y="747"/>
                    <a:pt x="292" y="747"/>
                  </a:cubicBezTo>
                  <a:cubicBezTo>
                    <a:pt x="287" y="748"/>
                    <a:pt x="283" y="749"/>
                    <a:pt x="279" y="750"/>
                  </a:cubicBezTo>
                  <a:cubicBezTo>
                    <a:pt x="267" y="751"/>
                    <a:pt x="256" y="753"/>
                    <a:pt x="244" y="754"/>
                  </a:cubicBezTo>
                  <a:cubicBezTo>
                    <a:pt x="240" y="755"/>
                    <a:pt x="235" y="756"/>
                    <a:pt x="231" y="757"/>
                  </a:cubicBezTo>
                  <a:cubicBezTo>
                    <a:pt x="249" y="755"/>
                    <a:pt x="267" y="753"/>
                    <a:pt x="286" y="749"/>
                  </a:cubicBezTo>
                  <a:cubicBezTo>
                    <a:pt x="286" y="749"/>
                    <a:pt x="286" y="749"/>
                    <a:pt x="287" y="749"/>
                  </a:cubicBezTo>
                  <a:cubicBezTo>
                    <a:pt x="288" y="749"/>
                    <a:pt x="290" y="749"/>
                    <a:pt x="292" y="748"/>
                  </a:cubicBezTo>
                  <a:cubicBezTo>
                    <a:pt x="296" y="748"/>
                    <a:pt x="301" y="747"/>
                    <a:pt x="305" y="746"/>
                  </a:cubicBezTo>
                  <a:cubicBezTo>
                    <a:pt x="307" y="746"/>
                    <a:pt x="308" y="745"/>
                    <a:pt x="309" y="745"/>
                  </a:cubicBezTo>
                  <a:cubicBezTo>
                    <a:pt x="311" y="745"/>
                    <a:pt x="314" y="744"/>
                    <a:pt x="316" y="744"/>
                  </a:cubicBezTo>
                  <a:cubicBezTo>
                    <a:pt x="323" y="742"/>
                    <a:pt x="331" y="741"/>
                    <a:pt x="339" y="739"/>
                  </a:cubicBezTo>
                  <a:cubicBezTo>
                    <a:pt x="340" y="738"/>
                    <a:pt x="342" y="738"/>
                    <a:pt x="343" y="738"/>
                  </a:cubicBezTo>
                  <a:cubicBezTo>
                    <a:pt x="352" y="736"/>
                    <a:pt x="361" y="734"/>
                    <a:pt x="370" y="731"/>
                  </a:cubicBezTo>
                  <a:cubicBezTo>
                    <a:pt x="371" y="731"/>
                    <a:pt x="372" y="731"/>
                    <a:pt x="373" y="731"/>
                  </a:cubicBezTo>
                  <a:cubicBezTo>
                    <a:pt x="375" y="730"/>
                    <a:pt x="377" y="730"/>
                    <a:pt x="378" y="729"/>
                  </a:cubicBezTo>
                  <a:cubicBezTo>
                    <a:pt x="379" y="729"/>
                    <a:pt x="379" y="729"/>
                    <a:pt x="379" y="729"/>
                  </a:cubicBezTo>
                  <a:cubicBezTo>
                    <a:pt x="387" y="727"/>
                    <a:pt x="394" y="725"/>
                    <a:pt x="401" y="723"/>
                  </a:cubicBezTo>
                  <a:cubicBezTo>
                    <a:pt x="402" y="723"/>
                    <a:pt x="403" y="722"/>
                    <a:pt x="404" y="722"/>
                  </a:cubicBezTo>
                  <a:cubicBezTo>
                    <a:pt x="413" y="720"/>
                    <a:pt x="421" y="717"/>
                    <a:pt x="430" y="715"/>
                  </a:cubicBezTo>
                  <a:cubicBezTo>
                    <a:pt x="431" y="715"/>
                    <a:pt x="431" y="714"/>
                    <a:pt x="432" y="714"/>
                  </a:cubicBezTo>
                  <a:cubicBezTo>
                    <a:pt x="438" y="712"/>
                    <a:pt x="444" y="711"/>
                    <a:pt x="450" y="709"/>
                  </a:cubicBezTo>
                  <a:cubicBezTo>
                    <a:pt x="451" y="709"/>
                    <a:pt x="451" y="709"/>
                    <a:pt x="452" y="708"/>
                  </a:cubicBezTo>
                  <a:cubicBezTo>
                    <a:pt x="458" y="706"/>
                    <a:pt x="464" y="705"/>
                    <a:pt x="470" y="703"/>
                  </a:cubicBezTo>
                  <a:cubicBezTo>
                    <a:pt x="471" y="703"/>
                    <a:pt x="472" y="702"/>
                    <a:pt x="473" y="702"/>
                  </a:cubicBezTo>
                  <a:cubicBezTo>
                    <a:pt x="479" y="700"/>
                    <a:pt x="485" y="698"/>
                    <a:pt x="491" y="696"/>
                  </a:cubicBezTo>
                  <a:cubicBezTo>
                    <a:pt x="492" y="696"/>
                    <a:pt x="492" y="696"/>
                    <a:pt x="493" y="696"/>
                  </a:cubicBezTo>
                  <a:cubicBezTo>
                    <a:pt x="500" y="694"/>
                    <a:pt x="506" y="692"/>
                    <a:pt x="512" y="690"/>
                  </a:cubicBezTo>
                  <a:cubicBezTo>
                    <a:pt x="513" y="689"/>
                    <a:pt x="514" y="689"/>
                    <a:pt x="515" y="689"/>
                  </a:cubicBezTo>
                  <a:cubicBezTo>
                    <a:pt x="522" y="687"/>
                    <a:pt x="528" y="685"/>
                    <a:pt x="535" y="682"/>
                  </a:cubicBezTo>
                  <a:cubicBezTo>
                    <a:pt x="536" y="682"/>
                    <a:pt x="537" y="682"/>
                    <a:pt x="538" y="682"/>
                  </a:cubicBezTo>
                  <a:cubicBezTo>
                    <a:pt x="545" y="679"/>
                    <a:pt x="552" y="677"/>
                    <a:pt x="559" y="675"/>
                  </a:cubicBezTo>
                  <a:cubicBezTo>
                    <a:pt x="560" y="675"/>
                    <a:pt x="561" y="674"/>
                    <a:pt x="562" y="674"/>
                  </a:cubicBezTo>
                  <a:cubicBezTo>
                    <a:pt x="569" y="672"/>
                    <a:pt x="577" y="669"/>
                    <a:pt x="585" y="667"/>
                  </a:cubicBezTo>
                  <a:cubicBezTo>
                    <a:pt x="586" y="666"/>
                    <a:pt x="587" y="666"/>
                    <a:pt x="587" y="666"/>
                  </a:cubicBezTo>
                  <a:cubicBezTo>
                    <a:pt x="594" y="664"/>
                    <a:pt x="601" y="662"/>
                    <a:pt x="608" y="660"/>
                  </a:cubicBezTo>
                  <a:cubicBezTo>
                    <a:pt x="608" y="660"/>
                    <a:pt x="609" y="659"/>
                    <a:pt x="609" y="659"/>
                  </a:cubicBezTo>
                  <a:cubicBezTo>
                    <a:pt x="610" y="659"/>
                    <a:pt x="611" y="659"/>
                    <a:pt x="612" y="658"/>
                  </a:cubicBezTo>
                  <a:cubicBezTo>
                    <a:pt x="613" y="658"/>
                    <a:pt x="614" y="658"/>
                    <a:pt x="615" y="658"/>
                  </a:cubicBezTo>
                  <a:cubicBezTo>
                    <a:pt x="618" y="657"/>
                    <a:pt x="622" y="656"/>
                    <a:pt x="625" y="654"/>
                  </a:cubicBezTo>
                  <a:cubicBezTo>
                    <a:pt x="627" y="654"/>
                    <a:pt x="630" y="653"/>
                    <a:pt x="632" y="653"/>
                  </a:cubicBezTo>
                  <a:cubicBezTo>
                    <a:pt x="639" y="650"/>
                    <a:pt x="647" y="648"/>
                    <a:pt x="654" y="646"/>
                  </a:cubicBezTo>
                  <a:cubicBezTo>
                    <a:pt x="655" y="646"/>
                    <a:pt x="655" y="646"/>
                    <a:pt x="655" y="646"/>
                  </a:cubicBezTo>
                  <a:cubicBezTo>
                    <a:pt x="657" y="646"/>
                    <a:pt x="658" y="645"/>
                    <a:pt x="659" y="645"/>
                  </a:cubicBezTo>
                  <a:cubicBezTo>
                    <a:pt x="660" y="645"/>
                    <a:pt x="661" y="644"/>
                    <a:pt x="662" y="644"/>
                  </a:cubicBezTo>
                  <a:cubicBezTo>
                    <a:pt x="663" y="644"/>
                    <a:pt x="665" y="643"/>
                    <a:pt x="667" y="643"/>
                  </a:cubicBezTo>
                  <a:cubicBezTo>
                    <a:pt x="668" y="643"/>
                    <a:pt x="668" y="643"/>
                    <a:pt x="669" y="642"/>
                  </a:cubicBezTo>
                  <a:cubicBezTo>
                    <a:pt x="669" y="642"/>
                    <a:pt x="669" y="642"/>
                    <a:pt x="670" y="642"/>
                  </a:cubicBezTo>
                  <a:cubicBezTo>
                    <a:pt x="670" y="642"/>
                    <a:pt x="671" y="642"/>
                    <a:pt x="671" y="642"/>
                  </a:cubicBezTo>
                  <a:cubicBezTo>
                    <a:pt x="672" y="641"/>
                    <a:pt x="673" y="641"/>
                    <a:pt x="674" y="641"/>
                  </a:cubicBezTo>
                  <a:cubicBezTo>
                    <a:pt x="675" y="641"/>
                    <a:pt x="676" y="641"/>
                    <a:pt x="676" y="641"/>
                  </a:cubicBezTo>
                  <a:cubicBezTo>
                    <a:pt x="680" y="640"/>
                    <a:pt x="684" y="639"/>
                    <a:pt x="687" y="638"/>
                  </a:cubicBezTo>
                  <a:cubicBezTo>
                    <a:pt x="688" y="638"/>
                    <a:pt x="689" y="637"/>
                    <a:pt x="690" y="637"/>
                  </a:cubicBezTo>
                  <a:cubicBezTo>
                    <a:pt x="695" y="636"/>
                    <a:pt x="701" y="635"/>
                    <a:pt x="707" y="633"/>
                  </a:cubicBezTo>
                  <a:cubicBezTo>
                    <a:pt x="707" y="633"/>
                    <a:pt x="708" y="633"/>
                    <a:pt x="708" y="633"/>
                  </a:cubicBezTo>
                  <a:cubicBezTo>
                    <a:pt x="733" y="628"/>
                    <a:pt x="756" y="625"/>
                    <a:pt x="777" y="624"/>
                  </a:cubicBezTo>
                  <a:cubicBezTo>
                    <a:pt x="777" y="624"/>
                    <a:pt x="778" y="624"/>
                    <a:pt x="779" y="624"/>
                  </a:cubicBezTo>
                  <a:cubicBezTo>
                    <a:pt x="779" y="624"/>
                    <a:pt x="780" y="624"/>
                    <a:pt x="780" y="624"/>
                  </a:cubicBezTo>
                  <a:cubicBezTo>
                    <a:pt x="781" y="624"/>
                    <a:pt x="782" y="624"/>
                    <a:pt x="783" y="624"/>
                  </a:cubicBezTo>
                  <a:cubicBezTo>
                    <a:pt x="785" y="624"/>
                    <a:pt x="786" y="624"/>
                    <a:pt x="787" y="624"/>
                  </a:cubicBezTo>
                  <a:cubicBezTo>
                    <a:pt x="792" y="624"/>
                    <a:pt x="796" y="624"/>
                    <a:pt x="801" y="624"/>
                  </a:cubicBezTo>
                  <a:cubicBezTo>
                    <a:pt x="800" y="624"/>
                    <a:pt x="800" y="623"/>
                    <a:pt x="799" y="623"/>
                  </a:cubicBezTo>
                  <a:cubicBezTo>
                    <a:pt x="796" y="623"/>
                    <a:pt x="792" y="623"/>
                    <a:pt x="787" y="623"/>
                  </a:cubicBezTo>
                  <a:moveTo>
                    <a:pt x="801" y="623"/>
                  </a:moveTo>
                  <a:cubicBezTo>
                    <a:pt x="801" y="623"/>
                    <a:pt x="801" y="623"/>
                    <a:pt x="801" y="623"/>
                  </a:cubicBezTo>
                  <a:cubicBezTo>
                    <a:pt x="801" y="624"/>
                    <a:pt x="802" y="624"/>
                    <a:pt x="802" y="624"/>
                  </a:cubicBezTo>
                  <a:cubicBezTo>
                    <a:pt x="806" y="624"/>
                    <a:pt x="809" y="625"/>
                    <a:pt x="812" y="625"/>
                  </a:cubicBezTo>
                  <a:cubicBezTo>
                    <a:pt x="811" y="625"/>
                    <a:pt x="811" y="624"/>
                    <a:pt x="810" y="624"/>
                  </a:cubicBezTo>
                  <a:cubicBezTo>
                    <a:pt x="807" y="624"/>
                    <a:pt x="804" y="623"/>
                    <a:pt x="801" y="623"/>
                  </a:cubicBezTo>
                  <a:moveTo>
                    <a:pt x="812" y="624"/>
                  </a:moveTo>
                  <a:cubicBezTo>
                    <a:pt x="813" y="625"/>
                    <a:pt x="813" y="625"/>
                    <a:pt x="814" y="625"/>
                  </a:cubicBezTo>
                  <a:cubicBezTo>
                    <a:pt x="817" y="626"/>
                    <a:pt x="820" y="626"/>
                    <a:pt x="823" y="627"/>
                  </a:cubicBezTo>
                  <a:cubicBezTo>
                    <a:pt x="823" y="626"/>
                    <a:pt x="822" y="626"/>
                    <a:pt x="821" y="625"/>
                  </a:cubicBezTo>
                  <a:cubicBezTo>
                    <a:pt x="818" y="625"/>
                    <a:pt x="815" y="625"/>
                    <a:pt x="812" y="624"/>
                  </a:cubicBezTo>
                  <a:moveTo>
                    <a:pt x="824" y="626"/>
                  </a:moveTo>
                  <a:cubicBezTo>
                    <a:pt x="825" y="627"/>
                    <a:pt x="825" y="627"/>
                    <a:pt x="826" y="628"/>
                  </a:cubicBezTo>
                  <a:cubicBezTo>
                    <a:pt x="827" y="628"/>
                    <a:pt x="828" y="628"/>
                    <a:pt x="829" y="628"/>
                  </a:cubicBezTo>
                  <a:cubicBezTo>
                    <a:pt x="828" y="628"/>
                    <a:pt x="826" y="627"/>
                    <a:pt x="824" y="626"/>
                  </a:cubicBezTo>
                  <a:moveTo>
                    <a:pt x="829" y="627"/>
                  </a:moveTo>
                  <a:cubicBezTo>
                    <a:pt x="831" y="628"/>
                    <a:pt x="833" y="629"/>
                    <a:pt x="835" y="630"/>
                  </a:cubicBezTo>
                  <a:cubicBezTo>
                    <a:pt x="837" y="630"/>
                    <a:pt x="838" y="631"/>
                    <a:pt x="840" y="631"/>
                  </a:cubicBezTo>
                  <a:cubicBezTo>
                    <a:pt x="842" y="632"/>
                    <a:pt x="844" y="633"/>
                    <a:pt x="846" y="634"/>
                  </a:cubicBezTo>
                  <a:cubicBezTo>
                    <a:pt x="847" y="634"/>
                    <a:pt x="849" y="635"/>
                    <a:pt x="850" y="636"/>
                  </a:cubicBezTo>
                  <a:cubicBezTo>
                    <a:pt x="851" y="636"/>
                    <a:pt x="851" y="636"/>
                    <a:pt x="851" y="636"/>
                  </a:cubicBezTo>
                  <a:cubicBezTo>
                    <a:pt x="853" y="637"/>
                    <a:pt x="854" y="637"/>
                    <a:pt x="856" y="638"/>
                  </a:cubicBezTo>
                  <a:cubicBezTo>
                    <a:pt x="856" y="638"/>
                    <a:pt x="857" y="639"/>
                    <a:pt x="857" y="639"/>
                  </a:cubicBezTo>
                  <a:cubicBezTo>
                    <a:pt x="860" y="641"/>
                    <a:pt x="863" y="642"/>
                    <a:pt x="865" y="644"/>
                  </a:cubicBezTo>
                  <a:cubicBezTo>
                    <a:pt x="866" y="644"/>
                    <a:pt x="866" y="645"/>
                    <a:pt x="867" y="645"/>
                  </a:cubicBezTo>
                  <a:cubicBezTo>
                    <a:pt x="869" y="647"/>
                    <a:pt x="871" y="648"/>
                    <a:pt x="873" y="650"/>
                  </a:cubicBezTo>
                  <a:cubicBezTo>
                    <a:pt x="873" y="650"/>
                    <a:pt x="874" y="651"/>
                    <a:pt x="874" y="651"/>
                  </a:cubicBezTo>
                  <a:cubicBezTo>
                    <a:pt x="876" y="652"/>
                    <a:pt x="877" y="654"/>
                    <a:pt x="878" y="655"/>
                  </a:cubicBezTo>
                  <a:cubicBezTo>
                    <a:pt x="879" y="655"/>
                    <a:pt x="879" y="656"/>
                    <a:pt x="879" y="656"/>
                  </a:cubicBezTo>
                  <a:cubicBezTo>
                    <a:pt x="880" y="657"/>
                    <a:pt x="881" y="658"/>
                    <a:pt x="882" y="659"/>
                  </a:cubicBezTo>
                  <a:cubicBezTo>
                    <a:pt x="882" y="659"/>
                    <a:pt x="882" y="659"/>
                    <a:pt x="883" y="660"/>
                  </a:cubicBezTo>
                  <a:cubicBezTo>
                    <a:pt x="884" y="661"/>
                    <a:pt x="885" y="663"/>
                    <a:pt x="886" y="664"/>
                  </a:cubicBezTo>
                  <a:cubicBezTo>
                    <a:pt x="887" y="665"/>
                    <a:pt x="887" y="665"/>
                    <a:pt x="887" y="665"/>
                  </a:cubicBezTo>
                  <a:cubicBezTo>
                    <a:pt x="889" y="668"/>
                    <a:pt x="891" y="671"/>
                    <a:pt x="893" y="674"/>
                  </a:cubicBezTo>
                  <a:cubicBezTo>
                    <a:pt x="893" y="675"/>
                    <a:pt x="893" y="675"/>
                    <a:pt x="894" y="675"/>
                  </a:cubicBezTo>
                  <a:cubicBezTo>
                    <a:pt x="896" y="678"/>
                    <a:pt x="897" y="682"/>
                    <a:pt x="899" y="685"/>
                  </a:cubicBezTo>
                  <a:cubicBezTo>
                    <a:pt x="899" y="685"/>
                    <a:pt x="899" y="686"/>
                    <a:pt x="899" y="686"/>
                  </a:cubicBezTo>
                  <a:cubicBezTo>
                    <a:pt x="900" y="688"/>
                    <a:pt x="901" y="690"/>
                    <a:pt x="902" y="693"/>
                  </a:cubicBezTo>
                  <a:cubicBezTo>
                    <a:pt x="902" y="693"/>
                    <a:pt x="902" y="694"/>
                    <a:pt x="903" y="694"/>
                  </a:cubicBezTo>
                  <a:cubicBezTo>
                    <a:pt x="904" y="699"/>
                    <a:pt x="906" y="703"/>
                    <a:pt x="907" y="707"/>
                  </a:cubicBezTo>
                  <a:cubicBezTo>
                    <a:pt x="907" y="708"/>
                    <a:pt x="907" y="708"/>
                    <a:pt x="907" y="708"/>
                  </a:cubicBezTo>
                  <a:cubicBezTo>
                    <a:pt x="908" y="712"/>
                    <a:pt x="909" y="716"/>
                    <a:pt x="910" y="721"/>
                  </a:cubicBezTo>
                  <a:cubicBezTo>
                    <a:pt x="910" y="722"/>
                    <a:pt x="910" y="723"/>
                    <a:pt x="911" y="724"/>
                  </a:cubicBezTo>
                  <a:cubicBezTo>
                    <a:pt x="911" y="724"/>
                    <a:pt x="911" y="725"/>
                    <a:pt x="911" y="725"/>
                  </a:cubicBezTo>
                  <a:cubicBezTo>
                    <a:pt x="911" y="725"/>
                    <a:pt x="911" y="726"/>
                    <a:pt x="911" y="726"/>
                  </a:cubicBezTo>
                  <a:cubicBezTo>
                    <a:pt x="911" y="727"/>
                    <a:pt x="912" y="727"/>
                    <a:pt x="912" y="728"/>
                  </a:cubicBezTo>
                  <a:cubicBezTo>
                    <a:pt x="912" y="730"/>
                    <a:pt x="913" y="732"/>
                    <a:pt x="913" y="734"/>
                  </a:cubicBezTo>
                  <a:cubicBezTo>
                    <a:pt x="914" y="735"/>
                    <a:pt x="914" y="735"/>
                    <a:pt x="914" y="736"/>
                  </a:cubicBezTo>
                  <a:cubicBezTo>
                    <a:pt x="914" y="736"/>
                    <a:pt x="914" y="736"/>
                    <a:pt x="914" y="736"/>
                  </a:cubicBezTo>
                  <a:cubicBezTo>
                    <a:pt x="914" y="736"/>
                    <a:pt x="914" y="736"/>
                    <a:pt x="914" y="737"/>
                  </a:cubicBezTo>
                  <a:cubicBezTo>
                    <a:pt x="915" y="738"/>
                    <a:pt x="915" y="738"/>
                    <a:pt x="915" y="739"/>
                  </a:cubicBezTo>
                  <a:cubicBezTo>
                    <a:pt x="915" y="740"/>
                    <a:pt x="915" y="740"/>
                    <a:pt x="915" y="740"/>
                  </a:cubicBezTo>
                  <a:cubicBezTo>
                    <a:pt x="915" y="741"/>
                    <a:pt x="916" y="741"/>
                    <a:pt x="916" y="741"/>
                  </a:cubicBezTo>
                  <a:cubicBezTo>
                    <a:pt x="992" y="961"/>
                    <a:pt x="1590" y="1444"/>
                    <a:pt x="1792" y="1444"/>
                  </a:cubicBezTo>
                  <a:cubicBezTo>
                    <a:pt x="1813" y="1444"/>
                    <a:pt x="1829" y="1439"/>
                    <a:pt x="1841" y="1428"/>
                  </a:cubicBezTo>
                  <a:cubicBezTo>
                    <a:pt x="1852" y="1417"/>
                    <a:pt x="1858" y="1399"/>
                    <a:pt x="1858" y="1376"/>
                  </a:cubicBezTo>
                  <a:cubicBezTo>
                    <a:pt x="1858" y="1351"/>
                    <a:pt x="1851" y="1318"/>
                    <a:pt x="1836" y="1277"/>
                  </a:cubicBezTo>
                  <a:cubicBezTo>
                    <a:pt x="1835" y="1275"/>
                    <a:pt x="1835" y="1274"/>
                    <a:pt x="1834" y="1273"/>
                  </a:cubicBezTo>
                  <a:cubicBezTo>
                    <a:pt x="1850" y="1316"/>
                    <a:pt x="1857" y="1350"/>
                    <a:pt x="1857" y="1376"/>
                  </a:cubicBezTo>
                  <a:cubicBezTo>
                    <a:pt x="1857" y="1423"/>
                    <a:pt x="1833" y="1443"/>
                    <a:pt x="1792" y="1443"/>
                  </a:cubicBezTo>
                  <a:cubicBezTo>
                    <a:pt x="1792" y="1443"/>
                    <a:pt x="1792" y="1443"/>
                    <a:pt x="1792" y="1443"/>
                  </a:cubicBezTo>
                  <a:cubicBezTo>
                    <a:pt x="1591" y="1443"/>
                    <a:pt x="993" y="961"/>
                    <a:pt x="917" y="742"/>
                  </a:cubicBezTo>
                  <a:cubicBezTo>
                    <a:pt x="917" y="741"/>
                    <a:pt x="917" y="741"/>
                    <a:pt x="917" y="741"/>
                  </a:cubicBezTo>
                  <a:cubicBezTo>
                    <a:pt x="916" y="740"/>
                    <a:pt x="916" y="740"/>
                    <a:pt x="916" y="740"/>
                  </a:cubicBezTo>
                  <a:cubicBezTo>
                    <a:pt x="916" y="739"/>
                    <a:pt x="916" y="738"/>
                    <a:pt x="915" y="737"/>
                  </a:cubicBezTo>
                  <a:cubicBezTo>
                    <a:pt x="915" y="737"/>
                    <a:pt x="915" y="737"/>
                    <a:pt x="915" y="736"/>
                  </a:cubicBezTo>
                  <a:cubicBezTo>
                    <a:pt x="915" y="736"/>
                    <a:pt x="915" y="736"/>
                    <a:pt x="915" y="736"/>
                  </a:cubicBezTo>
                  <a:cubicBezTo>
                    <a:pt x="915" y="736"/>
                    <a:pt x="915" y="735"/>
                    <a:pt x="915" y="735"/>
                  </a:cubicBezTo>
                  <a:cubicBezTo>
                    <a:pt x="914" y="733"/>
                    <a:pt x="913" y="730"/>
                    <a:pt x="913" y="728"/>
                  </a:cubicBezTo>
                  <a:cubicBezTo>
                    <a:pt x="913" y="728"/>
                    <a:pt x="913" y="728"/>
                    <a:pt x="912" y="727"/>
                  </a:cubicBezTo>
                  <a:cubicBezTo>
                    <a:pt x="912" y="726"/>
                    <a:pt x="912" y="726"/>
                    <a:pt x="912" y="725"/>
                  </a:cubicBezTo>
                  <a:cubicBezTo>
                    <a:pt x="912" y="725"/>
                    <a:pt x="912" y="725"/>
                    <a:pt x="912" y="724"/>
                  </a:cubicBezTo>
                  <a:cubicBezTo>
                    <a:pt x="912" y="723"/>
                    <a:pt x="911" y="722"/>
                    <a:pt x="911" y="721"/>
                  </a:cubicBezTo>
                  <a:cubicBezTo>
                    <a:pt x="910" y="716"/>
                    <a:pt x="909" y="712"/>
                    <a:pt x="908" y="709"/>
                  </a:cubicBezTo>
                  <a:cubicBezTo>
                    <a:pt x="908" y="708"/>
                    <a:pt x="908" y="708"/>
                    <a:pt x="908" y="708"/>
                  </a:cubicBezTo>
                  <a:cubicBezTo>
                    <a:pt x="907" y="703"/>
                    <a:pt x="906" y="699"/>
                    <a:pt x="904" y="696"/>
                  </a:cubicBezTo>
                  <a:cubicBezTo>
                    <a:pt x="904" y="695"/>
                    <a:pt x="904" y="694"/>
                    <a:pt x="904" y="694"/>
                  </a:cubicBezTo>
                  <a:cubicBezTo>
                    <a:pt x="903" y="691"/>
                    <a:pt x="901" y="689"/>
                    <a:pt x="900" y="686"/>
                  </a:cubicBezTo>
                  <a:cubicBezTo>
                    <a:pt x="900" y="686"/>
                    <a:pt x="900" y="685"/>
                    <a:pt x="900" y="685"/>
                  </a:cubicBezTo>
                  <a:cubicBezTo>
                    <a:pt x="898" y="682"/>
                    <a:pt x="897" y="679"/>
                    <a:pt x="895" y="676"/>
                  </a:cubicBezTo>
                  <a:cubicBezTo>
                    <a:pt x="895" y="675"/>
                    <a:pt x="895" y="675"/>
                    <a:pt x="894" y="675"/>
                  </a:cubicBezTo>
                  <a:cubicBezTo>
                    <a:pt x="893" y="671"/>
                    <a:pt x="891" y="668"/>
                    <a:pt x="889" y="666"/>
                  </a:cubicBezTo>
                  <a:cubicBezTo>
                    <a:pt x="888" y="665"/>
                    <a:pt x="888" y="665"/>
                    <a:pt x="888" y="664"/>
                  </a:cubicBezTo>
                  <a:cubicBezTo>
                    <a:pt x="886" y="663"/>
                    <a:pt x="885" y="661"/>
                    <a:pt x="884" y="660"/>
                  </a:cubicBezTo>
                  <a:cubicBezTo>
                    <a:pt x="884" y="659"/>
                    <a:pt x="883" y="659"/>
                    <a:pt x="883" y="659"/>
                  </a:cubicBezTo>
                  <a:cubicBezTo>
                    <a:pt x="882" y="658"/>
                    <a:pt x="881" y="657"/>
                    <a:pt x="881" y="656"/>
                  </a:cubicBezTo>
                  <a:cubicBezTo>
                    <a:pt x="880" y="656"/>
                    <a:pt x="880" y="655"/>
                    <a:pt x="880" y="655"/>
                  </a:cubicBezTo>
                  <a:cubicBezTo>
                    <a:pt x="878" y="654"/>
                    <a:pt x="877" y="652"/>
                    <a:pt x="876" y="651"/>
                  </a:cubicBezTo>
                  <a:cubicBezTo>
                    <a:pt x="875" y="651"/>
                    <a:pt x="875" y="650"/>
                    <a:pt x="874" y="650"/>
                  </a:cubicBezTo>
                  <a:cubicBezTo>
                    <a:pt x="872" y="648"/>
                    <a:pt x="870" y="646"/>
                    <a:pt x="868" y="645"/>
                  </a:cubicBezTo>
                  <a:cubicBezTo>
                    <a:pt x="868" y="645"/>
                    <a:pt x="867" y="644"/>
                    <a:pt x="867" y="644"/>
                  </a:cubicBezTo>
                  <a:cubicBezTo>
                    <a:pt x="864" y="642"/>
                    <a:pt x="862" y="641"/>
                    <a:pt x="859" y="639"/>
                  </a:cubicBezTo>
                  <a:cubicBezTo>
                    <a:pt x="859" y="639"/>
                    <a:pt x="858" y="638"/>
                    <a:pt x="858" y="638"/>
                  </a:cubicBezTo>
                  <a:cubicBezTo>
                    <a:pt x="856" y="637"/>
                    <a:pt x="854" y="636"/>
                    <a:pt x="852" y="635"/>
                  </a:cubicBezTo>
                  <a:cubicBezTo>
                    <a:pt x="852" y="635"/>
                    <a:pt x="852" y="635"/>
                    <a:pt x="852" y="635"/>
                  </a:cubicBezTo>
                  <a:cubicBezTo>
                    <a:pt x="850" y="634"/>
                    <a:pt x="848" y="633"/>
                    <a:pt x="846" y="633"/>
                  </a:cubicBezTo>
                  <a:cubicBezTo>
                    <a:pt x="846" y="633"/>
                    <a:pt x="846" y="633"/>
                    <a:pt x="846" y="632"/>
                  </a:cubicBezTo>
                  <a:cubicBezTo>
                    <a:pt x="841" y="630"/>
                    <a:pt x="835" y="629"/>
                    <a:pt x="829" y="627"/>
                  </a:cubicBezTo>
                  <a:moveTo>
                    <a:pt x="231" y="756"/>
                  </a:moveTo>
                  <a:cubicBezTo>
                    <a:pt x="226" y="756"/>
                    <a:pt x="221" y="757"/>
                    <a:pt x="217" y="757"/>
                  </a:cubicBezTo>
                  <a:cubicBezTo>
                    <a:pt x="216" y="757"/>
                    <a:pt x="216" y="757"/>
                    <a:pt x="215" y="757"/>
                  </a:cubicBezTo>
                  <a:cubicBezTo>
                    <a:pt x="210" y="757"/>
                    <a:pt x="205" y="758"/>
                    <a:pt x="200" y="758"/>
                  </a:cubicBezTo>
                  <a:cubicBezTo>
                    <a:pt x="198" y="758"/>
                    <a:pt x="196" y="759"/>
                    <a:pt x="194" y="759"/>
                  </a:cubicBezTo>
                  <a:cubicBezTo>
                    <a:pt x="201" y="759"/>
                    <a:pt x="208" y="759"/>
                    <a:pt x="215" y="758"/>
                  </a:cubicBezTo>
                  <a:cubicBezTo>
                    <a:pt x="215" y="758"/>
                    <a:pt x="215" y="758"/>
                    <a:pt x="216" y="758"/>
                  </a:cubicBezTo>
                  <a:cubicBezTo>
                    <a:pt x="217" y="758"/>
                    <a:pt x="218" y="758"/>
                    <a:pt x="219" y="758"/>
                  </a:cubicBezTo>
                  <a:cubicBezTo>
                    <a:pt x="223" y="757"/>
                    <a:pt x="227" y="756"/>
                    <a:pt x="231" y="756"/>
                  </a:cubicBezTo>
                  <a:moveTo>
                    <a:pt x="145" y="757"/>
                  </a:moveTo>
                  <a:cubicBezTo>
                    <a:pt x="144" y="758"/>
                    <a:pt x="143" y="758"/>
                    <a:pt x="142" y="758"/>
                  </a:cubicBezTo>
                  <a:cubicBezTo>
                    <a:pt x="146" y="758"/>
                    <a:pt x="151" y="759"/>
                    <a:pt x="155" y="759"/>
                  </a:cubicBezTo>
                  <a:cubicBezTo>
                    <a:pt x="158" y="759"/>
                    <a:pt x="162" y="759"/>
                    <a:pt x="165" y="759"/>
                  </a:cubicBezTo>
                  <a:cubicBezTo>
                    <a:pt x="166" y="759"/>
                    <a:pt x="167" y="759"/>
                    <a:pt x="169" y="758"/>
                  </a:cubicBezTo>
                  <a:cubicBezTo>
                    <a:pt x="164" y="758"/>
                    <a:pt x="160" y="758"/>
                    <a:pt x="155" y="758"/>
                  </a:cubicBezTo>
                  <a:cubicBezTo>
                    <a:pt x="152" y="758"/>
                    <a:pt x="148" y="757"/>
                    <a:pt x="145" y="757"/>
                  </a:cubicBezTo>
                  <a:moveTo>
                    <a:pt x="194" y="758"/>
                  </a:moveTo>
                  <a:cubicBezTo>
                    <a:pt x="189" y="758"/>
                    <a:pt x="183" y="758"/>
                    <a:pt x="178" y="758"/>
                  </a:cubicBezTo>
                  <a:cubicBezTo>
                    <a:pt x="176" y="758"/>
                    <a:pt x="174" y="758"/>
                    <a:pt x="173" y="758"/>
                  </a:cubicBezTo>
                  <a:cubicBezTo>
                    <a:pt x="171" y="759"/>
                    <a:pt x="170" y="759"/>
                    <a:pt x="169" y="759"/>
                  </a:cubicBezTo>
                  <a:cubicBezTo>
                    <a:pt x="169" y="759"/>
                    <a:pt x="169" y="759"/>
                    <a:pt x="169" y="759"/>
                  </a:cubicBezTo>
                  <a:cubicBezTo>
                    <a:pt x="170" y="759"/>
                    <a:pt x="170" y="759"/>
                    <a:pt x="171" y="759"/>
                  </a:cubicBezTo>
                  <a:cubicBezTo>
                    <a:pt x="173" y="759"/>
                    <a:pt x="176" y="759"/>
                    <a:pt x="178" y="759"/>
                  </a:cubicBezTo>
                  <a:cubicBezTo>
                    <a:pt x="181" y="759"/>
                    <a:pt x="185" y="759"/>
                    <a:pt x="188" y="759"/>
                  </a:cubicBezTo>
                  <a:cubicBezTo>
                    <a:pt x="190" y="759"/>
                    <a:pt x="192" y="759"/>
                    <a:pt x="194" y="758"/>
                  </a:cubicBezTo>
                  <a:moveTo>
                    <a:pt x="1805" y="1206"/>
                  </a:moveTo>
                  <a:cubicBezTo>
                    <a:pt x="1805" y="1207"/>
                    <a:pt x="1806" y="1209"/>
                    <a:pt x="1807" y="1211"/>
                  </a:cubicBezTo>
                  <a:cubicBezTo>
                    <a:pt x="1808" y="1212"/>
                    <a:pt x="1808" y="1212"/>
                    <a:pt x="1809" y="1213"/>
                  </a:cubicBezTo>
                  <a:cubicBezTo>
                    <a:pt x="1807" y="1211"/>
                    <a:pt x="1806" y="1208"/>
                    <a:pt x="1805" y="1206"/>
                  </a:cubicBezTo>
                  <a:moveTo>
                    <a:pt x="1811" y="1220"/>
                  </a:moveTo>
                  <a:cubicBezTo>
                    <a:pt x="1815" y="1227"/>
                    <a:pt x="1818" y="1235"/>
                    <a:pt x="1821" y="1242"/>
                  </a:cubicBezTo>
                  <a:cubicBezTo>
                    <a:pt x="1822" y="1243"/>
                    <a:pt x="1823" y="1245"/>
                    <a:pt x="1824" y="1246"/>
                  </a:cubicBezTo>
                  <a:cubicBezTo>
                    <a:pt x="1823" y="1243"/>
                    <a:pt x="1821" y="1240"/>
                    <a:pt x="1820" y="1237"/>
                  </a:cubicBezTo>
                  <a:cubicBezTo>
                    <a:pt x="1818" y="1233"/>
                    <a:pt x="1816" y="1229"/>
                    <a:pt x="1815" y="1226"/>
                  </a:cubicBezTo>
                  <a:cubicBezTo>
                    <a:pt x="1814" y="1224"/>
                    <a:pt x="1812" y="1222"/>
                    <a:pt x="1811" y="1220"/>
                  </a:cubicBezTo>
                  <a:moveTo>
                    <a:pt x="1823" y="1247"/>
                  </a:moveTo>
                  <a:cubicBezTo>
                    <a:pt x="1827" y="1255"/>
                    <a:pt x="1830" y="1262"/>
                    <a:pt x="1832" y="1270"/>
                  </a:cubicBezTo>
                  <a:cubicBezTo>
                    <a:pt x="1833" y="1271"/>
                    <a:pt x="1834" y="1272"/>
                    <a:pt x="1835" y="1273"/>
                  </a:cubicBezTo>
                  <a:cubicBezTo>
                    <a:pt x="1832" y="1266"/>
                    <a:pt x="1829" y="1259"/>
                    <a:pt x="1826" y="1252"/>
                  </a:cubicBezTo>
                  <a:cubicBezTo>
                    <a:pt x="1825" y="1250"/>
                    <a:pt x="1824" y="1249"/>
                    <a:pt x="1823" y="1247"/>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72" name="Freeform 101"/>
            <p:cNvSpPr>
              <a:spLocks noEditPoints="1"/>
            </p:cNvSpPr>
            <p:nvPr userDrawn="1"/>
          </p:nvSpPr>
          <p:spPr bwMode="auto">
            <a:xfrm>
              <a:off x="1666" y="4190"/>
              <a:ext cx="3873" cy="2964"/>
            </a:xfrm>
            <a:custGeom>
              <a:avLst/>
              <a:gdLst>
                <a:gd name="T0" fmla="*/ 2147483646 w 1911"/>
                <a:gd name="T1" fmla="*/ 2147483646 h 1462"/>
                <a:gd name="T2" fmla="*/ 2147483646 w 1911"/>
                <a:gd name="T3" fmla="*/ 2147483646 h 1462"/>
                <a:gd name="T4" fmla="*/ 2147483646 w 1911"/>
                <a:gd name="T5" fmla="*/ 2147483646 h 1462"/>
                <a:gd name="T6" fmla="*/ 2147483646 w 1911"/>
                <a:gd name="T7" fmla="*/ 2147483646 h 1462"/>
                <a:gd name="T8" fmla="*/ 2147483646 w 1911"/>
                <a:gd name="T9" fmla="*/ 2147483646 h 1462"/>
                <a:gd name="T10" fmla="*/ 2147483646 w 1911"/>
                <a:gd name="T11" fmla="*/ 2147483646 h 1462"/>
                <a:gd name="T12" fmla="*/ 2147483646 w 1911"/>
                <a:gd name="T13" fmla="*/ 2147483646 h 1462"/>
                <a:gd name="T14" fmla="*/ 2147483646 w 1911"/>
                <a:gd name="T15" fmla="*/ 2147483646 h 1462"/>
                <a:gd name="T16" fmla="*/ 2147483646 w 1911"/>
                <a:gd name="T17" fmla="*/ 2147483646 h 1462"/>
                <a:gd name="T18" fmla="*/ 2147483646 w 1911"/>
                <a:gd name="T19" fmla="*/ 2147483646 h 1462"/>
                <a:gd name="T20" fmla="*/ 2147483646 w 1911"/>
                <a:gd name="T21" fmla="*/ 2147483646 h 1462"/>
                <a:gd name="T22" fmla="*/ 2147483646 w 1911"/>
                <a:gd name="T23" fmla="*/ 2147483646 h 1462"/>
                <a:gd name="T24" fmla="*/ 2147483646 w 1911"/>
                <a:gd name="T25" fmla="*/ 2147483646 h 1462"/>
                <a:gd name="T26" fmla="*/ 2147483646 w 1911"/>
                <a:gd name="T27" fmla="*/ 2147483646 h 1462"/>
                <a:gd name="T28" fmla="*/ 2147483646 w 1911"/>
                <a:gd name="T29" fmla="*/ 2147483646 h 1462"/>
                <a:gd name="T30" fmla="*/ 2147483646 w 1911"/>
                <a:gd name="T31" fmla="*/ 2147483646 h 1462"/>
                <a:gd name="T32" fmla="*/ 2147483646 w 1911"/>
                <a:gd name="T33" fmla="*/ 2147483646 h 1462"/>
                <a:gd name="T34" fmla="*/ 2147483646 w 1911"/>
                <a:gd name="T35" fmla="*/ 2147483646 h 1462"/>
                <a:gd name="T36" fmla="*/ 2147483646 w 1911"/>
                <a:gd name="T37" fmla="*/ 2147483646 h 1462"/>
                <a:gd name="T38" fmla="*/ 2147483646 w 1911"/>
                <a:gd name="T39" fmla="*/ 2147483646 h 1462"/>
                <a:gd name="T40" fmla="*/ 2147483646 w 1911"/>
                <a:gd name="T41" fmla="*/ 2147483646 h 1462"/>
                <a:gd name="T42" fmla="*/ 2147483646 w 1911"/>
                <a:gd name="T43" fmla="*/ 2147483646 h 1462"/>
                <a:gd name="T44" fmla="*/ 2147483646 w 1911"/>
                <a:gd name="T45" fmla="*/ 2147483646 h 1462"/>
                <a:gd name="T46" fmla="*/ 2147483646 w 1911"/>
                <a:gd name="T47" fmla="*/ 2147483646 h 1462"/>
                <a:gd name="T48" fmla="*/ 2147483646 w 1911"/>
                <a:gd name="T49" fmla="*/ 2147483646 h 1462"/>
                <a:gd name="T50" fmla="*/ 2147483646 w 1911"/>
                <a:gd name="T51" fmla="*/ 2147483646 h 1462"/>
                <a:gd name="T52" fmla="*/ 2147483646 w 1911"/>
                <a:gd name="T53" fmla="*/ 2147483646 h 1462"/>
                <a:gd name="T54" fmla="*/ 2147483646 w 1911"/>
                <a:gd name="T55" fmla="*/ 2147483646 h 1462"/>
                <a:gd name="T56" fmla="*/ 2147483646 w 1911"/>
                <a:gd name="T57" fmla="*/ 2147483646 h 1462"/>
                <a:gd name="T58" fmla="*/ 2147483646 w 1911"/>
                <a:gd name="T59" fmla="*/ 2147483646 h 1462"/>
                <a:gd name="T60" fmla="*/ 2147483646 w 1911"/>
                <a:gd name="T61" fmla="*/ 2147483646 h 1462"/>
                <a:gd name="T62" fmla="*/ 2147483646 w 1911"/>
                <a:gd name="T63" fmla="*/ 2147483646 h 1462"/>
                <a:gd name="T64" fmla="*/ 2147483646 w 1911"/>
                <a:gd name="T65" fmla="*/ 2147483646 h 1462"/>
                <a:gd name="T66" fmla="*/ 2147483646 w 1911"/>
                <a:gd name="T67" fmla="*/ 2147483646 h 1462"/>
                <a:gd name="T68" fmla="*/ 2147483646 w 1911"/>
                <a:gd name="T69" fmla="*/ 2147483646 h 1462"/>
                <a:gd name="T70" fmla="*/ 2147483646 w 1911"/>
                <a:gd name="T71" fmla="*/ 2147483646 h 1462"/>
                <a:gd name="T72" fmla="*/ 2147483646 w 1911"/>
                <a:gd name="T73" fmla="*/ 2147483646 h 1462"/>
                <a:gd name="T74" fmla="*/ 2147483646 w 1911"/>
                <a:gd name="T75" fmla="*/ 2147483646 h 1462"/>
                <a:gd name="T76" fmla="*/ 2147483646 w 1911"/>
                <a:gd name="T77" fmla="*/ 2147483646 h 1462"/>
                <a:gd name="T78" fmla="*/ 2147483646 w 1911"/>
                <a:gd name="T79" fmla="*/ 2147483646 h 1462"/>
                <a:gd name="T80" fmla="*/ 2147483646 w 1911"/>
                <a:gd name="T81" fmla="*/ 2147483646 h 1462"/>
                <a:gd name="T82" fmla="*/ 2147483646 w 1911"/>
                <a:gd name="T83" fmla="*/ 2147483646 h 1462"/>
                <a:gd name="T84" fmla="*/ 2147483646 w 1911"/>
                <a:gd name="T85" fmla="*/ 2147483646 h 1462"/>
                <a:gd name="T86" fmla="*/ 2147483646 w 1911"/>
                <a:gd name="T87" fmla="*/ 2147483646 h 1462"/>
                <a:gd name="T88" fmla="*/ 2147483646 w 1911"/>
                <a:gd name="T89" fmla="*/ 2147483646 h 1462"/>
                <a:gd name="T90" fmla="*/ 2147483646 w 1911"/>
                <a:gd name="T91" fmla="*/ 2147483646 h 1462"/>
                <a:gd name="T92" fmla="*/ 2147483646 w 1911"/>
                <a:gd name="T93" fmla="*/ 2147483646 h 1462"/>
                <a:gd name="T94" fmla="*/ 2147483646 w 1911"/>
                <a:gd name="T95" fmla="*/ 2147483646 h 1462"/>
                <a:gd name="T96" fmla="*/ 2147483646 w 1911"/>
                <a:gd name="T97" fmla="*/ 2147483646 h 1462"/>
                <a:gd name="T98" fmla="*/ 2147483646 w 1911"/>
                <a:gd name="T99" fmla="*/ 2147483646 h 1462"/>
                <a:gd name="T100" fmla="*/ 2147483646 w 1911"/>
                <a:gd name="T101" fmla="*/ 2147483646 h 1462"/>
                <a:gd name="T102" fmla="*/ 2147483646 w 1911"/>
                <a:gd name="T103" fmla="*/ 2147483646 h 1462"/>
                <a:gd name="T104" fmla="*/ 2147483646 w 1911"/>
                <a:gd name="T105" fmla="*/ 2147483646 h 1462"/>
                <a:gd name="T106" fmla="*/ 2147483646 w 1911"/>
                <a:gd name="T107" fmla="*/ 2147483646 h 1462"/>
                <a:gd name="T108" fmla="*/ 2147483646 w 1911"/>
                <a:gd name="T109" fmla="*/ 2147483646 h 1462"/>
                <a:gd name="T110" fmla="*/ 2147483646 w 1911"/>
                <a:gd name="T111" fmla="*/ 2147483646 h 1462"/>
                <a:gd name="T112" fmla="*/ 2147483646 w 1911"/>
                <a:gd name="T113" fmla="*/ 2147483646 h 1462"/>
                <a:gd name="T114" fmla="*/ 2147483646 w 1911"/>
                <a:gd name="T115" fmla="*/ 2147483646 h 1462"/>
                <a:gd name="T116" fmla="*/ 2147483646 w 1911"/>
                <a:gd name="T117" fmla="*/ 2147483646 h 1462"/>
                <a:gd name="T118" fmla="*/ 2147483646 w 1911"/>
                <a:gd name="T119" fmla="*/ 2147483646 h 1462"/>
                <a:gd name="T120" fmla="*/ 2147483646 w 1911"/>
                <a:gd name="T121" fmla="*/ 2147483646 h 146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911" h="1462">
                  <a:moveTo>
                    <a:pt x="1116" y="0"/>
                  </a:moveTo>
                  <a:cubicBezTo>
                    <a:pt x="1116" y="0"/>
                    <a:pt x="1116" y="0"/>
                    <a:pt x="1116" y="0"/>
                  </a:cubicBezTo>
                  <a:cubicBezTo>
                    <a:pt x="1114" y="0"/>
                    <a:pt x="1112" y="0"/>
                    <a:pt x="1111" y="0"/>
                  </a:cubicBezTo>
                  <a:cubicBezTo>
                    <a:pt x="1110" y="1"/>
                    <a:pt x="1110" y="1"/>
                    <a:pt x="1109" y="1"/>
                  </a:cubicBezTo>
                  <a:cubicBezTo>
                    <a:pt x="1106" y="1"/>
                    <a:pt x="1102" y="1"/>
                    <a:pt x="1098" y="1"/>
                  </a:cubicBezTo>
                  <a:cubicBezTo>
                    <a:pt x="1097" y="1"/>
                    <a:pt x="1097" y="1"/>
                    <a:pt x="1096" y="1"/>
                  </a:cubicBezTo>
                  <a:cubicBezTo>
                    <a:pt x="1094" y="1"/>
                    <a:pt x="1092" y="1"/>
                    <a:pt x="1090" y="1"/>
                  </a:cubicBezTo>
                  <a:cubicBezTo>
                    <a:pt x="1090" y="1"/>
                    <a:pt x="1089" y="1"/>
                    <a:pt x="1089" y="1"/>
                  </a:cubicBezTo>
                  <a:cubicBezTo>
                    <a:pt x="1087" y="1"/>
                    <a:pt x="1085" y="1"/>
                    <a:pt x="1083" y="1"/>
                  </a:cubicBezTo>
                  <a:cubicBezTo>
                    <a:pt x="1082" y="1"/>
                    <a:pt x="1082" y="1"/>
                    <a:pt x="1081" y="1"/>
                  </a:cubicBezTo>
                  <a:cubicBezTo>
                    <a:pt x="1080" y="1"/>
                    <a:pt x="1079" y="1"/>
                    <a:pt x="1078" y="1"/>
                  </a:cubicBezTo>
                  <a:cubicBezTo>
                    <a:pt x="1077" y="1"/>
                    <a:pt x="1077" y="1"/>
                    <a:pt x="1077" y="1"/>
                  </a:cubicBezTo>
                  <a:cubicBezTo>
                    <a:pt x="1070" y="1"/>
                    <a:pt x="1063" y="2"/>
                    <a:pt x="1056" y="2"/>
                  </a:cubicBezTo>
                  <a:cubicBezTo>
                    <a:pt x="1056" y="2"/>
                    <a:pt x="1055" y="2"/>
                    <a:pt x="1055" y="2"/>
                  </a:cubicBezTo>
                  <a:cubicBezTo>
                    <a:pt x="1051" y="2"/>
                    <a:pt x="1048" y="2"/>
                    <a:pt x="1045" y="3"/>
                  </a:cubicBezTo>
                  <a:cubicBezTo>
                    <a:pt x="1044" y="3"/>
                    <a:pt x="1044" y="3"/>
                    <a:pt x="1044" y="3"/>
                  </a:cubicBezTo>
                  <a:cubicBezTo>
                    <a:pt x="1043" y="3"/>
                    <a:pt x="1043" y="3"/>
                    <a:pt x="1043" y="3"/>
                  </a:cubicBezTo>
                  <a:cubicBezTo>
                    <a:pt x="1043" y="3"/>
                    <a:pt x="1042" y="3"/>
                    <a:pt x="1042" y="3"/>
                  </a:cubicBezTo>
                  <a:cubicBezTo>
                    <a:pt x="1042" y="3"/>
                    <a:pt x="1042" y="3"/>
                    <a:pt x="1041" y="3"/>
                  </a:cubicBezTo>
                  <a:cubicBezTo>
                    <a:pt x="1041" y="3"/>
                    <a:pt x="1041" y="3"/>
                    <a:pt x="1040" y="3"/>
                  </a:cubicBezTo>
                  <a:cubicBezTo>
                    <a:pt x="1039" y="3"/>
                    <a:pt x="1038" y="3"/>
                    <a:pt x="1037" y="3"/>
                  </a:cubicBezTo>
                  <a:cubicBezTo>
                    <a:pt x="1035" y="3"/>
                    <a:pt x="1034" y="3"/>
                    <a:pt x="1032" y="3"/>
                  </a:cubicBezTo>
                  <a:cubicBezTo>
                    <a:pt x="1032" y="3"/>
                    <a:pt x="1032" y="3"/>
                    <a:pt x="1031" y="3"/>
                  </a:cubicBezTo>
                  <a:cubicBezTo>
                    <a:pt x="1023" y="4"/>
                    <a:pt x="1016" y="5"/>
                    <a:pt x="1008" y="5"/>
                  </a:cubicBezTo>
                  <a:cubicBezTo>
                    <a:pt x="1008" y="5"/>
                    <a:pt x="1007" y="6"/>
                    <a:pt x="1007" y="6"/>
                  </a:cubicBezTo>
                  <a:cubicBezTo>
                    <a:pt x="1002" y="6"/>
                    <a:pt x="998" y="6"/>
                    <a:pt x="994" y="7"/>
                  </a:cubicBezTo>
                  <a:cubicBezTo>
                    <a:pt x="994" y="7"/>
                    <a:pt x="993" y="7"/>
                    <a:pt x="993" y="7"/>
                  </a:cubicBezTo>
                  <a:cubicBezTo>
                    <a:pt x="992" y="7"/>
                    <a:pt x="992" y="7"/>
                    <a:pt x="991" y="7"/>
                  </a:cubicBezTo>
                  <a:cubicBezTo>
                    <a:pt x="991" y="7"/>
                    <a:pt x="990" y="8"/>
                    <a:pt x="989" y="8"/>
                  </a:cubicBezTo>
                  <a:cubicBezTo>
                    <a:pt x="983" y="8"/>
                    <a:pt x="977" y="9"/>
                    <a:pt x="971" y="10"/>
                  </a:cubicBezTo>
                  <a:cubicBezTo>
                    <a:pt x="971" y="10"/>
                    <a:pt x="970" y="11"/>
                    <a:pt x="970" y="11"/>
                  </a:cubicBezTo>
                  <a:cubicBezTo>
                    <a:pt x="963" y="12"/>
                    <a:pt x="957" y="13"/>
                    <a:pt x="951" y="14"/>
                  </a:cubicBezTo>
                  <a:cubicBezTo>
                    <a:pt x="951" y="14"/>
                    <a:pt x="951" y="14"/>
                    <a:pt x="950" y="14"/>
                  </a:cubicBezTo>
                  <a:cubicBezTo>
                    <a:pt x="948" y="15"/>
                    <a:pt x="946" y="15"/>
                    <a:pt x="944" y="16"/>
                  </a:cubicBezTo>
                  <a:cubicBezTo>
                    <a:pt x="943" y="16"/>
                    <a:pt x="942" y="16"/>
                    <a:pt x="941" y="16"/>
                  </a:cubicBezTo>
                  <a:cubicBezTo>
                    <a:pt x="940" y="17"/>
                    <a:pt x="939" y="17"/>
                    <a:pt x="937" y="17"/>
                  </a:cubicBezTo>
                  <a:cubicBezTo>
                    <a:pt x="937" y="18"/>
                    <a:pt x="936" y="18"/>
                    <a:pt x="936" y="18"/>
                  </a:cubicBezTo>
                  <a:cubicBezTo>
                    <a:pt x="933" y="18"/>
                    <a:pt x="931" y="19"/>
                    <a:pt x="928" y="20"/>
                  </a:cubicBezTo>
                  <a:cubicBezTo>
                    <a:pt x="927" y="20"/>
                    <a:pt x="927" y="20"/>
                    <a:pt x="926" y="20"/>
                  </a:cubicBezTo>
                  <a:cubicBezTo>
                    <a:pt x="926" y="20"/>
                    <a:pt x="926" y="20"/>
                    <a:pt x="926" y="20"/>
                  </a:cubicBezTo>
                  <a:cubicBezTo>
                    <a:pt x="925" y="21"/>
                    <a:pt x="925" y="21"/>
                    <a:pt x="925" y="21"/>
                  </a:cubicBezTo>
                  <a:cubicBezTo>
                    <a:pt x="914" y="24"/>
                    <a:pt x="904" y="27"/>
                    <a:pt x="895" y="31"/>
                  </a:cubicBezTo>
                  <a:cubicBezTo>
                    <a:pt x="895" y="31"/>
                    <a:pt x="895" y="31"/>
                    <a:pt x="894" y="31"/>
                  </a:cubicBezTo>
                  <a:cubicBezTo>
                    <a:pt x="892" y="32"/>
                    <a:pt x="890" y="33"/>
                    <a:pt x="888" y="34"/>
                  </a:cubicBezTo>
                  <a:cubicBezTo>
                    <a:pt x="887" y="34"/>
                    <a:pt x="887" y="34"/>
                    <a:pt x="887" y="35"/>
                  </a:cubicBezTo>
                  <a:cubicBezTo>
                    <a:pt x="882" y="37"/>
                    <a:pt x="879" y="38"/>
                    <a:pt x="875" y="40"/>
                  </a:cubicBezTo>
                  <a:cubicBezTo>
                    <a:pt x="876" y="40"/>
                    <a:pt x="877" y="40"/>
                    <a:pt x="878" y="40"/>
                  </a:cubicBezTo>
                  <a:cubicBezTo>
                    <a:pt x="881" y="39"/>
                    <a:pt x="883" y="37"/>
                    <a:pt x="886" y="36"/>
                  </a:cubicBezTo>
                  <a:cubicBezTo>
                    <a:pt x="887" y="36"/>
                    <a:pt x="887" y="36"/>
                    <a:pt x="887" y="35"/>
                  </a:cubicBezTo>
                  <a:cubicBezTo>
                    <a:pt x="890" y="34"/>
                    <a:pt x="893" y="33"/>
                    <a:pt x="895" y="32"/>
                  </a:cubicBezTo>
                  <a:cubicBezTo>
                    <a:pt x="896" y="32"/>
                    <a:pt x="896" y="32"/>
                    <a:pt x="897" y="31"/>
                  </a:cubicBezTo>
                  <a:cubicBezTo>
                    <a:pt x="905" y="28"/>
                    <a:pt x="915" y="25"/>
                    <a:pt x="925" y="22"/>
                  </a:cubicBezTo>
                  <a:cubicBezTo>
                    <a:pt x="926" y="22"/>
                    <a:pt x="926" y="21"/>
                    <a:pt x="927" y="21"/>
                  </a:cubicBezTo>
                  <a:cubicBezTo>
                    <a:pt x="927" y="21"/>
                    <a:pt x="927" y="21"/>
                    <a:pt x="927" y="21"/>
                  </a:cubicBezTo>
                  <a:cubicBezTo>
                    <a:pt x="930" y="20"/>
                    <a:pt x="932" y="20"/>
                    <a:pt x="935" y="19"/>
                  </a:cubicBezTo>
                  <a:cubicBezTo>
                    <a:pt x="936" y="19"/>
                    <a:pt x="936" y="19"/>
                    <a:pt x="937" y="19"/>
                  </a:cubicBezTo>
                  <a:cubicBezTo>
                    <a:pt x="937" y="18"/>
                    <a:pt x="938" y="18"/>
                    <a:pt x="938" y="18"/>
                  </a:cubicBezTo>
                  <a:cubicBezTo>
                    <a:pt x="939" y="18"/>
                    <a:pt x="940" y="18"/>
                    <a:pt x="941" y="17"/>
                  </a:cubicBezTo>
                  <a:cubicBezTo>
                    <a:pt x="942" y="17"/>
                    <a:pt x="942" y="17"/>
                    <a:pt x="942" y="17"/>
                  </a:cubicBezTo>
                  <a:cubicBezTo>
                    <a:pt x="945" y="17"/>
                    <a:pt x="948" y="16"/>
                    <a:pt x="951" y="15"/>
                  </a:cubicBezTo>
                  <a:cubicBezTo>
                    <a:pt x="951" y="15"/>
                    <a:pt x="951" y="15"/>
                    <a:pt x="952" y="15"/>
                  </a:cubicBezTo>
                  <a:cubicBezTo>
                    <a:pt x="957" y="14"/>
                    <a:pt x="963" y="13"/>
                    <a:pt x="969" y="12"/>
                  </a:cubicBezTo>
                  <a:cubicBezTo>
                    <a:pt x="969" y="12"/>
                    <a:pt x="970" y="12"/>
                    <a:pt x="970" y="12"/>
                  </a:cubicBezTo>
                  <a:cubicBezTo>
                    <a:pt x="976" y="11"/>
                    <a:pt x="982" y="10"/>
                    <a:pt x="988" y="9"/>
                  </a:cubicBezTo>
                  <a:cubicBezTo>
                    <a:pt x="989" y="9"/>
                    <a:pt x="989" y="9"/>
                    <a:pt x="990" y="9"/>
                  </a:cubicBezTo>
                  <a:cubicBezTo>
                    <a:pt x="991" y="8"/>
                    <a:pt x="992" y="8"/>
                    <a:pt x="993" y="8"/>
                  </a:cubicBezTo>
                  <a:cubicBezTo>
                    <a:pt x="993" y="8"/>
                    <a:pt x="993" y="8"/>
                    <a:pt x="994" y="8"/>
                  </a:cubicBezTo>
                  <a:cubicBezTo>
                    <a:pt x="998" y="8"/>
                    <a:pt x="1002" y="7"/>
                    <a:pt x="1006" y="7"/>
                  </a:cubicBezTo>
                  <a:cubicBezTo>
                    <a:pt x="1007" y="7"/>
                    <a:pt x="1007" y="7"/>
                    <a:pt x="1007" y="7"/>
                  </a:cubicBezTo>
                  <a:cubicBezTo>
                    <a:pt x="1015" y="6"/>
                    <a:pt x="1023" y="5"/>
                    <a:pt x="1030" y="5"/>
                  </a:cubicBezTo>
                  <a:cubicBezTo>
                    <a:pt x="1031" y="4"/>
                    <a:pt x="1031" y="4"/>
                    <a:pt x="1032" y="4"/>
                  </a:cubicBezTo>
                  <a:cubicBezTo>
                    <a:pt x="1033" y="4"/>
                    <a:pt x="1035" y="4"/>
                    <a:pt x="1037" y="4"/>
                  </a:cubicBezTo>
                  <a:cubicBezTo>
                    <a:pt x="1038" y="4"/>
                    <a:pt x="1039" y="4"/>
                    <a:pt x="1040" y="4"/>
                  </a:cubicBezTo>
                  <a:cubicBezTo>
                    <a:pt x="1040" y="4"/>
                    <a:pt x="1041" y="4"/>
                    <a:pt x="1041" y="4"/>
                  </a:cubicBezTo>
                  <a:cubicBezTo>
                    <a:pt x="1041" y="4"/>
                    <a:pt x="1042" y="4"/>
                    <a:pt x="1042" y="4"/>
                  </a:cubicBezTo>
                  <a:cubicBezTo>
                    <a:pt x="1042" y="4"/>
                    <a:pt x="1042" y="4"/>
                    <a:pt x="1042" y="4"/>
                  </a:cubicBezTo>
                  <a:cubicBezTo>
                    <a:pt x="1042" y="4"/>
                    <a:pt x="1043" y="4"/>
                    <a:pt x="1043" y="4"/>
                  </a:cubicBezTo>
                  <a:cubicBezTo>
                    <a:pt x="1043" y="4"/>
                    <a:pt x="1043" y="4"/>
                    <a:pt x="1043" y="4"/>
                  </a:cubicBezTo>
                  <a:cubicBezTo>
                    <a:pt x="1043" y="4"/>
                    <a:pt x="1043" y="4"/>
                    <a:pt x="1043" y="4"/>
                  </a:cubicBezTo>
                  <a:cubicBezTo>
                    <a:pt x="1044" y="4"/>
                    <a:pt x="1044" y="4"/>
                    <a:pt x="1044" y="4"/>
                  </a:cubicBezTo>
                  <a:cubicBezTo>
                    <a:pt x="1048" y="3"/>
                    <a:pt x="1051" y="3"/>
                    <a:pt x="1054" y="3"/>
                  </a:cubicBezTo>
                  <a:cubicBezTo>
                    <a:pt x="1054" y="3"/>
                    <a:pt x="1055" y="3"/>
                    <a:pt x="1055" y="3"/>
                  </a:cubicBezTo>
                  <a:cubicBezTo>
                    <a:pt x="1062" y="3"/>
                    <a:pt x="1069" y="2"/>
                    <a:pt x="1076" y="2"/>
                  </a:cubicBezTo>
                  <a:cubicBezTo>
                    <a:pt x="1077" y="2"/>
                    <a:pt x="1077" y="2"/>
                    <a:pt x="1077" y="2"/>
                  </a:cubicBezTo>
                  <a:cubicBezTo>
                    <a:pt x="1078" y="2"/>
                    <a:pt x="1079" y="2"/>
                    <a:pt x="1079" y="2"/>
                  </a:cubicBezTo>
                  <a:cubicBezTo>
                    <a:pt x="1080" y="2"/>
                    <a:pt x="1081" y="2"/>
                    <a:pt x="1081" y="2"/>
                  </a:cubicBezTo>
                  <a:cubicBezTo>
                    <a:pt x="1084" y="2"/>
                    <a:pt x="1086" y="2"/>
                    <a:pt x="1088" y="2"/>
                  </a:cubicBezTo>
                  <a:cubicBezTo>
                    <a:pt x="1089" y="2"/>
                    <a:pt x="1089" y="2"/>
                    <a:pt x="1089" y="2"/>
                  </a:cubicBezTo>
                  <a:cubicBezTo>
                    <a:pt x="1092" y="2"/>
                    <a:pt x="1094" y="2"/>
                    <a:pt x="1096" y="2"/>
                  </a:cubicBezTo>
                  <a:cubicBezTo>
                    <a:pt x="1096" y="2"/>
                    <a:pt x="1096" y="2"/>
                    <a:pt x="1097" y="2"/>
                  </a:cubicBezTo>
                  <a:cubicBezTo>
                    <a:pt x="1101" y="2"/>
                    <a:pt x="1105" y="2"/>
                    <a:pt x="1109" y="2"/>
                  </a:cubicBezTo>
                  <a:cubicBezTo>
                    <a:pt x="1109" y="2"/>
                    <a:pt x="1109" y="2"/>
                    <a:pt x="1110" y="2"/>
                  </a:cubicBezTo>
                  <a:cubicBezTo>
                    <a:pt x="1112" y="1"/>
                    <a:pt x="1114" y="1"/>
                    <a:pt x="1116" y="1"/>
                  </a:cubicBezTo>
                  <a:cubicBezTo>
                    <a:pt x="1116" y="1"/>
                    <a:pt x="1116" y="1"/>
                    <a:pt x="1116" y="1"/>
                  </a:cubicBezTo>
                  <a:cubicBezTo>
                    <a:pt x="1117" y="1"/>
                    <a:pt x="1117" y="1"/>
                    <a:pt x="1117" y="1"/>
                  </a:cubicBezTo>
                  <a:cubicBezTo>
                    <a:pt x="1117" y="1"/>
                    <a:pt x="1117" y="1"/>
                    <a:pt x="1117" y="1"/>
                  </a:cubicBezTo>
                  <a:cubicBezTo>
                    <a:pt x="1123" y="1"/>
                    <a:pt x="1130" y="2"/>
                    <a:pt x="1136" y="2"/>
                  </a:cubicBezTo>
                  <a:cubicBezTo>
                    <a:pt x="1136" y="2"/>
                    <a:pt x="1136" y="2"/>
                    <a:pt x="1137" y="2"/>
                  </a:cubicBezTo>
                  <a:cubicBezTo>
                    <a:pt x="1139" y="2"/>
                    <a:pt x="1140" y="2"/>
                    <a:pt x="1142" y="2"/>
                  </a:cubicBezTo>
                  <a:cubicBezTo>
                    <a:pt x="1142" y="2"/>
                    <a:pt x="1143" y="2"/>
                    <a:pt x="1143" y="2"/>
                  </a:cubicBezTo>
                  <a:cubicBezTo>
                    <a:pt x="1144" y="2"/>
                    <a:pt x="1145" y="2"/>
                    <a:pt x="1146" y="2"/>
                  </a:cubicBezTo>
                  <a:cubicBezTo>
                    <a:pt x="1146" y="2"/>
                    <a:pt x="1147" y="2"/>
                    <a:pt x="1147" y="2"/>
                  </a:cubicBezTo>
                  <a:cubicBezTo>
                    <a:pt x="1151" y="2"/>
                    <a:pt x="1155" y="2"/>
                    <a:pt x="1159" y="2"/>
                  </a:cubicBezTo>
                  <a:cubicBezTo>
                    <a:pt x="1159" y="2"/>
                    <a:pt x="1160" y="2"/>
                    <a:pt x="1160" y="2"/>
                  </a:cubicBezTo>
                  <a:cubicBezTo>
                    <a:pt x="1162" y="3"/>
                    <a:pt x="1165" y="3"/>
                    <a:pt x="1167" y="3"/>
                  </a:cubicBezTo>
                  <a:cubicBezTo>
                    <a:pt x="1168" y="3"/>
                    <a:pt x="1168" y="3"/>
                    <a:pt x="1169" y="3"/>
                  </a:cubicBezTo>
                  <a:cubicBezTo>
                    <a:pt x="1171" y="3"/>
                    <a:pt x="1173" y="3"/>
                    <a:pt x="1175" y="3"/>
                  </a:cubicBezTo>
                  <a:cubicBezTo>
                    <a:pt x="1175" y="3"/>
                    <a:pt x="1176" y="3"/>
                    <a:pt x="1176" y="3"/>
                  </a:cubicBezTo>
                  <a:cubicBezTo>
                    <a:pt x="1177" y="3"/>
                    <a:pt x="1178" y="4"/>
                    <a:pt x="1178" y="4"/>
                  </a:cubicBezTo>
                  <a:cubicBezTo>
                    <a:pt x="1179" y="4"/>
                    <a:pt x="1179" y="4"/>
                    <a:pt x="1179" y="4"/>
                  </a:cubicBezTo>
                  <a:cubicBezTo>
                    <a:pt x="1182" y="4"/>
                    <a:pt x="1184" y="4"/>
                    <a:pt x="1186" y="4"/>
                  </a:cubicBezTo>
                  <a:cubicBezTo>
                    <a:pt x="1186" y="4"/>
                    <a:pt x="1187" y="4"/>
                    <a:pt x="1187" y="4"/>
                  </a:cubicBezTo>
                  <a:cubicBezTo>
                    <a:pt x="1187" y="4"/>
                    <a:pt x="1187" y="4"/>
                    <a:pt x="1188" y="4"/>
                  </a:cubicBezTo>
                  <a:cubicBezTo>
                    <a:pt x="1188" y="4"/>
                    <a:pt x="1188" y="4"/>
                    <a:pt x="1189" y="4"/>
                  </a:cubicBezTo>
                  <a:cubicBezTo>
                    <a:pt x="1189" y="4"/>
                    <a:pt x="1189" y="4"/>
                    <a:pt x="1190" y="4"/>
                  </a:cubicBezTo>
                  <a:cubicBezTo>
                    <a:pt x="1192" y="5"/>
                    <a:pt x="1195" y="5"/>
                    <a:pt x="1197" y="5"/>
                  </a:cubicBezTo>
                  <a:cubicBezTo>
                    <a:pt x="1198" y="5"/>
                    <a:pt x="1198" y="5"/>
                    <a:pt x="1198" y="5"/>
                  </a:cubicBezTo>
                  <a:cubicBezTo>
                    <a:pt x="1198" y="5"/>
                    <a:pt x="1199" y="5"/>
                    <a:pt x="1199" y="5"/>
                  </a:cubicBezTo>
                  <a:cubicBezTo>
                    <a:pt x="1199" y="5"/>
                    <a:pt x="1199" y="5"/>
                    <a:pt x="1200" y="5"/>
                  </a:cubicBezTo>
                  <a:cubicBezTo>
                    <a:pt x="1201" y="6"/>
                    <a:pt x="1202" y="6"/>
                    <a:pt x="1202" y="6"/>
                  </a:cubicBezTo>
                  <a:cubicBezTo>
                    <a:pt x="1203" y="6"/>
                    <a:pt x="1203" y="6"/>
                    <a:pt x="1203" y="6"/>
                  </a:cubicBezTo>
                  <a:cubicBezTo>
                    <a:pt x="1204" y="6"/>
                    <a:pt x="1204" y="6"/>
                    <a:pt x="1205" y="6"/>
                  </a:cubicBezTo>
                  <a:cubicBezTo>
                    <a:pt x="1205" y="6"/>
                    <a:pt x="1206" y="6"/>
                    <a:pt x="1206" y="6"/>
                  </a:cubicBezTo>
                  <a:cubicBezTo>
                    <a:pt x="1209" y="6"/>
                    <a:pt x="1212" y="7"/>
                    <a:pt x="1215" y="7"/>
                  </a:cubicBezTo>
                  <a:cubicBezTo>
                    <a:pt x="1215" y="7"/>
                    <a:pt x="1216" y="7"/>
                    <a:pt x="1216" y="7"/>
                  </a:cubicBezTo>
                  <a:cubicBezTo>
                    <a:pt x="1217" y="8"/>
                    <a:pt x="1218" y="8"/>
                    <a:pt x="1219" y="8"/>
                  </a:cubicBezTo>
                  <a:cubicBezTo>
                    <a:pt x="1220" y="8"/>
                    <a:pt x="1221" y="8"/>
                    <a:pt x="1221" y="8"/>
                  </a:cubicBezTo>
                  <a:cubicBezTo>
                    <a:pt x="1229" y="9"/>
                    <a:pt x="1236" y="10"/>
                    <a:pt x="1243" y="12"/>
                  </a:cubicBezTo>
                  <a:cubicBezTo>
                    <a:pt x="1244" y="12"/>
                    <a:pt x="1244" y="12"/>
                    <a:pt x="1244" y="12"/>
                  </a:cubicBezTo>
                  <a:cubicBezTo>
                    <a:pt x="1246" y="12"/>
                    <a:pt x="1248" y="13"/>
                    <a:pt x="1250" y="13"/>
                  </a:cubicBezTo>
                  <a:cubicBezTo>
                    <a:pt x="1251" y="13"/>
                    <a:pt x="1252" y="13"/>
                    <a:pt x="1252" y="14"/>
                  </a:cubicBezTo>
                  <a:cubicBezTo>
                    <a:pt x="1254" y="14"/>
                    <a:pt x="1256" y="14"/>
                    <a:pt x="1257" y="15"/>
                  </a:cubicBezTo>
                  <a:cubicBezTo>
                    <a:pt x="1258" y="15"/>
                    <a:pt x="1258" y="15"/>
                    <a:pt x="1258" y="15"/>
                  </a:cubicBezTo>
                  <a:cubicBezTo>
                    <a:pt x="1262" y="16"/>
                    <a:pt x="1266" y="17"/>
                    <a:pt x="1269" y="18"/>
                  </a:cubicBezTo>
                  <a:cubicBezTo>
                    <a:pt x="1270" y="18"/>
                    <a:pt x="1270" y="18"/>
                    <a:pt x="1270" y="18"/>
                  </a:cubicBezTo>
                  <a:cubicBezTo>
                    <a:pt x="1273" y="19"/>
                    <a:pt x="1275" y="19"/>
                    <a:pt x="1277" y="20"/>
                  </a:cubicBezTo>
                  <a:cubicBezTo>
                    <a:pt x="1278" y="20"/>
                    <a:pt x="1278" y="20"/>
                    <a:pt x="1279" y="20"/>
                  </a:cubicBezTo>
                  <a:cubicBezTo>
                    <a:pt x="1279" y="21"/>
                    <a:pt x="1279" y="21"/>
                    <a:pt x="1280" y="21"/>
                  </a:cubicBezTo>
                  <a:cubicBezTo>
                    <a:pt x="1280" y="21"/>
                    <a:pt x="1280" y="21"/>
                    <a:pt x="1281" y="21"/>
                  </a:cubicBezTo>
                  <a:cubicBezTo>
                    <a:pt x="1283" y="22"/>
                    <a:pt x="1285" y="22"/>
                    <a:pt x="1287" y="23"/>
                  </a:cubicBezTo>
                  <a:cubicBezTo>
                    <a:pt x="1287" y="23"/>
                    <a:pt x="1288" y="23"/>
                    <a:pt x="1288" y="23"/>
                  </a:cubicBezTo>
                  <a:cubicBezTo>
                    <a:pt x="1288" y="24"/>
                    <a:pt x="1289" y="24"/>
                    <a:pt x="1289" y="24"/>
                  </a:cubicBezTo>
                  <a:cubicBezTo>
                    <a:pt x="1291" y="24"/>
                    <a:pt x="1293" y="25"/>
                    <a:pt x="1295" y="26"/>
                  </a:cubicBezTo>
                  <a:cubicBezTo>
                    <a:pt x="1295" y="26"/>
                    <a:pt x="1295" y="26"/>
                    <a:pt x="1295" y="26"/>
                  </a:cubicBezTo>
                  <a:cubicBezTo>
                    <a:pt x="1297" y="27"/>
                    <a:pt x="1298" y="27"/>
                    <a:pt x="1299" y="28"/>
                  </a:cubicBezTo>
                  <a:cubicBezTo>
                    <a:pt x="1299" y="28"/>
                    <a:pt x="1300" y="28"/>
                    <a:pt x="1300" y="28"/>
                  </a:cubicBezTo>
                  <a:cubicBezTo>
                    <a:pt x="1300" y="28"/>
                    <a:pt x="1300" y="28"/>
                    <a:pt x="1300" y="28"/>
                  </a:cubicBezTo>
                  <a:cubicBezTo>
                    <a:pt x="1300" y="28"/>
                    <a:pt x="1300" y="28"/>
                    <a:pt x="1301" y="28"/>
                  </a:cubicBezTo>
                  <a:cubicBezTo>
                    <a:pt x="1301" y="28"/>
                    <a:pt x="1301" y="29"/>
                    <a:pt x="1302" y="29"/>
                  </a:cubicBezTo>
                  <a:cubicBezTo>
                    <a:pt x="1306" y="31"/>
                    <a:pt x="1311" y="33"/>
                    <a:pt x="1315" y="35"/>
                  </a:cubicBezTo>
                  <a:cubicBezTo>
                    <a:pt x="1329" y="42"/>
                    <a:pt x="1340" y="50"/>
                    <a:pt x="1349" y="59"/>
                  </a:cubicBezTo>
                  <a:cubicBezTo>
                    <a:pt x="1349" y="59"/>
                    <a:pt x="1349" y="60"/>
                    <a:pt x="1349" y="60"/>
                  </a:cubicBezTo>
                  <a:cubicBezTo>
                    <a:pt x="1363" y="74"/>
                    <a:pt x="1370" y="90"/>
                    <a:pt x="1371" y="107"/>
                  </a:cubicBezTo>
                  <a:cubicBezTo>
                    <a:pt x="1371" y="107"/>
                    <a:pt x="1371" y="107"/>
                    <a:pt x="1371" y="108"/>
                  </a:cubicBezTo>
                  <a:cubicBezTo>
                    <a:pt x="1371" y="110"/>
                    <a:pt x="1372" y="113"/>
                    <a:pt x="1372" y="115"/>
                  </a:cubicBezTo>
                  <a:cubicBezTo>
                    <a:pt x="1372" y="127"/>
                    <a:pt x="1369" y="140"/>
                    <a:pt x="1365" y="152"/>
                  </a:cubicBezTo>
                  <a:cubicBezTo>
                    <a:pt x="1364" y="153"/>
                    <a:pt x="1364" y="153"/>
                    <a:pt x="1364" y="154"/>
                  </a:cubicBezTo>
                  <a:cubicBezTo>
                    <a:pt x="1360" y="165"/>
                    <a:pt x="1354" y="176"/>
                    <a:pt x="1348" y="186"/>
                  </a:cubicBezTo>
                  <a:cubicBezTo>
                    <a:pt x="1347" y="187"/>
                    <a:pt x="1347" y="188"/>
                    <a:pt x="1347" y="188"/>
                  </a:cubicBezTo>
                  <a:cubicBezTo>
                    <a:pt x="1342" y="195"/>
                    <a:pt x="1338" y="201"/>
                    <a:pt x="1333" y="208"/>
                  </a:cubicBezTo>
                  <a:cubicBezTo>
                    <a:pt x="1332" y="208"/>
                    <a:pt x="1332" y="209"/>
                    <a:pt x="1331" y="209"/>
                  </a:cubicBezTo>
                  <a:cubicBezTo>
                    <a:pt x="1329" y="212"/>
                    <a:pt x="1326" y="215"/>
                    <a:pt x="1324" y="219"/>
                  </a:cubicBezTo>
                  <a:cubicBezTo>
                    <a:pt x="1323" y="219"/>
                    <a:pt x="1323" y="220"/>
                    <a:pt x="1323" y="220"/>
                  </a:cubicBezTo>
                  <a:cubicBezTo>
                    <a:pt x="1303" y="243"/>
                    <a:pt x="1278" y="265"/>
                    <a:pt x="1251" y="283"/>
                  </a:cubicBezTo>
                  <a:cubicBezTo>
                    <a:pt x="1238" y="292"/>
                    <a:pt x="1231" y="305"/>
                    <a:pt x="1229" y="319"/>
                  </a:cubicBezTo>
                  <a:cubicBezTo>
                    <a:pt x="1229" y="320"/>
                    <a:pt x="1228" y="320"/>
                    <a:pt x="1228" y="321"/>
                  </a:cubicBezTo>
                  <a:cubicBezTo>
                    <a:pt x="1228" y="324"/>
                    <a:pt x="1228" y="327"/>
                    <a:pt x="1228" y="330"/>
                  </a:cubicBezTo>
                  <a:cubicBezTo>
                    <a:pt x="1228" y="346"/>
                    <a:pt x="1232" y="364"/>
                    <a:pt x="1241" y="384"/>
                  </a:cubicBezTo>
                  <a:cubicBezTo>
                    <a:pt x="1241" y="385"/>
                    <a:pt x="1241" y="385"/>
                    <a:pt x="1241" y="385"/>
                  </a:cubicBezTo>
                  <a:cubicBezTo>
                    <a:pt x="1250" y="406"/>
                    <a:pt x="1263" y="429"/>
                    <a:pt x="1279" y="453"/>
                  </a:cubicBezTo>
                  <a:cubicBezTo>
                    <a:pt x="1279" y="453"/>
                    <a:pt x="1279" y="453"/>
                    <a:pt x="1279" y="454"/>
                  </a:cubicBezTo>
                  <a:cubicBezTo>
                    <a:pt x="1290" y="471"/>
                    <a:pt x="1303" y="489"/>
                    <a:pt x="1317" y="508"/>
                  </a:cubicBezTo>
                  <a:cubicBezTo>
                    <a:pt x="1318" y="508"/>
                    <a:pt x="1318" y="508"/>
                    <a:pt x="1318" y="509"/>
                  </a:cubicBezTo>
                  <a:cubicBezTo>
                    <a:pt x="1331" y="526"/>
                    <a:pt x="1345" y="543"/>
                    <a:pt x="1359" y="561"/>
                  </a:cubicBezTo>
                  <a:cubicBezTo>
                    <a:pt x="1359" y="561"/>
                    <a:pt x="1360" y="562"/>
                    <a:pt x="1360" y="562"/>
                  </a:cubicBezTo>
                  <a:cubicBezTo>
                    <a:pt x="1374" y="579"/>
                    <a:pt x="1389" y="597"/>
                    <a:pt x="1404" y="614"/>
                  </a:cubicBezTo>
                  <a:cubicBezTo>
                    <a:pt x="1404" y="615"/>
                    <a:pt x="1404" y="615"/>
                    <a:pt x="1404" y="615"/>
                  </a:cubicBezTo>
                  <a:cubicBezTo>
                    <a:pt x="1420" y="633"/>
                    <a:pt x="1435" y="651"/>
                    <a:pt x="1451" y="669"/>
                  </a:cubicBezTo>
                  <a:cubicBezTo>
                    <a:pt x="1451" y="670"/>
                    <a:pt x="1452" y="670"/>
                    <a:pt x="1452" y="670"/>
                  </a:cubicBezTo>
                  <a:cubicBezTo>
                    <a:pt x="1469" y="689"/>
                    <a:pt x="1486" y="708"/>
                    <a:pt x="1503" y="728"/>
                  </a:cubicBezTo>
                  <a:cubicBezTo>
                    <a:pt x="1503" y="728"/>
                    <a:pt x="1503" y="728"/>
                    <a:pt x="1503" y="729"/>
                  </a:cubicBezTo>
                  <a:cubicBezTo>
                    <a:pt x="1522" y="750"/>
                    <a:pt x="1541" y="771"/>
                    <a:pt x="1560" y="793"/>
                  </a:cubicBezTo>
                  <a:cubicBezTo>
                    <a:pt x="1560" y="793"/>
                    <a:pt x="1560" y="793"/>
                    <a:pt x="1561" y="794"/>
                  </a:cubicBezTo>
                  <a:cubicBezTo>
                    <a:pt x="1572" y="806"/>
                    <a:pt x="1583" y="819"/>
                    <a:pt x="1593" y="831"/>
                  </a:cubicBezTo>
                  <a:cubicBezTo>
                    <a:pt x="1606" y="846"/>
                    <a:pt x="1618" y="860"/>
                    <a:pt x="1630" y="875"/>
                  </a:cubicBezTo>
                  <a:cubicBezTo>
                    <a:pt x="1631" y="876"/>
                    <a:pt x="1632" y="877"/>
                    <a:pt x="1633" y="878"/>
                  </a:cubicBezTo>
                  <a:cubicBezTo>
                    <a:pt x="1676" y="930"/>
                    <a:pt x="1715" y="983"/>
                    <a:pt x="1749" y="1032"/>
                  </a:cubicBezTo>
                  <a:cubicBezTo>
                    <a:pt x="1750" y="1033"/>
                    <a:pt x="1751" y="1034"/>
                    <a:pt x="1751" y="1035"/>
                  </a:cubicBezTo>
                  <a:cubicBezTo>
                    <a:pt x="1764" y="1054"/>
                    <a:pt x="1777" y="1072"/>
                    <a:pt x="1788" y="1090"/>
                  </a:cubicBezTo>
                  <a:cubicBezTo>
                    <a:pt x="1788" y="1091"/>
                    <a:pt x="1789" y="1092"/>
                    <a:pt x="1790" y="1093"/>
                  </a:cubicBezTo>
                  <a:cubicBezTo>
                    <a:pt x="1793" y="1098"/>
                    <a:pt x="1797" y="1104"/>
                    <a:pt x="1800" y="1109"/>
                  </a:cubicBezTo>
                  <a:cubicBezTo>
                    <a:pt x="1801" y="1111"/>
                    <a:pt x="1802" y="1112"/>
                    <a:pt x="1802" y="1113"/>
                  </a:cubicBezTo>
                  <a:cubicBezTo>
                    <a:pt x="1805" y="1117"/>
                    <a:pt x="1807" y="1121"/>
                    <a:pt x="1810" y="1125"/>
                  </a:cubicBezTo>
                  <a:cubicBezTo>
                    <a:pt x="1811" y="1127"/>
                    <a:pt x="1812" y="1129"/>
                    <a:pt x="1813" y="1131"/>
                  </a:cubicBezTo>
                  <a:cubicBezTo>
                    <a:pt x="1814" y="1134"/>
                    <a:pt x="1816" y="1136"/>
                    <a:pt x="1817" y="1138"/>
                  </a:cubicBezTo>
                  <a:cubicBezTo>
                    <a:pt x="1819" y="1141"/>
                    <a:pt x="1820" y="1144"/>
                    <a:pt x="1822" y="1147"/>
                  </a:cubicBezTo>
                  <a:cubicBezTo>
                    <a:pt x="1826" y="1154"/>
                    <a:pt x="1829" y="1160"/>
                    <a:pt x="1833" y="1166"/>
                  </a:cubicBezTo>
                  <a:cubicBezTo>
                    <a:pt x="1834" y="1169"/>
                    <a:pt x="1836" y="1172"/>
                    <a:pt x="1838" y="1176"/>
                  </a:cubicBezTo>
                  <a:cubicBezTo>
                    <a:pt x="1839" y="1178"/>
                    <a:pt x="1840" y="1181"/>
                    <a:pt x="1842" y="1183"/>
                  </a:cubicBezTo>
                  <a:cubicBezTo>
                    <a:pt x="1844" y="1187"/>
                    <a:pt x="1846" y="1191"/>
                    <a:pt x="1849" y="1195"/>
                  </a:cubicBezTo>
                  <a:cubicBezTo>
                    <a:pt x="1848" y="1193"/>
                    <a:pt x="1847" y="1191"/>
                    <a:pt x="1846" y="1189"/>
                  </a:cubicBezTo>
                  <a:cubicBezTo>
                    <a:pt x="1843" y="1185"/>
                    <a:pt x="1841" y="1180"/>
                    <a:pt x="1839" y="1175"/>
                  </a:cubicBezTo>
                  <a:cubicBezTo>
                    <a:pt x="1835" y="1168"/>
                    <a:pt x="1831" y="1160"/>
                    <a:pt x="1826" y="1152"/>
                  </a:cubicBezTo>
                  <a:cubicBezTo>
                    <a:pt x="1824" y="1148"/>
                    <a:pt x="1821" y="1143"/>
                    <a:pt x="1818" y="1138"/>
                  </a:cubicBezTo>
                  <a:cubicBezTo>
                    <a:pt x="1816" y="1135"/>
                    <a:pt x="1815" y="1132"/>
                    <a:pt x="1813" y="1129"/>
                  </a:cubicBezTo>
                  <a:cubicBezTo>
                    <a:pt x="1812" y="1128"/>
                    <a:pt x="1811" y="1126"/>
                    <a:pt x="1810" y="1125"/>
                  </a:cubicBezTo>
                  <a:cubicBezTo>
                    <a:pt x="1809" y="1123"/>
                    <a:pt x="1808" y="1121"/>
                    <a:pt x="1807" y="1119"/>
                  </a:cubicBezTo>
                  <a:cubicBezTo>
                    <a:pt x="1805" y="1116"/>
                    <a:pt x="1803" y="1112"/>
                    <a:pt x="1801" y="1109"/>
                  </a:cubicBezTo>
                  <a:cubicBezTo>
                    <a:pt x="1800" y="1107"/>
                    <a:pt x="1799" y="1106"/>
                    <a:pt x="1798" y="1105"/>
                  </a:cubicBezTo>
                  <a:cubicBezTo>
                    <a:pt x="1795" y="1100"/>
                    <a:pt x="1792" y="1095"/>
                    <a:pt x="1789" y="1089"/>
                  </a:cubicBezTo>
                  <a:cubicBezTo>
                    <a:pt x="1788" y="1088"/>
                    <a:pt x="1787" y="1087"/>
                    <a:pt x="1787" y="1086"/>
                  </a:cubicBezTo>
                  <a:cubicBezTo>
                    <a:pt x="1775" y="1069"/>
                    <a:pt x="1763" y="1050"/>
                    <a:pt x="1750" y="1031"/>
                  </a:cubicBezTo>
                  <a:cubicBezTo>
                    <a:pt x="1749" y="1030"/>
                    <a:pt x="1749" y="1029"/>
                    <a:pt x="1748" y="1028"/>
                  </a:cubicBezTo>
                  <a:cubicBezTo>
                    <a:pt x="1714" y="979"/>
                    <a:pt x="1674" y="927"/>
                    <a:pt x="1631" y="874"/>
                  </a:cubicBezTo>
                  <a:cubicBezTo>
                    <a:pt x="1631" y="874"/>
                    <a:pt x="1630" y="873"/>
                    <a:pt x="1629" y="872"/>
                  </a:cubicBezTo>
                  <a:cubicBezTo>
                    <a:pt x="1618" y="858"/>
                    <a:pt x="1606" y="844"/>
                    <a:pt x="1594" y="830"/>
                  </a:cubicBezTo>
                  <a:cubicBezTo>
                    <a:pt x="1583" y="818"/>
                    <a:pt x="1572" y="805"/>
                    <a:pt x="1561" y="792"/>
                  </a:cubicBezTo>
                  <a:cubicBezTo>
                    <a:pt x="1560" y="792"/>
                    <a:pt x="1560" y="791"/>
                    <a:pt x="1560" y="791"/>
                  </a:cubicBezTo>
                  <a:cubicBezTo>
                    <a:pt x="1541" y="770"/>
                    <a:pt x="1522" y="749"/>
                    <a:pt x="1504" y="727"/>
                  </a:cubicBezTo>
                  <a:cubicBezTo>
                    <a:pt x="1503" y="727"/>
                    <a:pt x="1503" y="727"/>
                    <a:pt x="1503" y="726"/>
                  </a:cubicBezTo>
                  <a:cubicBezTo>
                    <a:pt x="1486" y="707"/>
                    <a:pt x="1469" y="688"/>
                    <a:pt x="1452" y="669"/>
                  </a:cubicBezTo>
                  <a:cubicBezTo>
                    <a:pt x="1452" y="669"/>
                    <a:pt x="1452" y="669"/>
                    <a:pt x="1452" y="668"/>
                  </a:cubicBezTo>
                  <a:cubicBezTo>
                    <a:pt x="1436" y="650"/>
                    <a:pt x="1420" y="632"/>
                    <a:pt x="1405" y="614"/>
                  </a:cubicBezTo>
                  <a:cubicBezTo>
                    <a:pt x="1405" y="614"/>
                    <a:pt x="1404" y="614"/>
                    <a:pt x="1404" y="613"/>
                  </a:cubicBezTo>
                  <a:cubicBezTo>
                    <a:pt x="1389" y="596"/>
                    <a:pt x="1374" y="578"/>
                    <a:pt x="1360" y="561"/>
                  </a:cubicBezTo>
                  <a:cubicBezTo>
                    <a:pt x="1360" y="561"/>
                    <a:pt x="1360" y="560"/>
                    <a:pt x="1360" y="560"/>
                  </a:cubicBezTo>
                  <a:cubicBezTo>
                    <a:pt x="1345" y="542"/>
                    <a:pt x="1331" y="525"/>
                    <a:pt x="1319" y="508"/>
                  </a:cubicBezTo>
                  <a:cubicBezTo>
                    <a:pt x="1319" y="508"/>
                    <a:pt x="1318" y="507"/>
                    <a:pt x="1318" y="507"/>
                  </a:cubicBezTo>
                  <a:cubicBezTo>
                    <a:pt x="1304" y="488"/>
                    <a:pt x="1291" y="470"/>
                    <a:pt x="1280" y="453"/>
                  </a:cubicBezTo>
                  <a:cubicBezTo>
                    <a:pt x="1280" y="453"/>
                    <a:pt x="1280" y="452"/>
                    <a:pt x="1279" y="452"/>
                  </a:cubicBezTo>
                  <a:cubicBezTo>
                    <a:pt x="1263" y="428"/>
                    <a:pt x="1251" y="405"/>
                    <a:pt x="1242" y="385"/>
                  </a:cubicBezTo>
                  <a:cubicBezTo>
                    <a:pt x="1242" y="384"/>
                    <a:pt x="1242" y="384"/>
                    <a:pt x="1242" y="384"/>
                  </a:cubicBezTo>
                  <a:cubicBezTo>
                    <a:pt x="1233" y="364"/>
                    <a:pt x="1229" y="346"/>
                    <a:pt x="1229" y="330"/>
                  </a:cubicBezTo>
                  <a:cubicBezTo>
                    <a:pt x="1229" y="327"/>
                    <a:pt x="1229" y="323"/>
                    <a:pt x="1229" y="320"/>
                  </a:cubicBezTo>
                  <a:cubicBezTo>
                    <a:pt x="1230" y="319"/>
                    <a:pt x="1230" y="319"/>
                    <a:pt x="1230" y="319"/>
                  </a:cubicBezTo>
                  <a:cubicBezTo>
                    <a:pt x="1232" y="305"/>
                    <a:pt x="1239" y="293"/>
                    <a:pt x="1252" y="284"/>
                  </a:cubicBezTo>
                  <a:cubicBezTo>
                    <a:pt x="1279" y="265"/>
                    <a:pt x="1304" y="243"/>
                    <a:pt x="1324" y="219"/>
                  </a:cubicBezTo>
                  <a:cubicBezTo>
                    <a:pt x="1325" y="219"/>
                    <a:pt x="1325" y="218"/>
                    <a:pt x="1326" y="218"/>
                  </a:cubicBezTo>
                  <a:cubicBezTo>
                    <a:pt x="1328" y="215"/>
                    <a:pt x="1331" y="212"/>
                    <a:pt x="1333" y="209"/>
                  </a:cubicBezTo>
                  <a:cubicBezTo>
                    <a:pt x="1334" y="208"/>
                    <a:pt x="1334" y="207"/>
                    <a:pt x="1335" y="207"/>
                  </a:cubicBezTo>
                  <a:cubicBezTo>
                    <a:pt x="1340" y="200"/>
                    <a:pt x="1344" y="194"/>
                    <a:pt x="1348" y="187"/>
                  </a:cubicBezTo>
                  <a:cubicBezTo>
                    <a:pt x="1349" y="187"/>
                    <a:pt x="1349" y="186"/>
                    <a:pt x="1349" y="186"/>
                  </a:cubicBezTo>
                  <a:cubicBezTo>
                    <a:pt x="1356" y="175"/>
                    <a:pt x="1361" y="164"/>
                    <a:pt x="1365" y="153"/>
                  </a:cubicBezTo>
                  <a:cubicBezTo>
                    <a:pt x="1366" y="152"/>
                    <a:pt x="1366" y="152"/>
                    <a:pt x="1366" y="151"/>
                  </a:cubicBezTo>
                  <a:cubicBezTo>
                    <a:pt x="1370" y="139"/>
                    <a:pt x="1373" y="127"/>
                    <a:pt x="1373" y="115"/>
                  </a:cubicBezTo>
                  <a:cubicBezTo>
                    <a:pt x="1373" y="112"/>
                    <a:pt x="1372" y="110"/>
                    <a:pt x="1372" y="107"/>
                  </a:cubicBezTo>
                  <a:cubicBezTo>
                    <a:pt x="1372" y="107"/>
                    <a:pt x="1372" y="106"/>
                    <a:pt x="1372" y="106"/>
                  </a:cubicBezTo>
                  <a:cubicBezTo>
                    <a:pt x="1370" y="89"/>
                    <a:pt x="1363" y="73"/>
                    <a:pt x="1350" y="59"/>
                  </a:cubicBezTo>
                  <a:cubicBezTo>
                    <a:pt x="1350" y="59"/>
                    <a:pt x="1350" y="59"/>
                    <a:pt x="1349" y="58"/>
                  </a:cubicBezTo>
                  <a:cubicBezTo>
                    <a:pt x="1338" y="47"/>
                    <a:pt x="1323" y="36"/>
                    <a:pt x="1302" y="28"/>
                  </a:cubicBezTo>
                  <a:cubicBezTo>
                    <a:pt x="1302" y="28"/>
                    <a:pt x="1301" y="28"/>
                    <a:pt x="1301" y="27"/>
                  </a:cubicBezTo>
                  <a:cubicBezTo>
                    <a:pt x="1301" y="27"/>
                    <a:pt x="1301" y="27"/>
                    <a:pt x="1300" y="27"/>
                  </a:cubicBezTo>
                  <a:cubicBezTo>
                    <a:pt x="1300" y="27"/>
                    <a:pt x="1300" y="27"/>
                    <a:pt x="1300" y="27"/>
                  </a:cubicBezTo>
                  <a:cubicBezTo>
                    <a:pt x="1300" y="27"/>
                    <a:pt x="1300" y="27"/>
                    <a:pt x="1299" y="27"/>
                  </a:cubicBezTo>
                  <a:cubicBezTo>
                    <a:pt x="1298" y="26"/>
                    <a:pt x="1297" y="26"/>
                    <a:pt x="1296" y="25"/>
                  </a:cubicBezTo>
                  <a:cubicBezTo>
                    <a:pt x="1296" y="25"/>
                    <a:pt x="1295" y="25"/>
                    <a:pt x="1295" y="25"/>
                  </a:cubicBezTo>
                  <a:cubicBezTo>
                    <a:pt x="1293" y="24"/>
                    <a:pt x="1291" y="24"/>
                    <a:pt x="1289" y="23"/>
                  </a:cubicBezTo>
                  <a:cubicBezTo>
                    <a:pt x="1289" y="23"/>
                    <a:pt x="1289" y="23"/>
                    <a:pt x="1288" y="23"/>
                  </a:cubicBezTo>
                  <a:cubicBezTo>
                    <a:pt x="1288" y="23"/>
                    <a:pt x="1288" y="22"/>
                    <a:pt x="1288" y="22"/>
                  </a:cubicBezTo>
                  <a:cubicBezTo>
                    <a:pt x="1285" y="22"/>
                    <a:pt x="1283" y="21"/>
                    <a:pt x="1281" y="20"/>
                  </a:cubicBezTo>
                  <a:cubicBezTo>
                    <a:pt x="1281" y="20"/>
                    <a:pt x="1280" y="20"/>
                    <a:pt x="1280" y="20"/>
                  </a:cubicBezTo>
                  <a:cubicBezTo>
                    <a:pt x="1280" y="20"/>
                    <a:pt x="1280" y="20"/>
                    <a:pt x="1280" y="20"/>
                  </a:cubicBezTo>
                  <a:cubicBezTo>
                    <a:pt x="1279" y="20"/>
                    <a:pt x="1279" y="19"/>
                    <a:pt x="1278" y="19"/>
                  </a:cubicBezTo>
                  <a:cubicBezTo>
                    <a:pt x="1276" y="19"/>
                    <a:pt x="1273" y="18"/>
                    <a:pt x="1271" y="17"/>
                  </a:cubicBezTo>
                  <a:cubicBezTo>
                    <a:pt x="1270" y="17"/>
                    <a:pt x="1270" y="17"/>
                    <a:pt x="1270" y="17"/>
                  </a:cubicBezTo>
                  <a:cubicBezTo>
                    <a:pt x="1266" y="16"/>
                    <a:pt x="1262" y="15"/>
                    <a:pt x="1259" y="14"/>
                  </a:cubicBezTo>
                  <a:cubicBezTo>
                    <a:pt x="1258" y="14"/>
                    <a:pt x="1258" y="14"/>
                    <a:pt x="1258" y="14"/>
                  </a:cubicBezTo>
                  <a:cubicBezTo>
                    <a:pt x="1256" y="14"/>
                    <a:pt x="1255" y="13"/>
                    <a:pt x="1254" y="13"/>
                  </a:cubicBezTo>
                  <a:cubicBezTo>
                    <a:pt x="1254" y="13"/>
                    <a:pt x="1253" y="13"/>
                    <a:pt x="1252" y="13"/>
                  </a:cubicBezTo>
                  <a:cubicBezTo>
                    <a:pt x="1250" y="12"/>
                    <a:pt x="1247" y="12"/>
                    <a:pt x="1245" y="11"/>
                  </a:cubicBezTo>
                  <a:cubicBezTo>
                    <a:pt x="1244" y="11"/>
                    <a:pt x="1244" y="11"/>
                    <a:pt x="1244" y="11"/>
                  </a:cubicBezTo>
                  <a:cubicBezTo>
                    <a:pt x="1237" y="10"/>
                    <a:pt x="1230" y="8"/>
                    <a:pt x="1223" y="7"/>
                  </a:cubicBezTo>
                  <a:cubicBezTo>
                    <a:pt x="1223" y="7"/>
                    <a:pt x="1222" y="7"/>
                    <a:pt x="1221" y="7"/>
                  </a:cubicBezTo>
                  <a:cubicBezTo>
                    <a:pt x="1220" y="7"/>
                    <a:pt x="1219" y="7"/>
                    <a:pt x="1217" y="7"/>
                  </a:cubicBezTo>
                  <a:cubicBezTo>
                    <a:pt x="1217" y="6"/>
                    <a:pt x="1216" y="6"/>
                    <a:pt x="1216" y="6"/>
                  </a:cubicBezTo>
                  <a:cubicBezTo>
                    <a:pt x="1212" y="6"/>
                    <a:pt x="1209" y="5"/>
                    <a:pt x="1205" y="5"/>
                  </a:cubicBezTo>
                  <a:cubicBezTo>
                    <a:pt x="1205" y="5"/>
                    <a:pt x="1204" y="5"/>
                    <a:pt x="1204" y="5"/>
                  </a:cubicBezTo>
                  <a:cubicBezTo>
                    <a:pt x="1203" y="5"/>
                    <a:pt x="1203" y="5"/>
                    <a:pt x="1203" y="5"/>
                  </a:cubicBezTo>
                  <a:cubicBezTo>
                    <a:pt x="1202" y="5"/>
                    <a:pt x="1201" y="5"/>
                    <a:pt x="1200" y="4"/>
                  </a:cubicBezTo>
                  <a:cubicBezTo>
                    <a:pt x="1200" y="4"/>
                    <a:pt x="1199" y="4"/>
                    <a:pt x="1199" y="4"/>
                  </a:cubicBezTo>
                  <a:cubicBezTo>
                    <a:pt x="1199" y="4"/>
                    <a:pt x="1198" y="4"/>
                    <a:pt x="1198" y="4"/>
                  </a:cubicBezTo>
                  <a:cubicBezTo>
                    <a:pt x="1195" y="4"/>
                    <a:pt x="1192" y="4"/>
                    <a:pt x="1190" y="3"/>
                  </a:cubicBezTo>
                  <a:cubicBezTo>
                    <a:pt x="1189" y="3"/>
                    <a:pt x="1189" y="3"/>
                    <a:pt x="1189" y="3"/>
                  </a:cubicBezTo>
                  <a:cubicBezTo>
                    <a:pt x="1188" y="3"/>
                    <a:pt x="1188" y="3"/>
                    <a:pt x="1188" y="3"/>
                  </a:cubicBezTo>
                  <a:cubicBezTo>
                    <a:pt x="1188" y="3"/>
                    <a:pt x="1187" y="3"/>
                    <a:pt x="1187" y="3"/>
                  </a:cubicBezTo>
                  <a:cubicBezTo>
                    <a:pt x="1187" y="3"/>
                    <a:pt x="1186" y="3"/>
                    <a:pt x="1186" y="3"/>
                  </a:cubicBezTo>
                  <a:cubicBezTo>
                    <a:pt x="1184" y="3"/>
                    <a:pt x="1182" y="3"/>
                    <a:pt x="1180" y="3"/>
                  </a:cubicBezTo>
                  <a:cubicBezTo>
                    <a:pt x="1180" y="3"/>
                    <a:pt x="1180" y="3"/>
                    <a:pt x="1179" y="3"/>
                  </a:cubicBezTo>
                  <a:cubicBezTo>
                    <a:pt x="1178" y="3"/>
                    <a:pt x="1177" y="2"/>
                    <a:pt x="1176" y="2"/>
                  </a:cubicBezTo>
                  <a:cubicBezTo>
                    <a:pt x="1176" y="2"/>
                    <a:pt x="1175" y="2"/>
                    <a:pt x="1175" y="2"/>
                  </a:cubicBezTo>
                  <a:cubicBezTo>
                    <a:pt x="1172" y="2"/>
                    <a:pt x="1170" y="2"/>
                    <a:pt x="1168" y="2"/>
                  </a:cubicBezTo>
                  <a:cubicBezTo>
                    <a:pt x="1167" y="2"/>
                    <a:pt x="1167" y="2"/>
                    <a:pt x="1166" y="2"/>
                  </a:cubicBezTo>
                  <a:cubicBezTo>
                    <a:pt x="1164" y="2"/>
                    <a:pt x="1163" y="2"/>
                    <a:pt x="1161" y="2"/>
                  </a:cubicBezTo>
                  <a:cubicBezTo>
                    <a:pt x="1160" y="2"/>
                    <a:pt x="1160" y="1"/>
                    <a:pt x="1159" y="1"/>
                  </a:cubicBezTo>
                  <a:cubicBezTo>
                    <a:pt x="1156" y="1"/>
                    <a:pt x="1152" y="1"/>
                    <a:pt x="1148" y="1"/>
                  </a:cubicBezTo>
                  <a:cubicBezTo>
                    <a:pt x="1147" y="1"/>
                    <a:pt x="1147" y="1"/>
                    <a:pt x="1147" y="1"/>
                  </a:cubicBezTo>
                  <a:cubicBezTo>
                    <a:pt x="1146" y="1"/>
                    <a:pt x="1144" y="1"/>
                    <a:pt x="1143" y="1"/>
                  </a:cubicBezTo>
                  <a:cubicBezTo>
                    <a:pt x="1143" y="1"/>
                    <a:pt x="1143" y="1"/>
                    <a:pt x="1142" y="1"/>
                  </a:cubicBezTo>
                  <a:cubicBezTo>
                    <a:pt x="1141" y="1"/>
                    <a:pt x="1139" y="1"/>
                    <a:pt x="1138" y="1"/>
                  </a:cubicBezTo>
                  <a:cubicBezTo>
                    <a:pt x="1137" y="1"/>
                    <a:pt x="1137" y="1"/>
                    <a:pt x="1136" y="1"/>
                  </a:cubicBezTo>
                  <a:cubicBezTo>
                    <a:pt x="1130" y="1"/>
                    <a:pt x="1124" y="0"/>
                    <a:pt x="1117" y="0"/>
                  </a:cubicBezTo>
                  <a:cubicBezTo>
                    <a:pt x="1117" y="0"/>
                    <a:pt x="1117" y="0"/>
                    <a:pt x="1116" y="0"/>
                  </a:cubicBezTo>
                  <a:moveTo>
                    <a:pt x="875" y="41"/>
                  </a:moveTo>
                  <a:cubicBezTo>
                    <a:pt x="874" y="42"/>
                    <a:pt x="873" y="42"/>
                    <a:pt x="872" y="42"/>
                  </a:cubicBezTo>
                  <a:cubicBezTo>
                    <a:pt x="871" y="43"/>
                    <a:pt x="869" y="43"/>
                    <a:pt x="868" y="44"/>
                  </a:cubicBezTo>
                  <a:cubicBezTo>
                    <a:pt x="868" y="44"/>
                    <a:pt x="868" y="44"/>
                    <a:pt x="867" y="45"/>
                  </a:cubicBezTo>
                  <a:cubicBezTo>
                    <a:pt x="863" y="47"/>
                    <a:pt x="858" y="50"/>
                    <a:pt x="854" y="53"/>
                  </a:cubicBezTo>
                  <a:cubicBezTo>
                    <a:pt x="854" y="53"/>
                    <a:pt x="853" y="54"/>
                    <a:pt x="853" y="54"/>
                  </a:cubicBezTo>
                  <a:cubicBezTo>
                    <a:pt x="852" y="54"/>
                    <a:pt x="851" y="55"/>
                    <a:pt x="850" y="56"/>
                  </a:cubicBezTo>
                  <a:cubicBezTo>
                    <a:pt x="850" y="56"/>
                    <a:pt x="850" y="56"/>
                    <a:pt x="849" y="57"/>
                  </a:cubicBezTo>
                  <a:cubicBezTo>
                    <a:pt x="847" y="58"/>
                    <a:pt x="846" y="59"/>
                    <a:pt x="844" y="61"/>
                  </a:cubicBezTo>
                  <a:cubicBezTo>
                    <a:pt x="844" y="61"/>
                    <a:pt x="844" y="61"/>
                    <a:pt x="843" y="61"/>
                  </a:cubicBezTo>
                  <a:cubicBezTo>
                    <a:pt x="842" y="63"/>
                    <a:pt x="841" y="64"/>
                    <a:pt x="839" y="65"/>
                  </a:cubicBezTo>
                  <a:cubicBezTo>
                    <a:pt x="839" y="65"/>
                    <a:pt x="839" y="65"/>
                    <a:pt x="839" y="66"/>
                  </a:cubicBezTo>
                  <a:cubicBezTo>
                    <a:pt x="838" y="66"/>
                    <a:pt x="837" y="67"/>
                    <a:pt x="837" y="67"/>
                  </a:cubicBezTo>
                  <a:cubicBezTo>
                    <a:pt x="837" y="67"/>
                    <a:pt x="838" y="67"/>
                    <a:pt x="838" y="67"/>
                  </a:cubicBezTo>
                  <a:cubicBezTo>
                    <a:pt x="839" y="67"/>
                    <a:pt x="839" y="66"/>
                    <a:pt x="839" y="66"/>
                  </a:cubicBezTo>
                  <a:cubicBezTo>
                    <a:pt x="840" y="66"/>
                    <a:pt x="840" y="66"/>
                    <a:pt x="840" y="65"/>
                  </a:cubicBezTo>
                  <a:cubicBezTo>
                    <a:pt x="842" y="64"/>
                    <a:pt x="843" y="63"/>
                    <a:pt x="844" y="62"/>
                  </a:cubicBezTo>
                  <a:cubicBezTo>
                    <a:pt x="845" y="62"/>
                    <a:pt x="845" y="61"/>
                    <a:pt x="845" y="61"/>
                  </a:cubicBezTo>
                  <a:cubicBezTo>
                    <a:pt x="847" y="60"/>
                    <a:pt x="849" y="58"/>
                    <a:pt x="850" y="57"/>
                  </a:cubicBezTo>
                  <a:cubicBezTo>
                    <a:pt x="851" y="57"/>
                    <a:pt x="851" y="57"/>
                    <a:pt x="851" y="56"/>
                  </a:cubicBezTo>
                  <a:cubicBezTo>
                    <a:pt x="852" y="56"/>
                    <a:pt x="853" y="55"/>
                    <a:pt x="854" y="54"/>
                  </a:cubicBezTo>
                  <a:cubicBezTo>
                    <a:pt x="854" y="54"/>
                    <a:pt x="855" y="54"/>
                    <a:pt x="855" y="54"/>
                  </a:cubicBezTo>
                  <a:cubicBezTo>
                    <a:pt x="859" y="51"/>
                    <a:pt x="864" y="48"/>
                    <a:pt x="868" y="45"/>
                  </a:cubicBezTo>
                  <a:cubicBezTo>
                    <a:pt x="869" y="45"/>
                    <a:pt x="869" y="45"/>
                    <a:pt x="869" y="44"/>
                  </a:cubicBezTo>
                  <a:cubicBezTo>
                    <a:pt x="871" y="43"/>
                    <a:pt x="873" y="42"/>
                    <a:pt x="875" y="41"/>
                  </a:cubicBezTo>
                  <a:moveTo>
                    <a:pt x="837" y="68"/>
                  </a:moveTo>
                  <a:cubicBezTo>
                    <a:pt x="837" y="68"/>
                    <a:pt x="836" y="68"/>
                    <a:pt x="836" y="68"/>
                  </a:cubicBezTo>
                  <a:cubicBezTo>
                    <a:pt x="836" y="68"/>
                    <a:pt x="835" y="69"/>
                    <a:pt x="835" y="69"/>
                  </a:cubicBezTo>
                  <a:cubicBezTo>
                    <a:pt x="835" y="69"/>
                    <a:pt x="835" y="69"/>
                    <a:pt x="834" y="70"/>
                  </a:cubicBezTo>
                  <a:cubicBezTo>
                    <a:pt x="832" y="72"/>
                    <a:pt x="829" y="75"/>
                    <a:pt x="827" y="78"/>
                  </a:cubicBezTo>
                  <a:cubicBezTo>
                    <a:pt x="827" y="78"/>
                    <a:pt x="827" y="78"/>
                    <a:pt x="826" y="78"/>
                  </a:cubicBezTo>
                  <a:cubicBezTo>
                    <a:pt x="822" y="83"/>
                    <a:pt x="818" y="89"/>
                    <a:pt x="815" y="94"/>
                  </a:cubicBezTo>
                  <a:cubicBezTo>
                    <a:pt x="816" y="94"/>
                    <a:pt x="816" y="94"/>
                    <a:pt x="816" y="94"/>
                  </a:cubicBezTo>
                  <a:cubicBezTo>
                    <a:pt x="820" y="89"/>
                    <a:pt x="823" y="84"/>
                    <a:pt x="827" y="79"/>
                  </a:cubicBezTo>
                  <a:cubicBezTo>
                    <a:pt x="827" y="79"/>
                    <a:pt x="828" y="78"/>
                    <a:pt x="828" y="78"/>
                  </a:cubicBezTo>
                  <a:cubicBezTo>
                    <a:pt x="830" y="75"/>
                    <a:pt x="833" y="73"/>
                    <a:pt x="835" y="70"/>
                  </a:cubicBezTo>
                  <a:cubicBezTo>
                    <a:pt x="836" y="70"/>
                    <a:pt x="836" y="69"/>
                    <a:pt x="836" y="69"/>
                  </a:cubicBezTo>
                  <a:cubicBezTo>
                    <a:pt x="836" y="69"/>
                    <a:pt x="837" y="68"/>
                    <a:pt x="837" y="68"/>
                  </a:cubicBezTo>
                  <a:moveTo>
                    <a:pt x="816" y="95"/>
                  </a:moveTo>
                  <a:cubicBezTo>
                    <a:pt x="815" y="95"/>
                    <a:pt x="815" y="95"/>
                    <a:pt x="815" y="95"/>
                  </a:cubicBezTo>
                  <a:cubicBezTo>
                    <a:pt x="814" y="96"/>
                    <a:pt x="814" y="96"/>
                    <a:pt x="814" y="97"/>
                  </a:cubicBezTo>
                  <a:cubicBezTo>
                    <a:pt x="813" y="97"/>
                    <a:pt x="813" y="97"/>
                    <a:pt x="813" y="98"/>
                  </a:cubicBezTo>
                  <a:cubicBezTo>
                    <a:pt x="809" y="104"/>
                    <a:pt x="807" y="111"/>
                    <a:pt x="804" y="118"/>
                  </a:cubicBezTo>
                  <a:cubicBezTo>
                    <a:pt x="804" y="118"/>
                    <a:pt x="804" y="118"/>
                    <a:pt x="804" y="119"/>
                  </a:cubicBezTo>
                  <a:cubicBezTo>
                    <a:pt x="801" y="126"/>
                    <a:pt x="800" y="133"/>
                    <a:pt x="798" y="141"/>
                  </a:cubicBezTo>
                  <a:cubicBezTo>
                    <a:pt x="798" y="141"/>
                    <a:pt x="798" y="142"/>
                    <a:pt x="798" y="142"/>
                  </a:cubicBezTo>
                  <a:cubicBezTo>
                    <a:pt x="797" y="149"/>
                    <a:pt x="797" y="155"/>
                    <a:pt x="796" y="161"/>
                  </a:cubicBezTo>
                  <a:cubicBezTo>
                    <a:pt x="796" y="162"/>
                    <a:pt x="796" y="162"/>
                    <a:pt x="796" y="163"/>
                  </a:cubicBezTo>
                  <a:cubicBezTo>
                    <a:pt x="796" y="165"/>
                    <a:pt x="796" y="167"/>
                    <a:pt x="796" y="169"/>
                  </a:cubicBezTo>
                  <a:cubicBezTo>
                    <a:pt x="796" y="175"/>
                    <a:pt x="797" y="181"/>
                    <a:pt x="797" y="187"/>
                  </a:cubicBezTo>
                  <a:cubicBezTo>
                    <a:pt x="797" y="188"/>
                    <a:pt x="797" y="188"/>
                    <a:pt x="797" y="188"/>
                  </a:cubicBezTo>
                  <a:cubicBezTo>
                    <a:pt x="798" y="194"/>
                    <a:pt x="798" y="199"/>
                    <a:pt x="799" y="204"/>
                  </a:cubicBezTo>
                  <a:cubicBezTo>
                    <a:pt x="799" y="204"/>
                    <a:pt x="799" y="205"/>
                    <a:pt x="799" y="205"/>
                  </a:cubicBezTo>
                  <a:cubicBezTo>
                    <a:pt x="800" y="209"/>
                    <a:pt x="800" y="212"/>
                    <a:pt x="801" y="216"/>
                  </a:cubicBezTo>
                  <a:cubicBezTo>
                    <a:pt x="801" y="216"/>
                    <a:pt x="801" y="216"/>
                    <a:pt x="801" y="217"/>
                  </a:cubicBezTo>
                  <a:cubicBezTo>
                    <a:pt x="802" y="221"/>
                    <a:pt x="803" y="225"/>
                    <a:pt x="804" y="229"/>
                  </a:cubicBezTo>
                  <a:cubicBezTo>
                    <a:pt x="804" y="229"/>
                    <a:pt x="804" y="229"/>
                    <a:pt x="804" y="230"/>
                  </a:cubicBezTo>
                  <a:cubicBezTo>
                    <a:pt x="805" y="233"/>
                    <a:pt x="806" y="237"/>
                    <a:pt x="807" y="241"/>
                  </a:cubicBezTo>
                  <a:cubicBezTo>
                    <a:pt x="807" y="241"/>
                    <a:pt x="807" y="241"/>
                    <a:pt x="807" y="242"/>
                  </a:cubicBezTo>
                  <a:cubicBezTo>
                    <a:pt x="807" y="243"/>
                    <a:pt x="808" y="245"/>
                    <a:pt x="808" y="247"/>
                  </a:cubicBezTo>
                  <a:cubicBezTo>
                    <a:pt x="808" y="247"/>
                    <a:pt x="809" y="248"/>
                    <a:pt x="809" y="248"/>
                  </a:cubicBezTo>
                  <a:cubicBezTo>
                    <a:pt x="809" y="250"/>
                    <a:pt x="810" y="253"/>
                    <a:pt x="811" y="255"/>
                  </a:cubicBezTo>
                  <a:cubicBezTo>
                    <a:pt x="811" y="256"/>
                    <a:pt x="811" y="256"/>
                    <a:pt x="811" y="256"/>
                  </a:cubicBezTo>
                  <a:cubicBezTo>
                    <a:pt x="811" y="258"/>
                    <a:pt x="812" y="259"/>
                    <a:pt x="812" y="261"/>
                  </a:cubicBezTo>
                  <a:cubicBezTo>
                    <a:pt x="812" y="261"/>
                    <a:pt x="812" y="262"/>
                    <a:pt x="813" y="262"/>
                  </a:cubicBezTo>
                  <a:cubicBezTo>
                    <a:pt x="813" y="264"/>
                    <a:pt x="813" y="265"/>
                    <a:pt x="814" y="266"/>
                  </a:cubicBezTo>
                  <a:cubicBezTo>
                    <a:pt x="814" y="267"/>
                    <a:pt x="814" y="267"/>
                    <a:pt x="814" y="267"/>
                  </a:cubicBezTo>
                  <a:cubicBezTo>
                    <a:pt x="815" y="271"/>
                    <a:pt x="816" y="274"/>
                    <a:pt x="817" y="277"/>
                  </a:cubicBezTo>
                  <a:cubicBezTo>
                    <a:pt x="817" y="277"/>
                    <a:pt x="817" y="278"/>
                    <a:pt x="817" y="278"/>
                  </a:cubicBezTo>
                  <a:cubicBezTo>
                    <a:pt x="818" y="279"/>
                    <a:pt x="818" y="280"/>
                    <a:pt x="818" y="281"/>
                  </a:cubicBezTo>
                  <a:cubicBezTo>
                    <a:pt x="819" y="282"/>
                    <a:pt x="819" y="282"/>
                    <a:pt x="819" y="282"/>
                  </a:cubicBezTo>
                  <a:cubicBezTo>
                    <a:pt x="819" y="282"/>
                    <a:pt x="819" y="283"/>
                    <a:pt x="819" y="283"/>
                  </a:cubicBezTo>
                  <a:cubicBezTo>
                    <a:pt x="819" y="283"/>
                    <a:pt x="819" y="283"/>
                    <a:pt x="819" y="284"/>
                  </a:cubicBezTo>
                  <a:cubicBezTo>
                    <a:pt x="819" y="284"/>
                    <a:pt x="819" y="284"/>
                    <a:pt x="819" y="284"/>
                  </a:cubicBezTo>
                  <a:cubicBezTo>
                    <a:pt x="819" y="285"/>
                    <a:pt x="820" y="285"/>
                    <a:pt x="820" y="285"/>
                  </a:cubicBezTo>
                  <a:cubicBezTo>
                    <a:pt x="820" y="285"/>
                    <a:pt x="820" y="285"/>
                    <a:pt x="820" y="285"/>
                  </a:cubicBezTo>
                  <a:cubicBezTo>
                    <a:pt x="820" y="286"/>
                    <a:pt x="820" y="286"/>
                    <a:pt x="820" y="286"/>
                  </a:cubicBezTo>
                  <a:cubicBezTo>
                    <a:pt x="821" y="288"/>
                    <a:pt x="821" y="290"/>
                    <a:pt x="822" y="292"/>
                  </a:cubicBezTo>
                  <a:cubicBezTo>
                    <a:pt x="822" y="292"/>
                    <a:pt x="822" y="292"/>
                    <a:pt x="822" y="293"/>
                  </a:cubicBezTo>
                  <a:cubicBezTo>
                    <a:pt x="822" y="293"/>
                    <a:pt x="822" y="293"/>
                    <a:pt x="822" y="293"/>
                  </a:cubicBezTo>
                  <a:cubicBezTo>
                    <a:pt x="822" y="294"/>
                    <a:pt x="822" y="294"/>
                    <a:pt x="823" y="294"/>
                  </a:cubicBezTo>
                  <a:cubicBezTo>
                    <a:pt x="823" y="295"/>
                    <a:pt x="823" y="296"/>
                    <a:pt x="823" y="297"/>
                  </a:cubicBezTo>
                  <a:cubicBezTo>
                    <a:pt x="823" y="297"/>
                    <a:pt x="824" y="298"/>
                    <a:pt x="824" y="298"/>
                  </a:cubicBezTo>
                  <a:cubicBezTo>
                    <a:pt x="824" y="299"/>
                    <a:pt x="824" y="300"/>
                    <a:pt x="825" y="302"/>
                  </a:cubicBezTo>
                  <a:cubicBezTo>
                    <a:pt x="825" y="302"/>
                    <a:pt x="825" y="302"/>
                    <a:pt x="825" y="302"/>
                  </a:cubicBezTo>
                  <a:cubicBezTo>
                    <a:pt x="825" y="302"/>
                    <a:pt x="825" y="302"/>
                    <a:pt x="825" y="302"/>
                  </a:cubicBezTo>
                  <a:cubicBezTo>
                    <a:pt x="825" y="303"/>
                    <a:pt x="825" y="303"/>
                    <a:pt x="825" y="303"/>
                  </a:cubicBezTo>
                  <a:cubicBezTo>
                    <a:pt x="825" y="304"/>
                    <a:pt x="826" y="304"/>
                    <a:pt x="826" y="305"/>
                  </a:cubicBezTo>
                  <a:cubicBezTo>
                    <a:pt x="826" y="305"/>
                    <a:pt x="826" y="305"/>
                    <a:pt x="826" y="305"/>
                  </a:cubicBezTo>
                  <a:cubicBezTo>
                    <a:pt x="826" y="305"/>
                    <a:pt x="826" y="306"/>
                    <a:pt x="826" y="306"/>
                  </a:cubicBezTo>
                  <a:cubicBezTo>
                    <a:pt x="826" y="306"/>
                    <a:pt x="826" y="306"/>
                    <a:pt x="826" y="307"/>
                  </a:cubicBezTo>
                  <a:cubicBezTo>
                    <a:pt x="827" y="308"/>
                    <a:pt x="827" y="309"/>
                    <a:pt x="827" y="310"/>
                  </a:cubicBezTo>
                  <a:cubicBezTo>
                    <a:pt x="827" y="310"/>
                    <a:pt x="827" y="310"/>
                    <a:pt x="827" y="311"/>
                  </a:cubicBezTo>
                  <a:cubicBezTo>
                    <a:pt x="828" y="311"/>
                    <a:pt x="828" y="311"/>
                    <a:pt x="828" y="312"/>
                  </a:cubicBezTo>
                  <a:cubicBezTo>
                    <a:pt x="828" y="312"/>
                    <a:pt x="828" y="312"/>
                    <a:pt x="828" y="312"/>
                  </a:cubicBezTo>
                  <a:cubicBezTo>
                    <a:pt x="828" y="313"/>
                    <a:pt x="828" y="313"/>
                    <a:pt x="828" y="313"/>
                  </a:cubicBezTo>
                  <a:cubicBezTo>
                    <a:pt x="828" y="313"/>
                    <a:pt x="828" y="313"/>
                    <a:pt x="828" y="313"/>
                  </a:cubicBezTo>
                  <a:cubicBezTo>
                    <a:pt x="828" y="314"/>
                    <a:pt x="828" y="314"/>
                    <a:pt x="829" y="314"/>
                  </a:cubicBezTo>
                  <a:cubicBezTo>
                    <a:pt x="829" y="314"/>
                    <a:pt x="829" y="315"/>
                    <a:pt x="829" y="315"/>
                  </a:cubicBezTo>
                  <a:cubicBezTo>
                    <a:pt x="829" y="316"/>
                    <a:pt x="829" y="316"/>
                    <a:pt x="829" y="317"/>
                  </a:cubicBezTo>
                  <a:cubicBezTo>
                    <a:pt x="829" y="318"/>
                    <a:pt x="829" y="318"/>
                    <a:pt x="830" y="318"/>
                  </a:cubicBezTo>
                  <a:cubicBezTo>
                    <a:pt x="830" y="321"/>
                    <a:pt x="831" y="324"/>
                    <a:pt x="831" y="326"/>
                  </a:cubicBezTo>
                  <a:cubicBezTo>
                    <a:pt x="831" y="327"/>
                    <a:pt x="831" y="327"/>
                    <a:pt x="831" y="327"/>
                  </a:cubicBezTo>
                  <a:cubicBezTo>
                    <a:pt x="831" y="329"/>
                    <a:pt x="831" y="330"/>
                    <a:pt x="831" y="331"/>
                  </a:cubicBezTo>
                  <a:cubicBezTo>
                    <a:pt x="831" y="332"/>
                    <a:pt x="831" y="332"/>
                    <a:pt x="831" y="332"/>
                  </a:cubicBezTo>
                  <a:cubicBezTo>
                    <a:pt x="831" y="333"/>
                    <a:pt x="831" y="333"/>
                    <a:pt x="831" y="334"/>
                  </a:cubicBezTo>
                  <a:cubicBezTo>
                    <a:pt x="831" y="337"/>
                    <a:pt x="831" y="340"/>
                    <a:pt x="830" y="343"/>
                  </a:cubicBezTo>
                  <a:cubicBezTo>
                    <a:pt x="830" y="343"/>
                    <a:pt x="830" y="344"/>
                    <a:pt x="830" y="344"/>
                  </a:cubicBezTo>
                  <a:cubicBezTo>
                    <a:pt x="828" y="350"/>
                    <a:pt x="824" y="354"/>
                    <a:pt x="817" y="355"/>
                  </a:cubicBezTo>
                  <a:cubicBezTo>
                    <a:pt x="817" y="355"/>
                    <a:pt x="817" y="355"/>
                    <a:pt x="816" y="355"/>
                  </a:cubicBezTo>
                  <a:cubicBezTo>
                    <a:pt x="815" y="355"/>
                    <a:pt x="814" y="355"/>
                    <a:pt x="813" y="355"/>
                  </a:cubicBezTo>
                  <a:cubicBezTo>
                    <a:pt x="813" y="355"/>
                    <a:pt x="813" y="355"/>
                    <a:pt x="813" y="355"/>
                  </a:cubicBezTo>
                  <a:cubicBezTo>
                    <a:pt x="811" y="355"/>
                    <a:pt x="809" y="355"/>
                    <a:pt x="806" y="355"/>
                  </a:cubicBezTo>
                  <a:cubicBezTo>
                    <a:pt x="806" y="355"/>
                    <a:pt x="806" y="355"/>
                    <a:pt x="805" y="354"/>
                  </a:cubicBezTo>
                  <a:cubicBezTo>
                    <a:pt x="804" y="354"/>
                    <a:pt x="802" y="354"/>
                    <a:pt x="800" y="353"/>
                  </a:cubicBezTo>
                  <a:cubicBezTo>
                    <a:pt x="800" y="353"/>
                    <a:pt x="799" y="353"/>
                    <a:pt x="799" y="353"/>
                  </a:cubicBezTo>
                  <a:cubicBezTo>
                    <a:pt x="798" y="353"/>
                    <a:pt x="798" y="353"/>
                    <a:pt x="798" y="353"/>
                  </a:cubicBezTo>
                  <a:cubicBezTo>
                    <a:pt x="797" y="352"/>
                    <a:pt x="797" y="352"/>
                    <a:pt x="797" y="352"/>
                  </a:cubicBezTo>
                  <a:cubicBezTo>
                    <a:pt x="793" y="351"/>
                    <a:pt x="789" y="349"/>
                    <a:pt x="785" y="347"/>
                  </a:cubicBezTo>
                  <a:cubicBezTo>
                    <a:pt x="784" y="347"/>
                    <a:pt x="784" y="347"/>
                    <a:pt x="783" y="347"/>
                  </a:cubicBezTo>
                  <a:cubicBezTo>
                    <a:pt x="783" y="347"/>
                    <a:pt x="783" y="346"/>
                    <a:pt x="782" y="346"/>
                  </a:cubicBezTo>
                  <a:cubicBezTo>
                    <a:pt x="782" y="346"/>
                    <a:pt x="782" y="346"/>
                    <a:pt x="781" y="346"/>
                  </a:cubicBezTo>
                  <a:cubicBezTo>
                    <a:pt x="781" y="345"/>
                    <a:pt x="780" y="345"/>
                    <a:pt x="779" y="345"/>
                  </a:cubicBezTo>
                  <a:cubicBezTo>
                    <a:pt x="779" y="345"/>
                    <a:pt x="779" y="346"/>
                    <a:pt x="779" y="346"/>
                  </a:cubicBezTo>
                  <a:cubicBezTo>
                    <a:pt x="780" y="346"/>
                    <a:pt x="780" y="346"/>
                    <a:pt x="781" y="347"/>
                  </a:cubicBezTo>
                  <a:cubicBezTo>
                    <a:pt x="781" y="347"/>
                    <a:pt x="781" y="347"/>
                    <a:pt x="782" y="347"/>
                  </a:cubicBezTo>
                  <a:cubicBezTo>
                    <a:pt x="782" y="347"/>
                    <a:pt x="782" y="347"/>
                    <a:pt x="782" y="347"/>
                  </a:cubicBezTo>
                  <a:cubicBezTo>
                    <a:pt x="782" y="347"/>
                    <a:pt x="783" y="348"/>
                    <a:pt x="783" y="348"/>
                  </a:cubicBezTo>
                  <a:cubicBezTo>
                    <a:pt x="788" y="350"/>
                    <a:pt x="792" y="352"/>
                    <a:pt x="796" y="353"/>
                  </a:cubicBezTo>
                  <a:cubicBezTo>
                    <a:pt x="797" y="353"/>
                    <a:pt x="797" y="353"/>
                    <a:pt x="797" y="353"/>
                  </a:cubicBezTo>
                  <a:cubicBezTo>
                    <a:pt x="797" y="353"/>
                    <a:pt x="798" y="354"/>
                    <a:pt x="799" y="354"/>
                  </a:cubicBezTo>
                  <a:cubicBezTo>
                    <a:pt x="801" y="355"/>
                    <a:pt x="803" y="355"/>
                    <a:pt x="805" y="355"/>
                  </a:cubicBezTo>
                  <a:cubicBezTo>
                    <a:pt x="805" y="355"/>
                    <a:pt x="806" y="356"/>
                    <a:pt x="806" y="356"/>
                  </a:cubicBezTo>
                  <a:cubicBezTo>
                    <a:pt x="808" y="356"/>
                    <a:pt x="811" y="356"/>
                    <a:pt x="813" y="356"/>
                  </a:cubicBezTo>
                  <a:cubicBezTo>
                    <a:pt x="814" y="356"/>
                    <a:pt x="815" y="356"/>
                    <a:pt x="816" y="356"/>
                  </a:cubicBezTo>
                  <a:cubicBezTo>
                    <a:pt x="819" y="356"/>
                    <a:pt x="822" y="355"/>
                    <a:pt x="824" y="353"/>
                  </a:cubicBezTo>
                  <a:cubicBezTo>
                    <a:pt x="827" y="351"/>
                    <a:pt x="830" y="348"/>
                    <a:pt x="831" y="344"/>
                  </a:cubicBezTo>
                  <a:cubicBezTo>
                    <a:pt x="831" y="343"/>
                    <a:pt x="831" y="343"/>
                    <a:pt x="831" y="342"/>
                  </a:cubicBezTo>
                  <a:cubicBezTo>
                    <a:pt x="832" y="340"/>
                    <a:pt x="832" y="337"/>
                    <a:pt x="832" y="334"/>
                  </a:cubicBezTo>
                  <a:cubicBezTo>
                    <a:pt x="832" y="333"/>
                    <a:pt x="832" y="333"/>
                    <a:pt x="832" y="332"/>
                  </a:cubicBezTo>
                  <a:cubicBezTo>
                    <a:pt x="832" y="332"/>
                    <a:pt x="832" y="331"/>
                    <a:pt x="832" y="331"/>
                  </a:cubicBezTo>
                  <a:cubicBezTo>
                    <a:pt x="832" y="330"/>
                    <a:pt x="832" y="329"/>
                    <a:pt x="832" y="328"/>
                  </a:cubicBezTo>
                  <a:cubicBezTo>
                    <a:pt x="832" y="328"/>
                    <a:pt x="832" y="327"/>
                    <a:pt x="832" y="327"/>
                  </a:cubicBezTo>
                  <a:cubicBezTo>
                    <a:pt x="832" y="324"/>
                    <a:pt x="831" y="321"/>
                    <a:pt x="830" y="318"/>
                  </a:cubicBezTo>
                  <a:cubicBezTo>
                    <a:pt x="830" y="317"/>
                    <a:pt x="830" y="317"/>
                    <a:pt x="830" y="317"/>
                  </a:cubicBezTo>
                  <a:cubicBezTo>
                    <a:pt x="830" y="316"/>
                    <a:pt x="830" y="315"/>
                    <a:pt x="829" y="314"/>
                  </a:cubicBezTo>
                  <a:cubicBezTo>
                    <a:pt x="829" y="314"/>
                    <a:pt x="829" y="314"/>
                    <a:pt x="829" y="314"/>
                  </a:cubicBezTo>
                  <a:cubicBezTo>
                    <a:pt x="829" y="313"/>
                    <a:pt x="829" y="313"/>
                    <a:pt x="829" y="313"/>
                  </a:cubicBezTo>
                  <a:cubicBezTo>
                    <a:pt x="829" y="313"/>
                    <a:pt x="829" y="312"/>
                    <a:pt x="829" y="312"/>
                  </a:cubicBezTo>
                  <a:cubicBezTo>
                    <a:pt x="829" y="312"/>
                    <a:pt x="829" y="312"/>
                    <a:pt x="829" y="312"/>
                  </a:cubicBezTo>
                  <a:cubicBezTo>
                    <a:pt x="829" y="312"/>
                    <a:pt x="829" y="311"/>
                    <a:pt x="829" y="311"/>
                  </a:cubicBezTo>
                  <a:cubicBezTo>
                    <a:pt x="829" y="311"/>
                    <a:pt x="828" y="310"/>
                    <a:pt x="828" y="310"/>
                  </a:cubicBezTo>
                  <a:cubicBezTo>
                    <a:pt x="828" y="310"/>
                    <a:pt x="828" y="309"/>
                    <a:pt x="828" y="309"/>
                  </a:cubicBezTo>
                  <a:cubicBezTo>
                    <a:pt x="828" y="308"/>
                    <a:pt x="827" y="307"/>
                    <a:pt x="827" y="306"/>
                  </a:cubicBezTo>
                  <a:cubicBezTo>
                    <a:pt x="827" y="306"/>
                    <a:pt x="827" y="306"/>
                    <a:pt x="827" y="305"/>
                  </a:cubicBezTo>
                  <a:cubicBezTo>
                    <a:pt x="827" y="304"/>
                    <a:pt x="826" y="304"/>
                    <a:pt x="826" y="303"/>
                  </a:cubicBezTo>
                  <a:cubicBezTo>
                    <a:pt x="826" y="302"/>
                    <a:pt x="826" y="302"/>
                    <a:pt x="826" y="302"/>
                  </a:cubicBezTo>
                  <a:cubicBezTo>
                    <a:pt x="826" y="302"/>
                    <a:pt x="826" y="301"/>
                    <a:pt x="826" y="301"/>
                  </a:cubicBezTo>
                  <a:cubicBezTo>
                    <a:pt x="826" y="301"/>
                    <a:pt x="826" y="301"/>
                    <a:pt x="826" y="301"/>
                  </a:cubicBezTo>
                  <a:cubicBezTo>
                    <a:pt x="825" y="300"/>
                    <a:pt x="825" y="299"/>
                    <a:pt x="825" y="298"/>
                  </a:cubicBezTo>
                  <a:cubicBezTo>
                    <a:pt x="824" y="297"/>
                    <a:pt x="824" y="297"/>
                    <a:pt x="824" y="297"/>
                  </a:cubicBezTo>
                  <a:cubicBezTo>
                    <a:pt x="824" y="296"/>
                    <a:pt x="824" y="295"/>
                    <a:pt x="823" y="294"/>
                  </a:cubicBezTo>
                  <a:cubicBezTo>
                    <a:pt x="823" y="293"/>
                    <a:pt x="823" y="293"/>
                    <a:pt x="823" y="293"/>
                  </a:cubicBezTo>
                  <a:cubicBezTo>
                    <a:pt x="823" y="293"/>
                    <a:pt x="823" y="292"/>
                    <a:pt x="823" y="292"/>
                  </a:cubicBezTo>
                  <a:cubicBezTo>
                    <a:pt x="823" y="292"/>
                    <a:pt x="823" y="292"/>
                    <a:pt x="823" y="291"/>
                  </a:cubicBezTo>
                  <a:cubicBezTo>
                    <a:pt x="822" y="290"/>
                    <a:pt x="821" y="288"/>
                    <a:pt x="821" y="286"/>
                  </a:cubicBezTo>
                  <a:cubicBezTo>
                    <a:pt x="821" y="286"/>
                    <a:pt x="821" y="285"/>
                    <a:pt x="821" y="285"/>
                  </a:cubicBezTo>
                  <a:cubicBezTo>
                    <a:pt x="821" y="285"/>
                    <a:pt x="821" y="285"/>
                    <a:pt x="821" y="285"/>
                  </a:cubicBezTo>
                  <a:cubicBezTo>
                    <a:pt x="820" y="284"/>
                    <a:pt x="820" y="284"/>
                    <a:pt x="820" y="284"/>
                  </a:cubicBezTo>
                  <a:cubicBezTo>
                    <a:pt x="820" y="283"/>
                    <a:pt x="820" y="283"/>
                    <a:pt x="820" y="283"/>
                  </a:cubicBezTo>
                  <a:cubicBezTo>
                    <a:pt x="820" y="283"/>
                    <a:pt x="820" y="282"/>
                    <a:pt x="820" y="282"/>
                  </a:cubicBezTo>
                  <a:cubicBezTo>
                    <a:pt x="820" y="282"/>
                    <a:pt x="820" y="282"/>
                    <a:pt x="820" y="282"/>
                  </a:cubicBezTo>
                  <a:cubicBezTo>
                    <a:pt x="820" y="281"/>
                    <a:pt x="819" y="281"/>
                    <a:pt x="819" y="281"/>
                  </a:cubicBezTo>
                  <a:cubicBezTo>
                    <a:pt x="819" y="280"/>
                    <a:pt x="819" y="279"/>
                    <a:pt x="818" y="278"/>
                  </a:cubicBezTo>
                  <a:cubicBezTo>
                    <a:pt x="818" y="277"/>
                    <a:pt x="818" y="277"/>
                    <a:pt x="818" y="277"/>
                  </a:cubicBezTo>
                  <a:cubicBezTo>
                    <a:pt x="817" y="273"/>
                    <a:pt x="816" y="270"/>
                    <a:pt x="815" y="267"/>
                  </a:cubicBezTo>
                  <a:cubicBezTo>
                    <a:pt x="815" y="267"/>
                    <a:pt x="815" y="266"/>
                    <a:pt x="815" y="266"/>
                  </a:cubicBezTo>
                  <a:cubicBezTo>
                    <a:pt x="814" y="265"/>
                    <a:pt x="814" y="263"/>
                    <a:pt x="814" y="262"/>
                  </a:cubicBezTo>
                  <a:cubicBezTo>
                    <a:pt x="814" y="262"/>
                    <a:pt x="813" y="261"/>
                    <a:pt x="813" y="261"/>
                  </a:cubicBezTo>
                  <a:cubicBezTo>
                    <a:pt x="813" y="259"/>
                    <a:pt x="812" y="257"/>
                    <a:pt x="812" y="255"/>
                  </a:cubicBezTo>
                  <a:cubicBezTo>
                    <a:pt x="812" y="255"/>
                    <a:pt x="811" y="255"/>
                    <a:pt x="811" y="254"/>
                  </a:cubicBezTo>
                  <a:cubicBezTo>
                    <a:pt x="811" y="252"/>
                    <a:pt x="810" y="250"/>
                    <a:pt x="810" y="248"/>
                  </a:cubicBezTo>
                  <a:cubicBezTo>
                    <a:pt x="809" y="247"/>
                    <a:pt x="809" y="247"/>
                    <a:pt x="809" y="247"/>
                  </a:cubicBezTo>
                  <a:cubicBezTo>
                    <a:pt x="809" y="245"/>
                    <a:pt x="808" y="243"/>
                    <a:pt x="808" y="241"/>
                  </a:cubicBezTo>
                  <a:cubicBezTo>
                    <a:pt x="808" y="241"/>
                    <a:pt x="808" y="240"/>
                    <a:pt x="808" y="240"/>
                  </a:cubicBezTo>
                  <a:cubicBezTo>
                    <a:pt x="807" y="237"/>
                    <a:pt x="806" y="233"/>
                    <a:pt x="805" y="229"/>
                  </a:cubicBezTo>
                  <a:cubicBezTo>
                    <a:pt x="805" y="229"/>
                    <a:pt x="805" y="229"/>
                    <a:pt x="805" y="228"/>
                  </a:cubicBezTo>
                  <a:cubicBezTo>
                    <a:pt x="804" y="224"/>
                    <a:pt x="803" y="220"/>
                    <a:pt x="802" y="216"/>
                  </a:cubicBezTo>
                  <a:cubicBezTo>
                    <a:pt x="802" y="216"/>
                    <a:pt x="802" y="216"/>
                    <a:pt x="802" y="215"/>
                  </a:cubicBezTo>
                  <a:cubicBezTo>
                    <a:pt x="801" y="212"/>
                    <a:pt x="801" y="208"/>
                    <a:pt x="800" y="205"/>
                  </a:cubicBezTo>
                  <a:cubicBezTo>
                    <a:pt x="800" y="204"/>
                    <a:pt x="800" y="204"/>
                    <a:pt x="800" y="204"/>
                  </a:cubicBezTo>
                  <a:cubicBezTo>
                    <a:pt x="799" y="198"/>
                    <a:pt x="799" y="193"/>
                    <a:pt x="798" y="188"/>
                  </a:cubicBezTo>
                  <a:cubicBezTo>
                    <a:pt x="798" y="187"/>
                    <a:pt x="798" y="187"/>
                    <a:pt x="798" y="187"/>
                  </a:cubicBezTo>
                  <a:cubicBezTo>
                    <a:pt x="798" y="181"/>
                    <a:pt x="797" y="175"/>
                    <a:pt x="797" y="169"/>
                  </a:cubicBezTo>
                  <a:cubicBezTo>
                    <a:pt x="797" y="166"/>
                    <a:pt x="797" y="164"/>
                    <a:pt x="797" y="162"/>
                  </a:cubicBezTo>
                  <a:cubicBezTo>
                    <a:pt x="797" y="161"/>
                    <a:pt x="797" y="161"/>
                    <a:pt x="797" y="161"/>
                  </a:cubicBezTo>
                  <a:cubicBezTo>
                    <a:pt x="798" y="155"/>
                    <a:pt x="798" y="149"/>
                    <a:pt x="799" y="143"/>
                  </a:cubicBezTo>
                  <a:cubicBezTo>
                    <a:pt x="799" y="142"/>
                    <a:pt x="799" y="142"/>
                    <a:pt x="799" y="142"/>
                  </a:cubicBezTo>
                  <a:cubicBezTo>
                    <a:pt x="801" y="134"/>
                    <a:pt x="802" y="127"/>
                    <a:pt x="805" y="119"/>
                  </a:cubicBezTo>
                  <a:cubicBezTo>
                    <a:pt x="805" y="119"/>
                    <a:pt x="805" y="119"/>
                    <a:pt x="805" y="118"/>
                  </a:cubicBezTo>
                  <a:cubicBezTo>
                    <a:pt x="807" y="111"/>
                    <a:pt x="810" y="105"/>
                    <a:pt x="814" y="98"/>
                  </a:cubicBezTo>
                  <a:cubicBezTo>
                    <a:pt x="814" y="98"/>
                    <a:pt x="814" y="98"/>
                    <a:pt x="814" y="97"/>
                  </a:cubicBezTo>
                  <a:cubicBezTo>
                    <a:pt x="815" y="96"/>
                    <a:pt x="815" y="96"/>
                    <a:pt x="816" y="95"/>
                  </a:cubicBezTo>
                  <a:moveTo>
                    <a:pt x="697" y="312"/>
                  </a:moveTo>
                  <a:cubicBezTo>
                    <a:pt x="692" y="312"/>
                    <a:pt x="688" y="312"/>
                    <a:pt x="683" y="312"/>
                  </a:cubicBezTo>
                  <a:cubicBezTo>
                    <a:pt x="682" y="312"/>
                    <a:pt x="681" y="312"/>
                    <a:pt x="681" y="312"/>
                  </a:cubicBezTo>
                  <a:cubicBezTo>
                    <a:pt x="671" y="313"/>
                    <a:pt x="661" y="315"/>
                    <a:pt x="650" y="317"/>
                  </a:cubicBezTo>
                  <a:cubicBezTo>
                    <a:pt x="649" y="318"/>
                    <a:pt x="648" y="318"/>
                    <a:pt x="647" y="318"/>
                  </a:cubicBezTo>
                  <a:cubicBezTo>
                    <a:pt x="643" y="319"/>
                    <a:pt x="639" y="320"/>
                    <a:pt x="635" y="322"/>
                  </a:cubicBezTo>
                  <a:cubicBezTo>
                    <a:pt x="635" y="322"/>
                    <a:pt x="635" y="322"/>
                    <a:pt x="635" y="322"/>
                  </a:cubicBezTo>
                  <a:cubicBezTo>
                    <a:pt x="638" y="322"/>
                    <a:pt x="642" y="321"/>
                    <a:pt x="645" y="320"/>
                  </a:cubicBezTo>
                  <a:cubicBezTo>
                    <a:pt x="646" y="320"/>
                    <a:pt x="647" y="319"/>
                    <a:pt x="648" y="319"/>
                  </a:cubicBezTo>
                  <a:cubicBezTo>
                    <a:pt x="658" y="317"/>
                    <a:pt x="669" y="315"/>
                    <a:pt x="679" y="314"/>
                  </a:cubicBezTo>
                  <a:cubicBezTo>
                    <a:pt x="680" y="314"/>
                    <a:pt x="680" y="313"/>
                    <a:pt x="681" y="313"/>
                  </a:cubicBezTo>
                  <a:cubicBezTo>
                    <a:pt x="686" y="313"/>
                    <a:pt x="692" y="313"/>
                    <a:pt x="697" y="313"/>
                  </a:cubicBezTo>
                  <a:cubicBezTo>
                    <a:pt x="698" y="313"/>
                    <a:pt x="699" y="313"/>
                    <a:pt x="700" y="313"/>
                  </a:cubicBezTo>
                  <a:cubicBezTo>
                    <a:pt x="700" y="312"/>
                    <a:pt x="699" y="312"/>
                    <a:pt x="699" y="312"/>
                  </a:cubicBezTo>
                  <a:cubicBezTo>
                    <a:pt x="698" y="312"/>
                    <a:pt x="698" y="312"/>
                    <a:pt x="697" y="312"/>
                  </a:cubicBezTo>
                  <a:moveTo>
                    <a:pt x="700" y="312"/>
                  </a:moveTo>
                  <a:cubicBezTo>
                    <a:pt x="701" y="312"/>
                    <a:pt x="701" y="312"/>
                    <a:pt x="701" y="313"/>
                  </a:cubicBezTo>
                  <a:cubicBezTo>
                    <a:pt x="704" y="313"/>
                    <a:pt x="707" y="313"/>
                    <a:pt x="710" y="313"/>
                  </a:cubicBezTo>
                  <a:cubicBezTo>
                    <a:pt x="710" y="313"/>
                    <a:pt x="711" y="313"/>
                    <a:pt x="711" y="313"/>
                  </a:cubicBezTo>
                  <a:cubicBezTo>
                    <a:pt x="715" y="314"/>
                    <a:pt x="719" y="314"/>
                    <a:pt x="723" y="315"/>
                  </a:cubicBezTo>
                  <a:cubicBezTo>
                    <a:pt x="723" y="315"/>
                    <a:pt x="724" y="316"/>
                    <a:pt x="725" y="316"/>
                  </a:cubicBezTo>
                  <a:cubicBezTo>
                    <a:pt x="728" y="316"/>
                    <a:pt x="731" y="317"/>
                    <a:pt x="734" y="319"/>
                  </a:cubicBezTo>
                  <a:cubicBezTo>
                    <a:pt x="734" y="319"/>
                    <a:pt x="735" y="319"/>
                    <a:pt x="735" y="319"/>
                  </a:cubicBezTo>
                  <a:cubicBezTo>
                    <a:pt x="736" y="320"/>
                    <a:pt x="738" y="320"/>
                    <a:pt x="739" y="321"/>
                  </a:cubicBezTo>
                  <a:cubicBezTo>
                    <a:pt x="740" y="321"/>
                    <a:pt x="740" y="321"/>
                    <a:pt x="741" y="322"/>
                  </a:cubicBezTo>
                  <a:cubicBezTo>
                    <a:pt x="743" y="323"/>
                    <a:pt x="746" y="325"/>
                    <a:pt x="748" y="327"/>
                  </a:cubicBezTo>
                  <a:cubicBezTo>
                    <a:pt x="748" y="327"/>
                    <a:pt x="749" y="327"/>
                    <a:pt x="749" y="327"/>
                  </a:cubicBezTo>
                  <a:cubicBezTo>
                    <a:pt x="749" y="327"/>
                    <a:pt x="749" y="328"/>
                    <a:pt x="749" y="328"/>
                  </a:cubicBezTo>
                  <a:cubicBezTo>
                    <a:pt x="750" y="328"/>
                    <a:pt x="750" y="328"/>
                    <a:pt x="750" y="329"/>
                  </a:cubicBezTo>
                  <a:cubicBezTo>
                    <a:pt x="751" y="329"/>
                    <a:pt x="751" y="329"/>
                    <a:pt x="751" y="329"/>
                  </a:cubicBezTo>
                  <a:cubicBezTo>
                    <a:pt x="751" y="329"/>
                    <a:pt x="752" y="329"/>
                    <a:pt x="752" y="329"/>
                  </a:cubicBezTo>
                  <a:cubicBezTo>
                    <a:pt x="753" y="330"/>
                    <a:pt x="753" y="331"/>
                    <a:pt x="754" y="331"/>
                  </a:cubicBezTo>
                  <a:cubicBezTo>
                    <a:pt x="755" y="331"/>
                    <a:pt x="755" y="331"/>
                    <a:pt x="755" y="332"/>
                  </a:cubicBezTo>
                  <a:cubicBezTo>
                    <a:pt x="755" y="332"/>
                    <a:pt x="755" y="332"/>
                    <a:pt x="755" y="332"/>
                  </a:cubicBezTo>
                  <a:cubicBezTo>
                    <a:pt x="756" y="332"/>
                    <a:pt x="756" y="332"/>
                    <a:pt x="756" y="332"/>
                  </a:cubicBezTo>
                  <a:cubicBezTo>
                    <a:pt x="757" y="333"/>
                    <a:pt x="757" y="333"/>
                    <a:pt x="757" y="333"/>
                  </a:cubicBezTo>
                  <a:cubicBezTo>
                    <a:pt x="757" y="333"/>
                    <a:pt x="758" y="333"/>
                    <a:pt x="758" y="333"/>
                  </a:cubicBezTo>
                  <a:cubicBezTo>
                    <a:pt x="759" y="334"/>
                    <a:pt x="759" y="334"/>
                    <a:pt x="760" y="335"/>
                  </a:cubicBezTo>
                  <a:cubicBezTo>
                    <a:pt x="760" y="335"/>
                    <a:pt x="761" y="335"/>
                    <a:pt x="761" y="336"/>
                  </a:cubicBezTo>
                  <a:cubicBezTo>
                    <a:pt x="762" y="336"/>
                    <a:pt x="764" y="337"/>
                    <a:pt x="765" y="338"/>
                  </a:cubicBezTo>
                  <a:cubicBezTo>
                    <a:pt x="765" y="338"/>
                    <a:pt x="765" y="338"/>
                    <a:pt x="765" y="338"/>
                  </a:cubicBezTo>
                  <a:cubicBezTo>
                    <a:pt x="765" y="338"/>
                    <a:pt x="766" y="338"/>
                    <a:pt x="766" y="338"/>
                  </a:cubicBezTo>
                  <a:cubicBezTo>
                    <a:pt x="766" y="339"/>
                    <a:pt x="767" y="339"/>
                    <a:pt x="767" y="339"/>
                  </a:cubicBezTo>
                  <a:cubicBezTo>
                    <a:pt x="767" y="339"/>
                    <a:pt x="767" y="339"/>
                    <a:pt x="768" y="339"/>
                  </a:cubicBezTo>
                  <a:cubicBezTo>
                    <a:pt x="768" y="340"/>
                    <a:pt x="768" y="340"/>
                    <a:pt x="769" y="340"/>
                  </a:cubicBezTo>
                  <a:cubicBezTo>
                    <a:pt x="769" y="340"/>
                    <a:pt x="770" y="341"/>
                    <a:pt x="770" y="341"/>
                  </a:cubicBezTo>
                  <a:cubicBezTo>
                    <a:pt x="770" y="341"/>
                    <a:pt x="771" y="341"/>
                    <a:pt x="771" y="341"/>
                  </a:cubicBezTo>
                  <a:cubicBezTo>
                    <a:pt x="772" y="342"/>
                    <a:pt x="773" y="343"/>
                    <a:pt x="775" y="343"/>
                  </a:cubicBezTo>
                  <a:cubicBezTo>
                    <a:pt x="775" y="344"/>
                    <a:pt x="775" y="344"/>
                    <a:pt x="776" y="344"/>
                  </a:cubicBezTo>
                  <a:cubicBezTo>
                    <a:pt x="776" y="344"/>
                    <a:pt x="776" y="344"/>
                    <a:pt x="776" y="344"/>
                  </a:cubicBezTo>
                  <a:cubicBezTo>
                    <a:pt x="776" y="344"/>
                    <a:pt x="777" y="345"/>
                    <a:pt x="777" y="345"/>
                  </a:cubicBezTo>
                  <a:cubicBezTo>
                    <a:pt x="778" y="345"/>
                    <a:pt x="778" y="345"/>
                    <a:pt x="778" y="345"/>
                  </a:cubicBezTo>
                  <a:cubicBezTo>
                    <a:pt x="778" y="345"/>
                    <a:pt x="778" y="345"/>
                    <a:pt x="778" y="344"/>
                  </a:cubicBezTo>
                  <a:cubicBezTo>
                    <a:pt x="778" y="344"/>
                    <a:pt x="777" y="344"/>
                    <a:pt x="777" y="344"/>
                  </a:cubicBezTo>
                  <a:cubicBezTo>
                    <a:pt x="777" y="344"/>
                    <a:pt x="777" y="343"/>
                    <a:pt x="777" y="343"/>
                  </a:cubicBezTo>
                  <a:cubicBezTo>
                    <a:pt x="776" y="343"/>
                    <a:pt x="776" y="343"/>
                    <a:pt x="776" y="343"/>
                  </a:cubicBezTo>
                  <a:cubicBezTo>
                    <a:pt x="775" y="342"/>
                    <a:pt x="773" y="342"/>
                    <a:pt x="772" y="341"/>
                  </a:cubicBezTo>
                  <a:cubicBezTo>
                    <a:pt x="772" y="341"/>
                    <a:pt x="772" y="341"/>
                    <a:pt x="771" y="340"/>
                  </a:cubicBezTo>
                  <a:cubicBezTo>
                    <a:pt x="771" y="340"/>
                    <a:pt x="770" y="340"/>
                    <a:pt x="769" y="339"/>
                  </a:cubicBezTo>
                  <a:cubicBezTo>
                    <a:pt x="769" y="339"/>
                    <a:pt x="769" y="339"/>
                    <a:pt x="768" y="339"/>
                  </a:cubicBezTo>
                  <a:cubicBezTo>
                    <a:pt x="768" y="339"/>
                    <a:pt x="768" y="339"/>
                    <a:pt x="768" y="338"/>
                  </a:cubicBezTo>
                  <a:cubicBezTo>
                    <a:pt x="768" y="338"/>
                    <a:pt x="767" y="338"/>
                    <a:pt x="767" y="338"/>
                  </a:cubicBezTo>
                  <a:cubicBezTo>
                    <a:pt x="767" y="338"/>
                    <a:pt x="767" y="338"/>
                    <a:pt x="766" y="338"/>
                  </a:cubicBezTo>
                  <a:cubicBezTo>
                    <a:pt x="766" y="338"/>
                    <a:pt x="766" y="337"/>
                    <a:pt x="766" y="337"/>
                  </a:cubicBezTo>
                  <a:cubicBezTo>
                    <a:pt x="765" y="337"/>
                    <a:pt x="764" y="336"/>
                    <a:pt x="762" y="335"/>
                  </a:cubicBezTo>
                  <a:cubicBezTo>
                    <a:pt x="762" y="335"/>
                    <a:pt x="762" y="335"/>
                    <a:pt x="761" y="334"/>
                  </a:cubicBezTo>
                  <a:cubicBezTo>
                    <a:pt x="760" y="334"/>
                    <a:pt x="760" y="333"/>
                    <a:pt x="759" y="333"/>
                  </a:cubicBezTo>
                  <a:cubicBezTo>
                    <a:pt x="758" y="333"/>
                    <a:pt x="758" y="332"/>
                    <a:pt x="758" y="332"/>
                  </a:cubicBezTo>
                  <a:cubicBezTo>
                    <a:pt x="758" y="332"/>
                    <a:pt x="757" y="332"/>
                    <a:pt x="757" y="332"/>
                  </a:cubicBezTo>
                  <a:cubicBezTo>
                    <a:pt x="757" y="332"/>
                    <a:pt x="757" y="331"/>
                    <a:pt x="756" y="331"/>
                  </a:cubicBezTo>
                  <a:cubicBezTo>
                    <a:pt x="756" y="331"/>
                    <a:pt x="756" y="331"/>
                    <a:pt x="756" y="331"/>
                  </a:cubicBezTo>
                  <a:cubicBezTo>
                    <a:pt x="756" y="331"/>
                    <a:pt x="756" y="331"/>
                    <a:pt x="755" y="331"/>
                  </a:cubicBezTo>
                  <a:cubicBezTo>
                    <a:pt x="754" y="330"/>
                    <a:pt x="754" y="329"/>
                    <a:pt x="753" y="329"/>
                  </a:cubicBezTo>
                  <a:cubicBezTo>
                    <a:pt x="752" y="329"/>
                    <a:pt x="752" y="329"/>
                    <a:pt x="752" y="329"/>
                  </a:cubicBezTo>
                  <a:cubicBezTo>
                    <a:pt x="752" y="328"/>
                    <a:pt x="752" y="328"/>
                    <a:pt x="751" y="328"/>
                  </a:cubicBezTo>
                  <a:cubicBezTo>
                    <a:pt x="751" y="328"/>
                    <a:pt x="751" y="327"/>
                    <a:pt x="750" y="327"/>
                  </a:cubicBezTo>
                  <a:cubicBezTo>
                    <a:pt x="750" y="327"/>
                    <a:pt x="750" y="327"/>
                    <a:pt x="750" y="327"/>
                  </a:cubicBezTo>
                  <a:cubicBezTo>
                    <a:pt x="750" y="327"/>
                    <a:pt x="749" y="326"/>
                    <a:pt x="749" y="326"/>
                  </a:cubicBezTo>
                  <a:cubicBezTo>
                    <a:pt x="747" y="324"/>
                    <a:pt x="744" y="323"/>
                    <a:pt x="742" y="321"/>
                  </a:cubicBezTo>
                  <a:cubicBezTo>
                    <a:pt x="741" y="321"/>
                    <a:pt x="741" y="321"/>
                    <a:pt x="741" y="321"/>
                  </a:cubicBezTo>
                  <a:cubicBezTo>
                    <a:pt x="739" y="320"/>
                    <a:pt x="738" y="319"/>
                    <a:pt x="736" y="318"/>
                  </a:cubicBezTo>
                  <a:cubicBezTo>
                    <a:pt x="736" y="318"/>
                    <a:pt x="735" y="318"/>
                    <a:pt x="735" y="318"/>
                  </a:cubicBezTo>
                  <a:cubicBezTo>
                    <a:pt x="732" y="317"/>
                    <a:pt x="729" y="316"/>
                    <a:pt x="726" y="315"/>
                  </a:cubicBezTo>
                  <a:cubicBezTo>
                    <a:pt x="726" y="315"/>
                    <a:pt x="725" y="315"/>
                    <a:pt x="725" y="315"/>
                  </a:cubicBezTo>
                  <a:cubicBezTo>
                    <a:pt x="721" y="314"/>
                    <a:pt x="717" y="313"/>
                    <a:pt x="713" y="313"/>
                  </a:cubicBezTo>
                  <a:cubicBezTo>
                    <a:pt x="712" y="312"/>
                    <a:pt x="712" y="312"/>
                    <a:pt x="711" y="312"/>
                  </a:cubicBezTo>
                  <a:cubicBezTo>
                    <a:pt x="708" y="312"/>
                    <a:pt x="704" y="312"/>
                    <a:pt x="700" y="312"/>
                  </a:cubicBezTo>
                  <a:moveTo>
                    <a:pt x="634" y="322"/>
                  </a:moveTo>
                  <a:cubicBezTo>
                    <a:pt x="624" y="325"/>
                    <a:pt x="614" y="329"/>
                    <a:pt x="605" y="333"/>
                  </a:cubicBezTo>
                  <a:cubicBezTo>
                    <a:pt x="604" y="333"/>
                    <a:pt x="603" y="334"/>
                    <a:pt x="602" y="334"/>
                  </a:cubicBezTo>
                  <a:cubicBezTo>
                    <a:pt x="600" y="335"/>
                    <a:pt x="598" y="336"/>
                    <a:pt x="596" y="337"/>
                  </a:cubicBezTo>
                  <a:cubicBezTo>
                    <a:pt x="593" y="339"/>
                    <a:pt x="590" y="340"/>
                    <a:pt x="587" y="342"/>
                  </a:cubicBezTo>
                  <a:cubicBezTo>
                    <a:pt x="588" y="341"/>
                    <a:pt x="589" y="341"/>
                    <a:pt x="590" y="341"/>
                  </a:cubicBezTo>
                  <a:cubicBezTo>
                    <a:pt x="592" y="340"/>
                    <a:pt x="594" y="339"/>
                    <a:pt x="596" y="338"/>
                  </a:cubicBezTo>
                  <a:cubicBezTo>
                    <a:pt x="599" y="337"/>
                    <a:pt x="602" y="335"/>
                    <a:pt x="605" y="334"/>
                  </a:cubicBezTo>
                  <a:cubicBezTo>
                    <a:pt x="606" y="333"/>
                    <a:pt x="607" y="333"/>
                    <a:pt x="608" y="333"/>
                  </a:cubicBezTo>
                  <a:cubicBezTo>
                    <a:pt x="616" y="329"/>
                    <a:pt x="625" y="326"/>
                    <a:pt x="634" y="323"/>
                  </a:cubicBezTo>
                  <a:cubicBezTo>
                    <a:pt x="634" y="322"/>
                    <a:pt x="634" y="322"/>
                    <a:pt x="634" y="322"/>
                  </a:cubicBezTo>
                  <a:moveTo>
                    <a:pt x="587" y="343"/>
                  </a:moveTo>
                  <a:cubicBezTo>
                    <a:pt x="585" y="343"/>
                    <a:pt x="584" y="343"/>
                    <a:pt x="583" y="344"/>
                  </a:cubicBezTo>
                  <a:cubicBezTo>
                    <a:pt x="580" y="345"/>
                    <a:pt x="577" y="346"/>
                    <a:pt x="574" y="348"/>
                  </a:cubicBezTo>
                  <a:cubicBezTo>
                    <a:pt x="573" y="348"/>
                    <a:pt x="572" y="349"/>
                    <a:pt x="571" y="349"/>
                  </a:cubicBezTo>
                  <a:cubicBezTo>
                    <a:pt x="570" y="350"/>
                    <a:pt x="569" y="351"/>
                    <a:pt x="567" y="351"/>
                  </a:cubicBezTo>
                  <a:cubicBezTo>
                    <a:pt x="566" y="352"/>
                    <a:pt x="566" y="352"/>
                    <a:pt x="565" y="352"/>
                  </a:cubicBezTo>
                  <a:cubicBezTo>
                    <a:pt x="564" y="353"/>
                    <a:pt x="564" y="353"/>
                    <a:pt x="563" y="353"/>
                  </a:cubicBezTo>
                  <a:cubicBezTo>
                    <a:pt x="562" y="354"/>
                    <a:pt x="561" y="354"/>
                    <a:pt x="559" y="355"/>
                  </a:cubicBezTo>
                  <a:cubicBezTo>
                    <a:pt x="554" y="358"/>
                    <a:pt x="548" y="360"/>
                    <a:pt x="542" y="363"/>
                  </a:cubicBezTo>
                  <a:cubicBezTo>
                    <a:pt x="544" y="363"/>
                    <a:pt x="545" y="363"/>
                    <a:pt x="546" y="363"/>
                  </a:cubicBezTo>
                  <a:cubicBezTo>
                    <a:pt x="549" y="361"/>
                    <a:pt x="552" y="359"/>
                    <a:pt x="556" y="358"/>
                  </a:cubicBezTo>
                  <a:cubicBezTo>
                    <a:pt x="557" y="357"/>
                    <a:pt x="559" y="357"/>
                    <a:pt x="560" y="356"/>
                  </a:cubicBezTo>
                  <a:cubicBezTo>
                    <a:pt x="563" y="355"/>
                    <a:pt x="565" y="353"/>
                    <a:pt x="568" y="352"/>
                  </a:cubicBezTo>
                  <a:cubicBezTo>
                    <a:pt x="569" y="352"/>
                    <a:pt x="569" y="351"/>
                    <a:pt x="570" y="351"/>
                  </a:cubicBezTo>
                  <a:cubicBezTo>
                    <a:pt x="571" y="351"/>
                    <a:pt x="571" y="350"/>
                    <a:pt x="572" y="350"/>
                  </a:cubicBezTo>
                  <a:cubicBezTo>
                    <a:pt x="577" y="348"/>
                    <a:pt x="582" y="345"/>
                    <a:pt x="587" y="343"/>
                  </a:cubicBezTo>
                  <a:moveTo>
                    <a:pt x="543" y="364"/>
                  </a:moveTo>
                  <a:cubicBezTo>
                    <a:pt x="542" y="364"/>
                    <a:pt x="540" y="364"/>
                    <a:pt x="539" y="365"/>
                  </a:cubicBezTo>
                  <a:cubicBezTo>
                    <a:pt x="535" y="366"/>
                    <a:pt x="532" y="368"/>
                    <a:pt x="528" y="370"/>
                  </a:cubicBezTo>
                  <a:cubicBezTo>
                    <a:pt x="527" y="371"/>
                    <a:pt x="526" y="371"/>
                    <a:pt x="525" y="372"/>
                  </a:cubicBezTo>
                  <a:cubicBezTo>
                    <a:pt x="514" y="376"/>
                    <a:pt x="504" y="381"/>
                    <a:pt x="493" y="386"/>
                  </a:cubicBezTo>
                  <a:cubicBezTo>
                    <a:pt x="494" y="386"/>
                    <a:pt x="495" y="386"/>
                    <a:pt x="496" y="386"/>
                  </a:cubicBezTo>
                  <a:cubicBezTo>
                    <a:pt x="507" y="381"/>
                    <a:pt x="518" y="376"/>
                    <a:pt x="528" y="371"/>
                  </a:cubicBezTo>
                  <a:cubicBezTo>
                    <a:pt x="529" y="370"/>
                    <a:pt x="530" y="370"/>
                    <a:pt x="531" y="370"/>
                  </a:cubicBezTo>
                  <a:cubicBezTo>
                    <a:pt x="535" y="368"/>
                    <a:pt x="539" y="366"/>
                    <a:pt x="543" y="364"/>
                  </a:cubicBezTo>
                  <a:moveTo>
                    <a:pt x="493" y="387"/>
                  </a:moveTo>
                  <a:cubicBezTo>
                    <a:pt x="492" y="387"/>
                    <a:pt x="491" y="387"/>
                    <a:pt x="490" y="387"/>
                  </a:cubicBezTo>
                  <a:cubicBezTo>
                    <a:pt x="488" y="388"/>
                    <a:pt x="486" y="389"/>
                    <a:pt x="484" y="390"/>
                  </a:cubicBezTo>
                  <a:cubicBezTo>
                    <a:pt x="484" y="390"/>
                    <a:pt x="483" y="390"/>
                    <a:pt x="483" y="390"/>
                  </a:cubicBezTo>
                  <a:cubicBezTo>
                    <a:pt x="483" y="391"/>
                    <a:pt x="482" y="391"/>
                    <a:pt x="482" y="391"/>
                  </a:cubicBezTo>
                  <a:cubicBezTo>
                    <a:pt x="480" y="392"/>
                    <a:pt x="479" y="392"/>
                    <a:pt x="478" y="393"/>
                  </a:cubicBezTo>
                  <a:cubicBezTo>
                    <a:pt x="476" y="394"/>
                    <a:pt x="474" y="395"/>
                    <a:pt x="472" y="396"/>
                  </a:cubicBezTo>
                  <a:cubicBezTo>
                    <a:pt x="471" y="396"/>
                    <a:pt x="470" y="396"/>
                    <a:pt x="470" y="396"/>
                  </a:cubicBezTo>
                  <a:cubicBezTo>
                    <a:pt x="468" y="397"/>
                    <a:pt x="466" y="398"/>
                    <a:pt x="464" y="399"/>
                  </a:cubicBezTo>
                  <a:cubicBezTo>
                    <a:pt x="464" y="399"/>
                    <a:pt x="463" y="399"/>
                    <a:pt x="462" y="400"/>
                  </a:cubicBezTo>
                  <a:cubicBezTo>
                    <a:pt x="460" y="401"/>
                    <a:pt x="457" y="402"/>
                    <a:pt x="454" y="404"/>
                  </a:cubicBezTo>
                  <a:cubicBezTo>
                    <a:pt x="454" y="404"/>
                    <a:pt x="453" y="404"/>
                    <a:pt x="453" y="404"/>
                  </a:cubicBezTo>
                  <a:cubicBezTo>
                    <a:pt x="445" y="407"/>
                    <a:pt x="437" y="411"/>
                    <a:pt x="429" y="414"/>
                  </a:cubicBezTo>
                  <a:cubicBezTo>
                    <a:pt x="428" y="415"/>
                    <a:pt x="428" y="415"/>
                    <a:pt x="427" y="415"/>
                  </a:cubicBezTo>
                  <a:cubicBezTo>
                    <a:pt x="426" y="416"/>
                    <a:pt x="425" y="416"/>
                    <a:pt x="424" y="417"/>
                  </a:cubicBezTo>
                  <a:cubicBezTo>
                    <a:pt x="424" y="417"/>
                    <a:pt x="423" y="417"/>
                    <a:pt x="423" y="417"/>
                  </a:cubicBezTo>
                  <a:cubicBezTo>
                    <a:pt x="422" y="417"/>
                    <a:pt x="421" y="418"/>
                    <a:pt x="420" y="418"/>
                  </a:cubicBezTo>
                  <a:cubicBezTo>
                    <a:pt x="418" y="419"/>
                    <a:pt x="416" y="420"/>
                    <a:pt x="415" y="421"/>
                  </a:cubicBezTo>
                  <a:cubicBezTo>
                    <a:pt x="414" y="421"/>
                    <a:pt x="414" y="421"/>
                    <a:pt x="413" y="421"/>
                  </a:cubicBezTo>
                  <a:cubicBezTo>
                    <a:pt x="412" y="422"/>
                    <a:pt x="410" y="423"/>
                    <a:pt x="408" y="423"/>
                  </a:cubicBezTo>
                  <a:cubicBezTo>
                    <a:pt x="408" y="424"/>
                    <a:pt x="408" y="424"/>
                    <a:pt x="407" y="424"/>
                  </a:cubicBezTo>
                  <a:cubicBezTo>
                    <a:pt x="406" y="424"/>
                    <a:pt x="406" y="425"/>
                    <a:pt x="405" y="425"/>
                  </a:cubicBezTo>
                  <a:cubicBezTo>
                    <a:pt x="404" y="425"/>
                    <a:pt x="404" y="425"/>
                    <a:pt x="404" y="425"/>
                  </a:cubicBezTo>
                  <a:cubicBezTo>
                    <a:pt x="403" y="426"/>
                    <a:pt x="402" y="426"/>
                    <a:pt x="401" y="427"/>
                  </a:cubicBezTo>
                  <a:cubicBezTo>
                    <a:pt x="400" y="427"/>
                    <a:pt x="400" y="427"/>
                    <a:pt x="399" y="427"/>
                  </a:cubicBezTo>
                  <a:cubicBezTo>
                    <a:pt x="398" y="428"/>
                    <a:pt x="398" y="428"/>
                    <a:pt x="397" y="428"/>
                  </a:cubicBezTo>
                  <a:cubicBezTo>
                    <a:pt x="388" y="432"/>
                    <a:pt x="379" y="436"/>
                    <a:pt x="370" y="440"/>
                  </a:cubicBezTo>
                  <a:cubicBezTo>
                    <a:pt x="370" y="440"/>
                    <a:pt x="369" y="440"/>
                    <a:pt x="369" y="440"/>
                  </a:cubicBezTo>
                  <a:cubicBezTo>
                    <a:pt x="364" y="442"/>
                    <a:pt x="359" y="445"/>
                    <a:pt x="354" y="447"/>
                  </a:cubicBezTo>
                  <a:cubicBezTo>
                    <a:pt x="353" y="447"/>
                    <a:pt x="352" y="447"/>
                    <a:pt x="352" y="447"/>
                  </a:cubicBezTo>
                  <a:cubicBezTo>
                    <a:pt x="345" y="450"/>
                    <a:pt x="338" y="453"/>
                    <a:pt x="331" y="456"/>
                  </a:cubicBezTo>
                  <a:cubicBezTo>
                    <a:pt x="330" y="456"/>
                    <a:pt x="330" y="456"/>
                    <a:pt x="330" y="456"/>
                  </a:cubicBezTo>
                  <a:cubicBezTo>
                    <a:pt x="328" y="457"/>
                    <a:pt x="327" y="458"/>
                    <a:pt x="325" y="458"/>
                  </a:cubicBezTo>
                  <a:cubicBezTo>
                    <a:pt x="324" y="459"/>
                    <a:pt x="323" y="459"/>
                    <a:pt x="322" y="460"/>
                  </a:cubicBezTo>
                  <a:cubicBezTo>
                    <a:pt x="321" y="460"/>
                    <a:pt x="321" y="460"/>
                    <a:pt x="321" y="460"/>
                  </a:cubicBezTo>
                  <a:cubicBezTo>
                    <a:pt x="318" y="461"/>
                    <a:pt x="316" y="462"/>
                    <a:pt x="314" y="463"/>
                  </a:cubicBezTo>
                  <a:cubicBezTo>
                    <a:pt x="313" y="463"/>
                    <a:pt x="313" y="463"/>
                    <a:pt x="313" y="464"/>
                  </a:cubicBezTo>
                  <a:cubicBezTo>
                    <a:pt x="313" y="464"/>
                    <a:pt x="312" y="464"/>
                    <a:pt x="312" y="464"/>
                  </a:cubicBezTo>
                  <a:cubicBezTo>
                    <a:pt x="312" y="464"/>
                    <a:pt x="312" y="464"/>
                    <a:pt x="311" y="464"/>
                  </a:cubicBezTo>
                  <a:cubicBezTo>
                    <a:pt x="311" y="464"/>
                    <a:pt x="311" y="464"/>
                    <a:pt x="311" y="464"/>
                  </a:cubicBezTo>
                  <a:cubicBezTo>
                    <a:pt x="311" y="465"/>
                    <a:pt x="310" y="465"/>
                    <a:pt x="310" y="465"/>
                  </a:cubicBezTo>
                  <a:cubicBezTo>
                    <a:pt x="310" y="465"/>
                    <a:pt x="309" y="465"/>
                    <a:pt x="309" y="465"/>
                  </a:cubicBezTo>
                  <a:cubicBezTo>
                    <a:pt x="308" y="465"/>
                    <a:pt x="308" y="466"/>
                    <a:pt x="308" y="466"/>
                  </a:cubicBezTo>
                  <a:cubicBezTo>
                    <a:pt x="307" y="466"/>
                    <a:pt x="307" y="466"/>
                    <a:pt x="307" y="466"/>
                  </a:cubicBezTo>
                  <a:cubicBezTo>
                    <a:pt x="307" y="466"/>
                    <a:pt x="306" y="466"/>
                    <a:pt x="306" y="467"/>
                  </a:cubicBezTo>
                  <a:cubicBezTo>
                    <a:pt x="306" y="467"/>
                    <a:pt x="305" y="467"/>
                    <a:pt x="305" y="467"/>
                  </a:cubicBezTo>
                  <a:cubicBezTo>
                    <a:pt x="305" y="467"/>
                    <a:pt x="304" y="467"/>
                    <a:pt x="304" y="467"/>
                  </a:cubicBezTo>
                  <a:cubicBezTo>
                    <a:pt x="303" y="468"/>
                    <a:pt x="303" y="468"/>
                    <a:pt x="302" y="468"/>
                  </a:cubicBezTo>
                  <a:cubicBezTo>
                    <a:pt x="302" y="468"/>
                    <a:pt x="302" y="468"/>
                    <a:pt x="302" y="468"/>
                  </a:cubicBezTo>
                  <a:cubicBezTo>
                    <a:pt x="301" y="469"/>
                    <a:pt x="301" y="469"/>
                    <a:pt x="300" y="469"/>
                  </a:cubicBezTo>
                  <a:cubicBezTo>
                    <a:pt x="299" y="469"/>
                    <a:pt x="299" y="470"/>
                    <a:pt x="298" y="470"/>
                  </a:cubicBezTo>
                  <a:cubicBezTo>
                    <a:pt x="297" y="470"/>
                    <a:pt x="297" y="470"/>
                    <a:pt x="296" y="471"/>
                  </a:cubicBezTo>
                  <a:cubicBezTo>
                    <a:pt x="296" y="471"/>
                    <a:pt x="296" y="471"/>
                    <a:pt x="296" y="471"/>
                  </a:cubicBezTo>
                  <a:cubicBezTo>
                    <a:pt x="296" y="471"/>
                    <a:pt x="296" y="471"/>
                    <a:pt x="296" y="471"/>
                  </a:cubicBezTo>
                  <a:cubicBezTo>
                    <a:pt x="296" y="471"/>
                    <a:pt x="296" y="471"/>
                    <a:pt x="295" y="471"/>
                  </a:cubicBezTo>
                  <a:cubicBezTo>
                    <a:pt x="295" y="471"/>
                    <a:pt x="295" y="471"/>
                    <a:pt x="294" y="472"/>
                  </a:cubicBezTo>
                  <a:cubicBezTo>
                    <a:pt x="294" y="472"/>
                    <a:pt x="294" y="472"/>
                    <a:pt x="294" y="472"/>
                  </a:cubicBezTo>
                  <a:cubicBezTo>
                    <a:pt x="293" y="472"/>
                    <a:pt x="292" y="472"/>
                    <a:pt x="292" y="473"/>
                  </a:cubicBezTo>
                  <a:cubicBezTo>
                    <a:pt x="291" y="473"/>
                    <a:pt x="291" y="473"/>
                    <a:pt x="291" y="473"/>
                  </a:cubicBezTo>
                  <a:cubicBezTo>
                    <a:pt x="289" y="474"/>
                    <a:pt x="288" y="474"/>
                    <a:pt x="287" y="475"/>
                  </a:cubicBezTo>
                  <a:cubicBezTo>
                    <a:pt x="286" y="475"/>
                    <a:pt x="286" y="475"/>
                    <a:pt x="286" y="475"/>
                  </a:cubicBezTo>
                  <a:cubicBezTo>
                    <a:pt x="284" y="476"/>
                    <a:pt x="282" y="477"/>
                    <a:pt x="280" y="478"/>
                  </a:cubicBezTo>
                  <a:cubicBezTo>
                    <a:pt x="279" y="478"/>
                    <a:pt x="279" y="478"/>
                    <a:pt x="279" y="478"/>
                  </a:cubicBezTo>
                  <a:cubicBezTo>
                    <a:pt x="278" y="479"/>
                    <a:pt x="278" y="479"/>
                    <a:pt x="277" y="479"/>
                  </a:cubicBezTo>
                  <a:cubicBezTo>
                    <a:pt x="277" y="479"/>
                    <a:pt x="276" y="480"/>
                    <a:pt x="275" y="480"/>
                  </a:cubicBezTo>
                  <a:cubicBezTo>
                    <a:pt x="275" y="480"/>
                    <a:pt x="275" y="480"/>
                    <a:pt x="275" y="480"/>
                  </a:cubicBezTo>
                  <a:cubicBezTo>
                    <a:pt x="274" y="481"/>
                    <a:pt x="274" y="481"/>
                    <a:pt x="273" y="481"/>
                  </a:cubicBezTo>
                  <a:cubicBezTo>
                    <a:pt x="272" y="481"/>
                    <a:pt x="272" y="482"/>
                    <a:pt x="271" y="482"/>
                  </a:cubicBezTo>
                  <a:cubicBezTo>
                    <a:pt x="270" y="482"/>
                    <a:pt x="270" y="482"/>
                    <a:pt x="269" y="483"/>
                  </a:cubicBezTo>
                  <a:cubicBezTo>
                    <a:pt x="268" y="483"/>
                    <a:pt x="267" y="484"/>
                    <a:pt x="266" y="484"/>
                  </a:cubicBezTo>
                  <a:cubicBezTo>
                    <a:pt x="265" y="485"/>
                    <a:pt x="265" y="485"/>
                    <a:pt x="265" y="485"/>
                  </a:cubicBezTo>
                  <a:cubicBezTo>
                    <a:pt x="264" y="485"/>
                    <a:pt x="264" y="485"/>
                    <a:pt x="264" y="485"/>
                  </a:cubicBezTo>
                  <a:cubicBezTo>
                    <a:pt x="263" y="486"/>
                    <a:pt x="263" y="486"/>
                    <a:pt x="263" y="486"/>
                  </a:cubicBezTo>
                  <a:cubicBezTo>
                    <a:pt x="261" y="487"/>
                    <a:pt x="260" y="487"/>
                    <a:pt x="258" y="488"/>
                  </a:cubicBezTo>
                  <a:cubicBezTo>
                    <a:pt x="258" y="488"/>
                    <a:pt x="257" y="488"/>
                    <a:pt x="256" y="489"/>
                  </a:cubicBezTo>
                  <a:cubicBezTo>
                    <a:pt x="256" y="489"/>
                    <a:pt x="256" y="489"/>
                    <a:pt x="256" y="489"/>
                  </a:cubicBezTo>
                  <a:cubicBezTo>
                    <a:pt x="255" y="489"/>
                    <a:pt x="254" y="490"/>
                    <a:pt x="254" y="490"/>
                  </a:cubicBezTo>
                  <a:cubicBezTo>
                    <a:pt x="250" y="492"/>
                    <a:pt x="247" y="493"/>
                    <a:pt x="244" y="495"/>
                  </a:cubicBezTo>
                  <a:cubicBezTo>
                    <a:pt x="243" y="495"/>
                    <a:pt x="242" y="496"/>
                    <a:pt x="241" y="496"/>
                  </a:cubicBezTo>
                  <a:cubicBezTo>
                    <a:pt x="237" y="498"/>
                    <a:pt x="234" y="500"/>
                    <a:pt x="230" y="501"/>
                  </a:cubicBezTo>
                  <a:cubicBezTo>
                    <a:pt x="230" y="502"/>
                    <a:pt x="229" y="502"/>
                    <a:pt x="229" y="502"/>
                  </a:cubicBezTo>
                  <a:cubicBezTo>
                    <a:pt x="228" y="503"/>
                    <a:pt x="226" y="503"/>
                    <a:pt x="225" y="504"/>
                  </a:cubicBezTo>
                  <a:cubicBezTo>
                    <a:pt x="224" y="504"/>
                    <a:pt x="224" y="505"/>
                    <a:pt x="223" y="505"/>
                  </a:cubicBezTo>
                  <a:cubicBezTo>
                    <a:pt x="220" y="507"/>
                    <a:pt x="216" y="508"/>
                    <a:pt x="212" y="510"/>
                  </a:cubicBezTo>
                  <a:cubicBezTo>
                    <a:pt x="211" y="511"/>
                    <a:pt x="211" y="511"/>
                    <a:pt x="210" y="512"/>
                  </a:cubicBezTo>
                  <a:cubicBezTo>
                    <a:pt x="210" y="512"/>
                    <a:pt x="209" y="512"/>
                    <a:pt x="209" y="512"/>
                  </a:cubicBezTo>
                  <a:cubicBezTo>
                    <a:pt x="209" y="512"/>
                    <a:pt x="209" y="512"/>
                    <a:pt x="208" y="512"/>
                  </a:cubicBezTo>
                  <a:cubicBezTo>
                    <a:pt x="208" y="513"/>
                    <a:pt x="207" y="513"/>
                    <a:pt x="206" y="513"/>
                  </a:cubicBezTo>
                  <a:cubicBezTo>
                    <a:pt x="206" y="514"/>
                    <a:pt x="205" y="514"/>
                    <a:pt x="205" y="514"/>
                  </a:cubicBezTo>
                  <a:cubicBezTo>
                    <a:pt x="205" y="514"/>
                    <a:pt x="204" y="515"/>
                    <a:pt x="204" y="515"/>
                  </a:cubicBezTo>
                  <a:cubicBezTo>
                    <a:pt x="204" y="515"/>
                    <a:pt x="204" y="515"/>
                    <a:pt x="203" y="515"/>
                  </a:cubicBezTo>
                  <a:cubicBezTo>
                    <a:pt x="203" y="515"/>
                    <a:pt x="203" y="515"/>
                    <a:pt x="202" y="516"/>
                  </a:cubicBezTo>
                  <a:cubicBezTo>
                    <a:pt x="202" y="516"/>
                    <a:pt x="201" y="516"/>
                    <a:pt x="201" y="516"/>
                  </a:cubicBezTo>
                  <a:cubicBezTo>
                    <a:pt x="201" y="516"/>
                    <a:pt x="200" y="517"/>
                    <a:pt x="200" y="517"/>
                  </a:cubicBezTo>
                  <a:cubicBezTo>
                    <a:pt x="200" y="517"/>
                    <a:pt x="200" y="517"/>
                    <a:pt x="199" y="517"/>
                  </a:cubicBezTo>
                  <a:cubicBezTo>
                    <a:pt x="198" y="518"/>
                    <a:pt x="196" y="519"/>
                    <a:pt x="194" y="520"/>
                  </a:cubicBezTo>
                  <a:cubicBezTo>
                    <a:pt x="193" y="520"/>
                    <a:pt x="193" y="520"/>
                    <a:pt x="193" y="520"/>
                  </a:cubicBezTo>
                  <a:cubicBezTo>
                    <a:pt x="193" y="520"/>
                    <a:pt x="193" y="520"/>
                    <a:pt x="193" y="520"/>
                  </a:cubicBezTo>
                  <a:cubicBezTo>
                    <a:pt x="192" y="521"/>
                    <a:pt x="192" y="521"/>
                    <a:pt x="191" y="521"/>
                  </a:cubicBezTo>
                  <a:cubicBezTo>
                    <a:pt x="191" y="521"/>
                    <a:pt x="191" y="521"/>
                    <a:pt x="191" y="521"/>
                  </a:cubicBezTo>
                  <a:cubicBezTo>
                    <a:pt x="191" y="522"/>
                    <a:pt x="190" y="522"/>
                    <a:pt x="190" y="522"/>
                  </a:cubicBezTo>
                  <a:cubicBezTo>
                    <a:pt x="188" y="523"/>
                    <a:pt x="186" y="524"/>
                    <a:pt x="184" y="525"/>
                  </a:cubicBezTo>
                  <a:cubicBezTo>
                    <a:pt x="184" y="525"/>
                    <a:pt x="183" y="526"/>
                    <a:pt x="183" y="526"/>
                  </a:cubicBezTo>
                  <a:cubicBezTo>
                    <a:pt x="183" y="526"/>
                    <a:pt x="182" y="526"/>
                    <a:pt x="181" y="527"/>
                  </a:cubicBezTo>
                  <a:cubicBezTo>
                    <a:pt x="181" y="527"/>
                    <a:pt x="181" y="527"/>
                    <a:pt x="180" y="527"/>
                  </a:cubicBezTo>
                  <a:cubicBezTo>
                    <a:pt x="174" y="530"/>
                    <a:pt x="169" y="534"/>
                    <a:pt x="163" y="537"/>
                  </a:cubicBezTo>
                  <a:cubicBezTo>
                    <a:pt x="162" y="537"/>
                    <a:pt x="162" y="537"/>
                    <a:pt x="161" y="538"/>
                  </a:cubicBezTo>
                  <a:cubicBezTo>
                    <a:pt x="152" y="543"/>
                    <a:pt x="144" y="548"/>
                    <a:pt x="136" y="553"/>
                  </a:cubicBezTo>
                  <a:cubicBezTo>
                    <a:pt x="135" y="553"/>
                    <a:pt x="135" y="553"/>
                    <a:pt x="134" y="554"/>
                  </a:cubicBezTo>
                  <a:cubicBezTo>
                    <a:pt x="126" y="559"/>
                    <a:pt x="118" y="564"/>
                    <a:pt x="110" y="569"/>
                  </a:cubicBezTo>
                  <a:cubicBezTo>
                    <a:pt x="110" y="569"/>
                    <a:pt x="109" y="569"/>
                    <a:pt x="109" y="569"/>
                  </a:cubicBezTo>
                  <a:cubicBezTo>
                    <a:pt x="45" y="611"/>
                    <a:pt x="0" y="653"/>
                    <a:pt x="0" y="684"/>
                  </a:cubicBezTo>
                  <a:cubicBezTo>
                    <a:pt x="0" y="713"/>
                    <a:pt x="37" y="733"/>
                    <a:pt x="129" y="737"/>
                  </a:cubicBezTo>
                  <a:cubicBezTo>
                    <a:pt x="130" y="737"/>
                    <a:pt x="130" y="737"/>
                    <a:pt x="131" y="737"/>
                  </a:cubicBezTo>
                  <a:cubicBezTo>
                    <a:pt x="132" y="737"/>
                    <a:pt x="134" y="737"/>
                    <a:pt x="136" y="737"/>
                  </a:cubicBezTo>
                  <a:cubicBezTo>
                    <a:pt x="137" y="737"/>
                    <a:pt x="138" y="736"/>
                    <a:pt x="140" y="736"/>
                  </a:cubicBezTo>
                  <a:cubicBezTo>
                    <a:pt x="137" y="736"/>
                    <a:pt x="134" y="736"/>
                    <a:pt x="132" y="736"/>
                  </a:cubicBezTo>
                  <a:cubicBezTo>
                    <a:pt x="131" y="736"/>
                    <a:pt x="131" y="736"/>
                    <a:pt x="130" y="736"/>
                  </a:cubicBezTo>
                  <a:cubicBezTo>
                    <a:pt x="38" y="732"/>
                    <a:pt x="1" y="712"/>
                    <a:pt x="1" y="684"/>
                  </a:cubicBezTo>
                  <a:cubicBezTo>
                    <a:pt x="1" y="653"/>
                    <a:pt x="46" y="611"/>
                    <a:pt x="110" y="570"/>
                  </a:cubicBezTo>
                  <a:cubicBezTo>
                    <a:pt x="111" y="569"/>
                    <a:pt x="111" y="569"/>
                    <a:pt x="112" y="569"/>
                  </a:cubicBezTo>
                  <a:cubicBezTo>
                    <a:pt x="119" y="564"/>
                    <a:pt x="128" y="559"/>
                    <a:pt x="136" y="554"/>
                  </a:cubicBezTo>
                  <a:cubicBezTo>
                    <a:pt x="136" y="553"/>
                    <a:pt x="137" y="553"/>
                    <a:pt x="137" y="553"/>
                  </a:cubicBezTo>
                  <a:cubicBezTo>
                    <a:pt x="146" y="548"/>
                    <a:pt x="154" y="543"/>
                    <a:pt x="163" y="538"/>
                  </a:cubicBezTo>
                  <a:cubicBezTo>
                    <a:pt x="163" y="538"/>
                    <a:pt x="164" y="537"/>
                    <a:pt x="164" y="537"/>
                  </a:cubicBezTo>
                  <a:cubicBezTo>
                    <a:pt x="170" y="534"/>
                    <a:pt x="175" y="531"/>
                    <a:pt x="181" y="528"/>
                  </a:cubicBezTo>
                  <a:cubicBezTo>
                    <a:pt x="181" y="528"/>
                    <a:pt x="181" y="528"/>
                    <a:pt x="182" y="528"/>
                  </a:cubicBezTo>
                  <a:cubicBezTo>
                    <a:pt x="182" y="527"/>
                    <a:pt x="183" y="527"/>
                    <a:pt x="184" y="526"/>
                  </a:cubicBezTo>
                  <a:cubicBezTo>
                    <a:pt x="184" y="526"/>
                    <a:pt x="184" y="526"/>
                    <a:pt x="185" y="526"/>
                  </a:cubicBezTo>
                  <a:cubicBezTo>
                    <a:pt x="187" y="525"/>
                    <a:pt x="189" y="524"/>
                    <a:pt x="191" y="523"/>
                  </a:cubicBezTo>
                  <a:cubicBezTo>
                    <a:pt x="191" y="523"/>
                    <a:pt x="191" y="522"/>
                    <a:pt x="192" y="522"/>
                  </a:cubicBezTo>
                  <a:cubicBezTo>
                    <a:pt x="192" y="522"/>
                    <a:pt x="193" y="522"/>
                    <a:pt x="193" y="522"/>
                  </a:cubicBezTo>
                  <a:cubicBezTo>
                    <a:pt x="193" y="521"/>
                    <a:pt x="193" y="521"/>
                    <a:pt x="194" y="521"/>
                  </a:cubicBezTo>
                  <a:cubicBezTo>
                    <a:pt x="194" y="521"/>
                    <a:pt x="194" y="521"/>
                    <a:pt x="195" y="521"/>
                  </a:cubicBezTo>
                  <a:cubicBezTo>
                    <a:pt x="197" y="519"/>
                    <a:pt x="199" y="518"/>
                    <a:pt x="201" y="517"/>
                  </a:cubicBezTo>
                  <a:cubicBezTo>
                    <a:pt x="201" y="517"/>
                    <a:pt x="201" y="517"/>
                    <a:pt x="201" y="517"/>
                  </a:cubicBezTo>
                  <a:cubicBezTo>
                    <a:pt x="202" y="517"/>
                    <a:pt x="202" y="517"/>
                    <a:pt x="203" y="516"/>
                  </a:cubicBezTo>
                  <a:cubicBezTo>
                    <a:pt x="203" y="516"/>
                    <a:pt x="203" y="516"/>
                    <a:pt x="204" y="516"/>
                  </a:cubicBezTo>
                  <a:cubicBezTo>
                    <a:pt x="204" y="516"/>
                    <a:pt x="205" y="515"/>
                    <a:pt x="205" y="515"/>
                  </a:cubicBezTo>
                  <a:cubicBezTo>
                    <a:pt x="205" y="515"/>
                    <a:pt x="205" y="515"/>
                    <a:pt x="205" y="515"/>
                  </a:cubicBezTo>
                  <a:cubicBezTo>
                    <a:pt x="206" y="515"/>
                    <a:pt x="206" y="515"/>
                    <a:pt x="207" y="514"/>
                  </a:cubicBezTo>
                  <a:cubicBezTo>
                    <a:pt x="207" y="514"/>
                    <a:pt x="207" y="514"/>
                    <a:pt x="208" y="514"/>
                  </a:cubicBezTo>
                  <a:cubicBezTo>
                    <a:pt x="208" y="513"/>
                    <a:pt x="209" y="513"/>
                    <a:pt x="209" y="513"/>
                  </a:cubicBezTo>
                  <a:cubicBezTo>
                    <a:pt x="210" y="513"/>
                    <a:pt x="210" y="513"/>
                    <a:pt x="210" y="512"/>
                  </a:cubicBezTo>
                  <a:cubicBezTo>
                    <a:pt x="211" y="512"/>
                    <a:pt x="212" y="512"/>
                    <a:pt x="212" y="511"/>
                  </a:cubicBezTo>
                  <a:cubicBezTo>
                    <a:pt x="213" y="511"/>
                    <a:pt x="214" y="510"/>
                    <a:pt x="215" y="510"/>
                  </a:cubicBezTo>
                  <a:cubicBezTo>
                    <a:pt x="219" y="508"/>
                    <a:pt x="222" y="507"/>
                    <a:pt x="225" y="505"/>
                  </a:cubicBezTo>
                  <a:cubicBezTo>
                    <a:pt x="225" y="505"/>
                    <a:pt x="226" y="505"/>
                    <a:pt x="226" y="504"/>
                  </a:cubicBezTo>
                  <a:cubicBezTo>
                    <a:pt x="228" y="504"/>
                    <a:pt x="229" y="503"/>
                    <a:pt x="230" y="503"/>
                  </a:cubicBezTo>
                  <a:cubicBezTo>
                    <a:pt x="230" y="502"/>
                    <a:pt x="231" y="502"/>
                    <a:pt x="231" y="502"/>
                  </a:cubicBezTo>
                  <a:cubicBezTo>
                    <a:pt x="235" y="500"/>
                    <a:pt x="240" y="498"/>
                    <a:pt x="244" y="496"/>
                  </a:cubicBezTo>
                  <a:cubicBezTo>
                    <a:pt x="245" y="495"/>
                    <a:pt x="246" y="495"/>
                    <a:pt x="246" y="495"/>
                  </a:cubicBezTo>
                  <a:cubicBezTo>
                    <a:pt x="250" y="493"/>
                    <a:pt x="253" y="492"/>
                    <a:pt x="256" y="490"/>
                  </a:cubicBezTo>
                  <a:cubicBezTo>
                    <a:pt x="256" y="490"/>
                    <a:pt x="257" y="489"/>
                    <a:pt x="258" y="489"/>
                  </a:cubicBezTo>
                  <a:cubicBezTo>
                    <a:pt x="258" y="489"/>
                    <a:pt x="258" y="489"/>
                    <a:pt x="258" y="489"/>
                  </a:cubicBezTo>
                  <a:cubicBezTo>
                    <a:pt x="259" y="489"/>
                    <a:pt x="259" y="489"/>
                    <a:pt x="260" y="488"/>
                  </a:cubicBezTo>
                  <a:cubicBezTo>
                    <a:pt x="260" y="488"/>
                    <a:pt x="261" y="488"/>
                    <a:pt x="262" y="487"/>
                  </a:cubicBezTo>
                  <a:cubicBezTo>
                    <a:pt x="263" y="487"/>
                    <a:pt x="263" y="487"/>
                    <a:pt x="263" y="487"/>
                  </a:cubicBezTo>
                  <a:cubicBezTo>
                    <a:pt x="264" y="486"/>
                    <a:pt x="264" y="486"/>
                    <a:pt x="265" y="486"/>
                  </a:cubicBezTo>
                  <a:cubicBezTo>
                    <a:pt x="265" y="486"/>
                    <a:pt x="266" y="486"/>
                    <a:pt x="266" y="485"/>
                  </a:cubicBezTo>
                  <a:cubicBezTo>
                    <a:pt x="267" y="485"/>
                    <a:pt x="269" y="484"/>
                    <a:pt x="271" y="483"/>
                  </a:cubicBezTo>
                  <a:cubicBezTo>
                    <a:pt x="271" y="483"/>
                    <a:pt x="271" y="483"/>
                    <a:pt x="272" y="483"/>
                  </a:cubicBezTo>
                  <a:cubicBezTo>
                    <a:pt x="272" y="483"/>
                    <a:pt x="272" y="483"/>
                    <a:pt x="272" y="482"/>
                  </a:cubicBezTo>
                  <a:cubicBezTo>
                    <a:pt x="273" y="482"/>
                    <a:pt x="273" y="482"/>
                    <a:pt x="274" y="482"/>
                  </a:cubicBezTo>
                  <a:cubicBezTo>
                    <a:pt x="275" y="481"/>
                    <a:pt x="276" y="481"/>
                    <a:pt x="276" y="481"/>
                  </a:cubicBezTo>
                  <a:cubicBezTo>
                    <a:pt x="277" y="480"/>
                    <a:pt x="277" y="480"/>
                    <a:pt x="277" y="480"/>
                  </a:cubicBezTo>
                  <a:cubicBezTo>
                    <a:pt x="277" y="480"/>
                    <a:pt x="277" y="480"/>
                    <a:pt x="277" y="480"/>
                  </a:cubicBezTo>
                  <a:cubicBezTo>
                    <a:pt x="278" y="480"/>
                    <a:pt x="279" y="479"/>
                    <a:pt x="280" y="479"/>
                  </a:cubicBezTo>
                  <a:cubicBezTo>
                    <a:pt x="280" y="479"/>
                    <a:pt x="280" y="479"/>
                    <a:pt x="280" y="479"/>
                  </a:cubicBezTo>
                  <a:cubicBezTo>
                    <a:pt x="282" y="478"/>
                    <a:pt x="284" y="477"/>
                    <a:pt x="286" y="476"/>
                  </a:cubicBezTo>
                  <a:cubicBezTo>
                    <a:pt x="286" y="476"/>
                    <a:pt x="286" y="476"/>
                    <a:pt x="287" y="476"/>
                  </a:cubicBezTo>
                  <a:cubicBezTo>
                    <a:pt x="288" y="475"/>
                    <a:pt x="290" y="475"/>
                    <a:pt x="291" y="474"/>
                  </a:cubicBezTo>
                  <a:cubicBezTo>
                    <a:pt x="292" y="474"/>
                    <a:pt x="292" y="474"/>
                    <a:pt x="292" y="473"/>
                  </a:cubicBezTo>
                  <a:cubicBezTo>
                    <a:pt x="293" y="473"/>
                    <a:pt x="294" y="473"/>
                    <a:pt x="295" y="472"/>
                  </a:cubicBezTo>
                  <a:cubicBezTo>
                    <a:pt x="296" y="472"/>
                    <a:pt x="296" y="472"/>
                    <a:pt x="297" y="472"/>
                  </a:cubicBezTo>
                  <a:cubicBezTo>
                    <a:pt x="297" y="472"/>
                    <a:pt x="297" y="471"/>
                    <a:pt x="297" y="471"/>
                  </a:cubicBezTo>
                  <a:cubicBezTo>
                    <a:pt x="297" y="471"/>
                    <a:pt x="297" y="471"/>
                    <a:pt x="298" y="471"/>
                  </a:cubicBezTo>
                  <a:cubicBezTo>
                    <a:pt x="298" y="471"/>
                    <a:pt x="298" y="471"/>
                    <a:pt x="298" y="471"/>
                  </a:cubicBezTo>
                  <a:cubicBezTo>
                    <a:pt x="298" y="471"/>
                    <a:pt x="299" y="471"/>
                    <a:pt x="299" y="471"/>
                  </a:cubicBezTo>
                  <a:cubicBezTo>
                    <a:pt x="300" y="470"/>
                    <a:pt x="301" y="470"/>
                    <a:pt x="302" y="469"/>
                  </a:cubicBezTo>
                  <a:cubicBezTo>
                    <a:pt x="302" y="469"/>
                    <a:pt x="302" y="469"/>
                    <a:pt x="303" y="469"/>
                  </a:cubicBezTo>
                  <a:cubicBezTo>
                    <a:pt x="303" y="469"/>
                    <a:pt x="303" y="469"/>
                    <a:pt x="303" y="469"/>
                  </a:cubicBezTo>
                  <a:cubicBezTo>
                    <a:pt x="303" y="469"/>
                    <a:pt x="304" y="469"/>
                    <a:pt x="304" y="468"/>
                  </a:cubicBezTo>
                  <a:cubicBezTo>
                    <a:pt x="304" y="468"/>
                    <a:pt x="305" y="468"/>
                    <a:pt x="305" y="468"/>
                  </a:cubicBezTo>
                  <a:cubicBezTo>
                    <a:pt x="306" y="468"/>
                    <a:pt x="306" y="468"/>
                    <a:pt x="306" y="468"/>
                  </a:cubicBezTo>
                  <a:cubicBezTo>
                    <a:pt x="306" y="468"/>
                    <a:pt x="306" y="467"/>
                    <a:pt x="307" y="467"/>
                  </a:cubicBezTo>
                  <a:cubicBezTo>
                    <a:pt x="307" y="467"/>
                    <a:pt x="307" y="467"/>
                    <a:pt x="307" y="467"/>
                  </a:cubicBezTo>
                  <a:cubicBezTo>
                    <a:pt x="307" y="467"/>
                    <a:pt x="308" y="467"/>
                    <a:pt x="308" y="467"/>
                  </a:cubicBezTo>
                  <a:cubicBezTo>
                    <a:pt x="308" y="467"/>
                    <a:pt x="308" y="467"/>
                    <a:pt x="308" y="467"/>
                  </a:cubicBezTo>
                  <a:cubicBezTo>
                    <a:pt x="309" y="466"/>
                    <a:pt x="309" y="466"/>
                    <a:pt x="309" y="466"/>
                  </a:cubicBezTo>
                  <a:cubicBezTo>
                    <a:pt x="310" y="466"/>
                    <a:pt x="310" y="466"/>
                    <a:pt x="311" y="466"/>
                  </a:cubicBezTo>
                  <a:cubicBezTo>
                    <a:pt x="311" y="465"/>
                    <a:pt x="311" y="465"/>
                    <a:pt x="312" y="465"/>
                  </a:cubicBezTo>
                  <a:cubicBezTo>
                    <a:pt x="312" y="465"/>
                    <a:pt x="312" y="465"/>
                    <a:pt x="312" y="465"/>
                  </a:cubicBezTo>
                  <a:cubicBezTo>
                    <a:pt x="312" y="465"/>
                    <a:pt x="312" y="465"/>
                    <a:pt x="313" y="465"/>
                  </a:cubicBezTo>
                  <a:cubicBezTo>
                    <a:pt x="313" y="465"/>
                    <a:pt x="313" y="464"/>
                    <a:pt x="314" y="464"/>
                  </a:cubicBezTo>
                  <a:cubicBezTo>
                    <a:pt x="314" y="464"/>
                    <a:pt x="315" y="464"/>
                    <a:pt x="315" y="464"/>
                  </a:cubicBezTo>
                  <a:cubicBezTo>
                    <a:pt x="317" y="463"/>
                    <a:pt x="320" y="462"/>
                    <a:pt x="322" y="461"/>
                  </a:cubicBezTo>
                  <a:cubicBezTo>
                    <a:pt x="322" y="461"/>
                    <a:pt x="323" y="461"/>
                    <a:pt x="323" y="460"/>
                  </a:cubicBezTo>
                  <a:cubicBezTo>
                    <a:pt x="324" y="460"/>
                    <a:pt x="325" y="460"/>
                    <a:pt x="326" y="459"/>
                  </a:cubicBezTo>
                  <a:cubicBezTo>
                    <a:pt x="327" y="459"/>
                    <a:pt x="329" y="458"/>
                    <a:pt x="330" y="457"/>
                  </a:cubicBezTo>
                  <a:cubicBezTo>
                    <a:pt x="331" y="457"/>
                    <a:pt x="331" y="457"/>
                    <a:pt x="331" y="457"/>
                  </a:cubicBezTo>
                  <a:cubicBezTo>
                    <a:pt x="339" y="454"/>
                    <a:pt x="346" y="451"/>
                    <a:pt x="354" y="448"/>
                  </a:cubicBezTo>
                  <a:cubicBezTo>
                    <a:pt x="354" y="447"/>
                    <a:pt x="355" y="447"/>
                    <a:pt x="356" y="447"/>
                  </a:cubicBezTo>
                  <a:cubicBezTo>
                    <a:pt x="360" y="445"/>
                    <a:pt x="365" y="443"/>
                    <a:pt x="370" y="441"/>
                  </a:cubicBezTo>
                  <a:cubicBezTo>
                    <a:pt x="370" y="441"/>
                    <a:pt x="370" y="441"/>
                    <a:pt x="371" y="441"/>
                  </a:cubicBezTo>
                  <a:cubicBezTo>
                    <a:pt x="379" y="437"/>
                    <a:pt x="387" y="434"/>
                    <a:pt x="396" y="430"/>
                  </a:cubicBezTo>
                  <a:cubicBezTo>
                    <a:pt x="396" y="430"/>
                    <a:pt x="397" y="429"/>
                    <a:pt x="398" y="429"/>
                  </a:cubicBezTo>
                  <a:cubicBezTo>
                    <a:pt x="398" y="429"/>
                    <a:pt x="398" y="429"/>
                    <a:pt x="399" y="429"/>
                  </a:cubicBezTo>
                  <a:cubicBezTo>
                    <a:pt x="400" y="428"/>
                    <a:pt x="400" y="428"/>
                    <a:pt x="401" y="428"/>
                  </a:cubicBezTo>
                  <a:cubicBezTo>
                    <a:pt x="402" y="427"/>
                    <a:pt x="402" y="427"/>
                    <a:pt x="402" y="427"/>
                  </a:cubicBezTo>
                  <a:cubicBezTo>
                    <a:pt x="403" y="427"/>
                    <a:pt x="403" y="427"/>
                    <a:pt x="404" y="426"/>
                  </a:cubicBezTo>
                  <a:cubicBezTo>
                    <a:pt x="405" y="426"/>
                    <a:pt x="407" y="425"/>
                    <a:pt x="408" y="424"/>
                  </a:cubicBezTo>
                  <a:cubicBezTo>
                    <a:pt x="409" y="424"/>
                    <a:pt x="409" y="424"/>
                    <a:pt x="409" y="424"/>
                  </a:cubicBezTo>
                  <a:cubicBezTo>
                    <a:pt x="410" y="424"/>
                    <a:pt x="410" y="424"/>
                    <a:pt x="410" y="424"/>
                  </a:cubicBezTo>
                  <a:cubicBezTo>
                    <a:pt x="411" y="423"/>
                    <a:pt x="413" y="423"/>
                    <a:pt x="414" y="422"/>
                  </a:cubicBezTo>
                  <a:cubicBezTo>
                    <a:pt x="414" y="422"/>
                    <a:pt x="415" y="422"/>
                    <a:pt x="415" y="422"/>
                  </a:cubicBezTo>
                  <a:cubicBezTo>
                    <a:pt x="415" y="422"/>
                    <a:pt x="415" y="421"/>
                    <a:pt x="416" y="421"/>
                  </a:cubicBezTo>
                  <a:cubicBezTo>
                    <a:pt x="416" y="421"/>
                    <a:pt x="417" y="421"/>
                    <a:pt x="418" y="420"/>
                  </a:cubicBezTo>
                  <a:cubicBezTo>
                    <a:pt x="419" y="420"/>
                    <a:pt x="420" y="420"/>
                    <a:pt x="421" y="419"/>
                  </a:cubicBezTo>
                  <a:cubicBezTo>
                    <a:pt x="423" y="418"/>
                    <a:pt x="424" y="418"/>
                    <a:pt x="426" y="417"/>
                  </a:cubicBezTo>
                  <a:cubicBezTo>
                    <a:pt x="426" y="417"/>
                    <a:pt x="427" y="417"/>
                    <a:pt x="427" y="417"/>
                  </a:cubicBezTo>
                  <a:cubicBezTo>
                    <a:pt x="427" y="416"/>
                    <a:pt x="428" y="416"/>
                    <a:pt x="428" y="416"/>
                  </a:cubicBezTo>
                  <a:cubicBezTo>
                    <a:pt x="436" y="412"/>
                    <a:pt x="444" y="409"/>
                    <a:pt x="452" y="405"/>
                  </a:cubicBezTo>
                  <a:cubicBezTo>
                    <a:pt x="453" y="405"/>
                    <a:pt x="453" y="405"/>
                    <a:pt x="454" y="405"/>
                  </a:cubicBezTo>
                  <a:cubicBezTo>
                    <a:pt x="454" y="404"/>
                    <a:pt x="454" y="404"/>
                    <a:pt x="455" y="404"/>
                  </a:cubicBezTo>
                  <a:cubicBezTo>
                    <a:pt x="458" y="403"/>
                    <a:pt x="461" y="401"/>
                    <a:pt x="465" y="400"/>
                  </a:cubicBezTo>
                  <a:cubicBezTo>
                    <a:pt x="465" y="399"/>
                    <a:pt x="466" y="399"/>
                    <a:pt x="467" y="399"/>
                  </a:cubicBezTo>
                  <a:cubicBezTo>
                    <a:pt x="469" y="398"/>
                    <a:pt x="470" y="397"/>
                    <a:pt x="472" y="397"/>
                  </a:cubicBezTo>
                  <a:cubicBezTo>
                    <a:pt x="472" y="396"/>
                    <a:pt x="473" y="396"/>
                    <a:pt x="474" y="396"/>
                  </a:cubicBezTo>
                  <a:cubicBezTo>
                    <a:pt x="474" y="396"/>
                    <a:pt x="474" y="396"/>
                    <a:pt x="474" y="396"/>
                  </a:cubicBezTo>
                  <a:cubicBezTo>
                    <a:pt x="477" y="394"/>
                    <a:pt x="479" y="393"/>
                    <a:pt x="482" y="392"/>
                  </a:cubicBezTo>
                  <a:cubicBezTo>
                    <a:pt x="483" y="391"/>
                    <a:pt x="485" y="391"/>
                    <a:pt x="486" y="390"/>
                  </a:cubicBezTo>
                  <a:cubicBezTo>
                    <a:pt x="486" y="390"/>
                    <a:pt x="486" y="390"/>
                    <a:pt x="486" y="390"/>
                  </a:cubicBezTo>
                  <a:cubicBezTo>
                    <a:pt x="488" y="389"/>
                    <a:pt x="491" y="388"/>
                    <a:pt x="493" y="387"/>
                  </a:cubicBezTo>
                  <a:moveTo>
                    <a:pt x="802" y="587"/>
                  </a:moveTo>
                  <a:cubicBezTo>
                    <a:pt x="802" y="587"/>
                    <a:pt x="802" y="587"/>
                    <a:pt x="802" y="587"/>
                  </a:cubicBezTo>
                  <a:cubicBezTo>
                    <a:pt x="801" y="587"/>
                    <a:pt x="801" y="587"/>
                    <a:pt x="801" y="587"/>
                  </a:cubicBezTo>
                  <a:cubicBezTo>
                    <a:pt x="801" y="587"/>
                    <a:pt x="800" y="587"/>
                    <a:pt x="800" y="587"/>
                  </a:cubicBezTo>
                  <a:cubicBezTo>
                    <a:pt x="779" y="587"/>
                    <a:pt x="756" y="589"/>
                    <a:pt x="732" y="594"/>
                  </a:cubicBezTo>
                  <a:cubicBezTo>
                    <a:pt x="731" y="594"/>
                    <a:pt x="731" y="594"/>
                    <a:pt x="730" y="594"/>
                  </a:cubicBezTo>
                  <a:cubicBezTo>
                    <a:pt x="729" y="595"/>
                    <a:pt x="727" y="595"/>
                    <a:pt x="725" y="595"/>
                  </a:cubicBezTo>
                  <a:cubicBezTo>
                    <a:pt x="724" y="596"/>
                    <a:pt x="722" y="596"/>
                    <a:pt x="721" y="596"/>
                  </a:cubicBezTo>
                  <a:cubicBezTo>
                    <a:pt x="713" y="598"/>
                    <a:pt x="706" y="600"/>
                    <a:pt x="699" y="601"/>
                  </a:cubicBezTo>
                  <a:cubicBezTo>
                    <a:pt x="698" y="602"/>
                    <a:pt x="697" y="602"/>
                    <a:pt x="697" y="602"/>
                  </a:cubicBezTo>
                  <a:cubicBezTo>
                    <a:pt x="694" y="603"/>
                    <a:pt x="691" y="603"/>
                    <a:pt x="688" y="604"/>
                  </a:cubicBezTo>
                  <a:cubicBezTo>
                    <a:pt x="687" y="604"/>
                    <a:pt x="687" y="604"/>
                    <a:pt x="686" y="604"/>
                  </a:cubicBezTo>
                  <a:cubicBezTo>
                    <a:pt x="686" y="605"/>
                    <a:pt x="685" y="605"/>
                    <a:pt x="685" y="605"/>
                  </a:cubicBezTo>
                  <a:cubicBezTo>
                    <a:pt x="684" y="605"/>
                    <a:pt x="683" y="605"/>
                    <a:pt x="683" y="605"/>
                  </a:cubicBezTo>
                  <a:cubicBezTo>
                    <a:pt x="682" y="606"/>
                    <a:pt x="681" y="606"/>
                    <a:pt x="680" y="606"/>
                  </a:cubicBezTo>
                  <a:cubicBezTo>
                    <a:pt x="680" y="606"/>
                    <a:pt x="679" y="606"/>
                    <a:pt x="679" y="606"/>
                  </a:cubicBezTo>
                  <a:cubicBezTo>
                    <a:pt x="678" y="607"/>
                    <a:pt x="678" y="607"/>
                    <a:pt x="677" y="607"/>
                  </a:cubicBezTo>
                  <a:cubicBezTo>
                    <a:pt x="674" y="608"/>
                    <a:pt x="671" y="609"/>
                    <a:pt x="668" y="609"/>
                  </a:cubicBezTo>
                  <a:cubicBezTo>
                    <a:pt x="667" y="610"/>
                    <a:pt x="666" y="610"/>
                    <a:pt x="665" y="610"/>
                  </a:cubicBezTo>
                  <a:cubicBezTo>
                    <a:pt x="655" y="613"/>
                    <a:pt x="645" y="616"/>
                    <a:pt x="635" y="619"/>
                  </a:cubicBezTo>
                  <a:cubicBezTo>
                    <a:pt x="634" y="619"/>
                    <a:pt x="634" y="619"/>
                    <a:pt x="634" y="619"/>
                  </a:cubicBezTo>
                  <a:cubicBezTo>
                    <a:pt x="628" y="621"/>
                    <a:pt x="622" y="623"/>
                    <a:pt x="616" y="624"/>
                  </a:cubicBezTo>
                  <a:cubicBezTo>
                    <a:pt x="616" y="625"/>
                    <a:pt x="615" y="625"/>
                    <a:pt x="614" y="625"/>
                  </a:cubicBezTo>
                  <a:cubicBezTo>
                    <a:pt x="614" y="625"/>
                    <a:pt x="614" y="625"/>
                    <a:pt x="614" y="625"/>
                  </a:cubicBezTo>
                  <a:cubicBezTo>
                    <a:pt x="611" y="626"/>
                    <a:pt x="608" y="627"/>
                    <a:pt x="605" y="628"/>
                  </a:cubicBezTo>
                  <a:cubicBezTo>
                    <a:pt x="599" y="630"/>
                    <a:pt x="594" y="632"/>
                    <a:pt x="588" y="633"/>
                  </a:cubicBezTo>
                  <a:cubicBezTo>
                    <a:pt x="587" y="634"/>
                    <a:pt x="586" y="634"/>
                    <a:pt x="586" y="634"/>
                  </a:cubicBezTo>
                  <a:cubicBezTo>
                    <a:pt x="578" y="637"/>
                    <a:pt x="570" y="639"/>
                    <a:pt x="562" y="642"/>
                  </a:cubicBezTo>
                  <a:cubicBezTo>
                    <a:pt x="561" y="642"/>
                    <a:pt x="560" y="642"/>
                    <a:pt x="560" y="643"/>
                  </a:cubicBezTo>
                  <a:cubicBezTo>
                    <a:pt x="553" y="645"/>
                    <a:pt x="546" y="647"/>
                    <a:pt x="539" y="649"/>
                  </a:cubicBezTo>
                  <a:cubicBezTo>
                    <a:pt x="538" y="650"/>
                    <a:pt x="537" y="650"/>
                    <a:pt x="537" y="650"/>
                  </a:cubicBezTo>
                  <a:cubicBezTo>
                    <a:pt x="531" y="652"/>
                    <a:pt x="526" y="654"/>
                    <a:pt x="520" y="655"/>
                  </a:cubicBezTo>
                  <a:cubicBezTo>
                    <a:pt x="519" y="656"/>
                    <a:pt x="519" y="656"/>
                    <a:pt x="518" y="656"/>
                  </a:cubicBezTo>
                  <a:cubicBezTo>
                    <a:pt x="517" y="657"/>
                    <a:pt x="516" y="657"/>
                    <a:pt x="515" y="657"/>
                  </a:cubicBezTo>
                  <a:cubicBezTo>
                    <a:pt x="510" y="659"/>
                    <a:pt x="504" y="661"/>
                    <a:pt x="498" y="663"/>
                  </a:cubicBezTo>
                  <a:cubicBezTo>
                    <a:pt x="497" y="663"/>
                    <a:pt x="496" y="663"/>
                    <a:pt x="496" y="663"/>
                  </a:cubicBezTo>
                  <a:cubicBezTo>
                    <a:pt x="490" y="665"/>
                    <a:pt x="484" y="667"/>
                    <a:pt x="479" y="669"/>
                  </a:cubicBezTo>
                  <a:cubicBezTo>
                    <a:pt x="478" y="669"/>
                    <a:pt x="477" y="669"/>
                    <a:pt x="477" y="670"/>
                  </a:cubicBezTo>
                  <a:cubicBezTo>
                    <a:pt x="471" y="671"/>
                    <a:pt x="466" y="673"/>
                    <a:pt x="460" y="675"/>
                  </a:cubicBezTo>
                  <a:cubicBezTo>
                    <a:pt x="460" y="675"/>
                    <a:pt x="459" y="675"/>
                    <a:pt x="458" y="675"/>
                  </a:cubicBezTo>
                  <a:cubicBezTo>
                    <a:pt x="453" y="677"/>
                    <a:pt x="447" y="679"/>
                    <a:pt x="442" y="681"/>
                  </a:cubicBezTo>
                  <a:cubicBezTo>
                    <a:pt x="441" y="681"/>
                    <a:pt x="440" y="681"/>
                    <a:pt x="440" y="681"/>
                  </a:cubicBezTo>
                  <a:cubicBezTo>
                    <a:pt x="431" y="684"/>
                    <a:pt x="422" y="687"/>
                    <a:pt x="413" y="689"/>
                  </a:cubicBezTo>
                  <a:cubicBezTo>
                    <a:pt x="413" y="689"/>
                    <a:pt x="412" y="690"/>
                    <a:pt x="411" y="690"/>
                  </a:cubicBezTo>
                  <a:cubicBezTo>
                    <a:pt x="410" y="690"/>
                    <a:pt x="409" y="690"/>
                    <a:pt x="408" y="691"/>
                  </a:cubicBezTo>
                  <a:cubicBezTo>
                    <a:pt x="408" y="691"/>
                    <a:pt x="408" y="691"/>
                    <a:pt x="407" y="691"/>
                  </a:cubicBezTo>
                  <a:cubicBezTo>
                    <a:pt x="398" y="694"/>
                    <a:pt x="390" y="696"/>
                    <a:pt x="381" y="699"/>
                  </a:cubicBezTo>
                  <a:cubicBezTo>
                    <a:pt x="380" y="699"/>
                    <a:pt x="379" y="699"/>
                    <a:pt x="378" y="699"/>
                  </a:cubicBezTo>
                  <a:cubicBezTo>
                    <a:pt x="369" y="702"/>
                    <a:pt x="359" y="705"/>
                    <a:pt x="349" y="707"/>
                  </a:cubicBezTo>
                  <a:cubicBezTo>
                    <a:pt x="348" y="707"/>
                    <a:pt x="347" y="708"/>
                    <a:pt x="346" y="708"/>
                  </a:cubicBezTo>
                  <a:cubicBezTo>
                    <a:pt x="338" y="710"/>
                    <a:pt x="330" y="712"/>
                    <a:pt x="321" y="714"/>
                  </a:cubicBezTo>
                  <a:cubicBezTo>
                    <a:pt x="321" y="714"/>
                    <a:pt x="321" y="714"/>
                    <a:pt x="320" y="714"/>
                  </a:cubicBezTo>
                  <a:cubicBezTo>
                    <a:pt x="320" y="714"/>
                    <a:pt x="319" y="714"/>
                    <a:pt x="319" y="715"/>
                  </a:cubicBezTo>
                  <a:cubicBezTo>
                    <a:pt x="318" y="715"/>
                    <a:pt x="316" y="715"/>
                    <a:pt x="315" y="716"/>
                  </a:cubicBezTo>
                  <a:cubicBezTo>
                    <a:pt x="308" y="717"/>
                    <a:pt x="302" y="718"/>
                    <a:pt x="296" y="720"/>
                  </a:cubicBezTo>
                  <a:cubicBezTo>
                    <a:pt x="294" y="720"/>
                    <a:pt x="292" y="720"/>
                    <a:pt x="290" y="721"/>
                  </a:cubicBezTo>
                  <a:cubicBezTo>
                    <a:pt x="281" y="723"/>
                    <a:pt x="273" y="724"/>
                    <a:pt x="264" y="726"/>
                  </a:cubicBezTo>
                  <a:cubicBezTo>
                    <a:pt x="260" y="726"/>
                    <a:pt x="256" y="727"/>
                    <a:pt x="252" y="728"/>
                  </a:cubicBezTo>
                  <a:cubicBezTo>
                    <a:pt x="251" y="728"/>
                    <a:pt x="250" y="728"/>
                    <a:pt x="249" y="728"/>
                  </a:cubicBezTo>
                  <a:cubicBezTo>
                    <a:pt x="248" y="728"/>
                    <a:pt x="248" y="728"/>
                    <a:pt x="247" y="729"/>
                  </a:cubicBezTo>
                  <a:cubicBezTo>
                    <a:pt x="231" y="731"/>
                    <a:pt x="215" y="733"/>
                    <a:pt x="199" y="734"/>
                  </a:cubicBezTo>
                  <a:cubicBezTo>
                    <a:pt x="199" y="734"/>
                    <a:pt x="199" y="734"/>
                    <a:pt x="198" y="734"/>
                  </a:cubicBezTo>
                  <a:cubicBezTo>
                    <a:pt x="195" y="735"/>
                    <a:pt x="191" y="736"/>
                    <a:pt x="187" y="736"/>
                  </a:cubicBezTo>
                  <a:cubicBezTo>
                    <a:pt x="190" y="736"/>
                    <a:pt x="194" y="736"/>
                    <a:pt x="197" y="736"/>
                  </a:cubicBezTo>
                  <a:cubicBezTo>
                    <a:pt x="197" y="735"/>
                    <a:pt x="198" y="735"/>
                    <a:pt x="198" y="735"/>
                  </a:cubicBezTo>
                  <a:cubicBezTo>
                    <a:pt x="214" y="734"/>
                    <a:pt x="230" y="732"/>
                    <a:pt x="247" y="730"/>
                  </a:cubicBezTo>
                  <a:cubicBezTo>
                    <a:pt x="247" y="730"/>
                    <a:pt x="248" y="729"/>
                    <a:pt x="248" y="729"/>
                  </a:cubicBezTo>
                  <a:cubicBezTo>
                    <a:pt x="253" y="729"/>
                    <a:pt x="259" y="728"/>
                    <a:pt x="264" y="727"/>
                  </a:cubicBezTo>
                  <a:cubicBezTo>
                    <a:pt x="268" y="726"/>
                    <a:pt x="273" y="725"/>
                    <a:pt x="277" y="724"/>
                  </a:cubicBezTo>
                  <a:cubicBezTo>
                    <a:pt x="283" y="723"/>
                    <a:pt x="290" y="722"/>
                    <a:pt x="296" y="721"/>
                  </a:cubicBezTo>
                  <a:cubicBezTo>
                    <a:pt x="298" y="720"/>
                    <a:pt x="300" y="720"/>
                    <a:pt x="303" y="719"/>
                  </a:cubicBezTo>
                  <a:cubicBezTo>
                    <a:pt x="308" y="718"/>
                    <a:pt x="314" y="717"/>
                    <a:pt x="319" y="716"/>
                  </a:cubicBezTo>
                  <a:cubicBezTo>
                    <a:pt x="320" y="715"/>
                    <a:pt x="322" y="715"/>
                    <a:pt x="323" y="715"/>
                  </a:cubicBezTo>
                  <a:cubicBezTo>
                    <a:pt x="332" y="712"/>
                    <a:pt x="341" y="710"/>
                    <a:pt x="349" y="708"/>
                  </a:cubicBezTo>
                  <a:cubicBezTo>
                    <a:pt x="350" y="708"/>
                    <a:pt x="352" y="708"/>
                    <a:pt x="353" y="707"/>
                  </a:cubicBezTo>
                  <a:cubicBezTo>
                    <a:pt x="362" y="705"/>
                    <a:pt x="371" y="702"/>
                    <a:pt x="381" y="700"/>
                  </a:cubicBezTo>
                  <a:cubicBezTo>
                    <a:pt x="382" y="699"/>
                    <a:pt x="383" y="699"/>
                    <a:pt x="384" y="699"/>
                  </a:cubicBezTo>
                  <a:cubicBezTo>
                    <a:pt x="392" y="697"/>
                    <a:pt x="400" y="694"/>
                    <a:pt x="408" y="692"/>
                  </a:cubicBezTo>
                  <a:cubicBezTo>
                    <a:pt x="408" y="692"/>
                    <a:pt x="408" y="692"/>
                    <a:pt x="408" y="692"/>
                  </a:cubicBezTo>
                  <a:cubicBezTo>
                    <a:pt x="410" y="691"/>
                    <a:pt x="412" y="691"/>
                    <a:pt x="414" y="690"/>
                  </a:cubicBezTo>
                  <a:cubicBezTo>
                    <a:pt x="414" y="690"/>
                    <a:pt x="415" y="690"/>
                    <a:pt x="416" y="690"/>
                  </a:cubicBezTo>
                  <a:cubicBezTo>
                    <a:pt x="425" y="687"/>
                    <a:pt x="433" y="684"/>
                    <a:pt x="442" y="682"/>
                  </a:cubicBezTo>
                  <a:cubicBezTo>
                    <a:pt x="442" y="681"/>
                    <a:pt x="443" y="681"/>
                    <a:pt x="444" y="681"/>
                  </a:cubicBezTo>
                  <a:cubicBezTo>
                    <a:pt x="449" y="679"/>
                    <a:pt x="455" y="678"/>
                    <a:pt x="460" y="676"/>
                  </a:cubicBezTo>
                  <a:cubicBezTo>
                    <a:pt x="461" y="676"/>
                    <a:pt x="462" y="675"/>
                    <a:pt x="462" y="675"/>
                  </a:cubicBezTo>
                  <a:cubicBezTo>
                    <a:pt x="468" y="673"/>
                    <a:pt x="473" y="672"/>
                    <a:pt x="479" y="670"/>
                  </a:cubicBezTo>
                  <a:cubicBezTo>
                    <a:pt x="480" y="670"/>
                    <a:pt x="480" y="670"/>
                    <a:pt x="481" y="669"/>
                  </a:cubicBezTo>
                  <a:cubicBezTo>
                    <a:pt x="487" y="667"/>
                    <a:pt x="492" y="666"/>
                    <a:pt x="498" y="664"/>
                  </a:cubicBezTo>
                  <a:cubicBezTo>
                    <a:pt x="499" y="664"/>
                    <a:pt x="499" y="663"/>
                    <a:pt x="500" y="663"/>
                  </a:cubicBezTo>
                  <a:cubicBezTo>
                    <a:pt x="506" y="661"/>
                    <a:pt x="512" y="659"/>
                    <a:pt x="518" y="657"/>
                  </a:cubicBezTo>
                  <a:cubicBezTo>
                    <a:pt x="519" y="657"/>
                    <a:pt x="519" y="657"/>
                    <a:pt x="520" y="657"/>
                  </a:cubicBezTo>
                  <a:cubicBezTo>
                    <a:pt x="520" y="657"/>
                    <a:pt x="520" y="656"/>
                    <a:pt x="521" y="656"/>
                  </a:cubicBezTo>
                  <a:cubicBezTo>
                    <a:pt x="522" y="656"/>
                    <a:pt x="524" y="655"/>
                    <a:pt x="525" y="655"/>
                  </a:cubicBezTo>
                  <a:cubicBezTo>
                    <a:pt x="530" y="653"/>
                    <a:pt x="535" y="652"/>
                    <a:pt x="539" y="650"/>
                  </a:cubicBezTo>
                  <a:cubicBezTo>
                    <a:pt x="540" y="650"/>
                    <a:pt x="541" y="650"/>
                    <a:pt x="541" y="650"/>
                  </a:cubicBezTo>
                  <a:cubicBezTo>
                    <a:pt x="548" y="647"/>
                    <a:pt x="555" y="645"/>
                    <a:pt x="562" y="643"/>
                  </a:cubicBezTo>
                  <a:cubicBezTo>
                    <a:pt x="563" y="643"/>
                    <a:pt x="564" y="642"/>
                    <a:pt x="565" y="642"/>
                  </a:cubicBezTo>
                  <a:cubicBezTo>
                    <a:pt x="573" y="639"/>
                    <a:pt x="580" y="637"/>
                    <a:pt x="588" y="634"/>
                  </a:cubicBezTo>
                  <a:cubicBezTo>
                    <a:pt x="589" y="634"/>
                    <a:pt x="590" y="634"/>
                    <a:pt x="590" y="634"/>
                  </a:cubicBezTo>
                  <a:cubicBezTo>
                    <a:pt x="592" y="633"/>
                    <a:pt x="594" y="633"/>
                    <a:pt x="596" y="632"/>
                  </a:cubicBezTo>
                  <a:cubicBezTo>
                    <a:pt x="599" y="631"/>
                    <a:pt x="602" y="630"/>
                    <a:pt x="605" y="629"/>
                  </a:cubicBezTo>
                  <a:cubicBezTo>
                    <a:pt x="609" y="628"/>
                    <a:pt x="613" y="627"/>
                    <a:pt x="617" y="625"/>
                  </a:cubicBezTo>
                  <a:cubicBezTo>
                    <a:pt x="617" y="625"/>
                    <a:pt x="618" y="625"/>
                    <a:pt x="619" y="625"/>
                  </a:cubicBezTo>
                  <a:cubicBezTo>
                    <a:pt x="624" y="623"/>
                    <a:pt x="629" y="622"/>
                    <a:pt x="634" y="620"/>
                  </a:cubicBezTo>
                  <a:cubicBezTo>
                    <a:pt x="635" y="620"/>
                    <a:pt x="635" y="620"/>
                    <a:pt x="635" y="620"/>
                  </a:cubicBezTo>
                  <a:cubicBezTo>
                    <a:pt x="646" y="616"/>
                    <a:pt x="657" y="613"/>
                    <a:pt x="668" y="610"/>
                  </a:cubicBezTo>
                  <a:cubicBezTo>
                    <a:pt x="669" y="610"/>
                    <a:pt x="669" y="610"/>
                    <a:pt x="670" y="610"/>
                  </a:cubicBezTo>
                  <a:cubicBezTo>
                    <a:pt x="673" y="609"/>
                    <a:pt x="676" y="608"/>
                    <a:pt x="679" y="607"/>
                  </a:cubicBezTo>
                  <a:cubicBezTo>
                    <a:pt x="680" y="607"/>
                    <a:pt x="680" y="607"/>
                    <a:pt x="681" y="607"/>
                  </a:cubicBezTo>
                  <a:cubicBezTo>
                    <a:pt x="682" y="607"/>
                    <a:pt x="683" y="606"/>
                    <a:pt x="685" y="606"/>
                  </a:cubicBezTo>
                  <a:cubicBezTo>
                    <a:pt x="685" y="606"/>
                    <a:pt x="686" y="606"/>
                    <a:pt x="686" y="606"/>
                  </a:cubicBezTo>
                  <a:cubicBezTo>
                    <a:pt x="687" y="605"/>
                    <a:pt x="687" y="605"/>
                    <a:pt x="688" y="605"/>
                  </a:cubicBezTo>
                  <a:cubicBezTo>
                    <a:pt x="689" y="605"/>
                    <a:pt x="689" y="605"/>
                    <a:pt x="690" y="605"/>
                  </a:cubicBezTo>
                  <a:cubicBezTo>
                    <a:pt x="693" y="604"/>
                    <a:pt x="696" y="603"/>
                    <a:pt x="699" y="602"/>
                  </a:cubicBezTo>
                  <a:cubicBezTo>
                    <a:pt x="699" y="602"/>
                    <a:pt x="700" y="602"/>
                    <a:pt x="701" y="602"/>
                  </a:cubicBezTo>
                  <a:cubicBezTo>
                    <a:pt x="706" y="601"/>
                    <a:pt x="711" y="600"/>
                    <a:pt x="716" y="598"/>
                  </a:cubicBezTo>
                  <a:cubicBezTo>
                    <a:pt x="718" y="598"/>
                    <a:pt x="719" y="598"/>
                    <a:pt x="721" y="597"/>
                  </a:cubicBezTo>
                  <a:cubicBezTo>
                    <a:pt x="724" y="597"/>
                    <a:pt x="728" y="596"/>
                    <a:pt x="731" y="595"/>
                  </a:cubicBezTo>
                  <a:cubicBezTo>
                    <a:pt x="732" y="595"/>
                    <a:pt x="732" y="595"/>
                    <a:pt x="732" y="595"/>
                  </a:cubicBezTo>
                  <a:cubicBezTo>
                    <a:pt x="757" y="590"/>
                    <a:pt x="780" y="588"/>
                    <a:pt x="801" y="588"/>
                  </a:cubicBezTo>
                  <a:cubicBezTo>
                    <a:pt x="802" y="588"/>
                    <a:pt x="802" y="588"/>
                    <a:pt x="802" y="588"/>
                  </a:cubicBezTo>
                  <a:cubicBezTo>
                    <a:pt x="802" y="588"/>
                    <a:pt x="802" y="588"/>
                    <a:pt x="803" y="588"/>
                  </a:cubicBezTo>
                  <a:cubicBezTo>
                    <a:pt x="811" y="588"/>
                    <a:pt x="819" y="588"/>
                    <a:pt x="827" y="589"/>
                  </a:cubicBezTo>
                  <a:cubicBezTo>
                    <a:pt x="827" y="589"/>
                    <a:pt x="827" y="589"/>
                    <a:pt x="828" y="589"/>
                  </a:cubicBezTo>
                  <a:cubicBezTo>
                    <a:pt x="827" y="589"/>
                    <a:pt x="827" y="588"/>
                    <a:pt x="826" y="588"/>
                  </a:cubicBezTo>
                  <a:cubicBezTo>
                    <a:pt x="818" y="587"/>
                    <a:pt x="810" y="587"/>
                    <a:pt x="802" y="587"/>
                  </a:cubicBezTo>
                  <a:moveTo>
                    <a:pt x="828" y="588"/>
                  </a:moveTo>
                  <a:cubicBezTo>
                    <a:pt x="829" y="589"/>
                    <a:pt x="829" y="589"/>
                    <a:pt x="830" y="589"/>
                  </a:cubicBezTo>
                  <a:cubicBezTo>
                    <a:pt x="833" y="590"/>
                    <a:pt x="836" y="590"/>
                    <a:pt x="839" y="591"/>
                  </a:cubicBezTo>
                  <a:cubicBezTo>
                    <a:pt x="838" y="591"/>
                    <a:pt x="837" y="590"/>
                    <a:pt x="837" y="590"/>
                  </a:cubicBezTo>
                  <a:cubicBezTo>
                    <a:pt x="835" y="589"/>
                    <a:pt x="833" y="589"/>
                    <a:pt x="831" y="589"/>
                  </a:cubicBezTo>
                  <a:cubicBezTo>
                    <a:pt x="830" y="588"/>
                    <a:pt x="829" y="588"/>
                    <a:pt x="829" y="588"/>
                  </a:cubicBezTo>
                  <a:cubicBezTo>
                    <a:pt x="828" y="588"/>
                    <a:pt x="828" y="588"/>
                    <a:pt x="828" y="588"/>
                  </a:cubicBezTo>
                  <a:moveTo>
                    <a:pt x="839" y="590"/>
                  </a:moveTo>
                  <a:cubicBezTo>
                    <a:pt x="840" y="591"/>
                    <a:pt x="841" y="591"/>
                    <a:pt x="842" y="592"/>
                  </a:cubicBezTo>
                  <a:cubicBezTo>
                    <a:pt x="845" y="592"/>
                    <a:pt x="849" y="593"/>
                    <a:pt x="852" y="594"/>
                  </a:cubicBezTo>
                  <a:cubicBezTo>
                    <a:pt x="851" y="594"/>
                    <a:pt x="849" y="593"/>
                    <a:pt x="847" y="592"/>
                  </a:cubicBezTo>
                  <a:cubicBezTo>
                    <a:pt x="845" y="591"/>
                    <a:pt x="842" y="591"/>
                    <a:pt x="839" y="590"/>
                  </a:cubicBezTo>
                  <a:moveTo>
                    <a:pt x="852" y="594"/>
                  </a:moveTo>
                  <a:cubicBezTo>
                    <a:pt x="854" y="594"/>
                    <a:pt x="855" y="595"/>
                    <a:pt x="857" y="596"/>
                  </a:cubicBezTo>
                  <a:cubicBezTo>
                    <a:pt x="859" y="597"/>
                    <a:pt x="861" y="598"/>
                    <a:pt x="862" y="598"/>
                  </a:cubicBezTo>
                  <a:cubicBezTo>
                    <a:pt x="864" y="599"/>
                    <a:pt x="865" y="600"/>
                    <a:pt x="867" y="600"/>
                  </a:cubicBezTo>
                  <a:cubicBezTo>
                    <a:pt x="868" y="601"/>
                    <a:pt x="869" y="601"/>
                    <a:pt x="870" y="602"/>
                  </a:cubicBezTo>
                  <a:cubicBezTo>
                    <a:pt x="870" y="602"/>
                    <a:pt x="870" y="602"/>
                    <a:pt x="871" y="602"/>
                  </a:cubicBezTo>
                  <a:cubicBezTo>
                    <a:pt x="871" y="603"/>
                    <a:pt x="872" y="603"/>
                    <a:pt x="873" y="603"/>
                  </a:cubicBezTo>
                  <a:cubicBezTo>
                    <a:pt x="875" y="605"/>
                    <a:pt x="878" y="607"/>
                    <a:pt x="880" y="608"/>
                  </a:cubicBezTo>
                  <a:cubicBezTo>
                    <a:pt x="881" y="609"/>
                    <a:pt x="881" y="609"/>
                    <a:pt x="882" y="609"/>
                  </a:cubicBezTo>
                  <a:cubicBezTo>
                    <a:pt x="884" y="611"/>
                    <a:pt x="886" y="613"/>
                    <a:pt x="888" y="615"/>
                  </a:cubicBezTo>
                  <a:cubicBezTo>
                    <a:pt x="888" y="615"/>
                    <a:pt x="889" y="615"/>
                    <a:pt x="889" y="616"/>
                  </a:cubicBezTo>
                  <a:cubicBezTo>
                    <a:pt x="891" y="617"/>
                    <a:pt x="893" y="619"/>
                    <a:pt x="895" y="621"/>
                  </a:cubicBezTo>
                  <a:cubicBezTo>
                    <a:pt x="895" y="622"/>
                    <a:pt x="895" y="622"/>
                    <a:pt x="895" y="622"/>
                  </a:cubicBezTo>
                  <a:cubicBezTo>
                    <a:pt x="897" y="624"/>
                    <a:pt x="898" y="625"/>
                    <a:pt x="899" y="626"/>
                  </a:cubicBezTo>
                  <a:cubicBezTo>
                    <a:pt x="899" y="627"/>
                    <a:pt x="899" y="627"/>
                    <a:pt x="899" y="627"/>
                  </a:cubicBezTo>
                  <a:cubicBezTo>
                    <a:pt x="900" y="628"/>
                    <a:pt x="900" y="628"/>
                    <a:pt x="901" y="629"/>
                  </a:cubicBezTo>
                  <a:cubicBezTo>
                    <a:pt x="901" y="629"/>
                    <a:pt x="901" y="630"/>
                    <a:pt x="901" y="630"/>
                  </a:cubicBezTo>
                  <a:cubicBezTo>
                    <a:pt x="902" y="631"/>
                    <a:pt x="903" y="632"/>
                    <a:pt x="904" y="633"/>
                  </a:cubicBezTo>
                  <a:cubicBezTo>
                    <a:pt x="904" y="633"/>
                    <a:pt x="904" y="634"/>
                    <a:pt x="904" y="634"/>
                  </a:cubicBezTo>
                  <a:cubicBezTo>
                    <a:pt x="905" y="636"/>
                    <a:pt x="907" y="638"/>
                    <a:pt x="908" y="640"/>
                  </a:cubicBezTo>
                  <a:cubicBezTo>
                    <a:pt x="908" y="640"/>
                    <a:pt x="908" y="641"/>
                    <a:pt x="908" y="641"/>
                  </a:cubicBezTo>
                  <a:cubicBezTo>
                    <a:pt x="910" y="644"/>
                    <a:pt x="911" y="647"/>
                    <a:pt x="913" y="651"/>
                  </a:cubicBezTo>
                  <a:cubicBezTo>
                    <a:pt x="913" y="651"/>
                    <a:pt x="913" y="652"/>
                    <a:pt x="913" y="652"/>
                  </a:cubicBezTo>
                  <a:cubicBezTo>
                    <a:pt x="914" y="653"/>
                    <a:pt x="914" y="654"/>
                    <a:pt x="914" y="655"/>
                  </a:cubicBezTo>
                  <a:cubicBezTo>
                    <a:pt x="915" y="655"/>
                    <a:pt x="915" y="655"/>
                    <a:pt x="915" y="656"/>
                  </a:cubicBezTo>
                  <a:cubicBezTo>
                    <a:pt x="916" y="660"/>
                    <a:pt x="918" y="665"/>
                    <a:pt x="919" y="670"/>
                  </a:cubicBezTo>
                  <a:cubicBezTo>
                    <a:pt x="919" y="670"/>
                    <a:pt x="920" y="671"/>
                    <a:pt x="920" y="671"/>
                  </a:cubicBezTo>
                  <a:cubicBezTo>
                    <a:pt x="920" y="672"/>
                    <a:pt x="920" y="673"/>
                    <a:pt x="920" y="673"/>
                  </a:cubicBezTo>
                  <a:cubicBezTo>
                    <a:pt x="920" y="674"/>
                    <a:pt x="920" y="674"/>
                    <a:pt x="920" y="675"/>
                  </a:cubicBezTo>
                  <a:cubicBezTo>
                    <a:pt x="921" y="679"/>
                    <a:pt x="922" y="683"/>
                    <a:pt x="923" y="687"/>
                  </a:cubicBezTo>
                  <a:cubicBezTo>
                    <a:pt x="923" y="687"/>
                    <a:pt x="923" y="688"/>
                    <a:pt x="923" y="688"/>
                  </a:cubicBezTo>
                  <a:cubicBezTo>
                    <a:pt x="923" y="689"/>
                    <a:pt x="923" y="690"/>
                    <a:pt x="924" y="691"/>
                  </a:cubicBezTo>
                  <a:cubicBezTo>
                    <a:pt x="924" y="692"/>
                    <a:pt x="924" y="693"/>
                    <a:pt x="924" y="694"/>
                  </a:cubicBezTo>
                  <a:cubicBezTo>
                    <a:pt x="924" y="694"/>
                    <a:pt x="924" y="695"/>
                    <a:pt x="924" y="695"/>
                  </a:cubicBezTo>
                  <a:cubicBezTo>
                    <a:pt x="924" y="695"/>
                    <a:pt x="924" y="695"/>
                    <a:pt x="924" y="696"/>
                  </a:cubicBezTo>
                  <a:cubicBezTo>
                    <a:pt x="925" y="697"/>
                    <a:pt x="925" y="699"/>
                    <a:pt x="925" y="700"/>
                  </a:cubicBezTo>
                  <a:cubicBezTo>
                    <a:pt x="925" y="701"/>
                    <a:pt x="926" y="701"/>
                    <a:pt x="926" y="701"/>
                  </a:cubicBezTo>
                  <a:cubicBezTo>
                    <a:pt x="926" y="702"/>
                    <a:pt x="926" y="702"/>
                    <a:pt x="926" y="702"/>
                  </a:cubicBezTo>
                  <a:cubicBezTo>
                    <a:pt x="978" y="921"/>
                    <a:pt x="1628" y="1462"/>
                    <a:pt x="1843" y="1462"/>
                  </a:cubicBezTo>
                  <a:cubicBezTo>
                    <a:pt x="1864" y="1462"/>
                    <a:pt x="1881" y="1457"/>
                    <a:pt x="1893" y="1445"/>
                  </a:cubicBezTo>
                  <a:cubicBezTo>
                    <a:pt x="1904" y="1434"/>
                    <a:pt x="1911" y="1416"/>
                    <a:pt x="1911" y="1391"/>
                  </a:cubicBezTo>
                  <a:cubicBezTo>
                    <a:pt x="1911" y="1359"/>
                    <a:pt x="1900" y="1315"/>
                    <a:pt x="1876" y="1257"/>
                  </a:cubicBezTo>
                  <a:cubicBezTo>
                    <a:pt x="1876" y="1256"/>
                    <a:pt x="1875" y="1255"/>
                    <a:pt x="1874" y="1253"/>
                  </a:cubicBezTo>
                  <a:cubicBezTo>
                    <a:pt x="1899" y="1313"/>
                    <a:pt x="1910" y="1358"/>
                    <a:pt x="1910" y="1391"/>
                  </a:cubicBezTo>
                  <a:cubicBezTo>
                    <a:pt x="1910" y="1440"/>
                    <a:pt x="1885" y="1461"/>
                    <a:pt x="1843" y="1461"/>
                  </a:cubicBezTo>
                  <a:cubicBezTo>
                    <a:pt x="1842" y="1461"/>
                    <a:pt x="1842" y="1461"/>
                    <a:pt x="1842" y="1461"/>
                  </a:cubicBezTo>
                  <a:cubicBezTo>
                    <a:pt x="1629" y="1461"/>
                    <a:pt x="979" y="921"/>
                    <a:pt x="927" y="702"/>
                  </a:cubicBezTo>
                  <a:cubicBezTo>
                    <a:pt x="927" y="702"/>
                    <a:pt x="927" y="702"/>
                    <a:pt x="927" y="702"/>
                  </a:cubicBezTo>
                  <a:cubicBezTo>
                    <a:pt x="927" y="701"/>
                    <a:pt x="927" y="701"/>
                    <a:pt x="926" y="701"/>
                  </a:cubicBezTo>
                  <a:cubicBezTo>
                    <a:pt x="926" y="699"/>
                    <a:pt x="926" y="698"/>
                    <a:pt x="926" y="696"/>
                  </a:cubicBezTo>
                  <a:cubicBezTo>
                    <a:pt x="925" y="696"/>
                    <a:pt x="925" y="696"/>
                    <a:pt x="925" y="695"/>
                  </a:cubicBezTo>
                  <a:cubicBezTo>
                    <a:pt x="925" y="695"/>
                    <a:pt x="925" y="695"/>
                    <a:pt x="925" y="695"/>
                  </a:cubicBezTo>
                  <a:cubicBezTo>
                    <a:pt x="925" y="693"/>
                    <a:pt x="925" y="692"/>
                    <a:pt x="925" y="691"/>
                  </a:cubicBezTo>
                  <a:cubicBezTo>
                    <a:pt x="924" y="690"/>
                    <a:pt x="924" y="689"/>
                    <a:pt x="924" y="689"/>
                  </a:cubicBezTo>
                  <a:cubicBezTo>
                    <a:pt x="924" y="688"/>
                    <a:pt x="924" y="688"/>
                    <a:pt x="924" y="687"/>
                  </a:cubicBezTo>
                  <a:cubicBezTo>
                    <a:pt x="923" y="683"/>
                    <a:pt x="923" y="679"/>
                    <a:pt x="922" y="675"/>
                  </a:cubicBezTo>
                  <a:cubicBezTo>
                    <a:pt x="921" y="674"/>
                    <a:pt x="921" y="674"/>
                    <a:pt x="921" y="674"/>
                  </a:cubicBezTo>
                  <a:cubicBezTo>
                    <a:pt x="921" y="673"/>
                    <a:pt x="921" y="673"/>
                    <a:pt x="921" y="673"/>
                  </a:cubicBezTo>
                  <a:cubicBezTo>
                    <a:pt x="921" y="672"/>
                    <a:pt x="921" y="671"/>
                    <a:pt x="921" y="671"/>
                  </a:cubicBezTo>
                  <a:cubicBezTo>
                    <a:pt x="919" y="666"/>
                    <a:pt x="918" y="660"/>
                    <a:pt x="916" y="656"/>
                  </a:cubicBezTo>
                  <a:cubicBezTo>
                    <a:pt x="916" y="655"/>
                    <a:pt x="916" y="655"/>
                    <a:pt x="916" y="655"/>
                  </a:cubicBezTo>
                  <a:cubicBezTo>
                    <a:pt x="915" y="654"/>
                    <a:pt x="915" y="653"/>
                    <a:pt x="915" y="653"/>
                  </a:cubicBezTo>
                  <a:cubicBezTo>
                    <a:pt x="915" y="652"/>
                    <a:pt x="914" y="652"/>
                    <a:pt x="914" y="651"/>
                  </a:cubicBezTo>
                  <a:cubicBezTo>
                    <a:pt x="913" y="648"/>
                    <a:pt x="911" y="644"/>
                    <a:pt x="909" y="641"/>
                  </a:cubicBezTo>
                  <a:cubicBezTo>
                    <a:pt x="909" y="641"/>
                    <a:pt x="909" y="640"/>
                    <a:pt x="909" y="640"/>
                  </a:cubicBezTo>
                  <a:cubicBezTo>
                    <a:pt x="908" y="638"/>
                    <a:pt x="907" y="636"/>
                    <a:pt x="905" y="634"/>
                  </a:cubicBezTo>
                  <a:cubicBezTo>
                    <a:pt x="905" y="634"/>
                    <a:pt x="905" y="634"/>
                    <a:pt x="905" y="633"/>
                  </a:cubicBezTo>
                  <a:cubicBezTo>
                    <a:pt x="904" y="632"/>
                    <a:pt x="903" y="631"/>
                    <a:pt x="903" y="630"/>
                  </a:cubicBezTo>
                  <a:cubicBezTo>
                    <a:pt x="902" y="630"/>
                    <a:pt x="902" y="629"/>
                    <a:pt x="902" y="629"/>
                  </a:cubicBezTo>
                  <a:cubicBezTo>
                    <a:pt x="901" y="628"/>
                    <a:pt x="901" y="628"/>
                    <a:pt x="901" y="627"/>
                  </a:cubicBezTo>
                  <a:cubicBezTo>
                    <a:pt x="900" y="627"/>
                    <a:pt x="900" y="626"/>
                    <a:pt x="900" y="626"/>
                  </a:cubicBezTo>
                  <a:cubicBezTo>
                    <a:pt x="899" y="625"/>
                    <a:pt x="898" y="623"/>
                    <a:pt x="897" y="622"/>
                  </a:cubicBezTo>
                  <a:cubicBezTo>
                    <a:pt x="896" y="622"/>
                    <a:pt x="896" y="621"/>
                    <a:pt x="896" y="621"/>
                  </a:cubicBezTo>
                  <a:cubicBezTo>
                    <a:pt x="894" y="619"/>
                    <a:pt x="892" y="617"/>
                    <a:pt x="890" y="616"/>
                  </a:cubicBezTo>
                  <a:cubicBezTo>
                    <a:pt x="890" y="615"/>
                    <a:pt x="890" y="615"/>
                    <a:pt x="889" y="615"/>
                  </a:cubicBezTo>
                  <a:cubicBezTo>
                    <a:pt x="887" y="613"/>
                    <a:pt x="885" y="611"/>
                    <a:pt x="883" y="609"/>
                  </a:cubicBezTo>
                  <a:cubicBezTo>
                    <a:pt x="883" y="609"/>
                    <a:pt x="882" y="609"/>
                    <a:pt x="882" y="608"/>
                  </a:cubicBezTo>
                  <a:cubicBezTo>
                    <a:pt x="882" y="608"/>
                    <a:pt x="882" y="608"/>
                    <a:pt x="881" y="608"/>
                  </a:cubicBezTo>
                  <a:cubicBezTo>
                    <a:pt x="879" y="606"/>
                    <a:pt x="877" y="605"/>
                    <a:pt x="874" y="603"/>
                  </a:cubicBezTo>
                  <a:cubicBezTo>
                    <a:pt x="874" y="603"/>
                    <a:pt x="873" y="603"/>
                    <a:pt x="873" y="602"/>
                  </a:cubicBezTo>
                  <a:cubicBezTo>
                    <a:pt x="873" y="602"/>
                    <a:pt x="873" y="602"/>
                    <a:pt x="873" y="602"/>
                  </a:cubicBezTo>
                  <a:cubicBezTo>
                    <a:pt x="872" y="602"/>
                    <a:pt x="871" y="601"/>
                    <a:pt x="870" y="601"/>
                  </a:cubicBezTo>
                  <a:cubicBezTo>
                    <a:pt x="869" y="601"/>
                    <a:pt x="869" y="600"/>
                    <a:pt x="868" y="600"/>
                  </a:cubicBezTo>
                  <a:cubicBezTo>
                    <a:pt x="866" y="599"/>
                    <a:pt x="864" y="598"/>
                    <a:pt x="862" y="597"/>
                  </a:cubicBezTo>
                  <a:cubicBezTo>
                    <a:pt x="859" y="596"/>
                    <a:pt x="856" y="595"/>
                    <a:pt x="852" y="594"/>
                  </a:cubicBezTo>
                  <a:moveTo>
                    <a:pt x="187" y="735"/>
                  </a:moveTo>
                  <a:cubicBezTo>
                    <a:pt x="182" y="736"/>
                    <a:pt x="177" y="736"/>
                    <a:pt x="172" y="736"/>
                  </a:cubicBezTo>
                  <a:cubicBezTo>
                    <a:pt x="170" y="736"/>
                    <a:pt x="168" y="737"/>
                    <a:pt x="166" y="737"/>
                  </a:cubicBezTo>
                  <a:cubicBezTo>
                    <a:pt x="170" y="737"/>
                    <a:pt x="173" y="737"/>
                    <a:pt x="176" y="737"/>
                  </a:cubicBezTo>
                  <a:cubicBezTo>
                    <a:pt x="180" y="736"/>
                    <a:pt x="183" y="736"/>
                    <a:pt x="187" y="735"/>
                  </a:cubicBezTo>
                  <a:moveTo>
                    <a:pt x="166" y="736"/>
                  </a:moveTo>
                  <a:cubicBezTo>
                    <a:pt x="164" y="736"/>
                    <a:pt x="163" y="736"/>
                    <a:pt x="162" y="736"/>
                  </a:cubicBezTo>
                  <a:cubicBezTo>
                    <a:pt x="161" y="736"/>
                    <a:pt x="161" y="736"/>
                    <a:pt x="160" y="736"/>
                  </a:cubicBezTo>
                  <a:cubicBezTo>
                    <a:pt x="158" y="736"/>
                    <a:pt x="155" y="736"/>
                    <a:pt x="153" y="736"/>
                  </a:cubicBezTo>
                  <a:cubicBezTo>
                    <a:pt x="150" y="736"/>
                    <a:pt x="147" y="736"/>
                    <a:pt x="143" y="736"/>
                  </a:cubicBezTo>
                  <a:cubicBezTo>
                    <a:pt x="142" y="737"/>
                    <a:pt x="141" y="737"/>
                    <a:pt x="140" y="737"/>
                  </a:cubicBezTo>
                  <a:cubicBezTo>
                    <a:pt x="140" y="737"/>
                    <a:pt x="141" y="737"/>
                    <a:pt x="141" y="737"/>
                  </a:cubicBezTo>
                  <a:cubicBezTo>
                    <a:pt x="145" y="737"/>
                    <a:pt x="149" y="737"/>
                    <a:pt x="153" y="737"/>
                  </a:cubicBezTo>
                  <a:cubicBezTo>
                    <a:pt x="155" y="737"/>
                    <a:pt x="157" y="737"/>
                    <a:pt x="159" y="737"/>
                  </a:cubicBezTo>
                  <a:cubicBezTo>
                    <a:pt x="160" y="737"/>
                    <a:pt x="160" y="737"/>
                    <a:pt x="161" y="737"/>
                  </a:cubicBezTo>
                  <a:cubicBezTo>
                    <a:pt x="161" y="737"/>
                    <a:pt x="161" y="737"/>
                    <a:pt x="161" y="737"/>
                  </a:cubicBezTo>
                  <a:cubicBezTo>
                    <a:pt x="162" y="737"/>
                    <a:pt x="164" y="737"/>
                    <a:pt x="166" y="736"/>
                  </a:cubicBezTo>
                  <a:moveTo>
                    <a:pt x="1848" y="1196"/>
                  </a:moveTo>
                  <a:cubicBezTo>
                    <a:pt x="1849" y="1199"/>
                    <a:pt x="1851" y="1203"/>
                    <a:pt x="1853" y="1207"/>
                  </a:cubicBezTo>
                  <a:cubicBezTo>
                    <a:pt x="1855" y="1211"/>
                    <a:pt x="1857" y="1215"/>
                    <a:pt x="1858" y="1219"/>
                  </a:cubicBezTo>
                  <a:cubicBezTo>
                    <a:pt x="1860" y="1221"/>
                    <a:pt x="1861" y="1223"/>
                    <a:pt x="1862" y="1225"/>
                  </a:cubicBezTo>
                  <a:cubicBezTo>
                    <a:pt x="1860" y="1220"/>
                    <a:pt x="1858" y="1216"/>
                    <a:pt x="1856" y="1211"/>
                  </a:cubicBezTo>
                  <a:cubicBezTo>
                    <a:pt x="1853" y="1206"/>
                    <a:pt x="1851" y="1201"/>
                    <a:pt x="1848" y="1196"/>
                  </a:cubicBezTo>
                  <a:moveTo>
                    <a:pt x="1862" y="1226"/>
                  </a:moveTo>
                  <a:cubicBezTo>
                    <a:pt x="1865" y="1234"/>
                    <a:pt x="1869" y="1241"/>
                    <a:pt x="1872" y="1249"/>
                  </a:cubicBezTo>
                  <a:cubicBezTo>
                    <a:pt x="1873" y="1250"/>
                    <a:pt x="1874" y="1252"/>
                    <a:pt x="1875" y="1253"/>
                  </a:cubicBezTo>
                  <a:cubicBezTo>
                    <a:pt x="1872" y="1246"/>
                    <a:pt x="1869" y="1239"/>
                    <a:pt x="1866" y="1232"/>
                  </a:cubicBezTo>
                  <a:cubicBezTo>
                    <a:pt x="1864" y="1230"/>
                    <a:pt x="1863" y="1228"/>
                    <a:pt x="1862" y="1226"/>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73" name="Freeform 102"/>
            <p:cNvSpPr>
              <a:spLocks noEditPoints="1"/>
            </p:cNvSpPr>
            <p:nvPr userDrawn="1"/>
          </p:nvSpPr>
          <p:spPr bwMode="auto">
            <a:xfrm>
              <a:off x="1601" y="4255"/>
              <a:ext cx="3977" cy="2996"/>
            </a:xfrm>
            <a:custGeom>
              <a:avLst/>
              <a:gdLst>
                <a:gd name="T0" fmla="*/ 2147483646 w 1962"/>
                <a:gd name="T1" fmla="*/ 2147483646 h 1478"/>
                <a:gd name="T2" fmla="*/ 2147483646 w 1962"/>
                <a:gd name="T3" fmla="*/ 2147483646 h 1478"/>
                <a:gd name="T4" fmla="*/ 2147483646 w 1962"/>
                <a:gd name="T5" fmla="*/ 2147483646 h 1478"/>
                <a:gd name="T6" fmla="*/ 2147483646 w 1962"/>
                <a:gd name="T7" fmla="*/ 2147483646 h 1478"/>
                <a:gd name="T8" fmla="*/ 2147483646 w 1962"/>
                <a:gd name="T9" fmla="*/ 2147483646 h 1478"/>
                <a:gd name="T10" fmla="*/ 2147483646 w 1962"/>
                <a:gd name="T11" fmla="*/ 2147483646 h 1478"/>
                <a:gd name="T12" fmla="*/ 2147483646 w 1962"/>
                <a:gd name="T13" fmla="*/ 2147483646 h 1478"/>
                <a:gd name="T14" fmla="*/ 2147483646 w 1962"/>
                <a:gd name="T15" fmla="*/ 2147483646 h 1478"/>
                <a:gd name="T16" fmla="*/ 2147483646 w 1962"/>
                <a:gd name="T17" fmla="*/ 2147483646 h 1478"/>
                <a:gd name="T18" fmla="*/ 2147483646 w 1962"/>
                <a:gd name="T19" fmla="*/ 2147483646 h 1478"/>
                <a:gd name="T20" fmla="*/ 2147483646 w 1962"/>
                <a:gd name="T21" fmla="*/ 2147483646 h 1478"/>
                <a:gd name="T22" fmla="*/ 2147483646 w 1962"/>
                <a:gd name="T23" fmla="*/ 2147483646 h 1478"/>
                <a:gd name="T24" fmla="*/ 2147483646 w 1962"/>
                <a:gd name="T25" fmla="*/ 2147483646 h 1478"/>
                <a:gd name="T26" fmla="*/ 2147483646 w 1962"/>
                <a:gd name="T27" fmla="*/ 2147483646 h 1478"/>
                <a:gd name="T28" fmla="*/ 2147483646 w 1962"/>
                <a:gd name="T29" fmla="*/ 2147483646 h 1478"/>
                <a:gd name="T30" fmla="*/ 2147483646 w 1962"/>
                <a:gd name="T31" fmla="*/ 2147483646 h 1478"/>
                <a:gd name="T32" fmla="*/ 2147483646 w 1962"/>
                <a:gd name="T33" fmla="*/ 2147483646 h 1478"/>
                <a:gd name="T34" fmla="*/ 2147483646 w 1962"/>
                <a:gd name="T35" fmla="*/ 0 h 1478"/>
                <a:gd name="T36" fmla="*/ 2147483646 w 1962"/>
                <a:gd name="T37" fmla="*/ 2147483646 h 1478"/>
                <a:gd name="T38" fmla="*/ 2147483646 w 1962"/>
                <a:gd name="T39" fmla="*/ 2147483646 h 1478"/>
                <a:gd name="T40" fmla="*/ 2147483646 w 1962"/>
                <a:gd name="T41" fmla="*/ 2147483646 h 1478"/>
                <a:gd name="T42" fmla="*/ 2147483646 w 1962"/>
                <a:gd name="T43" fmla="*/ 2147483646 h 1478"/>
                <a:gd name="T44" fmla="*/ 2147483646 w 1962"/>
                <a:gd name="T45" fmla="*/ 2147483646 h 1478"/>
                <a:gd name="T46" fmla="*/ 2147483646 w 1962"/>
                <a:gd name="T47" fmla="*/ 2147483646 h 1478"/>
                <a:gd name="T48" fmla="*/ 2147483646 w 1962"/>
                <a:gd name="T49" fmla="*/ 2147483646 h 1478"/>
                <a:gd name="T50" fmla="*/ 2147483646 w 1962"/>
                <a:gd name="T51" fmla="*/ 2147483646 h 1478"/>
                <a:gd name="T52" fmla="*/ 2147483646 w 1962"/>
                <a:gd name="T53" fmla="*/ 2147483646 h 1478"/>
                <a:gd name="T54" fmla="*/ 2147483646 w 1962"/>
                <a:gd name="T55" fmla="*/ 2147483646 h 1478"/>
                <a:gd name="T56" fmla="*/ 2147483646 w 1962"/>
                <a:gd name="T57" fmla="*/ 2147483646 h 1478"/>
                <a:gd name="T58" fmla="*/ 2147483646 w 1962"/>
                <a:gd name="T59" fmla="*/ 2147483646 h 1478"/>
                <a:gd name="T60" fmla="*/ 2147483646 w 1962"/>
                <a:gd name="T61" fmla="*/ 2147483646 h 1478"/>
                <a:gd name="T62" fmla="*/ 2147483646 w 1962"/>
                <a:gd name="T63" fmla="*/ 2147483646 h 1478"/>
                <a:gd name="T64" fmla="*/ 2147483646 w 1962"/>
                <a:gd name="T65" fmla="*/ 2147483646 h 1478"/>
                <a:gd name="T66" fmla="*/ 2147483646 w 1962"/>
                <a:gd name="T67" fmla="*/ 2147483646 h 1478"/>
                <a:gd name="T68" fmla="*/ 2147483646 w 1962"/>
                <a:gd name="T69" fmla="*/ 2147483646 h 1478"/>
                <a:gd name="T70" fmla="*/ 2147483646 w 1962"/>
                <a:gd name="T71" fmla="*/ 2147483646 h 1478"/>
                <a:gd name="T72" fmla="*/ 2147483646 w 1962"/>
                <a:gd name="T73" fmla="*/ 2147483646 h 1478"/>
                <a:gd name="T74" fmla="*/ 2147483646 w 1962"/>
                <a:gd name="T75" fmla="*/ 2147483646 h 1478"/>
                <a:gd name="T76" fmla="*/ 2147483646 w 1962"/>
                <a:gd name="T77" fmla="*/ 2147483646 h 1478"/>
                <a:gd name="T78" fmla="*/ 2147483646 w 1962"/>
                <a:gd name="T79" fmla="*/ 2147483646 h 1478"/>
                <a:gd name="T80" fmla="*/ 2147483646 w 1962"/>
                <a:gd name="T81" fmla="*/ 2147483646 h 1478"/>
                <a:gd name="T82" fmla="*/ 2147483646 w 1962"/>
                <a:gd name="T83" fmla="*/ 2147483646 h 1478"/>
                <a:gd name="T84" fmla="*/ 2147483646 w 1962"/>
                <a:gd name="T85" fmla="*/ 2147483646 h 1478"/>
                <a:gd name="T86" fmla="*/ 2147483646 w 1962"/>
                <a:gd name="T87" fmla="*/ 2147483646 h 1478"/>
                <a:gd name="T88" fmla="*/ 2147483646 w 1962"/>
                <a:gd name="T89" fmla="*/ 2147483646 h 1478"/>
                <a:gd name="T90" fmla="*/ 2147483646 w 1962"/>
                <a:gd name="T91" fmla="*/ 2147483646 h 1478"/>
                <a:gd name="T92" fmla="*/ 2147483646 w 1962"/>
                <a:gd name="T93" fmla="*/ 2147483646 h 1478"/>
                <a:gd name="T94" fmla="*/ 2147483646 w 1962"/>
                <a:gd name="T95" fmla="*/ 2147483646 h 1478"/>
                <a:gd name="T96" fmla="*/ 2147483646 w 1962"/>
                <a:gd name="T97" fmla="*/ 2147483646 h 1478"/>
                <a:gd name="T98" fmla="*/ 2147483646 w 1962"/>
                <a:gd name="T99" fmla="*/ 2147483646 h 1478"/>
                <a:gd name="T100" fmla="*/ 2147483646 w 1962"/>
                <a:gd name="T101" fmla="*/ 2147483646 h 1478"/>
                <a:gd name="T102" fmla="*/ 2147483646 w 1962"/>
                <a:gd name="T103" fmla="*/ 2147483646 h 1478"/>
                <a:gd name="T104" fmla="*/ 2147483646 w 1962"/>
                <a:gd name="T105" fmla="*/ 2147483646 h 1478"/>
                <a:gd name="T106" fmla="*/ 2147483646 w 1962"/>
                <a:gd name="T107" fmla="*/ 2147483646 h 1478"/>
                <a:gd name="T108" fmla="*/ 2147483646 w 1962"/>
                <a:gd name="T109" fmla="*/ 2147483646 h 1478"/>
                <a:gd name="T110" fmla="*/ 2147483646 w 1962"/>
                <a:gd name="T111" fmla="*/ 2147483646 h 1478"/>
                <a:gd name="T112" fmla="*/ 2147483646 w 1962"/>
                <a:gd name="T113" fmla="*/ 2147483646 h 1478"/>
                <a:gd name="T114" fmla="*/ 2147483646 w 1962"/>
                <a:gd name="T115" fmla="*/ 2147483646 h 1478"/>
                <a:gd name="T116" fmla="*/ 2147483646 w 1962"/>
                <a:gd name="T117" fmla="*/ 2147483646 h 1478"/>
                <a:gd name="T118" fmla="*/ 2147483646 w 1962"/>
                <a:gd name="T119" fmla="*/ 2147483646 h 14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962" h="1478">
                  <a:moveTo>
                    <a:pt x="1040" y="0"/>
                  </a:moveTo>
                  <a:cubicBezTo>
                    <a:pt x="1035" y="0"/>
                    <a:pt x="1030" y="0"/>
                    <a:pt x="1025" y="0"/>
                  </a:cubicBezTo>
                  <a:cubicBezTo>
                    <a:pt x="1025" y="0"/>
                    <a:pt x="1024" y="0"/>
                    <a:pt x="1024" y="0"/>
                  </a:cubicBezTo>
                  <a:cubicBezTo>
                    <a:pt x="1021" y="0"/>
                    <a:pt x="1018" y="0"/>
                    <a:pt x="1015" y="0"/>
                  </a:cubicBezTo>
                  <a:cubicBezTo>
                    <a:pt x="1015" y="0"/>
                    <a:pt x="1014" y="0"/>
                    <a:pt x="1014" y="0"/>
                  </a:cubicBezTo>
                  <a:cubicBezTo>
                    <a:pt x="1010" y="0"/>
                    <a:pt x="1005" y="0"/>
                    <a:pt x="1000" y="0"/>
                  </a:cubicBezTo>
                  <a:cubicBezTo>
                    <a:pt x="1000" y="0"/>
                    <a:pt x="1000" y="0"/>
                    <a:pt x="999" y="0"/>
                  </a:cubicBezTo>
                  <a:cubicBezTo>
                    <a:pt x="996" y="0"/>
                    <a:pt x="994" y="0"/>
                    <a:pt x="991" y="1"/>
                  </a:cubicBezTo>
                  <a:cubicBezTo>
                    <a:pt x="990" y="1"/>
                    <a:pt x="989" y="1"/>
                    <a:pt x="989" y="1"/>
                  </a:cubicBezTo>
                  <a:cubicBezTo>
                    <a:pt x="988" y="1"/>
                    <a:pt x="988" y="1"/>
                    <a:pt x="988" y="1"/>
                  </a:cubicBezTo>
                  <a:cubicBezTo>
                    <a:pt x="987" y="1"/>
                    <a:pt x="987" y="1"/>
                    <a:pt x="987" y="1"/>
                  </a:cubicBezTo>
                  <a:cubicBezTo>
                    <a:pt x="987" y="1"/>
                    <a:pt x="986" y="1"/>
                    <a:pt x="986" y="1"/>
                  </a:cubicBezTo>
                  <a:cubicBezTo>
                    <a:pt x="982" y="1"/>
                    <a:pt x="978" y="1"/>
                    <a:pt x="974" y="1"/>
                  </a:cubicBezTo>
                  <a:cubicBezTo>
                    <a:pt x="974" y="1"/>
                    <a:pt x="973" y="1"/>
                    <a:pt x="973" y="1"/>
                  </a:cubicBezTo>
                  <a:cubicBezTo>
                    <a:pt x="971" y="1"/>
                    <a:pt x="970" y="1"/>
                    <a:pt x="968" y="2"/>
                  </a:cubicBezTo>
                  <a:cubicBezTo>
                    <a:pt x="967" y="2"/>
                    <a:pt x="967" y="2"/>
                    <a:pt x="967" y="2"/>
                  </a:cubicBezTo>
                  <a:cubicBezTo>
                    <a:pt x="963" y="2"/>
                    <a:pt x="960" y="2"/>
                    <a:pt x="956" y="2"/>
                  </a:cubicBezTo>
                  <a:cubicBezTo>
                    <a:pt x="955" y="2"/>
                    <a:pt x="955" y="2"/>
                    <a:pt x="954" y="3"/>
                  </a:cubicBezTo>
                  <a:cubicBezTo>
                    <a:pt x="953" y="3"/>
                    <a:pt x="951" y="3"/>
                    <a:pt x="950" y="3"/>
                  </a:cubicBezTo>
                  <a:cubicBezTo>
                    <a:pt x="949" y="3"/>
                    <a:pt x="948" y="3"/>
                    <a:pt x="948" y="3"/>
                  </a:cubicBezTo>
                  <a:cubicBezTo>
                    <a:pt x="948" y="3"/>
                    <a:pt x="947" y="3"/>
                    <a:pt x="947" y="3"/>
                  </a:cubicBezTo>
                  <a:cubicBezTo>
                    <a:pt x="947" y="3"/>
                    <a:pt x="946" y="3"/>
                    <a:pt x="946" y="3"/>
                  </a:cubicBezTo>
                  <a:cubicBezTo>
                    <a:pt x="943" y="4"/>
                    <a:pt x="940" y="4"/>
                    <a:pt x="938" y="4"/>
                  </a:cubicBezTo>
                  <a:cubicBezTo>
                    <a:pt x="937" y="4"/>
                    <a:pt x="937" y="4"/>
                    <a:pt x="936" y="4"/>
                  </a:cubicBezTo>
                  <a:cubicBezTo>
                    <a:pt x="930" y="5"/>
                    <a:pt x="924" y="6"/>
                    <a:pt x="918" y="7"/>
                  </a:cubicBezTo>
                  <a:cubicBezTo>
                    <a:pt x="918" y="7"/>
                    <a:pt x="918" y="7"/>
                    <a:pt x="917" y="7"/>
                  </a:cubicBezTo>
                  <a:cubicBezTo>
                    <a:pt x="915" y="7"/>
                    <a:pt x="912" y="7"/>
                    <a:pt x="910" y="8"/>
                  </a:cubicBezTo>
                  <a:cubicBezTo>
                    <a:pt x="909" y="8"/>
                    <a:pt x="908" y="8"/>
                    <a:pt x="907" y="8"/>
                  </a:cubicBezTo>
                  <a:cubicBezTo>
                    <a:pt x="903" y="9"/>
                    <a:pt x="900" y="10"/>
                    <a:pt x="896" y="10"/>
                  </a:cubicBezTo>
                  <a:cubicBezTo>
                    <a:pt x="896" y="11"/>
                    <a:pt x="895" y="11"/>
                    <a:pt x="894" y="11"/>
                  </a:cubicBezTo>
                  <a:cubicBezTo>
                    <a:pt x="887" y="12"/>
                    <a:pt x="879" y="14"/>
                    <a:pt x="873" y="16"/>
                  </a:cubicBezTo>
                  <a:cubicBezTo>
                    <a:pt x="872" y="16"/>
                    <a:pt x="871" y="16"/>
                    <a:pt x="871" y="16"/>
                  </a:cubicBezTo>
                  <a:cubicBezTo>
                    <a:pt x="869" y="17"/>
                    <a:pt x="868" y="17"/>
                    <a:pt x="867" y="18"/>
                  </a:cubicBezTo>
                  <a:cubicBezTo>
                    <a:pt x="866" y="18"/>
                    <a:pt x="866" y="18"/>
                    <a:pt x="866" y="18"/>
                  </a:cubicBezTo>
                  <a:cubicBezTo>
                    <a:pt x="865" y="18"/>
                    <a:pt x="865" y="18"/>
                    <a:pt x="865" y="18"/>
                  </a:cubicBezTo>
                  <a:cubicBezTo>
                    <a:pt x="862" y="19"/>
                    <a:pt x="860" y="20"/>
                    <a:pt x="857" y="21"/>
                  </a:cubicBezTo>
                  <a:cubicBezTo>
                    <a:pt x="857" y="21"/>
                    <a:pt x="856" y="21"/>
                    <a:pt x="856" y="21"/>
                  </a:cubicBezTo>
                  <a:cubicBezTo>
                    <a:pt x="854" y="22"/>
                    <a:pt x="852" y="22"/>
                    <a:pt x="850" y="23"/>
                  </a:cubicBezTo>
                  <a:cubicBezTo>
                    <a:pt x="850" y="23"/>
                    <a:pt x="849" y="23"/>
                    <a:pt x="849" y="24"/>
                  </a:cubicBezTo>
                  <a:cubicBezTo>
                    <a:pt x="847" y="24"/>
                    <a:pt x="846" y="25"/>
                    <a:pt x="844" y="25"/>
                  </a:cubicBezTo>
                  <a:cubicBezTo>
                    <a:pt x="844" y="26"/>
                    <a:pt x="843" y="26"/>
                    <a:pt x="843" y="26"/>
                  </a:cubicBezTo>
                  <a:cubicBezTo>
                    <a:pt x="839" y="28"/>
                    <a:pt x="835" y="29"/>
                    <a:pt x="831" y="31"/>
                  </a:cubicBezTo>
                  <a:cubicBezTo>
                    <a:pt x="831" y="31"/>
                    <a:pt x="830" y="32"/>
                    <a:pt x="830" y="32"/>
                  </a:cubicBezTo>
                  <a:cubicBezTo>
                    <a:pt x="822" y="36"/>
                    <a:pt x="814" y="40"/>
                    <a:pt x="808" y="45"/>
                  </a:cubicBezTo>
                  <a:cubicBezTo>
                    <a:pt x="807" y="45"/>
                    <a:pt x="807" y="45"/>
                    <a:pt x="807" y="46"/>
                  </a:cubicBezTo>
                  <a:cubicBezTo>
                    <a:pt x="807" y="46"/>
                    <a:pt x="807" y="46"/>
                    <a:pt x="806" y="46"/>
                  </a:cubicBezTo>
                  <a:cubicBezTo>
                    <a:pt x="807" y="45"/>
                    <a:pt x="808" y="45"/>
                    <a:pt x="809" y="45"/>
                  </a:cubicBezTo>
                  <a:cubicBezTo>
                    <a:pt x="816" y="41"/>
                    <a:pt x="823" y="36"/>
                    <a:pt x="831" y="32"/>
                  </a:cubicBezTo>
                  <a:cubicBezTo>
                    <a:pt x="831" y="32"/>
                    <a:pt x="832" y="32"/>
                    <a:pt x="832" y="32"/>
                  </a:cubicBezTo>
                  <a:cubicBezTo>
                    <a:pt x="836" y="30"/>
                    <a:pt x="840" y="28"/>
                    <a:pt x="844" y="27"/>
                  </a:cubicBezTo>
                  <a:cubicBezTo>
                    <a:pt x="845" y="26"/>
                    <a:pt x="845" y="26"/>
                    <a:pt x="845" y="26"/>
                  </a:cubicBezTo>
                  <a:cubicBezTo>
                    <a:pt x="847" y="25"/>
                    <a:pt x="849" y="25"/>
                    <a:pt x="850" y="24"/>
                  </a:cubicBezTo>
                  <a:cubicBezTo>
                    <a:pt x="851" y="24"/>
                    <a:pt x="851" y="24"/>
                    <a:pt x="852" y="24"/>
                  </a:cubicBezTo>
                  <a:cubicBezTo>
                    <a:pt x="853" y="23"/>
                    <a:pt x="855" y="22"/>
                    <a:pt x="857" y="22"/>
                  </a:cubicBezTo>
                  <a:cubicBezTo>
                    <a:pt x="858" y="22"/>
                    <a:pt x="858" y="21"/>
                    <a:pt x="859" y="21"/>
                  </a:cubicBezTo>
                  <a:cubicBezTo>
                    <a:pt x="860" y="21"/>
                    <a:pt x="862" y="20"/>
                    <a:pt x="864" y="19"/>
                  </a:cubicBezTo>
                  <a:cubicBezTo>
                    <a:pt x="864" y="19"/>
                    <a:pt x="865" y="19"/>
                    <a:pt x="865" y="19"/>
                  </a:cubicBezTo>
                  <a:cubicBezTo>
                    <a:pt x="866" y="19"/>
                    <a:pt x="866" y="19"/>
                    <a:pt x="867" y="19"/>
                  </a:cubicBezTo>
                  <a:cubicBezTo>
                    <a:pt x="867" y="19"/>
                    <a:pt x="868" y="18"/>
                    <a:pt x="868" y="18"/>
                  </a:cubicBezTo>
                  <a:cubicBezTo>
                    <a:pt x="870" y="18"/>
                    <a:pt x="871" y="17"/>
                    <a:pt x="872" y="17"/>
                  </a:cubicBezTo>
                  <a:cubicBezTo>
                    <a:pt x="873" y="17"/>
                    <a:pt x="874" y="17"/>
                    <a:pt x="874" y="17"/>
                  </a:cubicBezTo>
                  <a:cubicBezTo>
                    <a:pt x="881" y="15"/>
                    <a:pt x="888" y="13"/>
                    <a:pt x="896" y="11"/>
                  </a:cubicBezTo>
                  <a:cubicBezTo>
                    <a:pt x="897" y="11"/>
                    <a:pt x="897" y="11"/>
                    <a:pt x="898" y="11"/>
                  </a:cubicBezTo>
                  <a:cubicBezTo>
                    <a:pt x="900" y="11"/>
                    <a:pt x="902" y="10"/>
                    <a:pt x="904" y="10"/>
                  </a:cubicBezTo>
                  <a:cubicBezTo>
                    <a:pt x="905" y="10"/>
                    <a:pt x="906" y="10"/>
                    <a:pt x="907" y="9"/>
                  </a:cubicBezTo>
                  <a:cubicBezTo>
                    <a:pt x="910" y="9"/>
                    <a:pt x="913" y="8"/>
                    <a:pt x="917" y="8"/>
                  </a:cubicBezTo>
                  <a:cubicBezTo>
                    <a:pt x="917" y="8"/>
                    <a:pt x="917" y="8"/>
                    <a:pt x="918" y="8"/>
                  </a:cubicBezTo>
                  <a:cubicBezTo>
                    <a:pt x="924" y="7"/>
                    <a:pt x="931" y="6"/>
                    <a:pt x="938" y="5"/>
                  </a:cubicBezTo>
                  <a:cubicBezTo>
                    <a:pt x="938" y="5"/>
                    <a:pt x="939" y="5"/>
                    <a:pt x="939" y="5"/>
                  </a:cubicBezTo>
                  <a:cubicBezTo>
                    <a:pt x="941" y="5"/>
                    <a:pt x="943" y="5"/>
                    <a:pt x="945" y="4"/>
                  </a:cubicBezTo>
                  <a:cubicBezTo>
                    <a:pt x="945" y="4"/>
                    <a:pt x="946" y="4"/>
                    <a:pt x="946" y="4"/>
                  </a:cubicBezTo>
                  <a:cubicBezTo>
                    <a:pt x="946" y="4"/>
                    <a:pt x="946" y="4"/>
                    <a:pt x="947" y="4"/>
                  </a:cubicBezTo>
                  <a:cubicBezTo>
                    <a:pt x="947" y="4"/>
                    <a:pt x="948" y="4"/>
                    <a:pt x="948" y="4"/>
                  </a:cubicBezTo>
                  <a:cubicBezTo>
                    <a:pt x="950" y="4"/>
                    <a:pt x="952" y="4"/>
                    <a:pt x="953" y="4"/>
                  </a:cubicBezTo>
                  <a:cubicBezTo>
                    <a:pt x="954" y="4"/>
                    <a:pt x="954" y="4"/>
                    <a:pt x="955" y="4"/>
                  </a:cubicBezTo>
                  <a:cubicBezTo>
                    <a:pt x="959" y="3"/>
                    <a:pt x="962" y="3"/>
                    <a:pt x="966" y="3"/>
                  </a:cubicBezTo>
                  <a:cubicBezTo>
                    <a:pt x="967" y="3"/>
                    <a:pt x="967" y="3"/>
                    <a:pt x="967" y="3"/>
                  </a:cubicBezTo>
                  <a:cubicBezTo>
                    <a:pt x="970" y="3"/>
                    <a:pt x="972" y="2"/>
                    <a:pt x="974" y="2"/>
                  </a:cubicBezTo>
                  <a:cubicBezTo>
                    <a:pt x="974" y="2"/>
                    <a:pt x="975" y="2"/>
                    <a:pt x="975" y="2"/>
                  </a:cubicBezTo>
                  <a:cubicBezTo>
                    <a:pt x="979" y="2"/>
                    <a:pt x="982" y="2"/>
                    <a:pt x="985" y="2"/>
                  </a:cubicBezTo>
                  <a:cubicBezTo>
                    <a:pt x="986" y="2"/>
                    <a:pt x="986" y="2"/>
                    <a:pt x="987" y="2"/>
                  </a:cubicBezTo>
                  <a:cubicBezTo>
                    <a:pt x="987" y="2"/>
                    <a:pt x="987" y="2"/>
                    <a:pt x="988" y="2"/>
                  </a:cubicBezTo>
                  <a:cubicBezTo>
                    <a:pt x="988" y="2"/>
                    <a:pt x="988" y="2"/>
                    <a:pt x="989" y="2"/>
                  </a:cubicBezTo>
                  <a:cubicBezTo>
                    <a:pt x="989" y="2"/>
                    <a:pt x="990" y="2"/>
                    <a:pt x="991" y="2"/>
                  </a:cubicBezTo>
                  <a:cubicBezTo>
                    <a:pt x="993" y="1"/>
                    <a:pt x="996" y="1"/>
                    <a:pt x="998" y="1"/>
                  </a:cubicBezTo>
                  <a:cubicBezTo>
                    <a:pt x="999" y="1"/>
                    <a:pt x="999" y="1"/>
                    <a:pt x="1000" y="1"/>
                  </a:cubicBezTo>
                  <a:cubicBezTo>
                    <a:pt x="1004" y="1"/>
                    <a:pt x="1009" y="1"/>
                    <a:pt x="1014" y="1"/>
                  </a:cubicBezTo>
                  <a:cubicBezTo>
                    <a:pt x="1014" y="1"/>
                    <a:pt x="1014" y="1"/>
                    <a:pt x="1015" y="1"/>
                  </a:cubicBezTo>
                  <a:cubicBezTo>
                    <a:pt x="1018" y="1"/>
                    <a:pt x="1021" y="1"/>
                    <a:pt x="1023" y="1"/>
                  </a:cubicBezTo>
                  <a:cubicBezTo>
                    <a:pt x="1024" y="1"/>
                    <a:pt x="1024" y="1"/>
                    <a:pt x="1025" y="1"/>
                  </a:cubicBezTo>
                  <a:cubicBezTo>
                    <a:pt x="1030" y="1"/>
                    <a:pt x="1035" y="1"/>
                    <a:pt x="1040" y="1"/>
                  </a:cubicBezTo>
                  <a:cubicBezTo>
                    <a:pt x="1043" y="1"/>
                    <a:pt x="1045" y="1"/>
                    <a:pt x="1048" y="1"/>
                  </a:cubicBezTo>
                  <a:cubicBezTo>
                    <a:pt x="1048" y="1"/>
                    <a:pt x="1048" y="1"/>
                    <a:pt x="1049" y="1"/>
                  </a:cubicBezTo>
                  <a:cubicBezTo>
                    <a:pt x="1052" y="1"/>
                    <a:pt x="1055" y="1"/>
                    <a:pt x="1059" y="1"/>
                  </a:cubicBezTo>
                  <a:cubicBezTo>
                    <a:pt x="1059" y="1"/>
                    <a:pt x="1060" y="1"/>
                    <a:pt x="1060" y="1"/>
                  </a:cubicBezTo>
                  <a:cubicBezTo>
                    <a:pt x="1061" y="1"/>
                    <a:pt x="1061" y="1"/>
                    <a:pt x="1062" y="1"/>
                  </a:cubicBezTo>
                  <a:cubicBezTo>
                    <a:pt x="1062" y="1"/>
                    <a:pt x="1063" y="1"/>
                    <a:pt x="1063" y="1"/>
                  </a:cubicBezTo>
                  <a:cubicBezTo>
                    <a:pt x="1063" y="1"/>
                    <a:pt x="1063" y="1"/>
                    <a:pt x="1064" y="1"/>
                  </a:cubicBezTo>
                  <a:cubicBezTo>
                    <a:pt x="1064" y="1"/>
                    <a:pt x="1064" y="1"/>
                    <a:pt x="1064" y="1"/>
                  </a:cubicBezTo>
                  <a:cubicBezTo>
                    <a:pt x="1065" y="1"/>
                    <a:pt x="1065" y="1"/>
                    <a:pt x="1066" y="1"/>
                  </a:cubicBezTo>
                  <a:cubicBezTo>
                    <a:pt x="1066" y="1"/>
                    <a:pt x="1066" y="1"/>
                    <a:pt x="1066" y="1"/>
                  </a:cubicBezTo>
                  <a:cubicBezTo>
                    <a:pt x="1068" y="1"/>
                    <a:pt x="1071" y="1"/>
                    <a:pt x="1073" y="1"/>
                  </a:cubicBezTo>
                  <a:cubicBezTo>
                    <a:pt x="1073" y="1"/>
                    <a:pt x="1074" y="1"/>
                    <a:pt x="1074" y="1"/>
                  </a:cubicBezTo>
                  <a:cubicBezTo>
                    <a:pt x="1080" y="1"/>
                    <a:pt x="1086" y="2"/>
                    <a:pt x="1092" y="2"/>
                  </a:cubicBezTo>
                  <a:cubicBezTo>
                    <a:pt x="1093" y="2"/>
                    <a:pt x="1093" y="2"/>
                    <a:pt x="1094" y="2"/>
                  </a:cubicBezTo>
                  <a:cubicBezTo>
                    <a:pt x="1096" y="2"/>
                    <a:pt x="1098" y="2"/>
                    <a:pt x="1100" y="2"/>
                  </a:cubicBezTo>
                  <a:cubicBezTo>
                    <a:pt x="1101" y="2"/>
                    <a:pt x="1101" y="2"/>
                    <a:pt x="1102" y="2"/>
                  </a:cubicBezTo>
                  <a:cubicBezTo>
                    <a:pt x="1103" y="2"/>
                    <a:pt x="1104" y="2"/>
                    <a:pt x="1106" y="2"/>
                  </a:cubicBezTo>
                  <a:cubicBezTo>
                    <a:pt x="1106" y="2"/>
                    <a:pt x="1106" y="2"/>
                    <a:pt x="1107" y="2"/>
                  </a:cubicBezTo>
                  <a:cubicBezTo>
                    <a:pt x="1107" y="2"/>
                    <a:pt x="1107" y="2"/>
                    <a:pt x="1108" y="3"/>
                  </a:cubicBezTo>
                  <a:cubicBezTo>
                    <a:pt x="1110" y="3"/>
                    <a:pt x="1112" y="3"/>
                    <a:pt x="1114" y="3"/>
                  </a:cubicBezTo>
                  <a:cubicBezTo>
                    <a:pt x="1114" y="3"/>
                    <a:pt x="1115" y="3"/>
                    <a:pt x="1115" y="3"/>
                  </a:cubicBezTo>
                  <a:cubicBezTo>
                    <a:pt x="1123" y="3"/>
                    <a:pt x="1130" y="4"/>
                    <a:pt x="1138" y="5"/>
                  </a:cubicBezTo>
                  <a:cubicBezTo>
                    <a:pt x="1138" y="5"/>
                    <a:pt x="1138" y="5"/>
                    <a:pt x="1139" y="5"/>
                  </a:cubicBezTo>
                  <a:cubicBezTo>
                    <a:pt x="1140" y="5"/>
                    <a:pt x="1142" y="5"/>
                    <a:pt x="1144" y="5"/>
                  </a:cubicBezTo>
                  <a:cubicBezTo>
                    <a:pt x="1149" y="6"/>
                    <a:pt x="1153" y="6"/>
                    <a:pt x="1157" y="7"/>
                  </a:cubicBezTo>
                  <a:cubicBezTo>
                    <a:pt x="1158" y="7"/>
                    <a:pt x="1158" y="7"/>
                    <a:pt x="1158" y="7"/>
                  </a:cubicBezTo>
                  <a:cubicBezTo>
                    <a:pt x="1158" y="7"/>
                    <a:pt x="1159" y="7"/>
                    <a:pt x="1159" y="7"/>
                  </a:cubicBezTo>
                  <a:cubicBezTo>
                    <a:pt x="1159" y="7"/>
                    <a:pt x="1160" y="7"/>
                    <a:pt x="1160" y="7"/>
                  </a:cubicBezTo>
                  <a:cubicBezTo>
                    <a:pt x="1160" y="7"/>
                    <a:pt x="1160" y="7"/>
                    <a:pt x="1161" y="7"/>
                  </a:cubicBezTo>
                  <a:cubicBezTo>
                    <a:pt x="1161" y="7"/>
                    <a:pt x="1162" y="7"/>
                    <a:pt x="1163" y="7"/>
                  </a:cubicBezTo>
                  <a:cubicBezTo>
                    <a:pt x="1164" y="7"/>
                    <a:pt x="1164" y="7"/>
                    <a:pt x="1164" y="7"/>
                  </a:cubicBezTo>
                  <a:cubicBezTo>
                    <a:pt x="1165" y="7"/>
                    <a:pt x="1165" y="7"/>
                    <a:pt x="1165" y="7"/>
                  </a:cubicBezTo>
                  <a:cubicBezTo>
                    <a:pt x="1166" y="8"/>
                    <a:pt x="1167" y="8"/>
                    <a:pt x="1167" y="8"/>
                  </a:cubicBezTo>
                  <a:cubicBezTo>
                    <a:pt x="1170" y="8"/>
                    <a:pt x="1172" y="8"/>
                    <a:pt x="1174" y="9"/>
                  </a:cubicBezTo>
                  <a:cubicBezTo>
                    <a:pt x="1175" y="9"/>
                    <a:pt x="1175" y="9"/>
                    <a:pt x="1176" y="9"/>
                  </a:cubicBezTo>
                  <a:cubicBezTo>
                    <a:pt x="1179" y="9"/>
                    <a:pt x="1182" y="10"/>
                    <a:pt x="1185" y="10"/>
                  </a:cubicBezTo>
                  <a:cubicBezTo>
                    <a:pt x="1185" y="10"/>
                    <a:pt x="1186" y="10"/>
                    <a:pt x="1186" y="10"/>
                  </a:cubicBezTo>
                  <a:cubicBezTo>
                    <a:pt x="1190" y="11"/>
                    <a:pt x="1193" y="11"/>
                    <a:pt x="1197" y="12"/>
                  </a:cubicBezTo>
                  <a:cubicBezTo>
                    <a:pt x="1197" y="12"/>
                    <a:pt x="1197" y="12"/>
                    <a:pt x="1198" y="12"/>
                  </a:cubicBezTo>
                  <a:cubicBezTo>
                    <a:pt x="1199" y="13"/>
                    <a:pt x="1201" y="13"/>
                    <a:pt x="1203" y="13"/>
                  </a:cubicBezTo>
                  <a:cubicBezTo>
                    <a:pt x="1203" y="13"/>
                    <a:pt x="1203" y="13"/>
                    <a:pt x="1204" y="13"/>
                  </a:cubicBezTo>
                  <a:cubicBezTo>
                    <a:pt x="1205" y="14"/>
                    <a:pt x="1206" y="14"/>
                    <a:pt x="1207" y="14"/>
                  </a:cubicBezTo>
                  <a:cubicBezTo>
                    <a:pt x="1207" y="14"/>
                    <a:pt x="1208" y="14"/>
                    <a:pt x="1208" y="14"/>
                  </a:cubicBezTo>
                  <a:cubicBezTo>
                    <a:pt x="1209" y="14"/>
                    <a:pt x="1211" y="15"/>
                    <a:pt x="1212" y="15"/>
                  </a:cubicBezTo>
                  <a:cubicBezTo>
                    <a:pt x="1212" y="15"/>
                    <a:pt x="1213" y="15"/>
                    <a:pt x="1213" y="15"/>
                  </a:cubicBezTo>
                  <a:cubicBezTo>
                    <a:pt x="1213" y="15"/>
                    <a:pt x="1214" y="15"/>
                    <a:pt x="1214" y="15"/>
                  </a:cubicBezTo>
                  <a:cubicBezTo>
                    <a:pt x="1215" y="16"/>
                    <a:pt x="1215" y="16"/>
                    <a:pt x="1215" y="16"/>
                  </a:cubicBezTo>
                  <a:cubicBezTo>
                    <a:pt x="1217" y="16"/>
                    <a:pt x="1218" y="16"/>
                    <a:pt x="1220" y="17"/>
                  </a:cubicBezTo>
                  <a:cubicBezTo>
                    <a:pt x="1220" y="17"/>
                    <a:pt x="1221" y="17"/>
                    <a:pt x="1221" y="17"/>
                  </a:cubicBezTo>
                  <a:cubicBezTo>
                    <a:pt x="1235" y="20"/>
                    <a:pt x="1248" y="24"/>
                    <a:pt x="1259" y="28"/>
                  </a:cubicBezTo>
                  <a:cubicBezTo>
                    <a:pt x="1260" y="28"/>
                    <a:pt x="1260" y="28"/>
                    <a:pt x="1260" y="28"/>
                  </a:cubicBezTo>
                  <a:cubicBezTo>
                    <a:pt x="1264" y="30"/>
                    <a:pt x="1268" y="31"/>
                    <a:pt x="1272" y="33"/>
                  </a:cubicBezTo>
                  <a:cubicBezTo>
                    <a:pt x="1272" y="33"/>
                    <a:pt x="1273" y="33"/>
                    <a:pt x="1273" y="33"/>
                  </a:cubicBezTo>
                  <a:cubicBezTo>
                    <a:pt x="1274" y="33"/>
                    <a:pt x="1275" y="34"/>
                    <a:pt x="1276" y="34"/>
                  </a:cubicBezTo>
                  <a:cubicBezTo>
                    <a:pt x="1278" y="35"/>
                    <a:pt x="1281" y="36"/>
                    <a:pt x="1283" y="37"/>
                  </a:cubicBezTo>
                  <a:cubicBezTo>
                    <a:pt x="1283" y="37"/>
                    <a:pt x="1283" y="38"/>
                    <a:pt x="1284" y="38"/>
                  </a:cubicBezTo>
                  <a:cubicBezTo>
                    <a:pt x="1284" y="38"/>
                    <a:pt x="1285" y="38"/>
                    <a:pt x="1286" y="39"/>
                  </a:cubicBezTo>
                  <a:cubicBezTo>
                    <a:pt x="1286" y="39"/>
                    <a:pt x="1286" y="39"/>
                    <a:pt x="1287" y="39"/>
                  </a:cubicBezTo>
                  <a:cubicBezTo>
                    <a:pt x="1287" y="40"/>
                    <a:pt x="1288" y="40"/>
                    <a:pt x="1289" y="40"/>
                  </a:cubicBezTo>
                  <a:cubicBezTo>
                    <a:pt x="1289" y="41"/>
                    <a:pt x="1290" y="41"/>
                    <a:pt x="1290" y="41"/>
                  </a:cubicBezTo>
                  <a:cubicBezTo>
                    <a:pt x="1290" y="41"/>
                    <a:pt x="1291" y="41"/>
                    <a:pt x="1291" y="42"/>
                  </a:cubicBezTo>
                  <a:cubicBezTo>
                    <a:pt x="1291" y="42"/>
                    <a:pt x="1292" y="42"/>
                    <a:pt x="1292" y="42"/>
                  </a:cubicBezTo>
                  <a:cubicBezTo>
                    <a:pt x="1294" y="43"/>
                    <a:pt x="1296" y="44"/>
                    <a:pt x="1298" y="45"/>
                  </a:cubicBezTo>
                  <a:cubicBezTo>
                    <a:pt x="1298" y="46"/>
                    <a:pt x="1298" y="46"/>
                    <a:pt x="1298" y="46"/>
                  </a:cubicBezTo>
                  <a:cubicBezTo>
                    <a:pt x="1299" y="46"/>
                    <a:pt x="1299" y="46"/>
                    <a:pt x="1299" y="46"/>
                  </a:cubicBezTo>
                  <a:cubicBezTo>
                    <a:pt x="1299" y="46"/>
                    <a:pt x="1300" y="47"/>
                    <a:pt x="1300" y="47"/>
                  </a:cubicBezTo>
                  <a:cubicBezTo>
                    <a:pt x="1301" y="47"/>
                    <a:pt x="1301" y="48"/>
                    <a:pt x="1302" y="48"/>
                  </a:cubicBezTo>
                  <a:cubicBezTo>
                    <a:pt x="1302" y="48"/>
                    <a:pt x="1303" y="48"/>
                    <a:pt x="1303" y="49"/>
                  </a:cubicBezTo>
                  <a:cubicBezTo>
                    <a:pt x="1303" y="49"/>
                    <a:pt x="1303" y="49"/>
                    <a:pt x="1304" y="49"/>
                  </a:cubicBezTo>
                  <a:cubicBezTo>
                    <a:pt x="1304" y="49"/>
                    <a:pt x="1304" y="50"/>
                    <a:pt x="1304" y="50"/>
                  </a:cubicBezTo>
                  <a:cubicBezTo>
                    <a:pt x="1318" y="59"/>
                    <a:pt x="1327" y="69"/>
                    <a:pt x="1333" y="80"/>
                  </a:cubicBezTo>
                  <a:cubicBezTo>
                    <a:pt x="1334" y="80"/>
                    <a:pt x="1334" y="80"/>
                    <a:pt x="1334" y="81"/>
                  </a:cubicBezTo>
                  <a:cubicBezTo>
                    <a:pt x="1340" y="91"/>
                    <a:pt x="1342" y="103"/>
                    <a:pt x="1342" y="114"/>
                  </a:cubicBezTo>
                  <a:cubicBezTo>
                    <a:pt x="1342" y="117"/>
                    <a:pt x="1342" y="120"/>
                    <a:pt x="1342" y="124"/>
                  </a:cubicBezTo>
                  <a:cubicBezTo>
                    <a:pt x="1342" y="124"/>
                    <a:pt x="1342" y="124"/>
                    <a:pt x="1342" y="125"/>
                  </a:cubicBezTo>
                  <a:cubicBezTo>
                    <a:pt x="1340" y="137"/>
                    <a:pt x="1336" y="149"/>
                    <a:pt x="1330" y="161"/>
                  </a:cubicBezTo>
                  <a:cubicBezTo>
                    <a:pt x="1330" y="161"/>
                    <a:pt x="1330" y="162"/>
                    <a:pt x="1329" y="162"/>
                  </a:cubicBezTo>
                  <a:cubicBezTo>
                    <a:pt x="1325" y="170"/>
                    <a:pt x="1321" y="178"/>
                    <a:pt x="1315" y="185"/>
                  </a:cubicBezTo>
                  <a:cubicBezTo>
                    <a:pt x="1315" y="186"/>
                    <a:pt x="1314" y="186"/>
                    <a:pt x="1314" y="187"/>
                  </a:cubicBezTo>
                  <a:cubicBezTo>
                    <a:pt x="1311" y="191"/>
                    <a:pt x="1308" y="195"/>
                    <a:pt x="1305" y="199"/>
                  </a:cubicBezTo>
                  <a:cubicBezTo>
                    <a:pt x="1304" y="199"/>
                    <a:pt x="1304" y="200"/>
                    <a:pt x="1303" y="200"/>
                  </a:cubicBezTo>
                  <a:cubicBezTo>
                    <a:pt x="1301" y="203"/>
                    <a:pt x="1299" y="205"/>
                    <a:pt x="1297" y="208"/>
                  </a:cubicBezTo>
                  <a:cubicBezTo>
                    <a:pt x="1296" y="209"/>
                    <a:pt x="1296" y="209"/>
                    <a:pt x="1295" y="210"/>
                  </a:cubicBezTo>
                  <a:cubicBezTo>
                    <a:pt x="1275" y="232"/>
                    <a:pt x="1250" y="252"/>
                    <a:pt x="1223" y="271"/>
                  </a:cubicBezTo>
                  <a:cubicBezTo>
                    <a:pt x="1208" y="280"/>
                    <a:pt x="1201" y="294"/>
                    <a:pt x="1201" y="312"/>
                  </a:cubicBezTo>
                  <a:cubicBezTo>
                    <a:pt x="1201" y="316"/>
                    <a:pt x="1202" y="320"/>
                    <a:pt x="1202" y="324"/>
                  </a:cubicBezTo>
                  <a:cubicBezTo>
                    <a:pt x="1203" y="324"/>
                    <a:pt x="1203" y="325"/>
                    <a:pt x="1203" y="325"/>
                  </a:cubicBezTo>
                  <a:cubicBezTo>
                    <a:pt x="1206" y="344"/>
                    <a:pt x="1215" y="365"/>
                    <a:pt x="1229" y="389"/>
                  </a:cubicBezTo>
                  <a:cubicBezTo>
                    <a:pt x="1229" y="389"/>
                    <a:pt x="1229" y="389"/>
                    <a:pt x="1229" y="390"/>
                  </a:cubicBezTo>
                  <a:cubicBezTo>
                    <a:pt x="1241" y="410"/>
                    <a:pt x="1257" y="433"/>
                    <a:pt x="1275" y="457"/>
                  </a:cubicBezTo>
                  <a:cubicBezTo>
                    <a:pt x="1275" y="457"/>
                    <a:pt x="1275" y="458"/>
                    <a:pt x="1276" y="458"/>
                  </a:cubicBezTo>
                  <a:cubicBezTo>
                    <a:pt x="1289" y="476"/>
                    <a:pt x="1304" y="494"/>
                    <a:pt x="1320" y="513"/>
                  </a:cubicBezTo>
                  <a:cubicBezTo>
                    <a:pt x="1321" y="514"/>
                    <a:pt x="1321" y="514"/>
                    <a:pt x="1321" y="514"/>
                  </a:cubicBezTo>
                  <a:cubicBezTo>
                    <a:pt x="1336" y="532"/>
                    <a:pt x="1352" y="550"/>
                    <a:pt x="1369" y="569"/>
                  </a:cubicBezTo>
                  <a:cubicBezTo>
                    <a:pt x="1369" y="569"/>
                    <a:pt x="1369" y="569"/>
                    <a:pt x="1370" y="570"/>
                  </a:cubicBezTo>
                  <a:cubicBezTo>
                    <a:pt x="1386" y="588"/>
                    <a:pt x="1403" y="606"/>
                    <a:pt x="1420" y="625"/>
                  </a:cubicBezTo>
                  <a:cubicBezTo>
                    <a:pt x="1420" y="625"/>
                    <a:pt x="1421" y="625"/>
                    <a:pt x="1421" y="626"/>
                  </a:cubicBezTo>
                  <a:cubicBezTo>
                    <a:pt x="1439" y="645"/>
                    <a:pt x="1457" y="664"/>
                    <a:pt x="1475" y="683"/>
                  </a:cubicBezTo>
                  <a:cubicBezTo>
                    <a:pt x="1476" y="684"/>
                    <a:pt x="1476" y="684"/>
                    <a:pt x="1476" y="684"/>
                  </a:cubicBezTo>
                  <a:cubicBezTo>
                    <a:pt x="1496" y="705"/>
                    <a:pt x="1517" y="727"/>
                    <a:pt x="1537" y="748"/>
                  </a:cubicBezTo>
                  <a:cubicBezTo>
                    <a:pt x="1537" y="748"/>
                    <a:pt x="1538" y="749"/>
                    <a:pt x="1538" y="749"/>
                  </a:cubicBezTo>
                  <a:cubicBezTo>
                    <a:pt x="1564" y="776"/>
                    <a:pt x="1589" y="802"/>
                    <a:pt x="1614" y="829"/>
                  </a:cubicBezTo>
                  <a:cubicBezTo>
                    <a:pt x="1615" y="830"/>
                    <a:pt x="1616" y="832"/>
                    <a:pt x="1618" y="833"/>
                  </a:cubicBezTo>
                  <a:cubicBezTo>
                    <a:pt x="1619" y="834"/>
                    <a:pt x="1620" y="835"/>
                    <a:pt x="1621" y="836"/>
                  </a:cubicBezTo>
                  <a:cubicBezTo>
                    <a:pt x="1653" y="871"/>
                    <a:pt x="1684" y="905"/>
                    <a:pt x="1713" y="939"/>
                  </a:cubicBezTo>
                  <a:cubicBezTo>
                    <a:pt x="1714" y="940"/>
                    <a:pt x="1715" y="941"/>
                    <a:pt x="1715" y="942"/>
                  </a:cubicBezTo>
                  <a:cubicBezTo>
                    <a:pt x="1743" y="974"/>
                    <a:pt x="1768" y="1005"/>
                    <a:pt x="1791" y="1034"/>
                  </a:cubicBezTo>
                  <a:cubicBezTo>
                    <a:pt x="1791" y="1035"/>
                    <a:pt x="1792" y="1036"/>
                    <a:pt x="1792" y="1036"/>
                  </a:cubicBezTo>
                  <a:cubicBezTo>
                    <a:pt x="1804" y="1051"/>
                    <a:pt x="1815" y="1065"/>
                    <a:pt x="1825" y="1079"/>
                  </a:cubicBezTo>
                  <a:cubicBezTo>
                    <a:pt x="1825" y="1080"/>
                    <a:pt x="1826" y="1081"/>
                    <a:pt x="1826" y="1081"/>
                  </a:cubicBezTo>
                  <a:cubicBezTo>
                    <a:pt x="1830" y="1088"/>
                    <a:pt x="1835" y="1094"/>
                    <a:pt x="1839" y="1100"/>
                  </a:cubicBezTo>
                  <a:cubicBezTo>
                    <a:pt x="1840" y="1101"/>
                    <a:pt x="1840" y="1102"/>
                    <a:pt x="1841" y="1102"/>
                  </a:cubicBezTo>
                  <a:cubicBezTo>
                    <a:pt x="1844" y="1107"/>
                    <a:pt x="1847" y="1112"/>
                    <a:pt x="1851" y="1117"/>
                  </a:cubicBezTo>
                  <a:cubicBezTo>
                    <a:pt x="1851" y="1118"/>
                    <a:pt x="1852" y="1119"/>
                    <a:pt x="1853" y="1120"/>
                  </a:cubicBezTo>
                  <a:cubicBezTo>
                    <a:pt x="1855" y="1124"/>
                    <a:pt x="1857" y="1127"/>
                    <a:pt x="1860" y="1130"/>
                  </a:cubicBezTo>
                  <a:cubicBezTo>
                    <a:pt x="1861" y="1132"/>
                    <a:pt x="1862" y="1134"/>
                    <a:pt x="1863" y="1135"/>
                  </a:cubicBezTo>
                  <a:cubicBezTo>
                    <a:pt x="1866" y="1140"/>
                    <a:pt x="1869" y="1145"/>
                    <a:pt x="1871" y="1149"/>
                  </a:cubicBezTo>
                  <a:cubicBezTo>
                    <a:pt x="1873" y="1151"/>
                    <a:pt x="1874" y="1153"/>
                    <a:pt x="1875" y="1155"/>
                  </a:cubicBezTo>
                  <a:cubicBezTo>
                    <a:pt x="1875" y="1156"/>
                    <a:pt x="1876" y="1157"/>
                    <a:pt x="1876" y="1158"/>
                  </a:cubicBezTo>
                  <a:cubicBezTo>
                    <a:pt x="1877" y="1160"/>
                    <a:pt x="1879" y="1162"/>
                    <a:pt x="1880" y="1164"/>
                  </a:cubicBezTo>
                  <a:cubicBezTo>
                    <a:pt x="1883" y="1169"/>
                    <a:pt x="1885" y="1174"/>
                    <a:pt x="1888" y="1179"/>
                  </a:cubicBezTo>
                  <a:cubicBezTo>
                    <a:pt x="1891" y="1184"/>
                    <a:pt x="1893" y="1189"/>
                    <a:pt x="1896" y="1194"/>
                  </a:cubicBezTo>
                  <a:cubicBezTo>
                    <a:pt x="1896" y="1195"/>
                    <a:pt x="1897" y="1196"/>
                    <a:pt x="1897" y="1198"/>
                  </a:cubicBezTo>
                  <a:cubicBezTo>
                    <a:pt x="1899" y="1201"/>
                    <a:pt x="1901" y="1204"/>
                    <a:pt x="1903" y="1207"/>
                  </a:cubicBezTo>
                  <a:cubicBezTo>
                    <a:pt x="1901" y="1203"/>
                    <a:pt x="1899" y="1198"/>
                    <a:pt x="1896" y="1193"/>
                  </a:cubicBezTo>
                  <a:cubicBezTo>
                    <a:pt x="1892" y="1184"/>
                    <a:pt x="1887" y="1174"/>
                    <a:pt x="1881" y="1163"/>
                  </a:cubicBezTo>
                  <a:cubicBezTo>
                    <a:pt x="1878" y="1159"/>
                    <a:pt x="1876" y="1155"/>
                    <a:pt x="1874" y="1151"/>
                  </a:cubicBezTo>
                  <a:cubicBezTo>
                    <a:pt x="1873" y="1150"/>
                    <a:pt x="1873" y="1150"/>
                    <a:pt x="1872" y="1149"/>
                  </a:cubicBezTo>
                  <a:cubicBezTo>
                    <a:pt x="1871" y="1147"/>
                    <a:pt x="1870" y="1145"/>
                    <a:pt x="1869" y="1143"/>
                  </a:cubicBezTo>
                  <a:cubicBezTo>
                    <a:pt x="1866" y="1139"/>
                    <a:pt x="1863" y="1134"/>
                    <a:pt x="1860" y="1130"/>
                  </a:cubicBezTo>
                  <a:cubicBezTo>
                    <a:pt x="1859" y="1129"/>
                    <a:pt x="1858" y="1127"/>
                    <a:pt x="1857" y="1125"/>
                  </a:cubicBezTo>
                  <a:cubicBezTo>
                    <a:pt x="1855" y="1122"/>
                    <a:pt x="1854" y="1119"/>
                    <a:pt x="1851" y="1116"/>
                  </a:cubicBezTo>
                  <a:cubicBezTo>
                    <a:pt x="1851" y="1115"/>
                    <a:pt x="1850" y="1114"/>
                    <a:pt x="1849" y="1113"/>
                  </a:cubicBezTo>
                  <a:cubicBezTo>
                    <a:pt x="1846" y="1108"/>
                    <a:pt x="1843" y="1104"/>
                    <a:pt x="1840" y="1099"/>
                  </a:cubicBezTo>
                  <a:cubicBezTo>
                    <a:pt x="1839" y="1099"/>
                    <a:pt x="1839" y="1098"/>
                    <a:pt x="1838" y="1097"/>
                  </a:cubicBezTo>
                  <a:cubicBezTo>
                    <a:pt x="1834" y="1091"/>
                    <a:pt x="1830" y="1085"/>
                    <a:pt x="1826" y="1079"/>
                  </a:cubicBezTo>
                  <a:cubicBezTo>
                    <a:pt x="1825" y="1078"/>
                    <a:pt x="1825" y="1078"/>
                    <a:pt x="1824" y="1077"/>
                  </a:cubicBezTo>
                  <a:cubicBezTo>
                    <a:pt x="1814" y="1063"/>
                    <a:pt x="1803" y="1049"/>
                    <a:pt x="1792" y="1034"/>
                  </a:cubicBezTo>
                  <a:cubicBezTo>
                    <a:pt x="1792" y="1033"/>
                    <a:pt x="1791" y="1033"/>
                    <a:pt x="1791" y="1032"/>
                  </a:cubicBezTo>
                  <a:cubicBezTo>
                    <a:pt x="1767" y="1002"/>
                    <a:pt x="1742" y="971"/>
                    <a:pt x="1714" y="939"/>
                  </a:cubicBezTo>
                  <a:cubicBezTo>
                    <a:pt x="1713" y="938"/>
                    <a:pt x="1712" y="937"/>
                    <a:pt x="1712" y="936"/>
                  </a:cubicBezTo>
                  <a:cubicBezTo>
                    <a:pt x="1682" y="902"/>
                    <a:pt x="1651" y="867"/>
                    <a:pt x="1618" y="832"/>
                  </a:cubicBezTo>
                  <a:cubicBezTo>
                    <a:pt x="1617" y="831"/>
                    <a:pt x="1616" y="830"/>
                    <a:pt x="1615" y="829"/>
                  </a:cubicBezTo>
                  <a:cubicBezTo>
                    <a:pt x="1615" y="829"/>
                    <a:pt x="1615" y="828"/>
                    <a:pt x="1615" y="828"/>
                  </a:cubicBezTo>
                  <a:cubicBezTo>
                    <a:pt x="1589" y="801"/>
                    <a:pt x="1564" y="774"/>
                    <a:pt x="1538" y="747"/>
                  </a:cubicBezTo>
                  <a:cubicBezTo>
                    <a:pt x="1537" y="747"/>
                    <a:pt x="1537" y="746"/>
                    <a:pt x="1536" y="746"/>
                  </a:cubicBezTo>
                  <a:cubicBezTo>
                    <a:pt x="1516" y="725"/>
                    <a:pt x="1496" y="704"/>
                    <a:pt x="1476" y="683"/>
                  </a:cubicBezTo>
                  <a:cubicBezTo>
                    <a:pt x="1476" y="683"/>
                    <a:pt x="1476" y="682"/>
                    <a:pt x="1475" y="682"/>
                  </a:cubicBezTo>
                  <a:cubicBezTo>
                    <a:pt x="1457" y="663"/>
                    <a:pt x="1439" y="643"/>
                    <a:pt x="1421" y="624"/>
                  </a:cubicBezTo>
                  <a:cubicBezTo>
                    <a:pt x="1421" y="624"/>
                    <a:pt x="1421" y="624"/>
                    <a:pt x="1420" y="624"/>
                  </a:cubicBezTo>
                  <a:cubicBezTo>
                    <a:pt x="1403" y="605"/>
                    <a:pt x="1386" y="587"/>
                    <a:pt x="1370" y="569"/>
                  </a:cubicBezTo>
                  <a:cubicBezTo>
                    <a:pt x="1370" y="568"/>
                    <a:pt x="1370" y="568"/>
                    <a:pt x="1369" y="568"/>
                  </a:cubicBezTo>
                  <a:cubicBezTo>
                    <a:pt x="1353" y="549"/>
                    <a:pt x="1337" y="531"/>
                    <a:pt x="1322" y="513"/>
                  </a:cubicBezTo>
                  <a:cubicBezTo>
                    <a:pt x="1321" y="513"/>
                    <a:pt x="1321" y="513"/>
                    <a:pt x="1321" y="513"/>
                  </a:cubicBezTo>
                  <a:cubicBezTo>
                    <a:pt x="1305" y="493"/>
                    <a:pt x="1290" y="475"/>
                    <a:pt x="1276" y="457"/>
                  </a:cubicBezTo>
                  <a:cubicBezTo>
                    <a:pt x="1276" y="457"/>
                    <a:pt x="1276" y="457"/>
                    <a:pt x="1276" y="456"/>
                  </a:cubicBezTo>
                  <a:cubicBezTo>
                    <a:pt x="1257" y="432"/>
                    <a:pt x="1242" y="410"/>
                    <a:pt x="1230" y="389"/>
                  </a:cubicBezTo>
                  <a:cubicBezTo>
                    <a:pt x="1230" y="389"/>
                    <a:pt x="1229" y="388"/>
                    <a:pt x="1229" y="388"/>
                  </a:cubicBezTo>
                  <a:cubicBezTo>
                    <a:pt x="1215" y="364"/>
                    <a:pt x="1207" y="343"/>
                    <a:pt x="1204" y="324"/>
                  </a:cubicBezTo>
                  <a:cubicBezTo>
                    <a:pt x="1203" y="324"/>
                    <a:pt x="1203" y="324"/>
                    <a:pt x="1203" y="323"/>
                  </a:cubicBezTo>
                  <a:cubicBezTo>
                    <a:pt x="1203" y="319"/>
                    <a:pt x="1202" y="315"/>
                    <a:pt x="1202" y="312"/>
                  </a:cubicBezTo>
                  <a:cubicBezTo>
                    <a:pt x="1202" y="295"/>
                    <a:pt x="1209" y="281"/>
                    <a:pt x="1223" y="271"/>
                  </a:cubicBezTo>
                  <a:cubicBezTo>
                    <a:pt x="1251" y="253"/>
                    <a:pt x="1277" y="231"/>
                    <a:pt x="1297" y="209"/>
                  </a:cubicBezTo>
                  <a:cubicBezTo>
                    <a:pt x="1298" y="208"/>
                    <a:pt x="1298" y="208"/>
                    <a:pt x="1299" y="207"/>
                  </a:cubicBezTo>
                  <a:cubicBezTo>
                    <a:pt x="1301" y="205"/>
                    <a:pt x="1303" y="202"/>
                    <a:pt x="1305" y="199"/>
                  </a:cubicBezTo>
                  <a:cubicBezTo>
                    <a:pt x="1306" y="199"/>
                    <a:pt x="1306" y="198"/>
                    <a:pt x="1307" y="198"/>
                  </a:cubicBezTo>
                  <a:cubicBezTo>
                    <a:pt x="1310" y="194"/>
                    <a:pt x="1313" y="190"/>
                    <a:pt x="1316" y="186"/>
                  </a:cubicBezTo>
                  <a:cubicBezTo>
                    <a:pt x="1316" y="186"/>
                    <a:pt x="1316" y="185"/>
                    <a:pt x="1317" y="185"/>
                  </a:cubicBezTo>
                  <a:cubicBezTo>
                    <a:pt x="1322" y="177"/>
                    <a:pt x="1327" y="169"/>
                    <a:pt x="1331" y="161"/>
                  </a:cubicBezTo>
                  <a:cubicBezTo>
                    <a:pt x="1331" y="161"/>
                    <a:pt x="1331" y="160"/>
                    <a:pt x="1332" y="160"/>
                  </a:cubicBezTo>
                  <a:cubicBezTo>
                    <a:pt x="1338" y="148"/>
                    <a:pt x="1341" y="136"/>
                    <a:pt x="1343" y="124"/>
                  </a:cubicBezTo>
                  <a:cubicBezTo>
                    <a:pt x="1343" y="124"/>
                    <a:pt x="1343" y="123"/>
                    <a:pt x="1343" y="123"/>
                  </a:cubicBezTo>
                  <a:cubicBezTo>
                    <a:pt x="1343" y="120"/>
                    <a:pt x="1343" y="117"/>
                    <a:pt x="1343" y="114"/>
                  </a:cubicBezTo>
                  <a:cubicBezTo>
                    <a:pt x="1343" y="102"/>
                    <a:pt x="1341" y="91"/>
                    <a:pt x="1335" y="80"/>
                  </a:cubicBezTo>
                  <a:cubicBezTo>
                    <a:pt x="1334" y="80"/>
                    <a:pt x="1334" y="79"/>
                    <a:pt x="1334" y="79"/>
                  </a:cubicBezTo>
                  <a:cubicBezTo>
                    <a:pt x="1328" y="68"/>
                    <a:pt x="1318" y="58"/>
                    <a:pt x="1305" y="49"/>
                  </a:cubicBezTo>
                  <a:cubicBezTo>
                    <a:pt x="1305" y="49"/>
                    <a:pt x="1304" y="49"/>
                    <a:pt x="1304" y="48"/>
                  </a:cubicBezTo>
                  <a:cubicBezTo>
                    <a:pt x="1304" y="48"/>
                    <a:pt x="1304" y="48"/>
                    <a:pt x="1303" y="48"/>
                  </a:cubicBezTo>
                  <a:cubicBezTo>
                    <a:pt x="1303" y="48"/>
                    <a:pt x="1303" y="47"/>
                    <a:pt x="1302" y="47"/>
                  </a:cubicBezTo>
                  <a:cubicBezTo>
                    <a:pt x="1302" y="47"/>
                    <a:pt x="1301" y="46"/>
                    <a:pt x="1301" y="46"/>
                  </a:cubicBezTo>
                  <a:cubicBezTo>
                    <a:pt x="1300" y="46"/>
                    <a:pt x="1300" y="46"/>
                    <a:pt x="1300" y="46"/>
                  </a:cubicBezTo>
                  <a:cubicBezTo>
                    <a:pt x="1299" y="45"/>
                    <a:pt x="1299" y="45"/>
                    <a:pt x="1299" y="45"/>
                  </a:cubicBezTo>
                  <a:cubicBezTo>
                    <a:pt x="1299" y="45"/>
                    <a:pt x="1298" y="45"/>
                    <a:pt x="1298" y="44"/>
                  </a:cubicBezTo>
                  <a:cubicBezTo>
                    <a:pt x="1296" y="43"/>
                    <a:pt x="1294" y="42"/>
                    <a:pt x="1292" y="41"/>
                  </a:cubicBezTo>
                  <a:cubicBezTo>
                    <a:pt x="1292" y="41"/>
                    <a:pt x="1292" y="41"/>
                    <a:pt x="1291" y="41"/>
                  </a:cubicBezTo>
                  <a:cubicBezTo>
                    <a:pt x="1291" y="41"/>
                    <a:pt x="1291" y="40"/>
                    <a:pt x="1290" y="40"/>
                  </a:cubicBezTo>
                  <a:cubicBezTo>
                    <a:pt x="1290" y="40"/>
                    <a:pt x="1290" y="40"/>
                    <a:pt x="1290" y="40"/>
                  </a:cubicBezTo>
                  <a:cubicBezTo>
                    <a:pt x="1289" y="39"/>
                    <a:pt x="1288" y="39"/>
                    <a:pt x="1288" y="39"/>
                  </a:cubicBezTo>
                  <a:cubicBezTo>
                    <a:pt x="1287" y="38"/>
                    <a:pt x="1287" y="38"/>
                    <a:pt x="1287" y="38"/>
                  </a:cubicBezTo>
                  <a:cubicBezTo>
                    <a:pt x="1286" y="38"/>
                    <a:pt x="1285" y="37"/>
                    <a:pt x="1284" y="37"/>
                  </a:cubicBezTo>
                  <a:cubicBezTo>
                    <a:pt x="1284" y="37"/>
                    <a:pt x="1283" y="36"/>
                    <a:pt x="1283" y="36"/>
                  </a:cubicBezTo>
                  <a:cubicBezTo>
                    <a:pt x="1280" y="35"/>
                    <a:pt x="1277" y="33"/>
                    <a:pt x="1273" y="32"/>
                  </a:cubicBezTo>
                  <a:cubicBezTo>
                    <a:pt x="1273" y="32"/>
                    <a:pt x="1273" y="32"/>
                    <a:pt x="1272" y="32"/>
                  </a:cubicBezTo>
                  <a:cubicBezTo>
                    <a:pt x="1269" y="30"/>
                    <a:pt x="1265" y="29"/>
                    <a:pt x="1261" y="27"/>
                  </a:cubicBezTo>
                  <a:cubicBezTo>
                    <a:pt x="1260" y="27"/>
                    <a:pt x="1260" y="27"/>
                    <a:pt x="1260" y="27"/>
                  </a:cubicBezTo>
                  <a:cubicBezTo>
                    <a:pt x="1248" y="23"/>
                    <a:pt x="1235" y="19"/>
                    <a:pt x="1221" y="16"/>
                  </a:cubicBezTo>
                  <a:cubicBezTo>
                    <a:pt x="1221" y="16"/>
                    <a:pt x="1220" y="16"/>
                    <a:pt x="1220" y="16"/>
                  </a:cubicBezTo>
                  <a:cubicBezTo>
                    <a:pt x="1219" y="15"/>
                    <a:pt x="1217" y="15"/>
                    <a:pt x="1215" y="15"/>
                  </a:cubicBezTo>
                  <a:cubicBezTo>
                    <a:pt x="1215" y="15"/>
                    <a:pt x="1214" y="14"/>
                    <a:pt x="1214" y="14"/>
                  </a:cubicBezTo>
                  <a:cubicBezTo>
                    <a:pt x="1214" y="14"/>
                    <a:pt x="1214" y="14"/>
                    <a:pt x="1213" y="14"/>
                  </a:cubicBezTo>
                  <a:cubicBezTo>
                    <a:pt x="1213" y="14"/>
                    <a:pt x="1213" y="14"/>
                    <a:pt x="1212" y="14"/>
                  </a:cubicBezTo>
                  <a:cubicBezTo>
                    <a:pt x="1211" y="14"/>
                    <a:pt x="1210" y="13"/>
                    <a:pt x="1208" y="13"/>
                  </a:cubicBezTo>
                  <a:cubicBezTo>
                    <a:pt x="1208" y="13"/>
                    <a:pt x="1207" y="13"/>
                    <a:pt x="1207" y="13"/>
                  </a:cubicBezTo>
                  <a:cubicBezTo>
                    <a:pt x="1206" y="13"/>
                    <a:pt x="1205" y="13"/>
                    <a:pt x="1204" y="12"/>
                  </a:cubicBezTo>
                  <a:cubicBezTo>
                    <a:pt x="1204" y="12"/>
                    <a:pt x="1203" y="12"/>
                    <a:pt x="1203" y="12"/>
                  </a:cubicBezTo>
                  <a:cubicBezTo>
                    <a:pt x="1201" y="12"/>
                    <a:pt x="1199" y="12"/>
                    <a:pt x="1198" y="11"/>
                  </a:cubicBezTo>
                  <a:cubicBezTo>
                    <a:pt x="1197" y="11"/>
                    <a:pt x="1197" y="11"/>
                    <a:pt x="1197" y="11"/>
                  </a:cubicBezTo>
                  <a:cubicBezTo>
                    <a:pt x="1194" y="11"/>
                    <a:pt x="1191" y="10"/>
                    <a:pt x="1188" y="10"/>
                  </a:cubicBezTo>
                  <a:cubicBezTo>
                    <a:pt x="1187" y="9"/>
                    <a:pt x="1187" y="9"/>
                    <a:pt x="1186" y="9"/>
                  </a:cubicBezTo>
                  <a:cubicBezTo>
                    <a:pt x="1183" y="9"/>
                    <a:pt x="1180" y="8"/>
                    <a:pt x="1177" y="8"/>
                  </a:cubicBezTo>
                  <a:cubicBezTo>
                    <a:pt x="1176" y="8"/>
                    <a:pt x="1176" y="8"/>
                    <a:pt x="1175" y="8"/>
                  </a:cubicBezTo>
                  <a:cubicBezTo>
                    <a:pt x="1172" y="7"/>
                    <a:pt x="1169" y="7"/>
                    <a:pt x="1166" y="6"/>
                  </a:cubicBezTo>
                  <a:cubicBezTo>
                    <a:pt x="1165" y="6"/>
                    <a:pt x="1165" y="6"/>
                    <a:pt x="1165" y="6"/>
                  </a:cubicBezTo>
                  <a:cubicBezTo>
                    <a:pt x="1164" y="6"/>
                    <a:pt x="1164" y="6"/>
                    <a:pt x="1163" y="6"/>
                  </a:cubicBezTo>
                  <a:cubicBezTo>
                    <a:pt x="1157" y="5"/>
                    <a:pt x="1151" y="5"/>
                    <a:pt x="1144" y="4"/>
                  </a:cubicBezTo>
                  <a:cubicBezTo>
                    <a:pt x="1143" y="4"/>
                    <a:pt x="1141" y="4"/>
                    <a:pt x="1140" y="4"/>
                  </a:cubicBezTo>
                  <a:cubicBezTo>
                    <a:pt x="1139" y="4"/>
                    <a:pt x="1139" y="4"/>
                    <a:pt x="1138" y="4"/>
                  </a:cubicBezTo>
                  <a:cubicBezTo>
                    <a:pt x="1131" y="3"/>
                    <a:pt x="1124" y="2"/>
                    <a:pt x="1116" y="2"/>
                  </a:cubicBezTo>
                  <a:cubicBezTo>
                    <a:pt x="1115" y="2"/>
                    <a:pt x="1115" y="2"/>
                    <a:pt x="1115" y="2"/>
                  </a:cubicBezTo>
                  <a:cubicBezTo>
                    <a:pt x="1112" y="2"/>
                    <a:pt x="1110" y="2"/>
                    <a:pt x="1108" y="2"/>
                  </a:cubicBezTo>
                  <a:cubicBezTo>
                    <a:pt x="1108" y="2"/>
                    <a:pt x="1107" y="1"/>
                    <a:pt x="1107" y="1"/>
                  </a:cubicBezTo>
                  <a:cubicBezTo>
                    <a:pt x="1107" y="1"/>
                    <a:pt x="1107" y="1"/>
                    <a:pt x="1107" y="1"/>
                  </a:cubicBezTo>
                  <a:cubicBezTo>
                    <a:pt x="1106" y="1"/>
                    <a:pt x="1106" y="1"/>
                    <a:pt x="1106" y="1"/>
                  </a:cubicBezTo>
                  <a:cubicBezTo>
                    <a:pt x="1105" y="1"/>
                    <a:pt x="1104" y="1"/>
                    <a:pt x="1103" y="1"/>
                  </a:cubicBezTo>
                  <a:cubicBezTo>
                    <a:pt x="1102" y="1"/>
                    <a:pt x="1102" y="1"/>
                    <a:pt x="1101" y="1"/>
                  </a:cubicBezTo>
                  <a:cubicBezTo>
                    <a:pt x="1099" y="1"/>
                    <a:pt x="1097" y="1"/>
                    <a:pt x="1095" y="1"/>
                  </a:cubicBezTo>
                  <a:cubicBezTo>
                    <a:pt x="1095" y="1"/>
                    <a:pt x="1094" y="1"/>
                    <a:pt x="1094" y="1"/>
                  </a:cubicBezTo>
                  <a:cubicBezTo>
                    <a:pt x="1088" y="1"/>
                    <a:pt x="1082" y="0"/>
                    <a:pt x="1075" y="0"/>
                  </a:cubicBezTo>
                  <a:cubicBezTo>
                    <a:pt x="1075" y="0"/>
                    <a:pt x="1074" y="0"/>
                    <a:pt x="1074" y="0"/>
                  </a:cubicBezTo>
                  <a:cubicBezTo>
                    <a:pt x="1071" y="0"/>
                    <a:pt x="1069" y="0"/>
                    <a:pt x="1066" y="0"/>
                  </a:cubicBezTo>
                  <a:cubicBezTo>
                    <a:pt x="1066" y="0"/>
                    <a:pt x="1066" y="0"/>
                    <a:pt x="1066" y="0"/>
                  </a:cubicBezTo>
                  <a:cubicBezTo>
                    <a:pt x="1066" y="0"/>
                    <a:pt x="1065" y="0"/>
                    <a:pt x="1065" y="0"/>
                  </a:cubicBezTo>
                  <a:cubicBezTo>
                    <a:pt x="1065" y="0"/>
                    <a:pt x="1065" y="0"/>
                    <a:pt x="1065" y="0"/>
                  </a:cubicBezTo>
                  <a:cubicBezTo>
                    <a:pt x="1064" y="0"/>
                    <a:pt x="1064" y="0"/>
                    <a:pt x="1064" y="0"/>
                  </a:cubicBezTo>
                  <a:cubicBezTo>
                    <a:pt x="1064" y="0"/>
                    <a:pt x="1063" y="0"/>
                    <a:pt x="1063" y="0"/>
                  </a:cubicBezTo>
                  <a:cubicBezTo>
                    <a:pt x="1063" y="0"/>
                    <a:pt x="1062" y="0"/>
                    <a:pt x="1062" y="0"/>
                  </a:cubicBezTo>
                  <a:cubicBezTo>
                    <a:pt x="1062" y="0"/>
                    <a:pt x="1061" y="0"/>
                    <a:pt x="1061" y="0"/>
                  </a:cubicBezTo>
                  <a:cubicBezTo>
                    <a:pt x="1060" y="0"/>
                    <a:pt x="1060" y="0"/>
                    <a:pt x="1059" y="0"/>
                  </a:cubicBezTo>
                  <a:cubicBezTo>
                    <a:pt x="1056" y="0"/>
                    <a:pt x="1053" y="0"/>
                    <a:pt x="1049" y="0"/>
                  </a:cubicBezTo>
                  <a:cubicBezTo>
                    <a:pt x="1049" y="0"/>
                    <a:pt x="1048" y="0"/>
                    <a:pt x="1048" y="0"/>
                  </a:cubicBezTo>
                  <a:cubicBezTo>
                    <a:pt x="1046" y="0"/>
                    <a:pt x="1043" y="0"/>
                    <a:pt x="1040" y="0"/>
                  </a:cubicBezTo>
                  <a:moveTo>
                    <a:pt x="807" y="47"/>
                  </a:moveTo>
                  <a:cubicBezTo>
                    <a:pt x="806" y="47"/>
                    <a:pt x="805" y="47"/>
                    <a:pt x="804" y="47"/>
                  </a:cubicBezTo>
                  <a:cubicBezTo>
                    <a:pt x="799" y="52"/>
                    <a:pt x="794" y="56"/>
                    <a:pt x="789" y="61"/>
                  </a:cubicBezTo>
                  <a:cubicBezTo>
                    <a:pt x="789" y="61"/>
                    <a:pt x="789" y="61"/>
                    <a:pt x="788" y="61"/>
                  </a:cubicBezTo>
                  <a:cubicBezTo>
                    <a:pt x="786" y="64"/>
                    <a:pt x="784" y="66"/>
                    <a:pt x="782" y="68"/>
                  </a:cubicBezTo>
                  <a:cubicBezTo>
                    <a:pt x="783" y="68"/>
                    <a:pt x="783" y="68"/>
                    <a:pt x="784" y="68"/>
                  </a:cubicBezTo>
                  <a:cubicBezTo>
                    <a:pt x="786" y="66"/>
                    <a:pt x="787" y="64"/>
                    <a:pt x="789" y="62"/>
                  </a:cubicBezTo>
                  <a:cubicBezTo>
                    <a:pt x="790" y="62"/>
                    <a:pt x="790" y="61"/>
                    <a:pt x="790" y="61"/>
                  </a:cubicBezTo>
                  <a:cubicBezTo>
                    <a:pt x="794" y="57"/>
                    <a:pt x="799" y="53"/>
                    <a:pt x="804" y="49"/>
                  </a:cubicBezTo>
                  <a:cubicBezTo>
                    <a:pt x="804" y="49"/>
                    <a:pt x="805" y="48"/>
                    <a:pt x="805" y="48"/>
                  </a:cubicBezTo>
                  <a:cubicBezTo>
                    <a:pt x="806" y="47"/>
                    <a:pt x="806" y="47"/>
                    <a:pt x="807" y="47"/>
                  </a:cubicBezTo>
                  <a:moveTo>
                    <a:pt x="783" y="69"/>
                  </a:moveTo>
                  <a:cubicBezTo>
                    <a:pt x="782" y="69"/>
                    <a:pt x="782" y="69"/>
                    <a:pt x="782" y="70"/>
                  </a:cubicBezTo>
                  <a:cubicBezTo>
                    <a:pt x="779" y="73"/>
                    <a:pt x="777" y="76"/>
                    <a:pt x="775" y="79"/>
                  </a:cubicBezTo>
                  <a:cubicBezTo>
                    <a:pt x="775" y="79"/>
                    <a:pt x="775" y="79"/>
                    <a:pt x="775" y="79"/>
                  </a:cubicBezTo>
                  <a:cubicBezTo>
                    <a:pt x="768" y="91"/>
                    <a:pt x="763" y="104"/>
                    <a:pt x="761" y="118"/>
                  </a:cubicBezTo>
                  <a:cubicBezTo>
                    <a:pt x="761" y="118"/>
                    <a:pt x="761" y="119"/>
                    <a:pt x="761" y="119"/>
                  </a:cubicBezTo>
                  <a:cubicBezTo>
                    <a:pt x="760" y="126"/>
                    <a:pt x="759" y="133"/>
                    <a:pt x="759" y="140"/>
                  </a:cubicBezTo>
                  <a:cubicBezTo>
                    <a:pt x="759" y="146"/>
                    <a:pt x="759" y="151"/>
                    <a:pt x="760" y="156"/>
                  </a:cubicBezTo>
                  <a:cubicBezTo>
                    <a:pt x="760" y="157"/>
                    <a:pt x="760" y="157"/>
                    <a:pt x="760" y="157"/>
                  </a:cubicBezTo>
                  <a:cubicBezTo>
                    <a:pt x="761" y="164"/>
                    <a:pt x="762" y="170"/>
                    <a:pt x="763" y="177"/>
                  </a:cubicBezTo>
                  <a:cubicBezTo>
                    <a:pt x="763" y="177"/>
                    <a:pt x="763" y="178"/>
                    <a:pt x="763" y="178"/>
                  </a:cubicBezTo>
                  <a:cubicBezTo>
                    <a:pt x="764" y="182"/>
                    <a:pt x="765" y="187"/>
                    <a:pt x="766" y="191"/>
                  </a:cubicBezTo>
                  <a:cubicBezTo>
                    <a:pt x="766" y="191"/>
                    <a:pt x="766" y="191"/>
                    <a:pt x="766" y="192"/>
                  </a:cubicBezTo>
                  <a:cubicBezTo>
                    <a:pt x="767" y="194"/>
                    <a:pt x="768" y="197"/>
                    <a:pt x="768" y="200"/>
                  </a:cubicBezTo>
                  <a:cubicBezTo>
                    <a:pt x="768" y="200"/>
                    <a:pt x="769" y="200"/>
                    <a:pt x="769" y="201"/>
                  </a:cubicBezTo>
                  <a:cubicBezTo>
                    <a:pt x="769" y="202"/>
                    <a:pt x="769" y="204"/>
                    <a:pt x="770" y="205"/>
                  </a:cubicBezTo>
                  <a:cubicBezTo>
                    <a:pt x="770" y="206"/>
                    <a:pt x="770" y="206"/>
                    <a:pt x="770" y="206"/>
                  </a:cubicBezTo>
                  <a:cubicBezTo>
                    <a:pt x="771" y="211"/>
                    <a:pt x="773" y="215"/>
                    <a:pt x="774" y="219"/>
                  </a:cubicBezTo>
                  <a:cubicBezTo>
                    <a:pt x="774" y="219"/>
                    <a:pt x="775" y="220"/>
                    <a:pt x="775" y="220"/>
                  </a:cubicBezTo>
                  <a:cubicBezTo>
                    <a:pt x="776" y="224"/>
                    <a:pt x="777" y="228"/>
                    <a:pt x="779" y="232"/>
                  </a:cubicBezTo>
                  <a:cubicBezTo>
                    <a:pt x="779" y="232"/>
                    <a:pt x="779" y="232"/>
                    <a:pt x="779" y="233"/>
                  </a:cubicBezTo>
                  <a:cubicBezTo>
                    <a:pt x="780" y="235"/>
                    <a:pt x="781" y="237"/>
                    <a:pt x="782" y="240"/>
                  </a:cubicBezTo>
                  <a:cubicBezTo>
                    <a:pt x="782" y="240"/>
                    <a:pt x="782" y="240"/>
                    <a:pt x="782" y="241"/>
                  </a:cubicBezTo>
                  <a:cubicBezTo>
                    <a:pt x="783" y="243"/>
                    <a:pt x="784" y="245"/>
                    <a:pt x="785" y="247"/>
                  </a:cubicBezTo>
                  <a:cubicBezTo>
                    <a:pt x="785" y="248"/>
                    <a:pt x="785" y="248"/>
                    <a:pt x="785" y="248"/>
                  </a:cubicBezTo>
                  <a:cubicBezTo>
                    <a:pt x="786" y="251"/>
                    <a:pt x="787" y="253"/>
                    <a:pt x="788" y="255"/>
                  </a:cubicBezTo>
                  <a:cubicBezTo>
                    <a:pt x="788" y="255"/>
                    <a:pt x="788" y="255"/>
                    <a:pt x="788" y="256"/>
                  </a:cubicBezTo>
                  <a:cubicBezTo>
                    <a:pt x="788" y="257"/>
                    <a:pt x="789" y="257"/>
                    <a:pt x="789" y="258"/>
                  </a:cubicBezTo>
                  <a:cubicBezTo>
                    <a:pt x="789" y="259"/>
                    <a:pt x="789" y="259"/>
                    <a:pt x="790" y="259"/>
                  </a:cubicBezTo>
                  <a:cubicBezTo>
                    <a:pt x="791" y="262"/>
                    <a:pt x="792" y="265"/>
                    <a:pt x="793" y="268"/>
                  </a:cubicBezTo>
                  <a:cubicBezTo>
                    <a:pt x="793" y="268"/>
                    <a:pt x="793" y="268"/>
                    <a:pt x="793" y="269"/>
                  </a:cubicBezTo>
                  <a:cubicBezTo>
                    <a:pt x="794" y="269"/>
                    <a:pt x="794" y="270"/>
                    <a:pt x="794" y="270"/>
                  </a:cubicBezTo>
                  <a:cubicBezTo>
                    <a:pt x="794" y="270"/>
                    <a:pt x="794" y="271"/>
                    <a:pt x="794" y="271"/>
                  </a:cubicBezTo>
                  <a:cubicBezTo>
                    <a:pt x="796" y="274"/>
                    <a:pt x="797" y="276"/>
                    <a:pt x="798" y="279"/>
                  </a:cubicBezTo>
                  <a:cubicBezTo>
                    <a:pt x="798" y="279"/>
                    <a:pt x="798" y="280"/>
                    <a:pt x="798" y="280"/>
                  </a:cubicBezTo>
                  <a:cubicBezTo>
                    <a:pt x="799" y="281"/>
                    <a:pt x="799" y="283"/>
                    <a:pt x="800" y="284"/>
                  </a:cubicBezTo>
                  <a:cubicBezTo>
                    <a:pt x="800" y="284"/>
                    <a:pt x="800" y="285"/>
                    <a:pt x="800" y="285"/>
                  </a:cubicBezTo>
                  <a:cubicBezTo>
                    <a:pt x="800" y="285"/>
                    <a:pt x="800" y="285"/>
                    <a:pt x="800" y="285"/>
                  </a:cubicBezTo>
                  <a:cubicBezTo>
                    <a:pt x="801" y="286"/>
                    <a:pt x="801" y="286"/>
                    <a:pt x="801" y="286"/>
                  </a:cubicBezTo>
                  <a:cubicBezTo>
                    <a:pt x="801" y="287"/>
                    <a:pt x="801" y="287"/>
                    <a:pt x="801" y="287"/>
                  </a:cubicBezTo>
                  <a:cubicBezTo>
                    <a:pt x="801" y="287"/>
                    <a:pt x="802" y="288"/>
                    <a:pt x="802" y="289"/>
                  </a:cubicBezTo>
                  <a:cubicBezTo>
                    <a:pt x="802" y="289"/>
                    <a:pt x="802" y="289"/>
                    <a:pt x="802" y="290"/>
                  </a:cubicBezTo>
                  <a:cubicBezTo>
                    <a:pt x="802" y="290"/>
                    <a:pt x="803" y="291"/>
                    <a:pt x="803" y="292"/>
                  </a:cubicBezTo>
                  <a:cubicBezTo>
                    <a:pt x="803" y="292"/>
                    <a:pt x="803" y="292"/>
                    <a:pt x="803" y="292"/>
                  </a:cubicBezTo>
                  <a:cubicBezTo>
                    <a:pt x="803" y="292"/>
                    <a:pt x="803" y="292"/>
                    <a:pt x="803" y="293"/>
                  </a:cubicBezTo>
                  <a:cubicBezTo>
                    <a:pt x="804" y="294"/>
                    <a:pt x="805" y="296"/>
                    <a:pt x="805" y="297"/>
                  </a:cubicBezTo>
                  <a:cubicBezTo>
                    <a:pt x="805" y="297"/>
                    <a:pt x="805" y="297"/>
                    <a:pt x="805" y="298"/>
                  </a:cubicBezTo>
                  <a:cubicBezTo>
                    <a:pt x="805" y="298"/>
                    <a:pt x="805" y="298"/>
                    <a:pt x="805" y="298"/>
                  </a:cubicBezTo>
                  <a:cubicBezTo>
                    <a:pt x="806" y="299"/>
                    <a:pt x="806" y="300"/>
                    <a:pt x="806" y="300"/>
                  </a:cubicBezTo>
                  <a:cubicBezTo>
                    <a:pt x="807" y="301"/>
                    <a:pt x="807" y="301"/>
                    <a:pt x="807" y="301"/>
                  </a:cubicBezTo>
                  <a:cubicBezTo>
                    <a:pt x="807" y="302"/>
                    <a:pt x="807" y="302"/>
                    <a:pt x="807" y="302"/>
                  </a:cubicBezTo>
                  <a:cubicBezTo>
                    <a:pt x="807" y="302"/>
                    <a:pt x="807" y="302"/>
                    <a:pt x="807" y="302"/>
                  </a:cubicBezTo>
                  <a:cubicBezTo>
                    <a:pt x="808" y="304"/>
                    <a:pt x="808" y="305"/>
                    <a:pt x="808" y="306"/>
                  </a:cubicBezTo>
                  <a:cubicBezTo>
                    <a:pt x="808" y="306"/>
                    <a:pt x="808" y="306"/>
                    <a:pt x="809" y="307"/>
                  </a:cubicBezTo>
                  <a:cubicBezTo>
                    <a:pt x="809" y="308"/>
                    <a:pt x="809" y="309"/>
                    <a:pt x="810" y="310"/>
                  </a:cubicBezTo>
                  <a:cubicBezTo>
                    <a:pt x="810" y="310"/>
                    <a:pt x="810" y="311"/>
                    <a:pt x="810" y="311"/>
                  </a:cubicBezTo>
                  <a:cubicBezTo>
                    <a:pt x="810" y="311"/>
                    <a:pt x="810" y="311"/>
                    <a:pt x="810" y="311"/>
                  </a:cubicBezTo>
                  <a:cubicBezTo>
                    <a:pt x="810" y="312"/>
                    <a:pt x="810" y="312"/>
                    <a:pt x="810" y="312"/>
                  </a:cubicBezTo>
                  <a:cubicBezTo>
                    <a:pt x="810" y="312"/>
                    <a:pt x="810" y="313"/>
                    <a:pt x="810" y="313"/>
                  </a:cubicBezTo>
                  <a:cubicBezTo>
                    <a:pt x="811" y="314"/>
                    <a:pt x="811" y="315"/>
                    <a:pt x="811" y="316"/>
                  </a:cubicBezTo>
                  <a:cubicBezTo>
                    <a:pt x="811" y="317"/>
                    <a:pt x="811" y="317"/>
                    <a:pt x="811" y="317"/>
                  </a:cubicBezTo>
                  <a:cubicBezTo>
                    <a:pt x="811" y="318"/>
                    <a:pt x="811" y="318"/>
                    <a:pt x="811" y="318"/>
                  </a:cubicBezTo>
                  <a:cubicBezTo>
                    <a:pt x="811" y="320"/>
                    <a:pt x="812" y="322"/>
                    <a:pt x="812" y="323"/>
                  </a:cubicBezTo>
                  <a:cubicBezTo>
                    <a:pt x="812" y="324"/>
                    <a:pt x="811" y="325"/>
                    <a:pt x="811" y="326"/>
                  </a:cubicBezTo>
                  <a:cubicBezTo>
                    <a:pt x="811" y="327"/>
                    <a:pt x="811" y="327"/>
                    <a:pt x="811" y="328"/>
                  </a:cubicBezTo>
                  <a:cubicBezTo>
                    <a:pt x="811" y="330"/>
                    <a:pt x="810" y="333"/>
                    <a:pt x="808" y="334"/>
                  </a:cubicBezTo>
                  <a:cubicBezTo>
                    <a:pt x="808" y="335"/>
                    <a:pt x="807" y="335"/>
                    <a:pt x="807" y="336"/>
                  </a:cubicBezTo>
                  <a:cubicBezTo>
                    <a:pt x="805" y="337"/>
                    <a:pt x="803" y="338"/>
                    <a:pt x="800" y="339"/>
                  </a:cubicBezTo>
                  <a:cubicBezTo>
                    <a:pt x="800" y="339"/>
                    <a:pt x="799" y="339"/>
                    <a:pt x="799" y="339"/>
                  </a:cubicBezTo>
                  <a:cubicBezTo>
                    <a:pt x="798" y="339"/>
                    <a:pt x="796" y="339"/>
                    <a:pt x="795" y="339"/>
                  </a:cubicBezTo>
                  <a:cubicBezTo>
                    <a:pt x="794" y="339"/>
                    <a:pt x="794" y="339"/>
                    <a:pt x="794" y="339"/>
                  </a:cubicBezTo>
                  <a:cubicBezTo>
                    <a:pt x="793" y="339"/>
                    <a:pt x="792" y="339"/>
                    <a:pt x="791" y="339"/>
                  </a:cubicBezTo>
                  <a:cubicBezTo>
                    <a:pt x="788" y="339"/>
                    <a:pt x="783" y="338"/>
                    <a:pt x="779" y="337"/>
                  </a:cubicBezTo>
                  <a:cubicBezTo>
                    <a:pt x="779" y="337"/>
                    <a:pt x="778" y="337"/>
                    <a:pt x="778" y="337"/>
                  </a:cubicBezTo>
                  <a:cubicBezTo>
                    <a:pt x="777" y="336"/>
                    <a:pt x="777" y="336"/>
                    <a:pt x="776" y="336"/>
                  </a:cubicBezTo>
                  <a:cubicBezTo>
                    <a:pt x="774" y="335"/>
                    <a:pt x="772" y="335"/>
                    <a:pt x="770" y="334"/>
                  </a:cubicBezTo>
                  <a:cubicBezTo>
                    <a:pt x="770" y="334"/>
                    <a:pt x="769" y="334"/>
                    <a:pt x="769" y="334"/>
                  </a:cubicBezTo>
                  <a:cubicBezTo>
                    <a:pt x="768" y="333"/>
                    <a:pt x="766" y="333"/>
                    <a:pt x="765" y="332"/>
                  </a:cubicBezTo>
                  <a:cubicBezTo>
                    <a:pt x="765" y="332"/>
                    <a:pt x="764" y="332"/>
                    <a:pt x="764" y="332"/>
                  </a:cubicBezTo>
                  <a:cubicBezTo>
                    <a:pt x="763" y="332"/>
                    <a:pt x="763" y="332"/>
                    <a:pt x="763" y="331"/>
                  </a:cubicBezTo>
                  <a:cubicBezTo>
                    <a:pt x="763" y="331"/>
                    <a:pt x="762" y="331"/>
                    <a:pt x="762" y="331"/>
                  </a:cubicBezTo>
                  <a:cubicBezTo>
                    <a:pt x="762" y="331"/>
                    <a:pt x="762" y="331"/>
                    <a:pt x="762" y="331"/>
                  </a:cubicBezTo>
                  <a:cubicBezTo>
                    <a:pt x="761" y="331"/>
                    <a:pt x="761" y="331"/>
                    <a:pt x="761" y="330"/>
                  </a:cubicBezTo>
                  <a:cubicBezTo>
                    <a:pt x="760" y="330"/>
                    <a:pt x="760" y="330"/>
                    <a:pt x="760" y="330"/>
                  </a:cubicBezTo>
                  <a:cubicBezTo>
                    <a:pt x="760" y="330"/>
                    <a:pt x="759" y="330"/>
                    <a:pt x="759" y="330"/>
                  </a:cubicBezTo>
                  <a:cubicBezTo>
                    <a:pt x="759" y="330"/>
                    <a:pt x="759" y="330"/>
                    <a:pt x="759" y="330"/>
                  </a:cubicBezTo>
                  <a:cubicBezTo>
                    <a:pt x="758" y="330"/>
                    <a:pt x="758" y="329"/>
                    <a:pt x="758" y="329"/>
                  </a:cubicBezTo>
                  <a:cubicBezTo>
                    <a:pt x="758" y="330"/>
                    <a:pt x="758" y="330"/>
                    <a:pt x="758" y="331"/>
                  </a:cubicBezTo>
                  <a:cubicBezTo>
                    <a:pt x="759" y="331"/>
                    <a:pt x="759" y="331"/>
                    <a:pt x="759" y="331"/>
                  </a:cubicBezTo>
                  <a:cubicBezTo>
                    <a:pt x="759" y="331"/>
                    <a:pt x="760" y="331"/>
                    <a:pt x="760" y="331"/>
                  </a:cubicBezTo>
                  <a:cubicBezTo>
                    <a:pt x="760" y="331"/>
                    <a:pt x="760" y="331"/>
                    <a:pt x="760" y="331"/>
                  </a:cubicBezTo>
                  <a:cubicBezTo>
                    <a:pt x="760" y="332"/>
                    <a:pt x="761" y="332"/>
                    <a:pt x="762" y="332"/>
                  </a:cubicBezTo>
                  <a:cubicBezTo>
                    <a:pt x="762" y="332"/>
                    <a:pt x="762" y="332"/>
                    <a:pt x="762" y="332"/>
                  </a:cubicBezTo>
                  <a:cubicBezTo>
                    <a:pt x="763" y="332"/>
                    <a:pt x="763" y="333"/>
                    <a:pt x="764" y="333"/>
                  </a:cubicBezTo>
                  <a:cubicBezTo>
                    <a:pt x="765" y="333"/>
                    <a:pt x="766" y="334"/>
                    <a:pt x="768" y="334"/>
                  </a:cubicBezTo>
                  <a:cubicBezTo>
                    <a:pt x="768" y="334"/>
                    <a:pt x="769" y="335"/>
                    <a:pt x="769" y="335"/>
                  </a:cubicBezTo>
                  <a:cubicBezTo>
                    <a:pt x="771" y="335"/>
                    <a:pt x="773" y="336"/>
                    <a:pt x="774" y="337"/>
                  </a:cubicBezTo>
                  <a:cubicBezTo>
                    <a:pt x="775" y="337"/>
                    <a:pt x="775" y="337"/>
                    <a:pt x="776" y="337"/>
                  </a:cubicBezTo>
                  <a:cubicBezTo>
                    <a:pt x="777" y="337"/>
                    <a:pt x="777" y="337"/>
                    <a:pt x="777" y="337"/>
                  </a:cubicBezTo>
                  <a:cubicBezTo>
                    <a:pt x="778" y="338"/>
                    <a:pt x="778" y="338"/>
                    <a:pt x="778" y="338"/>
                  </a:cubicBezTo>
                  <a:cubicBezTo>
                    <a:pt x="782" y="339"/>
                    <a:pt x="786" y="340"/>
                    <a:pt x="789" y="340"/>
                  </a:cubicBezTo>
                  <a:cubicBezTo>
                    <a:pt x="790" y="340"/>
                    <a:pt x="790" y="340"/>
                    <a:pt x="791" y="340"/>
                  </a:cubicBezTo>
                  <a:cubicBezTo>
                    <a:pt x="792" y="340"/>
                    <a:pt x="794" y="340"/>
                    <a:pt x="795" y="340"/>
                  </a:cubicBezTo>
                  <a:cubicBezTo>
                    <a:pt x="796" y="340"/>
                    <a:pt x="797" y="340"/>
                    <a:pt x="798" y="340"/>
                  </a:cubicBezTo>
                  <a:cubicBezTo>
                    <a:pt x="800" y="340"/>
                    <a:pt x="802" y="339"/>
                    <a:pt x="804" y="339"/>
                  </a:cubicBezTo>
                  <a:cubicBezTo>
                    <a:pt x="806" y="338"/>
                    <a:pt x="807" y="337"/>
                    <a:pt x="808" y="335"/>
                  </a:cubicBezTo>
                  <a:cubicBezTo>
                    <a:pt x="809" y="335"/>
                    <a:pt x="809" y="335"/>
                    <a:pt x="810" y="334"/>
                  </a:cubicBezTo>
                  <a:cubicBezTo>
                    <a:pt x="811" y="332"/>
                    <a:pt x="812" y="330"/>
                    <a:pt x="812" y="327"/>
                  </a:cubicBezTo>
                  <a:cubicBezTo>
                    <a:pt x="812" y="327"/>
                    <a:pt x="812" y="327"/>
                    <a:pt x="812" y="326"/>
                  </a:cubicBezTo>
                  <a:cubicBezTo>
                    <a:pt x="812" y="325"/>
                    <a:pt x="813" y="324"/>
                    <a:pt x="813" y="323"/>
                  </a:cubicBezTo>
                  <a:cubicBezTo>
                    <a:pt x="813" y="321"/>
                    <a:pt x="812" y="319"/>
                    <a:pt x="812" y="317"/>
                  </a:cubicBezTo>
                  <a:cubicBezTo>
                    <a:pt x="812" y="317"/>
                    <a:pt x="812" y="317"/>
                    <a:pt x="812" y="317"/>
                  </a:cubicBezTo>
                  <a:cubicBezTo>
                    <a:pt x="812" y="317"/>
                    <a:pt x="812" y="316"/>
                    <a:pt x="812" y="316"/>
                  </a:cubicBezTo>
                  <a:cubicBezTo>
                    <a:pt x="812" y="315"/>
                    <a:pt x="812" y="315"/>
                    <a:pt x="811" y="314"/>
                  </a:cubicBezTo>
                  <a:cubicBezTo>
                    <a:pt x="811" y="314"/>
                    <a:pt x="811" y="313"/>
                    <a:pt x="811" y="313"/>
                  </a:cubicBezTo>
                  <a:cubicBezTo>
                    <a:pt x="811" y="312"/>
                    <a:pt x="811" y="312"/>
                    <a:pt x="811" y="312"/>
                  </a:cubicBezTo>
                  <a:cubicBezTo>
                    <a:pt x="811" y="311"/>
                    <a:pt x="811" y="311"/>
                    <a:pt x="811" y="311"/>
                  </a:cubicBezTo>
                  <a:cubicBezTo>
                    <a:pt x="811" y="311"/>
                    <a:pt x="811" y="311"/>
                    <a:pt x="811" y="310"/>
                  </a:cubicBezTo>
                  <a:cubicBezTo>
                    <a:pt x="811" y="310"/>
                    <a:pt x="811" y="310"/>
                    <a:pt x="810" y="309"/>
                  </a:cubicBezTo>
                  <a:cubicBezTo>
                    <a:pt x="810" y="308"/>
                    <a:pt x="810" y="307"/>
                    <a:pt x="810" y="306"/>
                  </a:cubicBezTo>
                  <a:cubicBezTo>
                    <a:pt x="809" y="306"/>
                    <a:pt x="809" y="306"/>
                    <a:pt x="809" y="305"/>
                  </a:cubicBezTo>
                  <a:cubicBezTo>
                    <a:pt x="809" y="304"/>
                    <a:pt x="808" y="303"/>
                    <a:pt x="808" y="302"/>
                  </a:cubicBezTo>
                  <a:cubicBezTo>
                    <a:pt x="808" y="302"/>
                    <a:pt x="808" y="302"/>
                    <a:pt x="808" y="302"/>
                  </a:cubicBezTo>
                  <a:cubicBezTo>
                    <a:pt x="808" y="302"/>
                    <a:pt x="808" y="301"/>
                    <a:pt x="808" y="301"/>
                  </a:cubicBezTo>
                  <a:cubicBezTo>
                    <a:pt x="808" y="301"/>
                    <a:pt x="808" y="301"/>
                    <a:pt x="808" y="301"/>
                  </a:cubicBezTo>
                  <a:cubicBezTo>
                    <a:pt x="808" y="300"/>
                    <a:pt x="807" y="300"/>
                    <a:pt x="807" y="300"/>
                  </a:cubicBezTo>
                  <a:cubicBezTo>
                    <a:pt x="807" y="299"/>
                    <a:pt x="807" y="298"/>
                    <a:pt x="806" y="297"/>
                  </a:cubicBezTo>
                  <a:cubicBezTo>
                    <a:pt x="806" y="297"/>
                    <a:pt x="806" y="297"/>
                    <a:pt x="806" y="297"/>
                  </a:cubicBezTo>
                  <a:cubicBezTo>
                    <a:pt x="806" y="297"/>
                    <a:pt x="806" y="297"/>
                    <a:pt x="806" y="296"/>
                  </a:cubicBezTo>
                  <a:cubicBezTo>
                    <a:pt x="806" y="295"/>
                    <a:pt x="805" y="294"/>
                    <a:pt x="804" y="292"/>
                  </a:cubicBezTo>
                  <a:cubicBezTo>
                    <a:pt x="804" y="292"/>
                    <a:pt x="804" y="292"/>
                    <a:pt x="804" y="291"/>
                  </a:cubicBezTo>
                  <a:cubicBezTo>
                    <a:pt x="804" y="291"/>
                    <a:pt x="804" y="291"/>
                    <a:pt x="804" y="291"/>
                  </a:cubicBezTo>
                  <a:cubicBezTo>
                    <a:pt x="804" y="290"/>
                    <a:pt x="803" y="290"/>
                    <a:pt x="803" y="289"/>
                  </a:cubicBezTo>
                  <a:cubicBezTo>
                    <a:pt x="803" y="289"/>
                    <a:pt x="803" y="288"/>
                    <a:pt x="803" y="288"/>
                  </a:cubicBezTo>
                  <a:cubicBezTo>
                    <a:pt x="802" y="287"/>
                    <a:pt x="802" y="287"/>
                    <a:pt x="802" y="287"/>
                  </a:cubicBezTo>
                  <a:cubicBezTo>
                    <a:pt x="802" y="286"/>
                    <a:pt x="802" y="286"/>
                    <a:pt x="802" y="286"/>
                  </a:cubicBezTo>
                  <a:cubicBezTo>
                    <a:pt x="802" y="285"/>
                    <a:pt x="801" y="285"/>
                    <a:pt x="801" y="285"/>
                  </a:cubicBezTo>
                  <a:cubicBezTo>
                    <a:pt x="801" y="285"/>
                    <a:pt x="801" y="285"/>
                    <a:pt x="801" y="284"/>
                  </a:cubicBezTo>
                  <a:cubicBezTo>
                    <a:pt x="801" y="284"/>
                    <a:pt x="801" y="284"/>
                    <a:pt x="801" y="284"/>
                  </a:cubicBezTo>
                  <a:cubicBezTo>
                    <a:pt x="800" y="282"/>
                    <a:pt x="800" y="281"/>
                    <a:pt x="799" y="279"/>
                  </a:cubicBezTo>
                  <a:cubicBezTo>
                    <a:pt x="799" y="279"/>
                    <a:pt x="799" y="279"/>
                    <a:pt x="799" y="279"/>
                  </a:cubicBezTo>
                  <a:cubicBezTo>
                    <a:pt x="798" y="276"/>
                    <a:pt x="796" y="273"/>
                    <a:pt x="795" y="271"/>
                  </a:cubicBezTo>
                  <a:cubicBezTo>
                    <a:pt x="795" y="270"/>
                    <a:pt x="795" y="270"/>
                    <a:pt x="795" y="270"/>
                  </a:cubicBezTo>
                  <a:cubicBezTo>
                    <a:pt x="795" y="269"/>
                    <a:pt x="795" y="269"/>
                    <a:pt x="794" y="268"/>
                  </a:cubicBezTo>
                  <a:cubicBezTo>
                    <a:pt x="794" y="268"/>
                    <a:pt x="794" y="267"/>
                    <a:pt x="794" y="267"/>
                  </a:cubicBezTo>
                  <a:cubicBezTo>
                    <a:pt x="793" y="264"/>
                    <a:pt x="792" y="262"/>
                    <a:pt x="790" y="259"/>
                  </a:cubicBezTo>
                  <a:cubicBezTo>
                    <a:pt x="790" y="259"/>
                    <a:pt x="790" y="258"/>
                    <a:pt x="790" y="258"/>
                  </a:cubicBezTo>
                  <a:cubicBezTo>
                    <a:pt x="790" y="257"/>
                    <a:pt x="789" y="256"/>
                    <a:pt x="789" y="256"/>
                  </a:cubicBezTo>
                  <a:cubicBezTo>
                    <a:pt x="789" y="255"/>
                    <a:pt x="789" y="255"/>
                    <a:pt x="789" y="255"/>
                  </a:cubicBezTo>
                  <a:cubicBezTo>
                    <a:pt x="788" y="252"/>
                    <a:pt x="787" y="250"/>
                    <a:pt x="786" y="248"/>
                  </a:cubicBezTo>
                  <a:cubicBezTo>
                    <a:pt x="786" y="247"/>
                    <a:pt x="786" y="247"/>
                    <a:pt x="786" y="247"/>
                  </a:cubicBezTo>
                  <a:cubicBezTo>
                    <a:pt x="785" y="245"/>
                    <a:pt x="784" y="243"/>
                    <a:pt x="783" y="240"/>
                  </a:cubicBezTo>
                  <a:cubicBezTo>
                    <a:pt x="783" y="240"/>
                    <a:pt x="783" y="240"/>
                    <a:pt x="783" y="239"/>
                  </a:cubicBezTo>
                  <a:cubicBezTo>
                    <a:pt x="782" y="237"/>
                    <a:pt x="781" y="235"/>
                    <a:pt x="780" y="232"/>
                  </a:cubicBezTo>
                  <a:cubicBezTo>
                    <a:pt x="780" y="232"/>
                    <a:pt x="780" y="232"/>
                    <a:pt x="780" y="231"/>
                  </a:cubicBezTo>
                  <a:cubicBezTo>
                    <a:pt x="778" y="228"/>
                    <a:pt x="777" y="224"/>
                    <a:pt x="776" y="220"/>
                  </a:cubicBezTo>
                  <a:cubicBezTo>
                    <a:pt x="775" y="220"/>
                    <a:pt x="775" y="219"/>
                    <a:pt x="775" y="219"/>
                  </a:cubicBezTo>
                  <a:cubicBezTo>
                    <a:pt x="774" y="215"/>
                    <a:pt x="772" y="210"/>
                    <a:pt x="771" y="206"/>
                  </a:cubicBezTo>
                  <a:cubicBezTo>
                    <a:pt x="771" y="206"/>
                    <a:pt x="771" y="205"/>
                    <a:pt x="771" y="205"/>
                  </a:cubicBezTo>
                  <a:cubicBezTo>
                    <a:pt x="770" y="203"/>
                    <a:pt x="770" y="202"/>
                    <a:pt x="770" y="200"/>
                  </a:cubicBezTo>
                  <a:cubicBezTo>
                    <a:pt x="769" y="200"/>
                    <a:pt x="769" y="200"/>
                    <a:pt x="769" y="200"/>
                  </a:cubicBezTo>
                  <a:cubicBezTo>
                    <a:pt x="769" y="197"/>
                    <a:pt x="768" y="194"/>
                    <a:pt x="767" y="191"/>
                  </a:cubicBezTo>
                  <a:cubicBezTo>
                    <a:pt x="767" y="191"/>
                    <a:pt x="767" y="191"/>
                    <a:pt x="767" y="190"/>
                  </a:cubicBezTo>
                  <a:cubicBezTo>
                    <a:pt x="766" y="186"/>
                    <a:pt x="765" y="182"/>
                    <a:pt x="764" y="178"/>
                  </a:cubicBezTo>
                  <a:cubicBezTo>
                    <a:pt x="764" y="177"/>
                    <a:pt x="764" y="177"/>
                    <a:pt x="764" y="177"/>
                  </a:cubicBezTo>
                  <a:cubicBezTo>
                    <a:pt x="763" y="170"/>
                    <a:pt x="762" y="163"/>
                    <a:pt x="761" y="157"/>
                  </a:cubicBezTo>
                  <a:cubicBezTo>
                    <a:pt x="761" y="156"/>
                    <a:pt x="761" y="156"/>
                    <a:pt x="761" y="155"/>
                  </a:cubicBezTo>
                  <a:cubicBezTo>
                    <a:pt x="760" y="150"/>
                    <a:pt x="760" y="145"/>
                    <a:pt x="760" y="140"/>
                  </a:cubicBezTo>
                  <a:cubicBezTo>
                    <a:pt x="760" y="133"/>
                    <a:pt x="761" y="125"/>
                    <a:pt x="762" y="118"/>
                  </a:cubicBezTo>
                  <a:cubicBezTo>
                    <a:pt x="762" y="117"/>
                    <a:pt x="762" y="117"/>
                    <a:pt x="762" y="116"/>
                  </a:cubicBezTo>
                  <a:cubicBezTo>
                    <a:pt x="765" y="103"/>
                    <a:pt x="769" y="91"/>
                    <a:pt x="776" y="80"/>
                  </a:cubicBezTo>
                  <a:cubicBezTo>
                    <a:pt x="776" y="80"/>
                    <a:pt x="776" y="79"/>
                    <a:pt x="776" y="79"/>
                  </a:cubicBezTo>
                  <a:cubicBezTo>
                    <a:pt x="778" y="76"/>
                    <a:pt x="780" y="73"/>
                    <a:pt x="783" y="69"/>
                  </a:cubicBezTo>
                  <a:moveTo>
                    <a:pt x="674" y="303"/>
                  </a:moveTo>
                  <a:cubicBezTo>
                    <a:pt x="666" y="303"/>
                    <a:pt x="659" y="303"/>
                    <a:pt x="651" y="304"/>
                  </a:cubicBezTo>
                  <a:cubicBezTo>
                    <a:pt x="650" y="304"/>
                    <a:pt x="649" y="304"/>
                    <a:pt x="648" y="305"/>
                  </a:cubicBezTo>
                  <a:cubicBezTo>
                    <a:pt x="640" y="306"/>
                    <a:pt x="631" y="307"/>
                    <a:pt x="622" y="309"/>
                  </a:cubicBezTo>
                  <a:cubicBezTo>
                    <a:pt x="621" y="309"/>
                    <a:pt x="620" y="309"/>
                    <a:pt x="619" y="310"/>
                  </a:cubicBezTo>
                  <a:cubicBezTo>
                    <a:pt x="616" y="310"/>
                    <a:pt x="613" y="311"/>
                    <a:pt x="610" y="312"/>
                  </a:cubicBezTo>
                  <a:cubicBezTo>
                    <a:pt x="610" y="312"/>
                    <a:pt x="609" y="312"/>
                    <a:pt x="608" y="312"/>
                  </a:cubicBezTo>
                  <a:cubicBezTo>
                    <a:pt x="607" y="313"/>
                    <a:pt x="605" y="313"/>
                    <a:pt x="604" y="314"/>
                  </a:cubicBezTo>
                  <a:cubicBezTo>
                    <a:pt x="603" y="314"/>
                    <a:pt x="602" y="314"/>
                    <a:pt x="602" y="314"/>
                  </a:cubicBezTo>
                  <a:cubicBezTo>
                    <a:pt x="598" y="315"/>
                    <a:pt x="595" y="316"/>
                    <a:pt x="592" y="317"/>
                  </a:cubicBezTo>
                  <a:cubicBezTo>
                    <a:pt x="591" y="317"/>
                    <a:pt x="590" y="318"/>
                    <a:pt x="589" y="318"/>
                  </a:cubicBezTo>
                  <a:cubicBezTo>
                    <a:pt x="586" y="319"/>
                    <a:pt x="582" y="320"/>
                    <a:pt x="579" y="322"/>
                  </a:cubicBezTo>
                  <a:cubicBezTo>
                    <a:pt x="578" y="322"/>
                    <a:pt x="577" y="323"/>
                    <a:pt x="576" y="323"/>
                  </a:cubicBezTo>
                  <a:cubicBezTo>
                    <a:pt x="575" y="323"/>
                    <a:pt x="575" y="323"/>
                    <a:pt x="575" y="323"/>
                  </a:cubicBezTo>
                  <a:cubicBezTo>
                    <a:pt x="573" y="324"/>
                    <a:pt x="572" y="324"/>
                    <a:pt x="570" y="325"/>
                  </a:cubicBezTo>
                  <a:cubicBezTo>
                    <a:pt x="569" y="326"/>
                    <a:pt x="567" y="326"/>
                    <a:pt x="566" y="327"/>
                  </a:cubicBezTo>
                  <a:cubicBezTo>
                    <a:pt x="556" y="331"/>
                    <a:pt x="546" y="335"/>
                    <a:pt x="535" y="339"/>
                  </a:cubicBezTo>
                  <a:cubicBezTo>
                    <a:pt x="537" y="339"/>
                    <a:pt x="540" y="338"/>
                    <a:pt x="542" y="337"/>
                  </a:cubicBezTo>
                  <a:cubicBezTo>
                    <a:pt x="548" y="335"/>
                    <a:pt x="555" y="332"/>
                    <a:pt x="561" y="330"/>
                  </a:cubicBezTo>
                  <a:cubicBezTo>
                    <a:pt x="562" y="329"/>
                    <a:pt x="564" y="328"/>
                    <a:pt x="566" y="328"/>
                  </a:cubicBezTo>
                  <a:cubicBezTo>
                    <a:pt x="570" y="326"/>
                    <a:pt x="573" y="325"/>
                    <a:pt x="576" y="324"/>
                  </a:cubicBezTo>
                  <a:cubicBezTo>
                    <a:pt x="577" y="323"/>
                    <a:pt x="578" y="323"/>
                    <a:pt x="579" y="323"/>
                  </a:cubicBezTo>
                  <a:cubicBezTo>
                    <a:pt x="580" y="322"/>
                    <a:pt x="582" y="322"/>
                    <a:pt x="583" y="321"/>
                  </a:cubicBezTo>
                  <a:cubicBezTo>
                    <a:pt x="584" y="321"/>
                    <a:pt x="585" y="320"/>
                    <a:pt x="587" y="320"/>
                  </a:cubicBezTo>
                  <a:cubicBezTo>
                    <a:pt x="588" y="320"/>
                    <a:pt x="589" y="319"/>
                    <a:pt x="590" y="319"/>
                  </a:cubicBezTo>
                  <a:cubicBezTo>
                    <a:pt x="593" y="318"/>
                    <a:pt x="597" y="317"/>
                    <a:pt x="600" y="316"/>
                  </a:cubicBezTo>
                  <a:cubicBezTo>
                    <a:pt x="601" y="315"/>
                    <a:pt x="601" y="315"/>
                    <a:pt x="602" y="315"/>
                  </a:cubicBezTo>
                  <a:cubicBezTo>
                    <a:pt x="604" y="315"/>
                    <a:pt x="605" y="314"/>
                    <a:pt x="607" y="314"/>
                  </a:cubicBezTo>
                  <a:cubicBezTo>
                    <a:pt x="608" y="313"/>
                    <a:pt x="608" y="313"/>
                    <a:pt x="609" y="313"/>
                  </a:cubicBezTo>
                  <a:cubicBezTo>
                    <a:pt x="611" y="313"/>
                    <a:pt x="613" y="312"/>
                    <a:pt x="615" y="312"/>
                  </a:cubicBezTo>
                  <a:cubicBezTo>
                    <a:pt x="616" y="311"/>
                    <a:pt x="617" y="311"/>
                    <a:pt x="619" y="311"/>
                  </a:cubicBezTo>
                  <a:cubicBezTo>
                    <a:pt x="628" y="309"/>
                    <a:pt x="637" y="307"/>
                    <a:pt x="646" y="306"/>
                  </a:cubicBezTo>
                  <a:cubicBezTo>
                    <a:pt x="647" y="306"/>
                    <a:pt x="648" y="306"/>
                    <a:pt x="649" y="306"/>
                  </a:cubicBezTo>
                  <a:cubicBezTo>
                    <a:pt x="657" y="305"/>
                    <a:pt x="666" y="304"/>
                    <a:pt x="674" y="304"/>
                  </a:cubicBezTo>
                  <a:cubicBezTo>
                    <a:pt x="674" y="304"/>
                    <a:pt x="675" y="304"/>
                    <a:pt x="675" y="304"/>
                  </a:cubicBezTo>
                  <a:cubicBezTo>
                    <a:pt x="675" y="304"/>
                    <a:pt x="675" y="304"/>
                    <a:pt x="676" y="304"/>
                  </a:cubicBezTo>
                  <a:cubicBezTo>
                    <a:pt x="675" y="304"/>
                    <a:pt x="675" y="303"/>
                    <a:pt x="675" y="303"/>
                  </a:cubicBezTo>
                  <a:cubicBezTo>
                    <a:pt x="674" y="303"/>
                    <a:pt x="674" y="303"/>
                    <a:pt x="674" y="303"/>
                  </a:cubicBezTo>
                  <a:moveTo>
                    <a:pt x="676" y="303"/>
                  </a:moveTo>
                  <a:cubicBezTo>
                    <a:pt x="676" y="303"/>
                    <a:pt x="677" y="304"/>
                    <a:pt x="677" y="304"/>
                  </a:cubicBezTo>
                  <a:cubicBezTo>
                    <a:pt x="677" y="304"/>
                    <a:pt x="677" y="304"/>
                    <a:pt x="677" y="304"/>
                  </a:cubicBezTo>
                  <a:cubicBezTo>
                    <a:pt x="686" y="304"/>
                    <a:pt x="694" y="305"/>
                    <a:pt x="702" y="306"/>
                  </a:cubicBezTo>
                  <a:cubicBezTo>
                    <a:pt x="702" y="307"/>
                    <a:pt x="703" y="307"/>
                    <a:pt x="703" y="307"/>
                  </a:cubicBezTo>
                  <a:cubicBezTo>
                    <a:pt x="703" y="307"/>
                    <a:pt x="704" y="307"/>
                    <a:pt x="704" y="307"/>
                  </a:cubicBezTo>
                  <a:cubicBezTo>
                    <a:pt x="705" y="307"/>
                    <a:pt x="705" y="307"/>
                    <a:pt x="706" y="307"/>
                  </a:cubicBezTo>
                  <a:cubicBezTo>
                    <a:pt x="712" y="309"/>
                    <a:pt x="717" y="311"/>
                    <a:pt x="722" y="313"/>
                  </a:cubicBezTo>
                  <a:cubicBezTo>
                    <a:pt x="722" y="313"/>
                    <a:pt x="723" y="313"/>
                    <a:pt x="723" y="313"/>
                  </a:cubicBezTo>
                  <a:cubicBezTo>
                    <a:pt x="723" y="313"/>
                    <a:pt x="724" y="314"/>
                    <a:pt x="724" y="314"/>
                  </a:cubicBezTo>
                  <a:cubicBezTo>
                    <a:pt x="726" y="315"/>
                    <a:pt x="727" y="315"/>
                    <a:pt x="729" y="316"/>
                  </a:cubicBezTo>
                  <a:cubicBezTo>
                    <a:pt x="730" y="317"/>
                    <a:pt x="732" y="318"/>
                    <a:pt x="733" y="319"/>
                  </a:cubicBezTo>
                  <a:cubicBezTo>
                    <a:pt x="733" y="319"/>
                    <a:pt x="734" y="319"/>
                    <a:pt x="734" y="319"/>
                  </a:cubicBezTo>
                  <a:cubicBezTo>
                    <a:pt x="735" y="319"/>
                    <a:pt x="735" y="320"/>
                    <a:pt x="735" y="320"/>
                  </a:cubicBezTo>
                  <a:cubicBezTo>
                    <a:pt x="736" y="320"/>
                    <a:pt x="737" y="321"/>
                    <a:pt x="738" y="321"/>
                  </a:cubicBezTo>
                  <a:cubicBezTo>
                    <a:pt x="739" y="321"/>
                    <a:pt x="739" y="322"/>
                    <a:pt x="739" y="322"/>
                  </a:cubicBezTo>
                  <a:cubicBezTo>
                    <a:pt x="740" y="322"/>
                    <a:pt x="741" y="323"/>
                    <a:pt x="742" y="323"/>
                  </a:cubicBezTo>
                  <a:cubicBezTo>
                    <a:pt x="742" y="323"/>
                    <a:pt x="742" y="323"/>
                    <a:pt x="743" y="323"/>
                  </a:cubicBezTo>
                  <a:cubicBezTo>
                    <a:pt x="745" y="325"/>
                    <a:pt x="747" y="326"/>
                    <a:pt x="749" y="327"/>
                  </a:cubicBezTo>
                  <a:cubicBezTo>
                    <a:pt x="750" y="327"/>
                    <a:pt x="750" y="327"/>
                    <a:pt x="750" y="327"/>
                  </a:cubicBezTo>
                  <a:cubicBezTo>
                    <a:pt x="751" y="327"/>
                    <a:pt x="751" y="328"/>
                    <a:pt x="752" y="328"/>
                  </a:cubicBezTo>
                  <a:cubicBezTo>
                    <a:pt x="752" y="328"/>
                    <a:pt x="752" y="328"/>
                    <a:pt x="753" y="328"/>
                  </a:cubicBezTo>
                  <a:cubicBezTo>
                    <a:pt x="753" y="328"/>
                    <a:pt x="754" y="329"/>
                    <a:pt x="754" y="329"/>
                  </a:cubicBezTo>
                  <a:cubicBezTo>
                    <a:pt x="754" y="329"/>
                    <a:pt x="755" y="329"/>
                    <a:pt x="755" y="329"/>
                  </a:cubicBezTo>
                  <a:cubicBezTo>
                    <a:pt x="756" y="329"/>
                    <a:pt x="756" y="330"/>
                    <a:pt x="756" y="330"/>
                  </a:cubicBezTo>
                  <a:cubicBezTo>
                    <a:pt x="756" y="330"/>
                    <a:pt x="757" y="330"/>
                    <a:pt x="757" y="330"/>
                  </a:cubicBezTo>
                  <a:cubicBezTo>
                    <a:pt x="757" y="330"/>
                    <a:pt x="757" y="329"/>
                    <a:pt x="757" y="329"/>
                  </a:cubicBezTo>
                  <a:cubicBezTo>
                    <a:pt x="757" y="329"/>
                    <a:pt x="757" y="329"/>
                    <a:pt x="756" y="329"/>
                  </a:cubicBezTo>
                  <a:cubicBezTo>
                    <a:pt x="756" y="329"/>
                    <a:pt x="756" y="328"/>
                    <a:pt x="755" y="328"/>
                  </a:cubicBezTo>
                  <a:cubicBezTo>
                    <a:pt x="755" y="328"/>
                    <a:pt x="754" y="328"/>
                    <a:pt x="754" y="327"/>
                  </a:cubicBezTo>
                  <a:cubicBezTo>
                    <a:pt x="753" y="327"/>
                    <a:pt x="753" y="327"/>
                    <a:pt x="753" y="327"/>
                  </a:cubicBezTo>
                  <a:cubicBezTo>
                    <a:pt x="752" y="327"/>
                    <a:pt x="752" y="327"/>
                    <a:pt x="752" y="327"/>
                  </a:cubicBezTo>
                  <a:cubicBezTo>
                    <a:pt x="751" y="326"/>
                    <a:pt x="751" y="326"/>
                    <a:pt x="750" y="326"/>
                  </a:cubicBezTo>
                  <a:cubicBezTo>
                    <a:pt x="750" y="326"/>
                    <a:pt x="750" y="326"/>
                    <a:pt x="750" y="326"/>
                  </a:cubicBezTo>
                  <a:cubicBezTo>
                    <a:pt x="748" y="325"/>
                    <a:pt x="746" y="324"/>
                    <a:pt x="744" y="323"/>
                  </a:cubicBezTo>
                  <a:cubicBezTo>
                    <a:pt x="744" y="323"/>
                    <a:pt x="743" y="323"/>
                    <a:pt x="743" y="322"/>
                  </a:cubicBezTo>
                  <a:cubicBezTo>
                    <a:pt x="742" y="322"/>
                    <a:pt x="741" y="322"/>
                    <a:pt x="740" y="321"/>
                  </a:cubicBezTo>
                  <a:cubicBezTo>
                    <a:pt x="740" y="321"/>
                    <a:pt x="740" y="321"/>
                    <a:pt x="739" y="321"/>
                  </a:cubicBezTo>
                  <a:cubicBezTo>
                    <a:pt x="738" y="320"/>
                    <a:pt x="737" y="319"/>
                    <a:pt x="736" y="319"/>
                  </a:cubicBezTo>
                  <a:cubicBezTo>
                    <a:pt x="736" y="319"/>
                    <a:pt x="736" y="319"/>
                    <a:pt x="736" y="319"/>
                  </a:cubicBezTo>
                  <a:cubicBezTo>
                    <a:pt x="735" y="318"/>
                    <a:pt x="735" y="318"/>
                    <a:pt x="734" y="318"/>
                  </a:cubicBezTo>
                  <a:cubicBezTo>
                    <a:pt x="733" y="317"/>
                    <a:pt x="731" y="317"/>
                    <a:pt x="730" y="316"/>
                  </a:cubicBezTo>
                  <a:cubicBezTo>
                    <a:pt x="728" y="315"/>
                    <a:pt x="727" y="314"/>
                    <a:pt x="725" y="313"/>
                  </a:cubicBezTo>
                  <a:cubicBezTo>
                    <a:pt x="725" y="313"/>
                    <a:pt x="725" y="313"/>
                    <a:pt x="724" y="313"/>
                  </a:cubicBezTo>
                  <a:cubicBezTo>
                    <a:pt x="724" y="312"/>
                    <a:pt x="724" y="312"/>
                    <a:pt x="723" y="312"/>
                  </a:cubicBezTo>
                  <a:cubicBezTo>
                    <a:pt x="719" y="310"/>
                    <a:pt x="714" y="308"/>
                    <a:pt x="709" y="307"/>
                  </a:cubicBezTo>
                  <a:cubicBezTo>
                    <a:pt x="708" y="307"/>
                    <a:pt x="707" y="307"/>
                    <a:pt x="706" y="306"/>
                  </a:cubicBezTo>
                  <a:cubicBezTo>
                    <a:pt x="706" y="306"/>
                    <a:pt x="705" y="306"/>
                    <a:pt x="704" y="306"/>
                  </a:cubicBezTo>
                  <a:cubicBezTo>
                    <a:pt x="704" y="306"/>
                    <a:pt x="703" y="306"/>
                    <a:pt x="703" y="306"/>
                  </a:cubicBezTo>
                  <a:cubicBezTo>
                    <a:pt x="695" y="304"/>
                    <a:pt x="687" y="303"/>
                    <a:pt x="678" y="303"/>
                  </a:cubicBezTo>
                  <a:cubicBezTo>
                    <a:pt x="678" y="303"/>
                    <a:pt x="677" y="303"/>
                    <a:pt x="677" y="303"/>
                  </a:cubicBezTo>
                  <a:cubicBezTo>
                    <a:pt x="676" y="303"/>
                    <a:pt x="676" y="303"/>
                    <a:pt x="676" y="303"/>
                  </a:cubicBezTo>
                  <a:moveTo>
                    <a:pt x="536" y="340"/>
                  </a:moveTo>
                  <a:cubicBezTo>
                    <a:pt x="533" y="341"/>
                    <a:pt x="530" y="341"/>
                    <a:pt x="528" y="342"/>
                  </a:cubicBezTo>
                  <a:cubicBezTo>
                    <a:pt x="526" y="343"/>
                    <a:pt x="525" y="343"/>
                    <a:pt x="523" y="344"/>
                  </a:cubicBezTo>
                  <a:cubicBezTo>
                    <a:pt x="522" y="344"/>
                    <a:pt x="521" y="345"/>
                    <a:pt x="519" y="346"/>
                  </a:cubicBezTo>
                  <a:cubicBezTo>
                    <a:pt x="513" y="348"/>
                    <a:pt x="507" y="351"/>
                    <a:pt x="500" y="353"/>
                  </a:cubicBezTo>
                  <a:cubicBezTo>
                    <a:pt x="500" y="354"/>
                    <a:pt x="499" y="354"/>
                    <a:pt x="499" y="354"/>
                  </a:cubicBezTo>
                  <a:cubicBezTo>
                    <a:pt x="495" y="356"/>
                    <a:pt x="491" y="357"/>
                    <a:pt x="487" y="359"/>
                  </a:cubicBezTo>
                  <a:cubicBezTo>
                    <a:pt x="488" y="359"/>
                    <a:pt x="490" y="359"/>
                    <a:pt x="491" y="358"/>
                  </a:cubicBezTo>
                  <a:cubicBezTo>
                    <a:pt x="494" y="357"/>
                    <a:pt x="497" y="356"/>
                    <a:pt x="500" y="355"/>
                  </a:cubicBezTo>
                  <a:cubicBezTo>
                    <a:pt x="501" y="354"/>
                    <a:pt x="501" y="354"/>
                    <a:pt x="502" y="354"/>
                  </a:cubicBezTo>
                  <a:cubicBezTo>
                    <a:pt x="509" y="351"/>
                    <a:pt x="517" y="348"/>
                    <a:pt x="524" y="345"/>
                  </a:cubicBezTo>
                  <a:cubicBezTo>
                    <a:pt x="525" y="344"/>
                    <a:pt x="527" y="344"/>
                    <a:pt x="528" y="343"/>
                  </a:cubicBezTo>
                  <a:cubicBezTo>
                    <a:pt x="530" y="342"/>
                    <a:pt x="533" y="341"/>
                    <a:pt x="536" y="340"/>
                  </a:cubicBezTo>
                  <a:moveTo>
                    <a:pt x="487" y="360"/>
                  </a:moveTo>
                  <a:cubicBezTo>
                    <a:pt x="486" y="360"/>
                    <a:pt x="484" y="361"/>
                    <a:pt x="483" y="361"/>
                  </a:cubicBezTo>
                  <a:cubicBezTo>
                    <a:pt x="482" y="361"/>
                    <a:pt x="482" y="361"/>
                    <a:pt x="482" y="361"/>
                  </a:cubicBezTo>
                  <a:cubicBezTo>
                    <a:pt x="481" y="361"/>
                    <a:pt x="481" y="362"/>
                    <a:pt x="480" y="362"/>
                  </a:cubicBezTo>
                  <a:cubicBezTo>
                    <a:pt x="478" y="363"/>
                    <a:pt x="477" y="363"/>
                    <a:pt x="475" y="364"/>
                  </a:cubicBezTo>
                  <a:cubicBezTo>
                    <a:pt x="475" y="364"/>
                    <a:pt x="475" y="364"/>
                    <a:pt x="474" y="364"/>
                  </a:cubicBezTo>
                  <a:cubicBezTo>
                    <a:pt x="474" y="364"/>
                    <a:pt x="473" y="365"/>
                    <a:pt x="473" y="365"/>
                  </a:cubicBezTo>
                  <a:cubicBezTo>
                    <a:pt x="472" y="365"/>
                    <a:pt x="471" y="365"/>
                    <a:pt x="471" y="366"/>
                  </a:cubicBezTo>
                  <a:cubicBezTo>
                    <a:pt x="471" y="366"/>
                    <a:pt x="471" y="366"/>
                    <a:pt x="470" y="366"/>
                  </a:cubicBezTo>
                  <a:cubicBezTo>
                    <a:pt x="470" y="366"/>
                    <a:pt x="469" y="366"/>
                    <a:pt x="468" y="367"/>
                  </a:cubicBezTo>
                  <a:cubicBezTo>
                    <a:pt x="468" y="367"/>
                    <a:pt x="467" y="367"/>
                    <a:pt x="467" y="367"/>
                  </a:cubicBezTo>
                  <a:cubicBezTo>
                    <a:pt x="466" y="368"/>
                    <a:pt x="465" y="368"/>
                    <a:pt x="463" y="369"/>
                  </a:cubicBezTo>
                  <a:cubicBezTo>
                    <a:pt x="462" y="369"/>
                    <a:pt x="461" y="370"/>
                    <a:pt x="460" y="370"/>
                  </a:cubicBezTo>
                  <a:cubicBezTo>
                    <a:pt x="458" y="371"/>
                    <a:pt x="456" y="372"/>
                    <a:pt x="455" y="373"/>
                  </a:cubicBezTo>
                  <a:cubicBezTo>
                    <a:pt x="449" y="375"/>
                    <a:pt x="443" y="377"/>
                    <a:pt x="438" y="380"/>
                  </a:cubicBezTo>
                  <a:cubicBezTo>
                    <a:pt x="435" y="381"/>
                    <a:pt x="432" y="382"/>
                    <a:pt x="429" y="384"/>
                  </a:cubicBezTo>
                  <a:cubicBezTo>
                    <a:pt x="428" y="384"/>
                    <a:pt x="428" y="384"/>
                    <a:pt x="428" y="384"/>
                  </a:cubicBezTo>
                  <a:cubicBezTo>
                    <a:pt x="426" y="385"/>
                    <a:pt x="423" y="386"/>
                    <a:pt x="421" y="387"/>
                  </a:cubicBezTo>
                  <a:cubicBezTo>
                    <a:pt x="421" y="387"/>
                    <a:pt x="420" y="387"/>
                    <a:pt x="419" y="388"/>
                  </a:cubicBezTo>
                  <a:cubicBezTo>
                    <a:pt x="410" y="392"/>
                    <a:pt x="401" y="396"/>
                    <a:pt x="391" y="400"/>
                  </a:cubicBezTo>
                  <a:cubicBezTo>
                    <a:pt x="391" y="400"/>
                    <a:pt x="391" y="400"/>
                    <a:pt x="390" y="400"/>
                  </a:cubicBezTo>
                  <a:cubicBezTo>
                    <a:pt x="382" y="404"/>
                    <a:pt x="374" y="407"/>
                    <a:pt x="365" y="411"/>
                  </a:cubicBezTo>
                  <a:cubicBezTo>
                    <a:pt x="362" y="412"/>
                    <a:pt x="358" y="414"/>
                    <a:pt x="355" y="415"/>
                  </a:cubicBezTo>
                  <a:cubicBezTo>
                    <a:pt x="355" y="415"/>
                    <a:pt x="354" y="416"/>
                    <a:pt x="354" y="416"/>
                  </a:cubicBezTo>
                  <a:cubicBezTo>
                    <a:pt x="350" y="418"/>
                    <a:pt x="345" y="420"/>
                    <a:pt x="341" y="422"/>
                  </a:cubicBezTo>
                  <a:cubicBezTo>
                    <a:pt x="340" y="422"/>
                    <a:pt x="340" y="422"/>
                    <a:pt x="339" y="422"/>
                  </a:cubicBezTo>
                  <a:cubicBezTo>
                    <a:pt x="339" y="422"/>
                    <a:pt x="338" y="423"/>
                    <a:pt x="337" y="423"/>
                  </a:cubicBezTo>
                  <a:cubicBezTo>
                    <a:pt x="337" y="423"/>
                    <a:pt x="337" y="423"/>
                    <a:pt x="336" y="423"/>
                  </a:cubicBezTo>
                  <a:cubicBezTo>
                    <a:pt x="336" y="424"/>
                    <a:pt x="335" y="424"/>
                    <a:pt x="334" y="424"/>
                  </a:cubicBezTo>
                  <a:cubicBezTo>
                    <a:pt x="334" y="424"/>
                    <a:pt x="334" y="425"/>
                    <a:pt x="334" y="425"/>
                  </a:cubicBezTo>
                  <a:cubicBezTo>
                    <a:pt x="333" y="425"/>
                    <a:pt x="333" y="425"/>
                    <a:pt x="333" y="425"/>
                  </a:cubicBezTo>
                  <a:cubicBezTo>
                    <a:pt x="332" y="425"/>
                    <a:pt x="332" y="425"/>
                    <a:pt x="331" y="426"/>
                  </a:cubicBezTo>
                  <a:cubicBezTo>
                    <a:pt x="331" y="426"/>
                    <a:pt x="331" y="426"/>
                    <a:pt x="330" y="426"/>
                  </a:cubicBezTo>
                  <a:cubicBezTo>
                    <a:pt x="330" y="426"/>
                    <a:pt x="329" y="427"/>
                    <a:pt x="329" y="427"/>
                  </a:cubicBezTo>
                  <a:cubicBezTo>
                    <a:pt x="329" y="427"/>
                    <a:pt x="328" y="427"/>
                    <a:pt x="328" y="427"/>
                  </a:cubicBezTo>
                  <a:cubicBezTo>
                    <a:pt x="327" y="427"/>
                    <a:pt x="327" y="428"/>
                    <a:pt x="327" y="428"/>
                  </a:cubicBezTo>
                  <a:cubicBezTo>
                    <a:pt x="326" y="428"/>
                    <a:pt x="326" y="428"/>
                    <a:pt x="326" y="428"/>
                  </a:cubicBezTo>
                  <a:cubicBezTo>
                    <a:pt x="325" y="428"/>
                    <a:pt x="325" y="429"/>
                    <a:pt x="324" y="429"/>
                  </a:cubicBezTo>
                  <a:cubicBezTo>
                    <a:pt x="323" y="429"/>
                    <a:pt x="323" y="429"/>
                    <a:pt x="322" y="430"/>
                  </a:cubicBezTo>
                  <a:cubicBezTo>
                    <a:pt x="322" y="430"/>
                    <a:pt x="321" y="430"/>
                    <a:pt x="321" y="430"/>
                  </a:cubicBezTo>
                  <a:cubicBezTo>
                    <a:pt x="320" y="430"/>
                    <a:pt x="320" y="431"/>
                    <a:pt x="320" y="431"/>
                  </a:cubicBezTo>
                  <a:cubicBezTo>
                    <a:pt x="319" y="431"/>
                    <a:pt x="319" y="431"/>
                    <a:pt x="318" y="431"/>
                  </a:cubicBezTo>
                  <a:cubicBezTo>
                    <a:pt x="318" y="432"/>
                    <a:pt x="318" y="432"/>
                    <a:pt x="317" y="432"/>
                  </a:cubicBezTo>
                  <a:cubicBezTo>
                    <a:pt x="317" y="432"/>
                    <a:pt x="316" y="432"/>
                    <a:pt x="316" y="433"/>
                  </a:cubicBezTo>
                  <a:cubicBezTo>
                    <a:pt x="316" y="433"/>
                    <a:pt x="316" y="433"/>
                    <a:pt x="316" y="433"/>
                  </a:cubicBezTo>
                  <a:cubicBezTo>
                    <a:pt x="315" y="433"/>
                    <a:pt x="315" y="433"/>
                    <a:pt x="315" y="433"/>
                  </a:cubicBezTo>
                  <a:cubicBezTo>
                    <a:pt x="315" y="433"/>
                    <a:pt x="315" y="433"/>
                    <a:pt x="315" y="433"/>
                  </a:cubicBezTo>
                  <a:cubicBezTo>
                    <a:pt x="314" y="433"/>
                    <a:pt x="314" y="433"/>
                    <a:pt x="313" y="434"/>
                  </a:cubicBezTo>
                  <a:cubicBezTo>
                    <a:pt x="313" y="434"/>
                    <a:pt x="313" y="434"/>
                    <a:pt x="313" y="434"/>
                  </a:cubicBezTo>
                  <a:cubicBezTo>
                    <a:pt x="313" y="434"/>
                    <a:pt x="313" y="434"/>
                    <a:pt x="313" y="434"/>
                  </a:cubicBezTo>
                  <a:cubicBezTo>
                    <a:pt x="313" y="434"/>
                    <a:pt x="313" y="434"/>
                    <a:pt x="313" y="434"/>
                  </a:cubicBezTo>
                  <a:cubicBezTo>
                    <a:pt x="313" y="434"/>
                    <a:pt x="313" y="434"/>
                    <a:pt x="313" y="434"/>
                  </a:cubicBezTo>
                  <a:cubicBezTo>
                    <a:pt x="312" y="434"/>
                    <a:pt x="312" y="434"/>
                    <a:pt x="311" y="434"/>
                  </a:cubicBezTo>
                  <a:cubicBezTo>
                    <a:pt x="311" y="435"/>
                    <a:pt x="310" y="435"/>
                    <a:pt x="310" y="435"/>
                  </a:cubicBezTo>
                  <a:cubicBezTo>
                    <a:pt x="309" y="435"/>
                    <a:pt x="309" y="436"/>
                    <a:pt x="308" y="436"/>
                  </a:cubicBezTo>
                  <a:cubicBezTo>
                    <a:pt x="308" y="436"/>
                    <a:pt x="308" y="436"/>
                    <a:pt x="308" y="436"/>
                  </a:cubicBezTo>
                  <a:cubicBezTo>
                    <a:pt x="307" y="436"/>
                    <a:pt x="307" y="436"/>
                    <a:pt x="307" y="437"/>
                  </a:cubicBezTo>
                  <a:cubicBezTo>
                    <a:pt x="307" y="437"/>
                    <a:pt x="306" y="437"/>
                    <a:pt x="306" y="437"/>
                  </a:cubicBezTo>
                  <a:cubicBezTo>
                    <a:pt x="306" y="437"/>
                    <a:pt x="306" y="437"/>
                    <a:pt x="306" y="437"/>
                  </a:cubicBezTo>
                  <a:cubicBezTo>
                    <a:pt x="305" y="437"/>
                    <a:pt x="305" y="437"/>
                    <a:pt x="304" y="438"/>
                  </a:cubicBezTo>
                  <a:cubicBezTo>
                    <a:pt x="304" y="438"/>
                    <a:pt x="304" y="438"/>
                    <a:pt x="303" y="438"/>
                  </a:cubicBezTo>
                  <a:cubicBezTo>
                    <a:pt x="303" y="438"/>
                    <a:pt x="303" y="438"/>
                    <a:pt x="303" y="438"/>
                  </a:cubicBezTo>
                  <a:cubicBezTo>
                    <a:pt x="299" y="440"/>
                    <a:pt x="294" y="442"/>
                    <a:pt x="290" y="444"/>
                  </a:cubicBezTo>
                  <a:cubicBezTo>
                    <a:pt x="290" y="444"/>
                    <a:pt x="289" y="445"/>
                    <a:pt x="289" y="445"/>
                  </a:cubicBezTo>
                  <a:cubicBezTo>
                    <a:pt x="288" y="445"/>
                    <a:pt x="287" y="445"/>
                    <a:pt x="287" y="446"/>
                  </a:cubicBezTo>
                  <a:cubicBezTo>
                    <a:pt x="286" y="446"/>
                    <a:pt x="285" y="446"/>
                    <a:pt x="285" y="447"/>
                  </a:cubicBezTo>
                  <a:cubicBezTo>
                    <a:pt x="284" y="447"/>
                    <a:pt x="283" y="447"/>
                    <a:pt x="282" y="448"/>
                  </a:cubicBezTo>
                  <a:cubicBezTo>
                    <a:pt x="279" y="449"/>
                    <a:pt x="276" y="451"/>
                    <a:pt x="272" y="453"/>
                  </a:cubicBezTo>
                  <a:cubicBezTo>
                    <a:pt x="272" y="453"/>
                    <a:pt x="271" y="453"/>
                    <a:pt x="271" y="453"/>
                  </a:cubicBezTo>
                  <a:cubicBezTo>
                    <a:pt x="268" y="454"/>
                    <a:pt x="266" y="455"/>
                    <a:pt x="264" y="456"/>
                  </a:cubicBezTo>
                  <a:cubicBezTo>
                    <a:pt x="263" y="457"/>
                    <a:pt x="263" y="457"/>
                    <a:pt x="262" y="457"/>
                  </a:cubicBezTo>
                  <a:cubicBezTo>
                    <a:pt x="258" y="459"/>
                    <a:pt x="254" y="461"/>
                    <a:pt x="250" y="463"/>
                  </a:cubicBezTo>
                  <a:cubicBezTo>
                    <a:pt x="250" y="463"/>
                    <a:pt x="250" y="464"/>
                    <a:pt x="249" y="464"/>
                  </a:cubicBezTo>
                  <a:cubicBezTo>
                    <a:pt x="249" y="464"/>
                    <a:pt x="248" y="464"/>
                    <a:pt x="248" y="464"/>
                  </a:cubicBezTo>
                  <a:cubicBezTo>
                    <a:pt x="246" y="465"/>
                    <a:pt x="245" y="466"/>
                    <a:pt x="243" y="467"/>
                  </a:cubicBezTo>
                  <a:cubicBezTo>
                    <a:pt x="242" y="467"/>
                    <a:pt x="241" y="468"/>
                    <a:pt x="240" y="469"/>
                  </a:cubicBezTo>
                  <a:cubicBezTo>
                    <a:pt x="239" y="469"/>
                    <a:pt x="239" y="469"/>
                    <a:pt x="238" y="469"/>
                  </a:cubicBezTo>
                  <a:cubicBezTo>
                    <a:pt x="236" y="471"/>
                    <a:pt x="233" y="472"/>
                    <a:pt x="231" y="473"/>
                  </a:cubicBezTo>
                  <a:cubicBezTo>
                    <a:pt x="230" y="473"/>
                    <a:pt x="230" y="474"/>
                    <a:pt x="230" y="474"/>
                  </a:cubicBezTo>
                  <a:cubicBezTo>
                    <a:pt x="227" y="475"/>
                    <a:pt x="224" y="477"/>
                    <a:pt x="222" y="478"/>
                  </a:cubicBezTo>
                  <a:cubicBezTo>
                    <a:pt x="221" y="478"/>
                    <a:pt x="221" y="478"/>
                    <a:pt x="220" y="479"/>
                  </a:cubicBezTo>
                  <a:cubicBezTo>
                    <a:pt x="220" y="479"/>
                    <a:pt x="219" y="479"/>
                    <a:pt x="219" y="480"/>
                  </a:cubicBezTo>
                  <a:cubicBezTo>
                    <a:pt x="218" y="480"/>
                    <a:pt x="218" y="480"/>
                    <a:pt x="217" y="480"/>
                  </a:cubicBezTo>
                  <a:cubicBezTo>
                    <a:pt x="217" y="480"/>
                    <a:pt x="217" y="480"/>
                    <a:pt x="217" y="480"/>
                  </a:cubicBezTo>
                  <a:cubicBezTo>
                    <a:pt x="217" y="481"/>
                    <a:pt x="217" y="481"/>
                    <a:pt x="217" y="481"/>
                  </a:cubicBezTo>
                  <a:cubicBezTo>
                    <a:pt x="216" y="481"/>
                    <a:pt x="216" y="481"/>
                    <a:pt x="216" y="481"/>
                  </a:cubicBezTo>
                  <a:cubicBezTo>
                    <a:pt x="216" y="481"/>
                    <a:pt x="216" y="481"/>
                    <a:pt x="216" y="481"/>
                  </a:cubicBezTo>
                  <a:cubicBezTo>
                    <a:pt x="215" y="481"/>
                    <a:pt x="215" y="482"/>
                    <a:pt x="214" y="482"/>
                  </a:cubicBezTo>
                  <a:cubicBezTo>
                    <a:pt x="214" y="482"/>
                    <a:pt x="214" y="482"/>
                    <a:pt x="214" y="482"/>
                  </a:cubicBezTo>
                  <a:cubicBezTo>
                    <a:pt x="213" y="482"/>
                    <a:pt x="213" y="483"/>
                    <a:pt x="212" y="483"/>
                  </a:cubicBezTo>
                  <a:cubicBezTo>
                    <a:pt x="212" y="483"/>
                    <a:pt x="212" y="483"/>
                    <a:pt x="211" y="483"/>
                  </a:cubicBezTo>
                  <a:cubicBezTo>
                    <a:pt x="211" y="484"/>
                    <a:pt x="210" y="484"/>
                    <a:pt x="209" y="485"/>
                  </a:cubicBezTo>
                  <a:cubicBezTo>
                    <a:pt x="209" y="485"/>
                    <a:pt x="209" y="485"/>
                    <a:pt x="209" y="485"/>
                  </a:cubicBezTo>
                  <a:cubicBezTo>
                    <a:pt x="208" y="486"/>
                    <a:pt x="207" y="486"/>
                    <a:pt x="206" y="487"/>
                  </a:cubicBezTo>
                  <a:cubicBezTo>
                    <a:pt x="205" y="487"/>
                    <a:pt x="205" y="487"/>
                    <a:pt x="204" y="487"/>
                  </a:cubicBezTo>
                  <a:cubicBezTo>
                    <a:pt x="195" y="492"/>
                    <a:pt x="186" y="497"/>
                    <a:pt x="178" y="502"/>
                  </a:cubicBezTo>
                  <a:cubicBezTo>
                    <a:pt x="177" y="503"/>
                    <a:pt x="177" y="503"/>
                    <a:pt x="176" y="503"/>
                  </a:cubicBezTo>
                  <a:cubicBezTo>
                    <a:pt x="168" y="508"/>
                    <a:pt x="159" y="513"/>
                    <a:pt x="151" y="518"/>
                  </a:cubicBezTo>
                  <a:cubicBezTo>
                    <a:pt x="151" y="518"/>
                    <a:pt x="150" y="519"/>
                    <a:pt x="150" y="519"/>
                  </a:cubicBezTo>
                  <a:cubicBezTo>
                    <a:pt x="142" y="524"/>
                    <a:pt x="134" y="529"/>
                    <a:pt x="126" y="534"/>
                  </a:cubicBezTo>
                  <a:cubicBezTo>
                    <a:pt x="125" y="534"/>
                    <a:pt x="125" y="535"/>
                    <a:pt x="125" y="535"/>
                  </a:cubicBezTo>
                  <a:cubicBezTo>
                    <a:pt x="52" y="583"/>
                    <a:pt x="0" y="631"/>
                    <a:pt x="0" y="665"/>
                  </a:cubicBezTo>
                  <a:cubicBezTo>
                    <a:pt x="0" y="694"/>
                    <a:pt x="36" y="712"/>
                    <a:pt x="124" y="712"/>
                  </a:cubicBezTo>
                  <a:cubicBezTo>
                    <a:pt x="127" y="712"/>
                    <a:pt x="127" y="712"/>
                    <a:pt x="127" y="712"/>
                  </a:cubicBezTo>
                  <a:cubicBezTo>
                    <a:pt x="130" y="712"/>
                    <a:pt x="134" y="712"/>
                    <a:pt x="138" y="712"/>
                  </a:cubicBezTo>
                  <a:cubicBezTo>
                    <a:pt x="140" y="712"/>
                    <a:pt x="142" y="711"/>
                    <a:pt x="143" y="711"/>
                  </a:cubicBezTo>
                  <a:cubicBezTo>
                    <a:pt x="138" y="711"/>
                    <a:pt x="132" y="711"/>
                    <a:pt x="127" y="711"/>
                  </a:cubicBezTo>
                  <a:cubicBezTo>
                    <a:pt x="124" y="711"/>
                    <a:pt x="124" y="711"/>
                    <a:pt x="124" y="711"/>
                  </a:cubicBezTo>
                  <a:cubicBezTo>
                    <a:pt x="80" y="711"/>
                    <a:pt x="49" y="707"/>
                    <a:pt x="29" y="698"/>
                  </a:cubicBezTo>
                  <a:cubicBezTo>
                    <a:pt x="9" y="690"/>
                    <a:pt x="1" y="679"/>
                    <a:pt x="1" y="665"/>
                  </a:cubicBezTo>
                  <a:cubicBezTo>
                    <a:pt x="1" y="632"/>
                    <a:pt x="53" y="583"/>
                    <a:pt x="126" y="535"/>
                  </a:cubicBezTo>
                  <a:cubicBezTo>
                    <a:pt x="127" y="535"/>
                    <a:pt x="127" y="534"/>
                    <a:pt x="127" y="534"/>
                  </a:cubicBezTo>
                  <a:cubicBezTo>
                    <a:pt x="135" y="529"/>
                    <a:pt x="143" y="524"/>
                    <a:pt x="151" y="519"/>
                  </a:cubicBezTo>
                  <a:cubicBezTo>
                    <a:pt x="152" y="519"/>
                    <a:pt x="152" y="519"/>
                    <a:pt x="153" y="518"/>
                  </a:cubicBezTo>
                  <a:cubicBezTo>
                    <a:pt x="161" y="513"/>
                    <a:pt x="169" y="508"/>
                    <a:pt x="178" y="503"/>
                  </a:cubicBezTo>
                  <a:cubicBezTo>
                    <a:pt x="178" y="503"/>
                    <a:pt x="179" y="503"/>
                    <a:pt x="179" y="503"/>
                  </a:cubicBezTo>
                  <a:cubicBezTo>
                    <a:pt x="188" y="498"/>
                    <a:pt x="197" y="493"/>
                    <a:pt x="206" y="488"/>
                  </a:cubicBezTo>
                  <a:cubicBezTo>
                    <a:pt x="206" y="487"/>
                    <a:pt x="207" y="487"/>
                    <a:pt x="207" y="487"/>
                  </a:cubicBezTo>
                  <a:cubicBezTo>
                    <a:pt x="208" y="487"/>
                    <a:pt x="208" y="486"/>
                    <a:pt x="209" y="486"/>
                  </a:cubicBezTo>
                  <a:cubicBezTo>
                    <a:pt x="209" y="486"/>
                    <a:pt x="210" y="486"/>
                    <a:pt x="210" y="485"/>
                  </a:cubicBezTo>
                  <a:cubicBezTo>
                    <a:pt x="210" y="485"/>
                    <a:pt x="211" y="485"/>
                    <a:pt x="211" y="485"/>
                  </a:cubicBezTo>
                  <a:cubicBezTo>
                    <a:pt x="212" y="484"/>
                    <a:pt x="212" y="484"/>
                    <a:pt x="212" y="484"/>
                  </a:cubicBezTo>
                  <a:cubicBezTo>
                    <a:pt x="213" y="484"/>
                    <a:pt x="214" y="483"/>
                    <a:pt x="215" y="482"/>
                  </a:cubicBezTo>
                  <a:cubicBezTo>
                    <a:pt x="216" y="482"/>
                    <a:pt x="216" y="482"/>
                    <a:pt x="216" y="482"/>
                  </a:cubicBezTo>
                  <a:cubicBezTo>
                    <a:pt x="216" y="482"/>
                    <a:pt x="216" y="482"/>
                    <a:pt x="216" y="482"/>
                  </a:cubicBezTo>
                  <a:cubicBezTo>
                    <a:pt x="217" y="482"/>
                    <a:pt x="217" y="481"/>
                    <a:pt x="217" y="481"/>
                  </a:cubicBezTo>
                  <a:cubicBezTo>
                    <a:pt x="218" y="481"/>
                    <a:pt x="218" y="481"/>
                    <a:pt x="219" y="481"/>
                  </a:cubicBezTo>
                  <a:cubicBezTo>
                    <a:pt x="219" y="481"/>
                    <a:pt x="219" y="481"/>
                    <a:pt x="219" y="481"/>
                  </a:cubicBezTo>
                  <a:cubicBezTo>
                    <a:pt x="219" y="480"/>
                    <a:pt x="220" y="480"/>
                    <a:pt x="220" y="480"/>
                  </a:cubicBezTo>
                  <a:cubicBezTo>
                    <a:pt x="221" y="480"/>
                    <a:pt x="221" y="479"/>
                    <a:pt x="222" y="479"/>
                  </a:cubicBezTo>
                  <a:cubicBezTo>
                    <a:pt x="222" y="479"/>
                    <a:pt x="223" y="478"/>
                    <a:pt x="223" y="478"/>
                  </a:cubicBezTo>
                  <a:cubicBezTo>
                    <a:pt x="226" y="477"/>
                    <a:pt x="228" y="476"/>
                    <a:pt x="230" y="474"/>
                  </a:cubicBezTo>
                  <a:cubicBezTo>
                    <a:pt x="231" y="474"/>
                    <a:pt x="231" y="474"/>
                    <a:pt x="232" y="474"/>
                  </a:cubicBezTo>
                  <a:cubicBezTo>
                    <a:pt x="234" y="472"/>
                    <a:pt x="237" y="471"/>
                    <a:pt x="240" y="470"/>
                  </a:cubicBezTo>
                  <a:cubicBezTo>
                    <a:pt x="240" y="470"/>
                    <a:pt x="240" y="470"/>
                    <a:pt x="240" y="470"/>
                  </a:cubicBezTo>
                  <a:cubicBezTo>
                    <a:pt x="241" y="469"/>
                    <a:pt x="242" y="468"/>
                    <a:pt x="244" y="468"/>
                  </a:cubicBezTo>
                  <a:cubicBezTo>
                    <a:pt x="245" y="467"/>
                    <a:pt x="246" y="467"/>
                    <a:pt x="247" y="466"/>
                  </a:cubicBezTo>
                  <a:cubicBezTo>
                    <a:pt x="248" y="466"/>
                    <a:pt x="249" y="465"/>
                    <a:pt x="249" y="465"/>
                  </a:cubicBezTo>
                  <a:cubicBezTo>
                    <a:pt x="250" y="465"/>
                    <a:pt x="250" y="464"/>
                    <a:pt x="250" y="464"/>
                  </a:cubicBezTo>
                  <a:cubicBezTo>
                    <a:pt x="251" y="464"/>
                    <a:pt x="251" y="464"/>
                    <a:pt x="251" y="464"/>
                  </a:cubicBezTo>
                  <a:cubicBezTo>
                    <a:pt x="256" y="462"/>
                    <a:pt x="260" y="460"/>
                    <a:pt x="264" y="457"/>
                  </a:cubicBezTo>
                  <a:cubicBezTo>
                    <a:pt x="265" y="457"/>
                    <a:pt x="266" y="457"/>
                    <a:pt x="266" y="457"/>
                  </a:cubicBezTo>
                  <a:cubicBezTo>
                    <a:pt x="266" y="457"/>
                    <a:pt x="266" y="457"/>
                    <a:pt x="266" y="457"/>
                  </a:cubicBezTo>
                  <a:cubicBezTo>
                    <a:pt x="268" y="456"/>
                    <a:pt x="270" y="455"/>
                    <a:pt x="272" y="454"/>
                  </a:cubicBezTo>
                  <a:cubicBezTo>
                    <a:pt x="273" y="453"/>
                    <a:pt x="273" y="453"/>
                    <a:pt x="274" y="453"/>
                  </a:cubicBezTo>
                  <a:cubicBezTo>
                    <a:pt x="277" y="451"/>
                    <a:pt x="280" y="450"/>
                    <a:pt x="283" y="449"/>
                  </a:cubicBezTo>
                  <a:cubicBezTo>
                    <a:pt x="284" y="448"/>
                    <a:pt x="285" y="447"/>
                    <a:pt x="287" y="447"/>
                  </a:cubicBezTo>
                  <a:cubicBezTo>
                    <a:pt x="287" y="446"/>
                    <a:pt x="288" y="446"/>
                    <a:pt x="289" y="446"/>
                  </a:cubicBezTo>
                  <a:cubicBezTo>
                    <a:pt x="289" y="446"/>
                    <a:pt x="289" y="445"/>
                    <a:pt x="290" y="445"/>
                  </a:cubicBezTo>
                  <a:cubicBezTo>
                    <a:pt x="290" y="445"/>
                    <a:pt x="291" y="445"/>
                    <a:pt x="291" y="445"/>
                  </a:cubicBezTo>
                  <a:cubicBezTo>
                    <a:pt x="292" y="444"/>
                    <a:pt x="293" y="444"/>
                    <a:pt x="294" y="443"/>
                  </a:cubicBezTo>
                  <a:cubicBezTo>
                    <a:pt x="295" y="443"/>
                    <a:pt x="295" y="443"/>
                    <a:pt x="295" y="443"/>
                  </a:cubicBezTo>
                  <a:cubicBezTo>
                    <a:pt x="297" y="442"/>
                    <a:pt x="298" y="442"/>
                    <a:pt x="299" y="441"/>
                  </a:cubicBezTo>
                  <a:cubicBezTo>
                    <a:pt x="299" y="441"/>
                    <a:pt x="300" y="441"/>
                    <a:pt x="300" y="441"/>
                  </a:cubicBezTo>
                  <a:cubicBezTo>
                    <a:pt x="301" y="440"/>
                    <a:pt x="302" y="440"/>
                    <a:pt x="303" y="439"/>
                  </a:cubicBezTo>
                  <a:cubicBezTo>
                    <a:pt x="303" y="439"/>
                    <a:pt x="304" y="439"/>
                    <a:pt x="304" y="439"/>
                  </a:cubicBezTo>
                  <a:cubicBezTo>
                    <a:pt x="305" y="439"/>
                    <a:pt x="305" y="438"/>
                    <a:pt x="306" y="438"/>
                  </a:cubicBezTo>
                  <a:cubicBezTo>
                    <a:pt x="307" y="438"/>
                    <a:pt x="307" y="437"/>
                    <a:pt x="308" y="437"/>
                  </a:cubicBezTo>
                  <a:cubicBezTo>
                    <a:pt x="308" y="437"/>
                    <a:pt x="308" y="437"/>
                    <a:pt x="308" y="437"/>
                  </a:cubicBezTo>
                  <a:cubicBezTo>
                    <a:pt x="309" y="437"/>
                    <a:pt x="309" y="436"/>
                    <a:pt x="310" y="436"/>
                  </a:cubicBezTo>
                  <a:cubicBezTo>
                    <a:pt x="310" y="436"/>
                    <a:pt x="311" y="436"/>
                    <a:pt x="312" y="435"/>
                  </a:cubicBezTo>
                  <a:cubicBezTo>
                    <a:pt x="312" y="435"/>
                    <a:pt x="312" y="435"/>
                    <a:pt x="313" y="435"/>
                  </a:cubicBezTo>
                  <a:cubicBezTo>
                    <a:pt x="313" y="435"/>
                    <a:pt x="313" y="435"/>
                    <a:pt x="313" y="435"/>
                  </a:cubicBezTo>
                  <a:cubicBezTo>
                    <a:pt x="313" y="435"/>
                    <a:pt x="314" y="435"/>
                    <a:pt x="314" y="434"/>
                  </a:cubicBezTo>
                  <a:cubicBezTo>
                    <a:pt x="314" y="434"/>
                    <a:pt x="314" y="434"/>
                    <a:pt x="315" y="434"/>
                  </a:cubicBezTo>
                  <a:cubicBezTo>
                    <a:pt x="315" y="434"/>
                    <a:pt x="315" y="434"/>
                    <a:pt x="316" y="434"/>
                  </a:cubicBezTo>
                  <a:cubicBezTo>
                    <a:pt x="316" y="434"/>
                    <a:pt x="316" y="433"/>
                    <a:pt x="317" y="433"/>
                  </a:cubicBezTo>
                  <a:cubicBezTo>
                    <a:pt x="317" y="433"/>
                    <a:pt x="317" y="433"/>
                    <a:pt x="317" y="433"/>
                  </a:cubicBezTo>
                  <a:cubicBezTo>
                    <a:pt x="317" y="433"/>
                    <a:pt x="317" y="433"/>
                    <a:pt x="318" y="433"/>
                  </a:cubicBezTo>
                  <a:cubicBezTo>
                    <a:pt x="318" y="433"/>
                    <a:pt x="319" y="432"/>
                    <a:pt x="319" y="432"/>
                  </a:cubicBezTo>
                  <a:cubicBezTo>
                    <a:pt x="319" y="432"/>
                    <a:pt x="319" y="432"/>
                    <a:pt x="320" y="432"/>
                  </a:cubicBezTo>
                  <a:cubicBezTo>
                    <a:pt x="320" y="432"/>
                    <a:pt x="320" y="432"/>
                    <a:pt x="321" y="431"/>
                  </a:cubicBezTo>
                  <a:cubicBezTo>
                    <a:pt x="321" y="431"/>
                    <a:pt x="321" y="431"/>
                    <a:pt x="322" y="431"/>
                  </a:cubicBezTo>
                  <a:cubicBezTo>
                    <a:pt x="322" y="431"/>
                    <a:pt x="322" y="431"/>
                    <a:pt x="323" y="431"/>
                  </a:cubicBezTo>
                  <a:cubicBezTo>
                    <a:pt x="324" y="430"/>
                    <a:pt x="325" y="430"/>
                    <a:pt x="326" y="429"/>
                  </a:cubicBezTo>
                  <a:cubicBezTo>
                    <a:pt x="326" y="429"/>
                    <a:pt x="326" y="429"/>
                    <a:pt x="327" y="429"/>
                  </a:cubicBezTo>
                  <a:cubicBezTo>
                    <a:pt x="327" y="429"/>
                    <a:pt x="327" y="429"/>
                    <a:pt x="327" y="429"/>
                  </a:cubicBezTo>
                  <a:cubicBezTo>
                    <a:pt x="328" y="428"/>
                    <a:pt x="328" y="428"/>
                    <a:pt x="328" y="428"/>
                  </a:cubicBezTo>
                  <a:cubicBezTo>
                    <a:pt x="329" y="428"/>
                    <a:pt x="329" y="428"/>
                    <a:pt x="330" y="427"/>
                  </a:cubicBezTo>
                  <a:cubicBezTo>
                    <a:pt x="330" y="427"/>
                    <a:pt x="331" y="427"/>
                    <a:pt x="331" y="427"/>
                  </a:cubicBezTo>
                  <a:cubicBezTo>
                    <a:pt x="331" y="427"/>
                    <a:pt x="332" y="427"/>
                    <a:pt x="332" y="426"/>
                  </a:cubicBezTo>
                  <a:cubicBezTo>
                    <a:pt x="332" y="426"/>
                    <a:pt x="332" y="426"/>
                    <a:pt x="333" y="426"/>
                  </a:cubicBezTo>
                  <a:cubicBezTo>
                    <a:pt x="333" y="426"/>
                    <a:pt x="333" y="426"/>
                    <a:pt x="334" y="426"/>
                  </a:cubicBezTo>
                  <a:cubicBezTo>
                    <a:pt x="334" y="426"/>
                    <a:pt x="334" y="426"/>
                    <a:pt x="334" y="425"/>
                  </a:cubicBezTo>
                  <a:cubicBezTo>
                    <a:pt x="335" y="425"/>
                    <a:pt x="335" y="425"/>
                    <a:pt x="335" y="425"/>
                  </a:cubicBezTo>
                  <a:cubicBezTo>
                    <a:pt x="336" y="425"/>
                    <a:pt x="336" y="425"/>
                    <a:pt x="337" y="424"/>
                  </a:cubicBezTo>
                  <a:cubicBezTo>
                    <a:pt x="337" y="424"/>
                    <a:pt x="338" y="424"/>
                    <a:pt x="338" y="424"/>
                  </a:cubicBezTo>
                  <a:cubicBezTo>
                    <a:pt x="339" y="423"/>
                    <a:pt x="340" y="423"/>
                    <a:pt x="341" y="423"/>
                  </a:cubicBezTo>
                  <a:cubicBezTo>
                    <a:pt x="341" y="423"/>
                    <a:pt x="341" y="422"/>
                    <a:pt x="342" y="422"/>
                  </a:cubicBezTo>
                  <a:cubicBezTo>
                    <a:pt x="346" y="420"/>
                    <a:pt x="351" y="418"/>
                    <a:pt x="355" y="416"/>
                  </a:cubicBezTo>
                  <a:cubicBezTo>
                    <a:pt x="355" y="416"/>
                    <a:pt x="356" y="416"/>
                    <a:pt x="356" y="416"/>
                  </a:cubicBezTo>
                  <a:cubicBezTo>
                    <a:pt x="358" y="415"/>
                    <a:pt x="361" y="414"/>
                    <a:pt x="363" y="413"/>
                  </a:cubicBezTo>
                  <a:cubicBezTo>
                    <a:pt x="364" y="413"/>
                    <a:pt x="364" y="412"/>
                    <a:pt x="365" y="412"/>
                  </a:cubicBezTo>
                  <a:cubicBezTo>
                    <a:pt x="365" y="412"/>
                    <a:pt x="365" y="412"/>
                    <a:pt x="365" y="412"/>
                  </a:cubicBezTo>
                  <a:cubicBezTo>
                    <a:pt x="368" y="411"/>
                    <a:pt x="372" y="409"/>
                    <a:pt x="375" y="408"/>
                  </a:cubicBezTo>
                  <a:cubicBezTo>
                    <a:pt x="380" y="405"/>
                    <a:pt x="386" y="403"/>
                    <a:pt x="391" y="401"/>
                  </a:cubicBezTo>
                  <a:cubicBezTo>
                    <a:pt x="391" y="401"/>
                    <a:pt x="392" y="400"/>
                    <a:pt x="392" y="400"/>
                  </a:cubicBezTo>
                  <a:cubicBezTo>
                    <a:pt x="402" y="396"/>
                    <a:pt x="412" y="392"/>
                    <a:pt x="421" y="388"/>
                  </a:cubicBezTo>
                  <a:cubicBezTo>
                    <a:pt x="422" y="387"/>
                    <a:pt x="423" y="387"/>
                    <a:pt x="423" y="387"/>
                  </a:cubicBezTo>
                  <a:cubicBezTo>
                    <a:pt x="425" y="386"/>
                    <a:pt x="427" y="385"/>
                    <a:pt x="429" y="385"/>
                  </a:cubicBezTo>
                  <a:cubicBezTo>
                    <a:pt x="429" y="384"/>
                    <a:pt x="429" y="384"/>
                    <a:pt x="430" y="384"/>
                  </a:cubicBezTo>
                  <a:cubicBezTo>
                    <a:pt x="435" y="382"/>
                    <a:pt x="439" y="380"/>
                    <a:pt x="444" y="378"/>
                  </a:cubicBezTo>
                  <a:cubicBezTo>
                    <a:pt x="445" y="378"/>
                    <a:pt x="446" y="377"/>
                    <a:pt x="446" y="377"/>
                  </a:cubicBezTo>
                  <a:cubicBezTo>
                    <a:pt x="447" y="377"/>
                    <a:pt x="447" y="377"/>
                    <a:pt x="447" y="377"/>
                  </a:cubicBezTo>
                  <a:cubicBezTo>
                    <a:pt x="450" y="376"/>
                    <a:pt x="453" y="374"/>
                    <a:pt x="456" y="373"/>
                  </a:cubicBezTo>
                  <a:cubicBezTo>
                    <a:pt x="457" y="372"/>
                    <a:pt x="459" y="372"/>
                    <a:pt x="460" y="371"/>
                  </a:cubicBezTo>
                  <a:cubicBezTo>
                    <a:pt x="462" y="371"/>
                    <a:pt x="464" y="370"/>
                    <a:pt x="465" y="369"/>
                  </a:cubicBezTo>
                  <a:cubicBezTo>
                    <a:pt x="467" y="368"/>
                    <a:pt x="469" y="368"/>
                    <a:pt x="470" y="367"/>
                  </a:cubicBezTo>
                  <a:cubicBezTo>
                    <a:pt x="470" y="367"/>
                    <a:pt x="470" y="367"/>
                    <a:pt x="471" y="367"/>
                  </a:cubicBezTo>
                  <a:cubicBezTo>
                    <a:pt x="471" y="367"/>
                    <a:pt x="472" y="366"/>
                    <a:pt x="473" y="366"/>
                  </a:cubicBezTo>
                  <a:cubicBezTo>
                    <a:pt x="474" y="366"/>
                    <a:pt x="474" y="365"/>
                    <a:pt x="475" y="365"/>
                  </a:cubicBezTo>
                  <a:cubicBezTo>
                    <a:pt x="476" y="365"/>
                    <a:pt x="476" y="365"/>
                    <a:pt x="476" y="364"/>
                  </a:cubicBezTo>
                  <a:cubicBezTo>
                    <a:pt x="478" y="364"/>
                    <a:pt x="480" y="363"/>
                    <a:pt x="482" y="362"/>
                  </a:cubicBezTo>
                  <a:cubicBezTo>
                    <a:pt x="483" y="362"/>
                    <a:pt x="483" y="362"/>
                    <a:pt x="484" y="361"/>
                  </a:cubicBezTo>
                  <a:cubicBezTo>
                    <a:pt x="485" y="361"/>
                    <a:pt x="486" y="360"/>
                    <a:pt x="487" y="360"/>
                  </a:cubicBezTo>
                  <a:moveTo>
                    <a:pt x="815" y="547"/>
                  </a:moveTo>
                  <a:cubicBezTo>
                    <a:pt x="815" y="547"/>
                    <a:pt x="815" y="547"/>
                    <a:pt x="815" y="547"/>
                  </a:cubicBezTo>
                  <a:cubicBezTo>
                    <a:pt x="812" y="547"/>
                    <a:pt x="809" y="547"/>
                    <a:pt x="806" y="547"/>
                  </a:cubicBezTo>
                  <a:cubicBezTo>
                    <a:pt x="806" y="547"/>
                    <a:pt x="805" y="547"/>
                    <a:pt x="805" y="547"/>
                  </a:cubicBezTo>
                  <a:cubicBezTo>
                    <a:pt x="801" y="547"/>
                    <a:pt x="798" y="547"/>
                    <a:pt x="795" y="547"/>
                  </a:cubicBezTo>
                  <a:cubicBezTo>
                    <a:pt x="794" y="548"/>
                    <a:pt x="793" y="548"/>
                    <a:pt x="792" y="548"/>
                  </a:cubicBezTo>
                  <a:cubicBezTo>
                    <a:pt x="780" y="549"/>
                    <a:pt x="767" y="550"/>
                    <a:pt x="754" y="553"/>
                  </a:cubicBezTo>
                  <a:cubicBezTo>
                    <a:pt x="754" y="553"/>
                    <a:pt x="753" y="553"/>
                    <a:pt x="753" y="553"/>
                  </a:cubicBezTo>
                  <a:cubicBezTo>
                    <a:pt x="746" y="554"/>
                    <a:pt x="739" y="555"/>
                    <a:pt x="732" y="557"/>
                  </a:cubicBezTo>
                  <a:cubicBezTo>
                    <a:pt x="731" y="557"/>
                    <a:pt x="730" y="557"/>
                    <a:pt x="729" y="558"/>
                  </a:cubicBezTo>
                  <a:cubicBezTo>
                    <a:pt x="723" y="559"/>
                    <a:pt x="717" y="560"/>
                    <a:pt x="711" y="562"/>
                  </a:cubicBezTo>
                  <a:cubicBezTo>
                    <a:pt x="710" y="562"/>
                    <a:pt x="708" y="562"/>
                    <a:pt x="707" y="563"/>
                  </a:cubicBezTo>
                  <a:cubicBezTo>
                    <a:pt x="707" y="563"/>
                    <a:pt x="706" y="563"/>
                    <a:pt x="706" y="563"/>
                  </a:cubicBezTo>
                  <a:cubicBezTo>
                    <a:pt x="705" y="563"/>
                    <a:pt x="705" y="563"/>
                    <a:pt x="704" y="563"/>
                  </a:cubicBezTo>
                  <a:cubicBezTo>
                    <a:pt x="704" y="563"/>
                    <a:pt x="704" y="564"/>
                    <a:pt x="703" y="564"/>
                  </a:cubicBezTo>
                  <a:cubicBezTo>
                    <a:pt x="703" y="564"/>
                    <a:pt x="703" y="564"/>
                    <a:pt x="702" y="564"/>
                  </a:cubicBezTo>
                  <a:cubicBezTo>
                    <a:pt x="701" y="564"/>
                    <a:pt x="699" y="565"/>
                    <a:pt x="698" y="565"/>
                  </a:cubicBezTo>
                  <a:cubicBezTo>
                    <a:pt x="697" y="565"/>
                    <a:pt x="697" y="565"/>
                    <a:pt x="696" y="565"/>
                  </a:cubicBezTo>
                  <a:cubicBezTo>
                    <a:pt x="696" y="565"/>
                    <a:pt x="696" y="566"/>
                    <a:pt x="696" y="566"/>
                  </a:cubicBezTo>
                  <a:cubicBezTo>
                    <a:pt x="695" y="566"/>
                    <a:pt x="695" y="566"/>
                    <a:pt x="694" y="566"/>
                  </a:cubicBezTo>
                  <a:cubicBezTo>
                    <a:pt x="691" y="567"/>
                    <a:pt x="689" y="567"/>
                    <a:pt x="687" y="568"/>
                  </a:cubicBezTo>
                  <a:cubicBezTo>
                    <a:pt x="686" y="568"/>
                    <a:pt x="685" y="568"/>
                    <a:pt x="685" y="569"/>
                  </a:cubicBezTo>
                  <a:cubicBezTo>
                    <a:pt x="680" y="570"/>
                    <a:pt x="676" y="571"/>
                    <a:pt x="672" y="572"/>
                  </a:cubicBezTo>
                  <a:cubicBezTo>
                    <a:pt x="671" y="572"/>
                    <a:pt x="670" y="573"/>
                    <a:pt x="669" y="573"/>
                  </a:cubicBezTo>
                  <a:cubicBezTo>
                    <a:pt x="666" y="574"/>
                    <a:pt x="663" y="575"/>
                    <a:pt x="660" y="576"/>
                  </a:cubicBezTo>
                  <a:cubicBezTo>
                    <a:pt x="659" y="576"/>
                    <a:pt x="659" y="576"/>
                    <a:pt x="659" y="576"/>
                  </a:cubicBezTo>
                  <a:cubicBezTo>
                    <a:pt x="645" y="580"/>
                    <a:pt x="631" y="584"/>
                    <a:pt x="617" y="588"/>
                  </a:cubicBezTo>
                  <a:cubicBezTo>
                    <a:pt x="617" y="589"/>
                    <a:pt x="616" y="589"/>
                    <a:pt x="615" y="589"/>
                  </a:cubicBezTo>
                  <a:cubicBezTo>
                    <a:pt x="606" y="592"/>
                    <a:pt x="598" y="595"/>
                    <a:pt x="589" y="598"/>
                  </a:cubicBezTo>
                  <a:cubicBezTo>
                    <a:pt x="588" y="598"/>
                    <a:pt x="587" y="598"/>
                    <a:pt x="587" y="598"/>
                  </a:cubicBezTo>
                  <a:cubicBezTo>
                    <a:pt x="579" y="601"/>
                    <a:pt x="571" y="603"/>
                    <a:pt x="563" y="606"/>
                  </a:cubicBezTo>
                  <a:cubicBezTo>
                    <a:pt x="563" y="606"/>
                    <a:pt x="562" y="606"/>
                    <a:pt x="561" y="607"/>
                  </a:cubicBezTo>
                  <a:cubicBezTo>
                    <a:pt x="555" y="609"/>
                    <a:pt x="548" y="611"/>
                    <a:pt x="541" y="613"/>
                  </a:cubicBezTo>
                  <a:cubicBezTo>
                    <a:pt x="541" y="614"/>
                    <a:pt x="540" y="614"/>
                    <a:pt x="539" y="614"/>
                  </a:cubicBezTo>
                  <a:cubicBezTo>
                    <a:pt x="536" y="615"/>
                    <a:pt x="533" y="616"/>
                    <a:pt x="530" y="617"/>
                  </a:cubicBezTo>
                  <a:cubicBezTo>
                    <a:pt x="530" y="617"/>
                    <a:pt x="530" y="617"/>
                    <a:pt x="529" y="617"/>
                  </a:cubicBezTo>
                  <a:cubicBezTo>
                    <a:pt x="527" y="618"/>
                    <a:pt x="524" y="619"/>
                    <a:pt x="522" y="620"/>
                  </a:cubicBezTo>
                  <a:cubicBezTo>
                    <a:pt x="521" y="620"/>
                    <a:pt x="520" y="620"/>
                    <a:pt x="520" y="621"/>
                  </a:cubicBezTo>
                  <a:cubicBezTo>
                    <a:pt x="514" y="623"/>
                    <a:pt x="509" y="624"/>
                    <a:pt x="503" y="626"/>
                  </a:cubicBezTo>
                  <a:cubicBezTo>
                    <a:pt x="502" y="626"/>
                    <a:pt x="502" y="627"/>
                    <a:pt x="501" y="627"/>
                  </a:cubicBezTo>
                  <a:cubicBezTo>
                    <a:pt x="496" y="629"/>
                    <a:pt x="490" y="630"/>
                    <a:pt x="485" y="632"/>
                  </a:cubicBezTo>
                  <a:cubicBezTo>
                    <a:pt x="484" y="632"/>
                    <a:pt x="484" y="633"/>
                    <a:pt x="483" y="633"/>
                  </a:cubicBezTo>
                  <a:cubicBezTo>
                    <a:pt x="478" y="635"/>
                    <a:pt x="472" y="636"/>
                    <a:pt x="467" y="638"/>
                  </a:cubicBezTo>
                  <a:cubicBezTo>
                    <a:pt x="466" y="638"/>
                    <a:pt x="465" y="639"/>
                    <a:pt x="465" y="639"/>
                  </a:cubicBezTo>
                  <a:cubicBezTo>
                    <a:pt x="459" y="641"/>
                    <a:pt x="454" y="642"/>
                    <a:pt x="448" y="644"/>
                  </a:cubicBezTo>
                  <a:cubicBezTo>
                    <a:pt x="448" y="645"/>
                    <a:pt x="447" y="645"/>
                    <a:pt x="446" y="645"/>
                  </a:cubicBezTo>
                  <a:cubicBezTo>
                    <a:pt x="444" y="646"/>
                    <a:pt x="443" y="646"/>
                    <a:pt x="441" y="647"/>
                  </a:cubicBezTo>
                  <a:cubicBezTo>
                    <a:pt x="441" y="647"/>
                    <a:pt x="440" y="647"/>
                    <a:pt x="440" y="647"/>
                  </a:cubicBezTo>
                  <a:cubicBezTo>
                    <a:pt x="433" y="649"/>
                    <a:pt x="427" y="651"/>
                    <a:pt x="420" y="653"/>
                  </a:cubicBezTo>
                  <a:cubicBezTo>
                    <a:pt x="419" y="654"/>
                    <a:pt x="419" y="654"/>
                    <a:pt x="418" y="654"/>
                  </a:cubicBezTo>
                  <a:cubicBezTo>
                    <a:pt x="408" y="657"/>
                    <a:pt x="397" y="660"/>
                    <a:pt x="387" y="663"/>
                  </a:cubicBezTo>
                  <a:cubicBezTo>
                    <a:pt x="386" y="664"/>
                    <a:pt x="386" y="664"/>
                    <a:pt x="385" y="664"/>
                  </a:cubicBezTo>
                  <a:cubicBezTo>
                    <a:pt x="376" y="667"/>
                    <a:pt x="367" y="669"/>
                    <a:pt x="357" y="672"/>
                  </a:cubicBezTo>
                  <a:cubicBezTo>
                    <a:pt x="357" y="672"/>
                    <a:pt x="357" y="672"/>
                    <a:pt x="356" y="672"/>
                  </a:cubicBezTo>
                  <a:cubicBezTo>
                    <a:pt x="356" y="672"/>
                    <a:pt x="355" y="673"/>
                    <a:pt x="355" y="673"/>
                  </a:cubicBezTo>
                  <a:cubicBezTo>
                    <a:pt x="354" y="673"/>
                    <a:pt x="353" y="673"/>
                    <a:pt x="352" y="674"/>
                  </a:cubicBezTo>
                  <a:cubicBezTo>
                    <a:pt x="342" y="676"/>
                    <a:pt x="332" y="679"/>
                    <a:pt x="322" y="682"/>
                  </a:cubicBezTo>
                  <a:cubicBezTo>
                    <a:pt x="321" y="682"/>
                    <a:pt x="320" y="682"/>
                    <a:pt x="319" y="682"/>
                  </a:cubicBezTo>
                  <a:cubicBezTo>
                    <a:pt x="311" y="684"/>
                    <a:pt x="303" y="686"/>
                    <a:pt x="294" y="688"/>
                  </a:cubicBezTo>
                  <a:cubicBezTo>
                    <a:pt x="293" y="689"/>
                    <a:pt x="292" y="689"/>
                    <a:pt x="290" y="689"/>
                  </a:cubicBezTo>
                  <a:cubicBezTo>
                    <a:pt x="288" y="690"/>
                    <a:pt x="286" y="690"/>
                    <a:pt x="284" y="691"/>
                  </a:cubicBezTo>
                  <a:cubicBezTo>
                    <a:pt x="284" y="691"/>
                    <a:pt x="283" y="691"/>
                    <a:pt x="283" y="691"/>
                  </a:cubicBezTo>
                  <a:cubicBezTo>
                    <a:pt x="275" y="693"/>
                    <a:pt x="267" y="695"/>
                    <a:pt x="259" y="696"/>
                  </a:cubicBezTo>
                  <a:cubicBezTo>
                    <a:pt x="257" y="697"/>
                    <a:pt x="255" y="697"/>
                    <a:pt x="253" y="697"/>
                  </a:cubicBezTo>
                  <a:cubicBezTo>
                    <a:pt x="246" y="699"/>
                    <a:pt x="239" y="700"/>
                    <a:pt x="232" y="701"/>
                  </a:cubicBezTo>
                  <a:cubicBezTo>
                    <a:pt x="232" y="701"/>
                    <a:pt x="231" y="701"/>
                    <a:pt x="231" y="701"/>
                  </a:cubicBezTo>
                  <a:cubicBezTo>
                    <a:pt x="227" y="702"/>
                    <a:pt x="223" y="703"/>
                    <a:pt x="219" y="703"/>
                  </a:cubicBezTo>
                  <a:cubicBezTo>
                    <a:pt x="215" y="704"/>
                    <a:pt x="212" y="704"/>
                    <a:pt x="208" y="705"/>
                  </a:cubicBezTo>
                  <a:cubicBezTo>
                    <a:pt x="203" y="706"/>
                    <a:pt x="197" y="706"/>
                    <a:pt x="191" y="707"/>
                  </a:cubicBezTo>
                  <a:cubicBezTo>
                    <a:pt x="190" y="707"/>
                    <a:pt x="190" y="707"/>
                    <a:pt x="189" y="707"/>
                  </a:cubicBezTo>
                  <a:cubicBezTo>
                    <a:pt x="188" y="707"/>
                    <a:pt x="187" y="707"/>
                    <a:pt x="186" y="708"/>
                  </a:cubicBezTo>
                  <a:cubicBezTo>
                    <a:pt x="182" y="708"/>
                    <a:pt x="178" y="709"/>
                    <a:pt x="174" y="710"/>
                  </a:cubicBezTo>
                  <a:cubicBezTo>
                    <a:pt x="179" y="709"/>
                    <a:pt x="183" y="709"/>
                    <a:pt x="188" y="708"/>
                  </a:cubicBezTo>
                  <a:cubicBezTo>
                    <a:pt x="188" y="708"/>
                    <a:pt x="189" y="708"/>
                    <a:pt x="189" y="708"/>
                  </a:cubicBezTo>
                  <a:cubicBezTo>
                    <a:pt x="199" y="707"/>
                    <a:pt x="209" y="706"/>
                    <a:pt x="219" y="704"/>
                  </a:cubicBezTo>
                  <a:cubicBezTo>
                    <a:pt x="223" y="704"/>
                    <a:pt x="227" y="703"/>
                    <a:pt x="230" y="702"/>
                  </a:cubicBezTo>
                  <a:cubicBezTo>
                    <a:pt x="231" y="702"/>
                    <a:pt x="231" y="702"/>
                    <a:pt x="231" y="702"/>
                  </a:cubicBezTo>
                  <a:cubicBezTo>
                    <a:pt x="240" y="701"/>
                    <a:pt x="250" y="699"/>
                    <a:pt x="259" y="697"/>
                  </a:cubicBezTo>
                  <a:cubicBezTo>
                    <a:pt x="261" y="697"/>
                    <a:pt x="263" y="696"/>
                    <a:pt x="265" y="696"/>
                  </a:cubicBezTo>
                  <a:cubicBezTo>
                    <a:pt x="271" y="695"/>
                    <a:pt x="276" y="693"/>
                    <a:pt x="282" y="692"/>
                  </a:cubicBezTo>
                  <a:cubicBezTo>
                    <a:pt x="283" y="692"/>
                    <a:pt x="283" y="692"/>
                    <a:pt x="284" y="692"/>
                  </a:cubicBezTo>
                  <a:cubicBezTo>
                    <a:pt x="287" y="691"/>
                    <a:pt x="291" y="690"/>
                    <a:pt x="294" y="689"/>
                  </a:cubicBezTo>
                  <a:cubicBezTo>
                    <a:pt x="296" y="689"/>
                    <a:pt x="297" y="689"/>
                    <a:pt x="299" y="688"/>
                  </a:cubicBezTo>
                  <a:cubicBezTo>
                    <a:pt x="306" y="687"/>
                    <a:pt x="314" y="685"/>
                    <a:pt x="322" y="683"/>
                  </a:cubicBezTo>
                  <a:cubicBezTo>
                    <a:pt x="323" y="682"/>
                    <a:pt x="324" y="682"/>
                    <a:pt x="325" y="682"/>
                  </a:cubicBezTo>
                  <a:cubicBezTo>
                    <a:pt x="335" y="679"/>
                    <a:pt x="345" y="677"/>
                    <a:pt x="355" y="674"/>
                  </a:cubicBezTo>
                  <a:cubicBezTo>
                    <a:pt x="355" y="674"/>
                    <a:pt x="356" y="673"/>
                    <a:pt x="357" y="673"/>
                  </a:cubicBezTo>
                  <a:cubicBezTo>
                    <a:pt x="367" y="670"/>
                    <a:pt x="377" y="667"/>
                    <a:pt x="387" y="664"/>
                  </a:cubicBezTo>
                  <a:cubicBezTo>
                    <a:pt x="388" y="664"/>
                    <a:pt x="389" y="664"/>
                    <a:pt x="390" y="664"/>
                  </a:cubicBezTo>
                  <a:cubicBezTo>
                    <a:pt x="400" y="661"/>
                    <a:pt x="410" y="657"/>
                    <a:pt x="420" y="654"/>
                  </a:cubicBezTo>
                  <a:cubicBezTo>
                    <a:pt x="421" y="654"/>
                    <a:pt x="421" y="654"/>
                    <a:pt x="422" y="654"/>
                  </a:cubicBezTo>
                  <a:cubicBezTo>
                    <a:pt x="428" y="652"/>
                    <a:pt x="434" y="650"/>
                    <a:pt x="440" y="648"/>
                  </a:cubicBezTo>
                  <a:cubicBezTo>
                    <a:pt x="440" y="648"/>
                    <a:pt x="440" y="648"/>
                    <a:pt x="441" y="648"/>
                  </a:cubicBezTo>
                  <a:cubicBezTo>
                    <a:pt x="443" y="647"/>
                    <a:pt x="446" y="646"/>
                    <a:pt x="448" y="645"/>
                  </a:cubicBezTo>
                  <a:cubicBezTo>
                    <a:pt x="449" y="645"/>
                    <a:pt x="450" y="645"/>
                    <a:pt x="450" y="645"/>
                  </a:cubicBezTo>
                  <a:cubicBezTo>
                    <a:pt x="456" y="643"/>
                    <a:pt x="461" y="641"/>
                    <a:pt x="467" y="639"/>
                  </a:cubicBezTo>
                  <a:cubicBezTo>
                    <a:pt x="467" y="639"/>
                    <a:pt x="468" y="639"/>
                    <a:pt x="469" y="639"/>
                  </a:cubicBezTo>
                  <a:cubicBezTo>
                    <a:pt x="474" y="637"/>
                    <a:pt x="480" y="635"/>
                    <a:pt x="485" y="633"/>
                  </a:cubicBezTo>
                  <a:cubicBezTo>
                    <a:pt x="486" y="633"/>
                    <a:pt x="486" y="633"/>
                    <a:pt x="487" y="633"/>
                  </a:cubicBezTo>
                  <a:cubicBezTo>
                    <a:pt x="492" y="631"/>
                    <a:pt x="498" y="629"/>
                    <a:pt x="503" y="627"/>
                  </a:cubicBezTo>
                  <a:cubicBezTo>
                    <a:pt x="504" y="627"/>
                    <a:pt x="504" y="627"/>
                    <a:pt x="505" y="627"/>
                  </a:cubicBezTo>
                  <a:cubicBezTo>
                    <a:pt x="511" y="625"/>
                    <a:pt x="516" y="623"/>
                    <a:pt x="522" y="621"/>
                  </a:cubicBezTo>
                  <a:cubicBezTo>
                    <a:pt x="522" y="621"/>
                    <a:pt x="523" y="621"/>
                    <a:pt x="524" y="620"/>
                  </a:cubicBezTo>
                  <a:cubicBezTo>
                    <a:pt x="526" y="620"/>
                    <a:pt x="528" y="619"/>
                    <a:pt x="530" y="618"/>
                  </a:cubicBezTo>
                  <a:cubicBezTo>
                    <a:pt x="530" y="618"/>
                    <a:pt x="530" y="618"/>
                    <a:pt x="531" y="618"/>
                  </a:cubicBezTo>
                  <a:cubicBezTo>
                    <a:pt x="534" y="617"/>
                    <a:pt x="538" y="616"/>
                    <a:pt x="542" y="614"/>
                  </a:cubicBezTo>
                  <a:cubicBezTo>
                    <a:pt x="542" y="614"/>
                    <a:pt x="543" y="614"/>
                    <a:pt x="544" y="614"/>
                  </a:cubicBezTo>
                  <a:cubicBezTo>
                    <a:pt x="550" y="611"/>
                    <a:pt x="557" y="609"/>
                    <a:pt x="564" y="607"/>
                  </a:cubicBezTo>
                  <a:cubicBezTo>
                    <a:pt x="564" y="607"/>
                    <a:pt x="565" y="607"/>
                    <a:pt x="566" y="606"/>
                  </a:cubicBezTo>
                  <a:cubicBezTo>
                    <a:pt x="573" y="604"/>
                    <a:pt x="581" y="601"/>
                    <a:pt x="589" y="599"/>
                  </a:cubicBezTo>
                  <a:cubicBezTo>
                    <a:pt x="589" y="598"/>
                    <a:pt x="590" y="598"/>
                    <a:pt x="591" y="598"/>
                  </a:cubicBezTo>
                  <a:cubicBezTo>
                    <a:pt x="600" y="595"/>
                    <a:pt x="609" y="592"/>
                    <a:pt x="618" y="589"/>
                  </a:cubicBezTo>
                  <a:cubicBezTo>
                    <a:pt x="618" y="589"/>
                    <a:pt x="619" y="589"/>
                    <a:pt x="620" y="589"/>
                  </a:cubicBezTo>
                  <a:cubicBezTo>
                    <a:pt x="633" y="585"/>
                    <a:pt x="646" y="580"/>
                    <a:pt x="659" y="577"/>
                  </a:cubicBezTo>
                  <a:cubicBezTo>
                    <a:pt x="659" y="577"/>
                    <a:pt x="660" y="577"/>
                    <a:pt x="660" y="576"/>
                  </a:cubicBezTo>
                  <a:cubicBezTo>
                    <a:pt x="664" y="575"/>
                    <a:pt x="668" y="574"/>
                    <a:pt x="672" y="573"/>
                  </a:cubicBezTo>
                  <a:cubicBezTo>
                    <a:pt x="672" y="573"/>
                    <a:pt x="673" y="573"/>
                    <a:pt x="674" y="573"/>
                  </a:cubicBezTo>
                  <a:cubicBezTo>
                    <a:pt x="678" y="571"/>
                    <a:pt x="682" y="570"/>
                    <a:pt x="686" y="569"/>
                  </a:cubicBezTo>
                  <a:cubicBezTo>
                    <a:pt x="687" y="569"/>
                    <a:pt x="688" y="569"/>
                    <a:pt x="688" y="568"/>
                  </a:cubicBezTo>
                  <a:cubicBezTo>
                    <a:pt x="691" y="568"/>
                    <a:pt x="693" y="567"/>
                    <a:pt x="696" y="567"/>
                  </a:cubicBezTo>
                  <a:cubicBezTo>
                    <a:pt x="696" y="566"/>
                    <a:pt x="697" y="566"/>
                    <a:pt x="697" y="566"/>
                  </a:cubicBezTo>
                  <a:cubicBezTo>
                    <a:pt x="698" y="566"/>
                    <a:pt x="698" y="566"/>
                    <a:pt x="698" y="566"/>
                  </a:cubicBezTo>
                  <a:cubicBezTo>
                    <a:pt x="698" y="566"/>
                    <a:pt x="699" y="566"/>
                    <a:pt x="700" y="566"/>
                  </a:cubicBezTo>
                  <a:cubicBezTo>
                    <a:pt x="701" y="565"/>
                    <a:pt x="702" y="565"/>
                    <a:pt x="703" y="565"/>
                  </a:cubicBezTo>
                  <a:cubicBezTo>
                    <a:pt x="704" y="564"/>
                    <a:pt x="705" y="564"/>
                    <a:pt x="706" y="564"/>
                  </a:cubicBezTo>
                  <a:cubicBezTo>
                    <a:pt x="707" y="564"/>
                    <a:pt x="707" y="564"/>
                    <a:pt x="708" y="563"/>
                  </a:cubicBezTo>
                  <a:cubicBezTo>
                    <a:pt x="716" y="561"/>
                    <a:pt x="724" y="560"/>
                    <a:pt x="732" y="558"/>
                  </a:cubicBezTo>
                  <a:cubicBezTo>
                    <a:pt x="733" y="558"/>
                    <a:pt x="734" y="557"/>
                    <a:pt x="735" y="557"/>
                  </a:cubicBezTo>
                  <a:cubicBezTo>
                    <a:pt x="742" y="556"/>
                    <a:pt x="748" y="555"/>
                    <a:pt x="754" y="554"/>
                  </a:cubicBezTo>
                  <a:cubicBezTo>
                    <a:pt x="754" y="554"/>
                    <a:pt x="755" y="554"/>
                    <a:pt x="755" y="553"/>
                  </a:cubicBezTo>
                  <a:cubicBezTo>
                    <a:pt x="767" y="551"/>
                    <a:pt x="778" y="550"/>
                    <a:pt x="789" y="549"/>
                  </a:cubicBezTo>
                  <a:cubicBezTo>
                    <a:pt x="790" y="549"/>
                    <a:pt x="791" y="549"/>
                    <a:pt x="792" y="549"/>
                  </a:cubicBezTo>
                  <a:cubicBezTo>
                    <a:pt x="796" y="548"/>
                    <a:pt x="800" y="548"/>
                    <a:pt x="804" y="548"/>
                  </a:cubicBezTo>
                  <a:cubicBezTo>
                    <a:pt x="804" y="548"/>
                    <a:pt x="805" y="548"/>
                    <a:pt x="805" y="548"/>
                  </a:cubicBezTo>
                  <a:cubicBezTo>
                    <a:pt x="809" y="548"/>
                    <a:pt x="812" y="548"/>
                    <a:pt x="815" y="548"/>
                  </a:cubicBezTo>
                  <a:cubicBezTo>
                    <a:pt x="818" y="548"/>
                    <a:pt x="820" y="548"/>
                    <a:pt x="822" y="548"/>
                  </a:cubicBezTo>
                  <a:cubicBezTo>
                    <a:pt x="823" y="548"/>
                    <a:pt x="824" y="548"/>
                    <a:pt x="824" y="548"/>
                  </a:cubicBezTo>
                  <a:cubicBezTo>
                    <a:pt x="833" y="548"/>
                    <a:pt x="842" y="549"/>
                    <a:pt x="850" y="551"/>
                  </a:cubicBezTo>
                  <a:cubicBezTo>
                    <a:pt x="849" y="550"/>
                    <a:pt x="849" y="550"/>
                    <a:pt x="848" y="549"/>
                  </a:cubicBezTo>
                  <a:cubicBezTo>
                    <a:pt x="840" y="548"/>
                    <a:pt x="831" y="547"/>
                    <a:pt x="823" y="547"/>
                  </a:cubicBezTo>
                  <a:cubicBezTo>
                    <a:pt x="822" y="547"/>
                    <a:pt x="822" y="547"/>
                    <a:pt x="821" y="547"/>
                  </a:cubicBezTo>
                  <a:cubicBezTo>
                    <a:pt x="819" y="547"/>
                    <a:pt x="817" y="547"/>
                    <a:pt x="815" y="547"/>
                  </a:cubicBezTo>
                  <a:moveTo>
                    <a:pt x="851" y="550"/>
                  </a:moveTo>
                  <a:cubicBezTo>
                    <a:pt x="851" y="550"/>
                    <a:pt x="852" y="551"/>
                    <a:pt x="853" y="551"/>
                  </a:cubicBezTo>
                  <a:cubicBezTo>
                    <a:pt x="855" y="552"/>
                    <a:pt x="858" y="552"/>
                    <a:pt x="860" y="553"/>
                  </a:cubicBezTo>
                  <a:cubicBezTo>
                    <a:pt x="858" y="552"/>
                    <a:pt x="856" y="551"/>
                    <a:pt x="854" y="551"/>
                  </a:cubicBezTo>
                  <a:cubicBezTo>
                    <a:pt x="853" y="550"/>
                    <a:pt x="852" y="550"/>
                    <a:pt x="851" y="550"/>
                  </a:cubicBezTo>
                  <a:moveTo>
                    <a:pt x="860" y="552"/>
                  </a:moveTo>
                  <a:cubicBezTo>
                    <a:pt x="862" y="553"/>
                    <a:pt x="864" y="554"/>
                    <a:pt x="865" y="554"/>
                  </a:cubicBezTo>
                  <a:cubicBezTo>
                    <a:pt x="865" y="554"/>
                    <a:pt x="865" y="555"/>
                    <a:pt x="865" y="555"/>
                  </a:cubicBezTo>
                  <a:cubicBezTo>
                    <a:pt x="866" y="555"/>
                    <a:pt x="866" y="555"/>
                    <a:pt x="867" y="555"/>
                  </a:cubicBezTo>
                  <a:cubicBezTo>
                    <a:pt x="871" y="556"/>
                    <a:pt x="875" y="558"/>
                    <a:pt x="879" y="560"/>
                  </a:cubicBezTo>
                  <a:cubicBezTo>
                    <a:pt x="881" y="561"/>
                    <a:pt x="883" y="562"/>
                    <a:pt x="884" y="562"/>
                  </a:cubicBezTo>
                  <a:cubicBezTo>
                    <a:pt x="885" y="563"/>
                    <a:pt x="885" y="563"/>
                    <a:pt x="886" y="563"/>
                  </a:cubicBezTo>
                  <a:cubicBezTo>
                    <a:pt x="887" y="564"/>
                    <a:pt x="888" y="564"/>
                    <a:pt x="888" y="565"/>
                  </a:cubicBezTo>
                  <a:cubicBezTo>
                    <a:pt x="890" y="566"/>
                    <a:pt x="891" y="567"/>
                    <a:pt x="892" y="568"/>
                  </a:cubicBezTo>
                  <a:cubicBezTo>
                    <a:pt x="893" y="568"/>
                    <a:pt x="894" y="568"/>
                    <a:pt x="894" y="569"/>
                  </a:cubicBezTo>
                  <a:cubicBezTo>
                    <a:pt x="895" y="569"/>
                    <a:pt x="896" y="570"/>
                    <a:pt x="896" y="571"/>
                  </a:cubicBezTo>
                  <a:cubicBezTo>
                    <a:pt x="897" y="571"/>
                    <a:pt x="897" y="571"/>
                    <a:pt x="898" y="572"/>
                  </a:cubicBezTo>
                  <a:cubicBezTo>
                    <a:pt x="900" y="573"/>
                    <a:pt x="902" y="575"/>
                    <a:pt x="904" y="577"/>
                  </a:cubicBezTo>
                  <a:cubicBezTo>
                    <a:pt x="904" y="577"/>
                    <a:pt x="904" y="578"/>
                    <a:pt x="905" y="578"/>
                  </a:cubicBezTo>
                  <a:cubicBezTo>
                    <a:pt x="906" y="579"/>
                    <a:pt x="907" y="580"/>
                    <a:pt x="908" y="581"/>
                  </a:cubicBezTo>
                  <a:cubicBezTo>
                    <a:pt x="908" y="581"/>
                    <a:pt x="908" y="582"/>
                    <a:pt x="908" y="582"/>
                  </a:cubicBezTo>
                  <a:cubicBezTo>
                    <a:pt x="909" y="582"/>
                    <a:pt x="909" y="583"/>
                    <a:pt x="910" y="584"/>
                  </a:cubicBezTo>
                  <a:cubicBezTo>
                    <a:pt x="910" y="584"/>
                    <a:pt x="910" y="584"/>
                    <a:pt x="911" y="585"/>
                  </a:cubicBezTo>
                  <a:cubicBezTo>
                    <a:pt x="912" y="587"/>
                    <a:pt x="914" y="589"/>
                    <a:pt x="915" y="591"/>
                  </a:cubicBezTo>
                  <a:cubicBezTo>
                    <a:pt x="915" y="591"/>
                    <a:pt x="915" y="591"/>
                    <a:pt x="916" y="592"/>
                  </a:cubicBezTo>
                  <a:cubicBezTo>
                    <a:pt x="917" y="593"/>
                    <a:pt x="917" y="594"/>
                    <a:pt x="918" y="596"/>
                  </a:cubicBezTo>
                  <a:cubicBezTo>
                    <a:pt x="918" y="596"/>
                    <a:pt x="919" y="596"/>
                    <a:pt x="919" y="597"/>
                  </a:cubicBezTo>
                  <a:cubicBezTo>
                    <a:pt x="919" y="597"/>
                    <a:pt x="919" y="597"/>
                    <a:pt x="919" y="598"/>
                  </a:cubicBezTo>
                  <a:cubicBezTo>
                    <a:pt x="920" y="598"/>
                    <a:pt x="920" y="598"/>
                    <a:pt x="920" y="599"/>
                  </a:cubicBezTo>
                  <a:cubicBezTo>
                    <a:pt x="920" y="599"/>
                    <a:pt x="921" y="600"/>
                    <a:pt x="921" y="601"/>
                  </a:cubicBezTo>
                  <a:cubicBezTo>
                    <a:pt x="921" y="601"/>
                    <a:pt x="921" y="602"/>
                    <a:pt x="922" y="602"/>
                  </a:cubicBezTo>
                  <a:cubicBezTo>
                    <a:pt x="922" y="603"/>
                    <a:pt x="923" y="604"/>
                    <a:pt x="923" y="606"/>
                  </a:cubicBezTo>
                  <a:cubicBezTo>
                    <a:pt x="924" y="606"/>
                    <a:pt x="924" y="606"/>
                    <a:pt x="924" y="607"/>
                  </a:cubicBezTo>
                  <a:cubicBezTo>
                    <a:pt x="925" y="609"/>
                    <a:pt x="926" y="611"/>
                    <a:pt x="927" y="613"/>
                  </a:cubicBezTo>
                  <a:cubicBezTo>
                    <a:pt x="927" y="614"/>
                    <a:pt x="927" y="614"/>
                    <a:pt x="927" y="614"/>
                  </a:cubicBezTo>
                  <a:cubicBezTo>
                    <a:pt x="928" y="617"/>
                    <a:pt x="929" y="619"/>
                    <a:pt x="929" y="621"/>
                  </a:cubicBezTo>
                  <a:cubicBezTo>
                    <a:pt x="929" y="622"/>
                    <a:pt x="929" y="622"/>
                    <a:pt x="930" y="622"/>
                  </a:cubicBezTo>
                  <a:cubicBezTo>
                    <a:pt x="930" y="623"/>
                    <a:pt x="930" y="624"/>
                    <a:pt x="930" y="625"/>
                  </a:cubicBezTo>
                  <a:cubicBezTo>
                    <a:pt x="930" y="625"/>
                    <a:pt x="931" y="625"/>
                    <a:pt x="931" y="626"/>
                  </a:cubicBezTo>
                  <a:cubicBezTo>
                    <a:pt x="932" y="630"/>
                    <a:pt x="933" y="633"/>
                    <a:pt x="933" y="637"/>
                  </a:cubicBezTo>
                  <a:cubicBezTo>
                    <a:pt x="933" y="638"/>
                    <a:pt x="933" y="638"/>
                    <a:pt x="934" y="638"/>
                  </a:cubicBezTo>
                  <a:cubicBezTo>
                    <a:pt x="934" y="640"/>
                    <a:pt x="934" y="641"/>
                    <a:pt x="934" y="643"/>
                  </a:cubicBezTo>
                  <a:cubicBezTo>
                    <a:pt x="934" y="643"/>
                    <a:pt x="934" y="644"/>
                    <a:pt x="935" y="644"/>
                  </a:cubicBezTo>
                  <a:cubicBezTo>
                    <a:pt x="935" y="646"/>
                    <a:pt x="935" y="647"/>
                    <a:pt x="935" y="648"/>
                  </a:cubicBezTo>
                  <a:cubicBezTo>
                    <a:pt x="935" y="649"/>
                    <a:pt x="935" y="649"/>
                    <a:pt x="935" y="649"/>
                  </a:cubicBezTo>
                  <a:cubicBezTo>
                    <a:pt x="935" y="650"/>
                    <a:pt x="936" y="651"/>
                    <a:pt x="936" y="653"/>
                  </a:cubicBezTo>
                  <a:cubicBezTo>
                    <a:pt x="936" y="653"/>
                    <a:pt x="936" y="653"/>
                    <a:pt x="936" y="654"/>
                  </a:cubicBezTo>
                  <a:cubicBezTo>
                    <a:pt x="936" y="655"/>
                    <a:pt x="936" y="656"/>
                    <a:pt x="936" y="657"/>
                  </a:cubicBezTo>
                  <a:cubicBezTo>
                    <a:pt x="936" y="658"/>
                    <a:pt x="936" y="659"/>
                    <a:pt x="936" y="659"/>
                  </a:cubicBezTo>
                  <a:cubicBezTo>
                    <a:pt x="936" y="660"/>
                    <a:pt x="936" y="660"/>
                    <a:pt x="937" y="660"/>
                  </a:cubicBezTo>
                  <a:cubicBezTo>
                    <a:pt x="937" y="660"/>
                    <a:pt x="937" y="661"/>
                    <a:pt x="937" y="661"/>
                  </a:cubicBezTo>
                  <a:cubicBezTo>
                    <a:pt x="937" y="661"/>
                    <a:pt x="937" y="662"/>
                    <a:pt x="937" y="662"/>
                  </a:cubicBezTo>
                  <a:cubicBezTo>
                    <a:pt x="967" y="881"/>
                    <a:pt x="1666" y="1477"/>
                    <a:pt x="1892" y="1478"/>
                  </a:cubicBezTo>
                  <a:cubicBezTo>
                    <a:pt x="1914" y="1478"/>
                    <a:pt x="1932" y="1472"/>
                    <a:pt x="1944" y="1460"/>
                  </a:cubicBezTo>
                  <a:cubicBezTo>
                    <a:pt x="1956" y="1448"/>
                    <a:pt x="1962" y="1429"/>
                    <a:pt x="1962" y="1403"/>
                  </a:cubicBezTo>
                  <a:cubicBezTo>
                    <a:pt x="1962" y="1365"/>
                    <a:pt x="1948" y="1311"/>
                    <a:pt x="1917" y="1239"/>
                  </a:cubicBezTo>
                  <a:cubicBezTo>
                    <a:pt x="1916" y="1237"/>
                    <a:pt x="1915" y="1235"/>
                    <a:pt x="1914" y="1233"/>
                  </a:cubicBezTo>
                  <a:cubicBezTo>
                    <a:pt x="1947" y="1309"/>
                    <a:pt x="1961" y="1364"/>
                    <a:pt x="1961" y="1403"/>
                  </a:cubicBezTo>
                  <a:cubicBezTo>
                    <a:pt x="1961" y="1455"/>
                    <a:pt x="1936" y="1477"/>
                    <a:pt x="1892" y="1477"/>
                  </a:cubicBezTo>
                  <a:cubicBezTo>
                    <a:pt x="1892" y="1477"/>
                    <a:pt x="1892" y="1477"/>
                    <a:pt x="1892" y="1477"/>
                  </a:cubicBezTo>
                  <a:cubicBezTo>
                    <a:pt x="1666" y="1477"/>
                    <a:pt x="968" y="880"/>
                    <a:pt x="938" y="662"/>
                  </a:cubicBezTo>
                  <a:cubicBezTo>
                    <a:pt x="938" y="662"/>
                    <a:pt x="938" y="662"/>
                    <a:pt x="938" y="661"/>
                  </a:cubicBezTo>
                  <a:cubicBezTo>
                    <a:pt x="938" y="661"/>
                    <a:pt x="938" y="661"/>
                    <a:pt x="938" y="661"/>
                  </a:cubicBezTo>
                  <a:cubicBezTo>
                    <a:pt x="938" y="660"/>
                    <a:pt x="937" y="660"/>
                    <a:pt x="937" y="660"/>
                  </a:cubicBezTo>
                  <a:cubicBezTo>
                    <a:pt x="937" y="659"/>
                    <a:pt x="937" y="658"/>
                    <a:pt x="937" y="657"/>
                  </a:cubicBezTo>
                  <a:cubicBezTo>
                    <a:pt x="937" y="656"/>
                    <a:pt x="937" y="655"/>
                    <a:pt x="937" y="654"/>
                  </a:cubicBezTo>
                  <a:cubicBezTo>
                    <a:pt x="937" y="654"/>
                    <a:pt x="937" y="653"/>
                    <a:pt x="937" y="653"/>
                  </a:cubicBezTo>
                  <a:cubicBezTo>
                    <a:pt x="937" y="652"/>
                    <a:pt x="936" y="651"/>
                    <a:pt x="936" y="650"/>
                  </a:cubicBezTo>
                  <a:cubicBezTo>
                    <a:pt x="936" y="649"/>
                    <a:pt x="936" y="649"/>
                    <a:pt x="936" y="649"/>
                  </a:cubicBezTo>
                  <a:cubicBezTo>
                    <a:pt x="936" y="647"/>
                    <a:pt x="936" y="646"/>
                    <a:pt x="936" y="645"/>
                  </a:cubicBezTo>
                  <a:cubicBezTo>
                    <a:pt x="936" y="645"/>
                    <a:pt x="936" y="644"/>
                    <a:pt x="935" y="644"/>
                  </a:cubicBezTo>
                  <a:cubicBezTo>
                    <a:pt x="935" y="642"/>
                    <a:pt x="935" y="640"/>
                    <a:pt x="935" y="639"/>
                  </a:cubicBezTo>
                  <a:cubicBezTo>
                    <a:pt x="935" y="638"/>
                    <a:pt x="934" y="638"/>
                    <a:pt x="934" y="638"/>
                  </a:cubicBezTo>
                  <a:cubicBezTo>
                    <a:pt x="934" y="634"/>
                    <a:pt x="933" y="630"/>
                    <a:pt x="932" y="626"/>
                  </a:cubicBezTo>
                  <a:cubicBezTo>
                    <a:pt x="932" y="626"/>
                    <a:pt x="932" y="626"/>
                    <a:pt x="931" y="625"/>
                  </a:cubicBezTo>
                  <a:cubicBezTo>
                    <a:pt x="931" y="624"/>
                    <a:pt x="931" y="623"/>
                    <a:pt x="931" y="622"/>
                  </a:cubicBezTo>
                  <a:cubicBezTo>
                    <a:pt x="931" y="622"/>
                    <a:pt x="930" y="622"/>
                    <a:pt x="930" y="621"/>
                  </a:cubicBezTo>
                  <a:cubicBezTo>
                    <a:pt x="930" y="619"/>
                    <a:pt x="929" y="617"/>
                    <a:pt x="928" y="615"/>
                  </a:cubicBezTo>
                  <a:cubicBezTo>
                    <a:pt x="928" y="614"/>
                    <a:pt x="928" y="614"/>
                    <a:pt x="928" y="613"/>
                  </a:cubicBezTo>
                  <a:cubicBezTo>
                    <a:pt x="927" y="611"/>
                    <a:pt x="926" y="609"/>
                    <a:pt x="925" y="607"/>
                  </a:cubicBezTo>
                  <a:cubicBezTo>
                    <a:pt x="925" y="607"/>
                    <a:pt x="925" y="606"/>
                    <a:pt x="925" y="606"/>
                  </a:cubicBezTo>
                  <a:cubicBezTo>
                    <a:pt x="924" y="605"/>
                    <a:pt x="923" y="603"/>
                    <a:pt x="923" y="602"/>
                  </a:cubicBezTo>
                  <a:cubicBezTo>
                    <a:pt x="923" y="602"/>
                    <a:pt x="922" y="601"/>
                    <a:pt x="922" y="601"/>
                  </a:cubicBezTo>
                  <a:cubicBezTo>
                    <a:pt x="922" y="600"/>
                    <a:pt x="921" y="599"/>
                    <a:pt x="921" y="599"/>
                  </a:cubicBezTo>
                  <a:cubicBezTo>
                    <a:pt x="921" y="598"/>
                    <a:pt x="921" y="598"/>
                    <a:pt x="920" y="598"/>
                  </a:cubicBezTo>
                  <a:cubicBezTo>
                    <a:pt x="920" y="597"/>
                    <a:pt x="920" y="597"/>
                    <a:pt x="920" y="597"/>
                  </a:cubicBezTo>
                  <a:cubicBezTo>
                    <a:pt x="920" y="596"/>
                    <a:pt x="920" y="596"/>
                    <a:pt x="919" y="596"/>
                  </a:cubicBezTo>
                  <a:cubicBezTo>
                    <a:pt x="919" y="594"/>
                    <a:pt x="918" y="593"/>
                    <a:pt x="917" y="592"/>
                  </a:cubicBezTo>
                  <a:cubicBezTo>
                    <a:pt x="917" y="591"/>
                    <a:pt x="916" y="591"/>
                    <a:pt x="916" y="591"/>
                  </a:cubicBezTo>
                  <a:cubicBezTo>
                    <a:pt x="915" y="589"/>
                    <a:pt x="913" y="587"/>
                    <a:pt x="912" y="585"/>
                  </a:cubicBezTo>
                  <a:cubicBezTo>
                    <a:pt x="912" y="584"/>
                    <a:pt x="911" y="584"/>
                    <a:pt x="911" y="584"/>
                  </a:cubicBezTo>
                  <a:cubicBezTo>
                    <a:pt x="910" y="583"/>
                    <a:pt x="910" y="582"/>
                    <a:pt x="909" y="581"/>
                  </a:cubicBezTo>
                  <a:cubicBezTo>
                    <a:pt x="909" y="581"/>
                    <a:pt x="909" y="581"/>
                    <a:pt x="908" y="581"/>
                  </a:cubicBezTo>
                  <a:cubicBezTo>
                    <a:pt x="908" y="580"/>
                    <a:pt x="907" y="579"/>
                    <a:pt x="906" y="578"/>
                  </a:cubicBezTo>
                  <a:cubicBezTo>
                    <a:pt x="906" y="578"/>
                    <a:pt x="905" y="577"/>
                    <a:pt x="905" y="577"/>
                  </a:cubicBezTo>
                  <a:cubicBezTo>
                    <a:pt x="903" y="575"/>
                    <a:pt x="901" y="573"/>
                    <a:pt x="899" y="572"/>
                  </a:cubicBezTo>
                  <a:cubicBezTo>
                    <a:pt x="899" y="571"/>
                    <a:pt x="898" y="571"/>
                    <a:pt x="898" y="571"/>
                  </a:cubicBezTo>
                  <a:cubicBezTo>
                    <a:pt x="897" y="570"/>
                    <a:pt x="897" y="570"/>
                    <a:pt x="896" y="569"/>
                  </a:cubicBezTo>
                  <a:cubicBezTo>
                    <a:pt x="895" y="569"/>
                    <a:pt x="895" y="568"/>
                    <a:pt x="894" y="568"/>
                  </a:cubicBezTo>
                  <a:cubicBezTo>
                    <a:pt x="893" y="567"/>
                    <a:pt x="892" y="566"/>
                    <a:pt x="891" y="566"/>
                  </a:cubicBezTo>
                  <a:cubicBezTo>
                    <a:pt x="890" y="565"/>
                    <a:pt x="890" y="565"/>
                    <a:pt x="889" y="564"/>
                  </a:cubicBezTo>
                  <a:cubicBezTo>
                    <a:pt x="887" y="563"/>
                    <a:pt x="886" y="562"/>
                    <a:pt x="884" y="561"/>
                  </a:cubicBezTo>
                  <a:cubicBezTo>
                    <a:pt x="879" y="559"/>
                    <a:pt x="874" y="556"/>
                    <a:pt x="868" y="554"/>
                  </a:cubicBezTo>
                  <a:cubicBezTo>
                    <a:pt x="868" y="554"/>
                    <a:pt x="867" y="554"/>
                    <a:pt x="867" y="554"/>
                  </a:cubicBezTo>
                  <a:cubicBezTo>
                    <a:pt x="865" y="553"/>
                    <a:pt x="862" y="553"/>
                    <a:pt x="860" y="552"/>
                  </a:cubicBezTo>
                  <a:moveTo>
                    <a:pt x="174" y="709"/>
                  </a:moveTo>
                  <a:cubicBezTo>
                    <a:pt x="168" y="709"/>
                    <a:pt x="162" y="710"/>
                    <a:pt x="157" y="710"/>
                  </a:cubicBezTo>
                  <a:cubicBezTo>
                    <a:pt x="156" y="710"/>
                    <a:pt x="156" y="710"/>
                    <a:pt x="155" y="710"/>
                  </a:cubicBezTo>
                  <a:cubicBezTo>
                    <a:pt x="153" y="710"/>
                    <a:pt x="151" y="710"/>
                    <a:pt x="149" y="710"/>
                  </a:cubicBezTo>
                  <a:cubicBezTo>
                    <a:pt x="147" y="711"/>
                    <a:pt x="145" y="711"/>
                    <a:pt x="144" y="712"/>
                  </a:cubicBezTo>
                  <a:cubicBezTo>
                    <a:pt x="147" y="712"/>
                    <a:pt x="150" y="711"/>
                    <a:pt x="154" y="711"/>
                  </a:cubicBezTo>
                  <a:cubicBezTo>
                    <a:pt x="154" y="711"/>
                    <a:pt x="155" y="711"/>
                    <a:pt x="155" y="711"/>
                  </a:cubicBezTo>
                  <a:cubicBezTo>
                    <a:pt x="158" y="711"/>
                    <a:pt x="160" y="711"/>
                    <a:pt x="163" y="711"/>
                  </a:cubicBezTo>
                  <a:cubicBezTo>
                    <a:pt x="167" y="710"/>
                    <a:pt x="170" y="709"/>
                    <a:pt x="174" y="709"/>
                  </a:cubicBezTo>
                  <a:moveTo>
                    <a:pt x="1902" y="1208"/>
                  </a:moveTo>
                  <a:cubicBezTo>
                    <a:pt x="1905" y="1215"/>
                    <a:pt x="1908" y="1221"/>
                    <a:pt x="1911" y="1227"/>
                  </a:cubicBezTo>
                  <a:cubicBezTo>
                    <a:pt x="1912" y="1229"/>
                    <a:pt x="1913" y="1231"/>
                    <a:pt x="1914" y="1233"/>
                  </a:cubicBezTo>
                  <a:cubicBezTo>
                    <a:pt x="1913" y="1229"/>
                    <a:pt x="1911" y="1225"/>
                    <a:pt x="1909" y="1221"/>
                  </a:cubicBezTo>
                  <a:cubicBezTo>
                    <a:pt x="1907" y="1216"/>
                    <a:pt x="1905" y="1212"/>
                    <a:pt x="1902" y="1208"/>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74" name="Freeform 103"/>
            <p:cNvSpPr>
              <a:spLocks noEditPoints="1"/>
            </p:cNvSpPr>
            <p:nvPr userDrawn="1"/>
          </p:nvSpPr>
          <p:spPr bwMode="auto">
            <a:xfrm>
              <a:off x="1534" y="4313"/>
              <a:ext cx="4085" cy="3038"/>
            </a:xfrm>
            <a:custGeom>
              <a:avLst/>
              <a:gdLst>
                <a:gd name="T0" fmla="*/ 2147483646 w 2015"/>
                <a:gd name="T1" fmla="*/ 2147483646 h 1498"/>
                <a:gd name="T2" fmla="*/ 2147483646 w 2015"/>
                <a:gd name="T3" fmla="*/ 2147483646 h 1498"/>
                <a:gd name="T4" fmla="*/ 2147483646 w 2015"/>
                <a:gd name="T5" fmla="*/ 2147483646 h 1498"/>
                <a:gd name="T6" fmla="*/ 2147483646 w 2015"/>
                <a:gd name="T7" fmla="*/ 2147483646 h 1498"/>
                <a:gd name="T8" fmla="*/ 2147483646 w 2015"/>
                <a:gd name="T9" fmla="*/ 2147483646 h 1498"/>
                <a:gd name="T10" fmla="*/ 2147483646 w 2015"/>
                <a:gd name="T11" fmla="*/ 2147483646 h 1498"/>
                <a:gd name="T12" fmla="*/ 2147483646 w 2015"/>
                <a:gd name="T13" fmla="*/ 2147483646 h 1498"/>
                <a:gd name="T14" fmla="*/ 2147483646 w 2015"/>
                <a:gd name="T15" fmla="*/ 2147483646 h 1498"/>
                <a:gd name="T16" fmla="*/ 2147483646 w 2015"/>
                <a:gd name="T17" fmla="*/ 2147483646 h 1498"/>
                <a:gd name="T18" fmla="*/ 2147483646 w 2015"/>
                <a:gd name="T19" fmla="*/ 2147483646 h 1498"/>
                <a:gd name="T20" fmla="*/ 2147483646 w 2015"/>
                <a:gd name="T21" fmla="*/ 2147483646 h 1498"/>
                <a:gd name="T22" fmla="*/ 2147483646 w 2015"/>
                <a:gd name="T23" fmla="*/ 2147483646 h 1498"/>
                <a:gd name="T24" fmla="*/ 2147483646 w 2015"/>
                <a:gd name="T25" fmla="*/ 2147483646 h 1498"/>
                <a:gd name="T26" fmla="*/ 2147483646 w 2015"/>
                <a:gd name="T27" fmla="*/ 2147483646 h 1498"/>
                <a:gd name="T28" fmla="*/ 2147483646 w 2015"/>
                <a:gd name="T29" fmla="*/ 2147483646 h 1498"/>
                <a:gd name="T30" fmla="*/ 2147483646 w 2015"/>
                <a:gd name="T31" fmla="*/ 2147483646 h 1498"/>
                <a:gd name="T32" fmla="*/ 2147483646 w 2015"/>
                <a:gd name="T33" fmla="*/ 2147483646 h 1498"/>
                <a:gd name="T34" fmla="*/ 2147483646 w 2015"/>
                <a:gd name="T35" fmla="*/ 2147483646 h 1498"/>
                <a:gd name="T36" fmla="*/ 2147483646 w 2015"/>
                <a:gd name="T37" fmla="*/ 2147483646 h 1498"/>
                <a:gd name="T38" fmla="*/ 2147483646 w 2015"/>
                <a:gd name="T39" fmla="*/ 2147483646 h 1498"/>
                <a:gd name="T40" fmla="*/ 2147483646 w 2015"/>
                <a:gd name="T41" fmla="*/ 2147483646 h 1498"/>
                <a:gd name="T42" fmla="*/ 2147483646 w 2015"/>
                <a:gd name="T43" fmla="*/ 2147483646 h 1498"/>
                <a:gd name="T44" fmla="*/ 2147483646 w 2015"/>
                <a:gd name="T45" fmla="*/ 2147483646 h 1498"/>
                <a:gd name="T46" fmla="*/ 2147483646 w 2015"/>
                <a:gd name="T47" fmla="*/ 2147483646 h 1498"/>
                <a:gd name="T48" fmla="*/ 2147483646 w 2015"/>
                <a:gd name="T49" fmla="*/ 2147483646 h 1498"/>
                <a:gd name="T50" fmla="*/ 2147483646 w 2015"/>
                <a:gd name="T51" fmla="*/ 2147483646 h 1498"/>
                <a:gd name="T52" fmla="*/ 2147483646 w 2015"/>
                <a:gd name="T53" fmla="*/ 2147483646 h 1498"/>
                <a:gd name="T54" fmla="*/ 2147483646 w 2015"/>
                <a:gd name="T55" fmla="*/ 2147483646 h 1498"/>
                <a:gd name="T56" fmla="*/ 2147483646 w 2015"/>
                <a:gd name="T57" fmla="*/ 2147483646 h 1498"/>
                <a:gd name="T58" fmla="*/ 2147483646 w 2015"/>
                <a:gd name="T59" fmla="*/ 2147483646 h 1498"/>
                <a:gd name="T60" fmla="*/ 2147483646 w 2015"/>
                <a:gd name="T61" fmla="*/ 2147483646 h 1498"/>
                <a:gd name="T62" fmla="*/ 2147483646 w 2015"/>
                <a:gd name="T63" fmla="*/ 2147483646 h 1498"/>
                <a:gd name="T64" fmla="*/ 2147483646 w 2015"/>
                <a:gd name="T65" fmla="*/ 2147483646 h 1498"/>
                <a:gd name="T66" fmla="*/ 2147483646 w 2015"/>
                <a:gd name="T67" fmla="*/ 2147483646 h 1498"/>
                <a:gd name="T68" fmla="*/ 2147483646 w 2015"/>
                <a:gd name="T69" fmla="*/ 2147483646 h 1498"/>
                <a:gd name="T70" fmla="*/ 2147483646 w 2015"/>
                <a:gd name="T71" fmla="*/ 2147483646 h 1498"/>
                <a:gd name="T72" fmla="*/ 2147483646 w 2015"/>
                <a:gd name="T73" fmla="*/ 2147483646 h 1498"/>
                <a:gd name="T74" fmla="*/ 2147483646 w 2015"/>
                <a:gd name="T75" fmla="*/ 2147483646 h 1498"/>
                <a:gd name="T76" fmla="*/ 2147483646 w 2015"/>
                <a:gd name="T77" fmla="*/ 2147483646 h 1498"/>
                <a:gd name="T78" fmla="*/ 2147483646 w 2015"/>
                <a:gd name="T79" fmla="*/ 2147483646 h 1498"/>
                <a:gd name="T80" fmla="*/ 2147483646 w 2015"/>
                <a:gd name="T81" fmla="*/ 2147483646 h 1498"/>
                <a:gd name="T82" fmla="*/ 2147483646 w 2015"/>
                <a:gd name="T83" fmla="*/ 2147483646 h 1498"/>
                <a:gd name="T84" fmla="*/ 2147483646 w 2015"/>
                <a:gd name="T85" fmla="*/ 2147483646 h 1498"/>
                <a:gd name="T86" fmla="*/ 2147483646 w 2015"/>
                <a:gd name="T87" fmla="*/ 2147483646 h 1498"/>
                <a:gd name="T88" fmla="*/ 2147483646 w 2015"/>
                <a:gd name="T89" fmla="*/ 2147483646 h 1498"/>
                <a:gd name="T90" fmla="*/ 2147483646 w 2015"/>
                <a:gd name="T91" fmla="*/ 2147483646 h 1498"/>
                <a:gd name="T92" fmla="*/ 2147483646 w 2015"/>
                <a:gd name="T93" fmla="*/ 2147483646 h 1498"/>
                <a:gd name="T94" fmla="*/ 2147483646 w 2015"/>
                <a:gd name="T95" fmla="*/ 2147483646 h 1498"/>
                <a:gd name="T96" fmla="*/ 2147483646 w 2015"/>
                <a:gd name="T97" fmla="*/ 2147483646 h 1498"/>
                <a:gd name="T98" fmla="*/ 2147483646 w 2015"/>
                <a:gd name="T99" fmla="*/ 2147483646 h 1498"/>
                <a:gd name="T100" fmla="*/ 2147483646 w 2015"/>
                <a:gd name="T101" fmla="*/ 2147483646 h 1498"/>
                <a:gd name="T102" fmla="*/ 2147483646 w 2015"/>
                <a:gd name="T103" fmla="*/ 2147483646 h 1498"/>
                <a:gd name="T104" fmla="*/ 2147483646 w 2015"/>
                <a:gd name="T105" fmla="*/ 2147483646 h 1498"/>
                <a:gd name="T106" fmla="*/ 2147483646 w 2015"/>
                <a:gd name="T107" fmla="*/ 2147483646 h 1498"/>
                <a:gd name="T108" fmla="*/ 2147483646 w 2015"/>
                <a:gd name="T109" fmla="*/ 2147483646 h 1498"/>
                <a:gd name="T110" fmla="*/ 2147483646 w 2015"/>
                <a:gd name="T111" fmla="*/ 2147483646 h 1498"/>
                <a:gd name="T112" fmla="*/ 2147483646 w 2015"/>
                <a:gd name="T113" fmla="*/ 2147483646 h 1498"/>
                <a:gd name="T114" fmla="*/ 2147483646 w 2015"/>
                <a:gd name="T115" fmla="*/ 2147483646 h 1498"/>
                <a:gd name="T116" fmla="*/ 2147483646 w 2015"/>
                <a:gd name="T117" fmla="*/ 2147483646 h 1498"/>
                <a:gd name="T118" fmla="*/ 2147483646 w 2015"/>
                <a:gd name="T119" fmla="*/ 2147483646 h 149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015" h="1498">
                  <a:moveTo>
                    <a:pt x="1032" y="0"/>
                  </a:moveTo>
                  <a:cubicBezTo>
                    <a:pt x="1031" y="0"/>
                    <a:pt x="1031" y="0"/>
                    <a:pt x="1031" y="0"/>
                  </a:cubicBezTo>
                  <a:cubicBezTo>
                    <a:pt x="1030" y="0"/>
                    <a:pt x="1030" y="0"/>
                    <a:pt x="1030" y="0"/>
                  </a:cubicBezTo>
                  <a:cubicBezTo>
                    <a:pt x="1029" y="0"/>
                    <a:pt x="1028" y="0"/>
                    <a:pt x="1028" y="0"/>
                  </a:cubicBezTo>
                  <a:cubicBezTo>
                    <a:pt x="1028" y="0"/>
                    <a:pt x="1027" y="0"/>
                    <a:pt x="1027" y="0"/>
                  </a:cubicBezTo>
                  <a:cubicBezTo>
                    <a:pt x="1023" y="0"/>
                    <a:pt x="1020" y="0"/>
                    <a:pt x="1016" y="0"/>
                  </a:cubicBezTo>
                  <a:cubicBezTo>
                    <a:pt x="1015" y="0"/>
                    <a:pt x="1015" y="0"/>
                    <a:pt x="1015" y="0"/>
                  </a:cubicBezTo>
                  <a:cubicBezTo>
                    <a:pt x="1014" y="0"/>
                    <a:pt x="1014" y="0"/>
                    <a:pt x="1013" y="0"/>
                  </a:cubicBezTo>
                  <a:cubicBezTo>
                    <a:pt x="1013" y="0"/>
                    <a:pt x="1012" y="0"/>
                    <a:pt x="1012" y="0"/>
                  </a:cubicBezTo>
                  <a:cubicBezTo>
                    <a:pt x="1011" y="0"/>
                    <a:pt x="1010" y="0"/>
                    <a:pt x="1010" y="0"/>
                  </a:cubicBezTo>
                  <a:cubicBezTo>
                    <a:pt x="1009" y="0"/>
                    <a:pt x="1009" y="0"/>
                    <a:pt x="1008" y="0"/>
                  </a:cubicBezTo>
                  <a:cubicBezTo>
                    <a:pt x="1007" y="0"/>
                    <a:pt x="1005" y="0"/>
                    <a:pt x="1004" y="0"/>
                  </a:cubicBezTo>
                  <a:cubicBezTo>
                    <a:pt x="1004" y="0"/>
                    <a:pt x="1003" y="0"/>
                    <a:pt x="1003" y="1"/>
                  </a:cubicBezTo>
                  <a:cubicBezTo>
                    <a:pt x="998" y="1"/>
                    <a:pt x="992" y="1"/>
                    <a:pt x="986" y="1"/>
                  </a:cubicBezTo>
                  <a:cubicBezTo>
                    <a:pt x="986" y="1"/>
                    <a:pt x="986" y="1"/>
                    <a:pt x="985" y="1"/>
                  </a:cubicBezTo>
                  <a:cubicBezTo>
                    <a:pt x="981" y="1"/>
                    <a:pt x="977" y="1"/>
                    <a:pt x="973" y="1"/>
                  </a:cubicBezTo>
                  <a:cubicBezTo>
                    <a:pt x="972" y="1"/>
                    <a:pt x="972" y="1"/>
                    <a:pt x="971" y="1"/>
                  </a:cubicBezTo>
                  <a:cubicBezTo>
                    <a:pt x="968" y="2"/>
                    <a:pt x="965" y="2"/>
                    <a:pt x="962" y="2"/>
                  </a:cubicBezTo>
                  <a:cubicBezTo>
                    <a:pt x="961" y="2"/>
                    <a:pt x="961" y="2"/>
                    <a:pt x="960" y="2"/>
                  </a:cubicBezTo>
                  <a:cubicBezTo>
                    <a:pt x="960" y="2"/>
                    <a:pt x="960" y="2"/>
                    <a:pt x="959" y="2"/>
                  </a:cubicBezTo>
                  <a:cubicBezTo>
                    <a:pt x="959" y="2"/>
                    <a:pt x="958" y="2"/>
                    <a:pt x="958" y="2"/>
                  </a:cubicBezTo>
                  <a:cubicBezTo>
                    <a:pt x="958" y="2"/>
                    <a:pt x="958" y="2"/>
                    <a:pt x="958" y="2"/>
                  </a:cubicBezTo>
                  <a:cubicBezTo>
                    <a:pt x="957" y="2"/>
                    <a:pt x="957" y="2"/>
                    <a:pt x="956" y="2"/>
                  </a:cubicBezTo>
                  <a:cubicBezTo>
                    <a:pt x="953" y="2"/>
                    <a:pt x="950" y="2"/>
                    <a:pt x="946" y="3"/>
                  </a:cubicBezTo>
                  <a:cubicBezTo>
                    <a:pt x="946" y="3"/>
                    <a:pt x="945" y="3"/>
                    <a:pt x="944" y="3"/>
                  </a:cubicBezTo>
                  <a:cubicBezTo>
                    <a:pt x="944" y="3"/>
                    <a:pt x="943" y="3"/>
                    <a:pt x="942" y="3"/>
                  </a:cubicBezTo>
                  <a:cubicBezTo>
                    <a:pt x="941" y="3"/>
                    <a:pt x="941" y="3"/>
                    <a:pt x="940" y="3"/>
                  </a:cubicBezTo>
                  <a:cubicBezTo>
                    <a:pt x="940" y="3"/>
                    <a:pt x="939" y="3"/>
                    <a:pt x="939" y="3"/>
                  </a:cubicBezTo>
                  <a:cubicBezTo>
                    <a:pt x="938" y="3"/>
                    <a:pt x="936" y="3"/>
                    <a:pt x="935" y="3"/>
                  </a:cubicBezTo>
                  <a:cubicBezTo>
                    <a:pt x="934" y="3"/>
                    <a:pt x="933" y="3"/>
                    <a:pt x="933" y="3"/>
                  </a:cubicBezTo>
                  <a:cubicBezTo>
                    <a:pt x="928" y="4"/>
                    <a:pt x="924" y="4"/>
                    <a:pt x="919" y="4"/>
                  </a:cubicBezTo>
                  <a:cubicBezTo>
                    <a:pt x="919" y="4"/>
                    <a:pt x="918" y="5"/>
                    <a:pt x="917" y="5"/>
                  </a:cubicBezTo>
                  <a:cubicBezTo>
                    <a:pt x="914" y="5"/>
                    <a:pt x="911" y="5"/>
                    <a:pt x="908" y="5"/>
                  </a:cubicBezTo>
                  <a:cubicBezTo>
                    <a:pt x="907" y="6"/>
                    <a:pt x="907" y="6"/>
                    <a:pt x="906" y="6"/>
                  </a:cubicBezTo>
                  <a:cubicBezTo>
                    <a:pt x="905" y="6"/>
                    <a:pt x="904" y="6"/>
                    <a:pt x="903" y="6"/>
                  </a:cubicBezTo>
                  <a:cubicBezTo>
                    <a:pt x="903" y="6"/>
                    <a:pt x="902" y="6"/>
                    <a:pt x="902" y="6"/>
                  </a:cubicBezTo>
                  <a:cubicBezTo>
                    <a:pt x="901" y="6"/>
                    <a:pt x="899" y="6"/>
                    <a:pt x="898" y="7"/>
                  </a:cubicBezTo>
                  <a:cubicBezTo>
                    <a:pt x="897" y="7"/>
                    <a:pt x="897" y="7"/>
                    <a:pt x="896" y="7"/>
                  </a:cubicBezTo>
                  <a:cubicBezTo>
                    <a:pt x="894" y="7"/>
                    <a:pt x="893" y="7"/>
                    <a:pt x="891" y="7"/>
                  </a:cubicBezTo>
                  <a:cubicBezTo>
                    <a:pt x="891" y="7"/>
                    <a:pt x="891" y="7"/>
                    <a:pt x="890" y="7"/>
                  </a:cubicBezTo>
                  <a:cubicBezTo>
                    <a:pt x="886" y="8"/>
                    <a:pt x="882" y="9"/>
                    <a:pt x="878" y="9"/>
                  </a:cubicBezTo>
                  <a:cubicBezTo>
                    <a:pt x="878" y="9"/>
                    <a:pt x="877" y="9"/>
                    <a:pt x="876" y="9"/>
                  </a:cubicBezTo>
                  <a:cubicBezTo>
                    <a:pt x="864" y="11"/>
                    <a:pt x="853" y="14"/>
                    <a:pt x="842" y="16"/>
                  </a:cubicBezTo>
                  <a:cubicBezTo>
                    <a:pt x="841" y="16"/>
                    <a:pt x="840" y="16"/>
                    <a:pt x="839" y="17"/>
                  </a:cubicBezTo>
                  <a:cubicBezTo>
                    <a:pt x="839" y="17"/>
                    <a:pt x="839" y="17"/>
                    <a:pt x="839" y="17"/>
                  </a:cubicBezTo>
                  <a:cubicBezTo>
                    <a:pt x="839" y="17"/>
                    <a:pt x="838" y="17"/>
                    <a:pt x="838" y="17"/>
                  </a:cubicBezTo>
                  <a:cubicBezTo>
                    <a:pt x="828" y="20"/>
                    <a:pt x="818" y="22"/>
                    <a:pt x="809" y="25"/>
                  </a:cubicBezTo>
                  <a:cubicBezTo>
                    <a:pt x="809" y="26"/>
                    <a:pt x="809" y="26"/>
                    <a:pt x="808" y="26"/>
                  </a:cubicBezTo>
                  <a:cubicBezTo>
                    <a:pt x="799" y="29"/>
                    <a:pt x="790" y="33"/>
                    <a:pt x="783" y="37"/>
                  </a:cubicBezTo>
                  <a:cubicBezTo>
                    <a:pt x="782" y="37"/>
                    <a:pt x="782" y="37"/>
                    <a:pt x="781" y="38"/>
                  </a:cubicBezTo>
                  <a:cubicBezTo>
                    <a:pt x="780" y="38"/>
                    <a:pt x="780" y="39"/>
                    <a:pt x="779" y="39"/>
                  </a:cubicBezTo>
                  <a:cubicBezTo>
                    <a:pt x="778" y="39"/>
                    <a:pt x="778" y="40"/>
                    <a:pt x="777" y="40"/>
                  </a:cubicBezTo>
                  <a:cubicBezTo>
                    <a:pt x="772" y="43"/>
                    <a:pt x="767" y="46"/>
                    <a:pt x="762" y="50"/>
                  </a:cubicBezTo>
                  <a:cubicBezTo>
                    <a:pt x="763" y="49"/>
                    <a:pt x="764" y="49"/>
                    <a:pt x="765" y="49"/>
                  </a:cubicBezTo>
                  <a:cubicBezTo>
                    <a:pt x="768" y="46"/>
                    <a:pt x="772" y="44"/>
                    <a:pt x="776" y="41"/>
                  </a:cubicBezTo>
                  <a:cubicBezTo>
                    <a:pt x="777" y="41"/>
                    <a:pt x="777" y="41"/>
                    <a:pt x="778" y="41"/>
                  </a:cubicBezTo>
                  <a:cubicBezTo>
                    <a:pt x="779" y="40"/>
                    <a:pt x="781" y="39"/>
                    <a:pt x="782" y="38"/>
                  </a:cubicBezTo>
                  <a:cubicBezTo>
                    <a:pt x="783" y="38"/>
                    <a:pt x="783" y="38"/>
                    <a:pt x="784" y="38"/>
                  </a:cubicBezTo>
                  <a:cubicBezTo>
                    <a:pt x="791" y="34"/>
                    <a:pt x="800" y="30"/>
                    <a:pt x="809" y="27"/>
                  </a:cubicBezTo>
                  <a:cubicBezTo>
                    <a:pt x="810" y="26"/>
                    <a:pt x="810" y="26"/>
                    <a:pt x="811" y="26"/>
                  </a:cubicBezTo>
                  <a:cubicBezTo>
                    <a:pt x="819" y="23"/>
                    <a:pt x="828" y="21"/>
                    <a:pt x="837" y="18"/>
                  </a:cubicBezTo>
                  <a:cubicBezTo>
                    <a:pt x="838" y="18"/>
                    <a:pt x="839" y="18"/>
                    <a:pt x="840" y="18"/>
                  </a:cubicBezTo>
                  <a:cubicBezTo>
                    <a:pt x="840" y="18"/>
                    <a:pt x="841" y="17"/>
                    <a:pt x="841" y="17"/>
                  </a:cubicBezTo>
                  <a:cubicBezTo>
                    <a:pt x="842" y="17"/>
                    <a:pt x="842" y="17"/>
                    <a:pt x="843" y="17"/>
                  </a:cubicBezTo>
                  <a:cubicBezTo>
                    <a:pt x="854" y="14"/>
                    <a:pt x="865" y="12"/>
                    <a:pt x="878" y="10"/>
                  </a:cubicBezTo>
                  <a:cubicBezTo>
                    <a:pt x="878" y="10"/>
                    <a:pt x="879" y="10"/>
                    <a:pt x="880" y="10"/>
                  </a:cubicBezTo>
                  <a:cubicBezTo>
                    <a:pt x="883" y="10"/>
                    <a:pt x="886" y="9"/>
                    <a:pt x="890" y="9"/>
                  </a:cubicBezTo>
                  <a:cubicBezTo>
                    <a:pt x="890" y="9"/>
                    <a:pt x="891" y="8"/>
                    <a:pt x="891" y="8"/>
                  </a:cubicBezTo>
                  <a:cubicBezTo>
                    <a:pt x="893" y="8"/>
                    <a:pt x="895" y="8"/>
                    <a:pt x="898" y="8"/>
                  </a:cubicBezTo>
                  <a:cubicBezTo>
                    <a:pt x="898" y="8"/>
                    <a:pt x="899" y="7"/>
                    <a:pt x="899" y="7"/>
                  </a:cubicBezTo>
                  <a:cubicBezTo>
                    <a:pt x="900" y="7"/>
                    <a:pt x="900" y="7"/>
                    <a:pt x="901" y="7"/>
                  </a:cubicBezTo>
                  <a:cubicBezTo>
                    <a:pt x="901" y="7"/>
                    <a:pt x="902" y="7"/>
                    <a:pt x="902" y="7"/>
                  </a:cubicBezTo>
                  <a:cubicBezTo>
                    <a:pt x="904" y="7"/>
                    <a:pt x="906" y="7"/>
                    <a:pt x="908" y="7"/>
                  </a:cubicBezTo>
                  <a:cubicBezTo>
                    <a:pt x="908" y="6"/>
                    <a:pt x="909" y="6"/>
                    <a:pt x="910" y="6"/>
                  </a:cubicBezTo>
                  <a:cubicBezTo>
                    <a:pt x="913" y="6"/>
                    <a:pt x="916" y="6"/>
                    <a:pt x="919" y="5"/>
                  </a:cubicBezTo>
                  <a:cubicBezTo>
                    <a:pt x="920" y="5"/>
                    <a:pt x="921" y="5"/>
                    <a:pt x="921" y="5"/>
                  </a:cubicBezTo>
                  <a:cubicBezTo>
                    <a:pt x="926" y="5"/>
                    <a:pt x="930" y="5"/>
                    <a:pt x="935" y="4"/>
                  </a:cubicBezTo>
                  <a:cubicBezTo>
                    <a:pt x="935" y="4"/>
                    <a:pt x="936" y="4"/>
                    <a:pt x="937" y="4"/>
                  </a:cubicBezTo>
                  <a:cubicBezTo>
                    <a:pt x="937" y="4"/>
                    <a:pt x="938" y="4"/>
                    <a:pt x="939" y="4"/>
                  </a:cubicBezTo>
                  <a:cubicBezTo>
                    <a:pt x="939" y="4"/>
                    <a:pt x="939" y="4"/>
                    <a:pt x="940" y="4"/>
                  </a:cubicBezTo>
                  <a:cubicBezTo>
                    <a:pt x="941" y="4"/>
                    <a:pt x="943" y="4"/>
                    <a:pt x="944" y="4"/>
                  </a:cubicBezTo>
                  <a:cubicBezTo>
                    <a:pt x="945" y="4"/>
                    <a:pt x="946" y="4"/>
                    <a:pt x="946" y="4"/>
                  </a:cubicBezTo>
                  <a:cubicBezTo>
                    <a:pt x="946" y="4"/>
                    <a:pt x="946" y="4"/>
                    <a:pt x="947" y="4"/>
                  </a:cubicBezTo>
                  <a:cubicBezTo>
                    <a:pt x="950" y="3"/>
                    <a:pt x="953" y="3"/>
                    <a:pt x="956" y="3"/>
                  </a:cubicBezTo>
                  <a:cubicBezTo>
                    <a:pt x="956" y="3"/>
                    <a:pt x="956" y="3"/>
                    <a:pt x="957" y="3"/>
                  </a:cubicBezTo>
                  <a:cubicBezTo>
                    <a:pt x="957" y="3"/>
                    <a:pt x="957" y="3"/>
                    <a:pt x="957" y="3"/>
                  </a:cubicBezTo>
                  <a:cubicBezTo>
                    <a:pt x="958" y="3"/>
                    <a:pt x="958" y="3"/>
                    <a:pt x="958" y="3"/>
                  </a:cubicBezTo>
                  <a:cubicBezTo>
                    <a:pt x="959" y="3"/>
                    <a:pt x="959" y="3"/>
                    <a:pt x="959" y="3"/>
                  </a:cubicBezTo>
                  <a:cubicBezTo>
                    <a:pt x="960" y="3"/>
                    <a:pt x="960" y="3"/>
                    <a:pt x="961" y="3"/>
                  </a:cubicBezTo>
                  <a:cubicBezTo>
                    <a:pt x="965" y="3"/>
                    <a:pt x="969" y="3"/>
                    <a:pt x="973" y="2"/>
                  </a:cubicBezTo>
                  <a:cubicBezTo>
                    <a:pt x="973" y="2"/>
                    <a:pt x="974" y="2"/>
                    <a:pt x="975" y="2"/>
                  </a:cubicBezTo>
                  <a:cubicBezTo>
                    <a:pt x="978" y="2"/>
                    <a:pt x="981" y="2"/>
                    <a:pt x="985" y="2"/>
                  </a:cubicBezTo>
                  <a:cubicBezTo>
                    <a:pt x="985" y="2"/>
                    <a:pt x="986" y="2"/>
                    <a:pt x="986" y="2"/>
                  </a:cubicBezTo>
                  <a:cubicBezTo>
                    <a:pt x="991" y="2"/>
                    <a:pt x="997" y="2"/>
                    <a:pt x="1002" y="1"/>
                  </a:cubicBezTo>
                  <a:cubicBezTo>
                    <a:pt x="1003" y="1"/>
                    <a:pt x="1003" y="1"/>
                    <a:pt x="1004" y="1"/>
                  </a:cubicBezTo>
                  <a:cubicBezTo>
                    <a:pt x="1005" y="1"/>
                    <a:pt x="1007" y="1"/>
                    <a:pt x="1009" y="1"/>
                  </a:cubicBezTo>
                  <a:cubicBezTo>
                    <a:pt x="1010" y="1"/>
                    <a:pt x="1010" y="1"/>
                    <a:pt x="1011" y="1"/>
                  </a:cubicBezTo>
                  <a:cubicBezTo>
                    <a:pt x="1011" y="1"/>
                    <a:pt x="1011" y="1"/>
                    <a:pt x="1011" y="1"/>
                  </a:cubicBezTo>
                  <a:cubicBezTo>
                    <a:pt x="1012" y="1"/>
                    <a:pt x="1012" y="1"/>
                    <a:pt x="1013" y="1"/>
                  </a:cubicBezTo>
                  <a:cubicBezTo>
                    <a:pt x="1013" y="1"/>
                    <a:pt x="1014" y="1"/>
                    <a:pt x="1014" y="1"/>
                  </a:cubicBezTo>
                  <a:cubicBezTo>
                    <a:pt x="1015" y="1"/>
                    <a:pt x="1015" y="1"/>
                    <a:pt x="1015" y="1"/>
                  </a:cubicBezTo>
                  <a:cubicBezTo>
                    <a:pt x="1019" y="1"/>
                    <a:pt x="1023" y="1"/>
                    <a:pt x="1027" y="1"/>
                  </a:cubicBezTo>
                  <a:cubicBezTo>
                    <a:pt x="1028" y="1"/>
                    <a:pt x="1028" y="1"/>
                    <a:pt x="1028" y="1"/>
                  </a:cubicBezTo>
                  <a:cubicBezTo>
                    <a:pt x="1028" y="1"/>
                    <a:pt x="1029" y="1"/>
                    <a:pt x="1029" y="1"/>
                  </a:cubicBezTo>
                  <a:cubicBezTo>
                    <a:pt x="1029" y="1"/>
                    <a:pt x="1030" y="1"/>
                    <a:pt x="1030" y="1"/>
                  </a:cubicBezTo>
                  <a:cubicBezTo>
                    <a:pt x="1032" y="1"/>
                    <a:pt x="1032" y="1"/>
                    <a:pt x="1032" y="1"/>
                  </a:cubicBezTo>
                  <a:cubicBezTo>
                    <a:pt x="1037" y="1"/>
                    <a:pt x="1042" y="1"/>
                    <a:pt x="1046" y="1"/>
                  </a:cubicBezTo>
                  <a:cubicBezTo>
                    <a:pt x="1047" y="1"/>
                    <a:pt x="1047" y="1"/>
                    <a:pt x="1047" y="1"/>
                  </a:cubicBezTo>
                  <a:cubicBezTo>
                    <a:pt x="1055" y="1"/>
                    <a:pt x="1063" y="2"/>
                    <a:pt x="1070" y="2"/>
                  </a:cubicBezTo>
                  <a:cubicBezTo>
                    <a:pt x="1070" y="2"/>
                    <a:pt x="1070" y="2"/>
                    <a:pt x="1071" y="2"/>
                  </a:cubicBezTo>
                  <a:cubicBezTo>
                    <a:pt x="1071" y="2"/>
                    <a:pt x="1071" y="2"/>
                    <a:pt x="1071" y="2"/>
                  </a:cubicBezTo>
                  <a:cubicBezTo>
                    <a:pt x="1071" y="2"/>
                    <a:pt x="1072" y="2"/>
                    <a:pt x="1072" y="2"/>
                  </a:cubicBezTo>
                  <a:cubicBezTo>
                    <a:pt x="1074" y="2"/>
                    <a:pt x="1077" y="2"/>
                    <a:pt x="1079" y="2"/>
                  </a:cubicBezTo>
                  <a:cubicBezTo>
                    <a:pt x="1079" y="2"/>
                    <a:pt x="1079" y="2"/>
                    <a:pt x="1080" y="2"/>
                  </a:cubicBezTo>
                  <a:cubicBezTo>
                    <a:pt x="1081" y="2"/>
                    <a:pt x="1082" y="2"/>
                    <a:pt x="1084" y="2"/>
                  </a:cubicBezTo>
                  <a:cubicBezTo>
                    <a:pt x="1084" y="2"/>
                    <a:pt x="1084" y="2"/>
                    <a:pt x="1085" y="2"/>
                  </a:cubicBezTo>
                  <a:cubicBezTo>
                    <a:pt x="1085" y="2"/>
                    <a:pt x="1085" y="2"/>
                    <a:pt x="1085" y="2"/>
                  </a:cubicBezTo>
                  <a:cubicBezTo>
                    <a:pt x="1086" y="2"/>
                    <a:pt x="1086" y="2"/>
                    <a:pt x="1086" y="2"/>
                  </a:cubicBezTo>
                  <a:cubicBezTo>
                    <a:pt x="1087" y="2"/>
                    <a:pt x="1087" y="2"/>
                    <a:pt x="1087" y="2"/>
                  </a:cubicBezTo>
                  <a:cubicBezTo>
                    <a:pt x="1088" y="2"/>
                    <a:pt x="1088" y="2"/>
                    <a:pt x="1088" y="3"/>
                  </a:cubicBezTo>
                  <a:cubicBezTo>
                    <a:pt x="1089" y="3"/>
                    <a:pt x="1090" y="3"/>
                    <a:pt x="1091" y="3"/>
                  </a:cubicBezTo>
                  <a:cubicBezTo>
                    <a:pt x="1091" y="3"/>
                    <a:pt x="1092" y="3"/>
                    <a:pt x="1092" y="3"/>
                  </a:cubicBezTo>
                  <a:cubicBezTo>
                    <a:pt x="1092" y="3"/>
                    <a:pt x="1093" y="3"/>
                    <a:pt x="1093" y="3"/>
                  </a:cubicBezTo>
                  <a:cubicBezTo>
                    <a:pt x="1094" y="3"/>
                    <a:pt x="1095" y="3"/>
                    <a:pt x="1096" y="3"/>
                  </a:cubicBezTo>
                  <a:cubicBezTo>
                    <a:pt x="1096" y="3"/>
                    <a:pt x="1097" y="3"/>
                    <a:pt x="1097" y="3"/>
                  </a:cubicBezTo>
                  <a:cubicBezTo>
                    <a:pt x="1100" y="3"/>
                    <a:pt x="1103" y="3"/>
                    <a:pt x="1106" y="4"/>
                  </a:cubicBezTo>
                  <a:cubicBezTo>
                    <a:pt x="1107" y="4"/>
                    <a:pt x="1107" y="4"/>
                    <a:pt x="1108" y="4"/>
                  </a:cubicBezTo>
                  <a:cubicBezTo>
                    <a:pt x="1108" y="4"/>
                    <a:pt x="1108" y="4"/>
                    <a:pt x="1108" y="4"/>
                  </a:cubicBezTo>
                  <a:cubicBezTo>
                    <a:pt x="1112" y="4"/>
                    <a:pt x="1117" y="4"/>
                    <a:pt x="1121" y="5"/>
                  </a:cubicBezTo>
                  <a:cubicBezTo>
                    <a:pt x="1122" y="5"/>
                    <a:pt x="1122" y="5"/>
                    <a:pt x="1122" y="5"/>
                  </a:cubicBezTo>
                  <a:cubicBezTo>
                    <a:pt x="1125" y="5"/>
                    <a:pt x="1127" y="5"/>
                    <a:pt x="1130" y="5"/>
                  </a:cubicBezTo>
                  <a:cubicBezTo>
                    <a:pt x="1130" y="6"/>
                    <a:pt x="1130" y="6"/>
                    <a:pt x="1131" y="6"/>
                  </a:cubicBezTo>
                  <a:cubicBezTo>
                    <a:pt x="1133" y="6"/>
                    <a:pt x="1135" y="6"/>
                    <a:pt x="1137" y="6"/>
                  </a:cubicBezTo>
                  <a:cubicBezTo>
                    <a:pt x="1138" y="6"/>
                    <a:pt x="1139" y="6"/>
                    <a:pt x="1140" y="7"/>
                  </a:cubicBezTo>
                  <a:cubicBezTo>
                    <a:pt x="1140" y="7"/>
                    <a:pt x="1141" y="7"/>
                    <a:pt x="1141" y="7"/>
                  </a:cubicBezTo>
                  <a:cubicBezTo>
                    <a:pt x="1141" y="7"/>
                    <a:pt x="1142" y="7"/>
                    <a:pt x="1142" y="7"/>
                  </a:cubicBezTo>
                  <a:cubicBezTo>
                    <a:pt x="1147" y="7"/>
                    <a:pt x="1153" y="8"/>
                    <a:pt x="1157" y="9"/>
                  </a:cubicBezTo>
                  <a:cubicBezTo>
                    <a:pt x="1158" y="9"/>
                    <a:pt x="1158" y="9"/>
                    <a:pt x="1159" y="9"/>
                  </a:cubicBezTo>
                  <a:cubicBezTo>
                    <a:pt x="1160" y="9"/>
                    <a:pt x="1161" y="9"/>
                    <a:pt x="1162" y="9"/>
                  </a:cubicBezTo>
                  <a:cubicBezTo>
                    <a:pt x="1163" y="10"/>
                    <a:pt x="1164" y="10"/>
                    <a:pt x="1164" y="10"/>
                  </a:cubicBezTo>
                  <a:cubicBezTo>
                    <a:pt x="1166" y="10"/>
                    <a:pt x="1167" y="10"/>
                    <a:pt x="1169" y="11"/>
                  </a:cubicBezTo>
                  <a:cubicBezTo>
                    <a:pt x="1169" y="11"/>
                    <a:pt x="1170" y="11"/>
                    <a:pt x="1170" y="11"/>
                  </a:cubicBezTo>
                  <a:cubicBezTo>
                    <a:pt x="1170" y="11"/>
                    <a:pt x="1171" y="11"/>
                    <a:pt x="1171" y="11"/>
                  </a:cubicBezTo>
                  <a:cubicBezTo>
                    <a:pt x="1172" y="11"/>
                    <a:pt x="1172" y="11"/>
                    <a:pt x="1172" y="11"/>
                  </a:cubicBezTo>
                  <a:cubicBezTo>
                    <a:pt x="1173" y="11"/>
                    <a:pt x="1174" y="11"/>
                    <a:pt x="1174" y="11"/>
                  </a:cubicBezTo>
                  <a:cubicBezTo>
                    <a:pt x="1174" y="11"/>
                    <a:pt x="1175" y="11"/>
                    <a:pt x="1175" y="12"/>
                  </a:cubicBezTo>
                  <a:cubicBezTo>
                    <a:pt x="1179" y="12"/>
                    <a:pt x="1183" y="13"/>
                    <a:pt x="1187" y="14"/>
                  </a:cubicBezTo>
                  <a:cubicBezTo>
                    <a:pt x="1188" y="14"/>
                    <a:pt x="1188" y="14"/>
                    <a:pt x="1188" y="14"/>
                  </a:cubicBezTo>
                  <a:cubicBezTo>
                    <a:pt x="1192" y="15"/>
                    <a:pt x="1196" y="16"/>
                    <a:pt x="1200" y="17"/>
                  </a:cubicBezTo>
                  <a:cubicBezTo>
                    <a:pt x="1200" y="17"/>
                    <a:pt x="1201" y="17"/>
                    <a:pt x="1201" y="17"/>
                  </a:cubicBezTo>
                  <a:cubicBezTo>
                    <a:pt x="1206" y="18"/>
                    <a:pt x="1211" y="19"/>
                    <a:pt x="1216" y="21"/>
                  </a:cubicBezTo>
                  <a:cubicBezTo>
                    <a:pt x="1217" y="21"/>
                    <a:pt x="1217" y="21"/>
                    <a:pt x="1217" y="21"/>
                  </a:cubicBezTo>
                  <a:cubicBezTo>
                    <a:pt x="1219" y="21"/>
                    <a:pt x="1221" y="22"/>
                    <a:pt x="1223" y="23"/>
                  </a:cubicBezTo>
                  <a:cubicBezTo>
                    <a:pt x="1223" y="23"/>
                    <a:pt x="1223" y="23"/>
                    <a:pt x="1224" y="23"/>
                  </a:cubicBezTo>
                  <a:cubicBezTo>
                    <a:pt x="1224" y="23"/>
                    <a:pt x="1224" y="23"/>
                    <a:pt x="1225" y="23"/>
                  </a:cubicBezTo>
                  <a:cubicBezTo>
                    <a:pt x="1225" y="23"/>
                    <a:pt x="1225" y="23"/>
                    <a:pt x="1226" y="23"/>
                  </a:cubicBezTo>
                  <a:cubicBezTo>
                    <a:pt x="1228" y="24"/>
                    <a:pt x="1229" y="25"/>
                    <a:pt x="1231" y="25"/>
                  </a:cubicBezTo>
                  <a:cubicBezTo>
                    <a:pt x="1231" y="25"/>
                    <a:pt x="1232" y="25"/>
                    <a:pt x="1232" y="25"/>
                  </a:cubicBezTo>
                  <a:cubicBezTo>
                    <a:pt x="1235" y="27"/>
                    <a:pt x="1239" y="28"/>
                    <a:pt x="1242" y="29"/>
                  </a:cubicBezTo>
                  <a:cubicBezTo>
                    <a:pt x="1242" y="29"/>
                    <a:pt x="1242" y="29"/>
                    <a:pt x="1243" y="29"/>
                  </a:cubicBezTo>
                  <a:cubicBezTo>
                    <a:pt x="1244" y="30"/>
                    <a:pt x="1246" y="31"/>
                    <a:pt x="1248" y="31"/>
                  </a:cubicBezTo>
                  <a:cubicBezTo>
                    <a:pt x="1248" y="32"/>
                    <a:pt x="1249" y="32"/>
                    <a:pt x="1250" y="32"/>
                  </a:cubicBezTo>
                  <a:cubicBezTo>
                    <a:pt x="1250" y="33"/>
                    <a:pt x="1251" y="33"/>
                    <a:pt x="1252" y="33"/>
                  </a:cubicBezTo>
                  <a:cubicBezTo>
                    <a:pt x="1259" y="37"/>
                    <a:pt x="1266" y="40"/>
                    <a:pt x="1272" y="44"/>
                  </a:cubicBezTo>
                  <a:cubicBezTo>
                    <a:pt x="1273" y="44"/>
                    <a:pt x="1273" y="45"/>
                    <a:pt x="1274" y="45"/>
                  </a:cubicBezTo>
                  <a:cubicBezTo>
                    <a:pt x="1276" y="46"/>
                    <a:pt x="1277" y="47"/>
                    <a:pt x="1279" y="48"/>
                  </a:cubicBezTo>
                  <a:cubicBezTo>
                    <a:pt x="1279" y="49"/>
                    <a:pt x="1280" y="49"/>
                    <a:pt x="1280" y="49"/>
                  </a:cubicBezTo>
                  <a:cubicBezTo>
                    <a:pt x="1283" y="51"/>
                    <a:pt x="1286" y="53"/>
                    <a:pt x="1288" y="56"/>
                  </a:cubicBezTo>
                  <a:cubicBezTo>
                    <a:pt x="1288" y="56"/>
                    <a:pt x="1289" y="56"/>
                    <a:pt x="1289" y="56"/>
                  </a:cubicBezTo>
                  <a:cubicBezTo>
                    <a:pt x="1289" y="56"/>
                    <a:pt x="1289" y="57"/>
                    <a:pt x="1289" y="57"/>
                  </a:cubicBezTo>
                  <a:cubicBezTo>
                    <a:pt x="1289" y="57"/>
                    <a:pt x="1290" y="57"/>
                    <a:pt x="1290" y="57"/>
                  </a:cubicBezTo>
                  <a:cubicBezTo>
                    <a:pt x="1291" y="58"/>
                    <a:pt x="1292" y="59"/>
                    <a:pt x="1293" y="60"/>
                  </a:cubicBezTo>
                  <a:cubicBezTo>
                    <a:pt x="1293" y="60"/>
                    <a:pt x="1293" y="60"/>
                    <a:pt x="1293" y="61"/>
                  </a:cubicBezTo>
                  <a:cubicBezTo>
                    <a:pt x="1295" y="62"/>
                    <a:pt x="1296" y="63"/>
                    <a:pt x="1297" y="65"/>
                  </a:cubicBezTo>
                  <a:cubicBezTo>
                    <a:pt x="1297" y="65"/>
                    <a:pt x="1297" y="65"/>
                    <a:pt x="1298" y="65"/>
                  </a:cubicBezTo>
                  <a:cubicBezTo>
                    <a:pt x="1299" y="67"/>
                    <a:pt x="1300" y="68"/>
                    <a:pt x="1300" y="69"/>
                  </a:cubicBezTo>
                  <a:cubicBezTo>
                    <a:pt x="1301" y="69"/>
                    <a:pt x="1301" y="69"/>
                    <a:pt x="1301" y="70"/>
                  </a:cubicBezTo>
                  <a:cubicBezTo>
                    <a:pt x="1301" y="70"/>
                    <a:pt x="1302" y="71"/>
                    <a:pt x="1302" y="71"/>
                  </a:cubicBezTo>
                  <a:cubicBezTo>
                    <a:pt x="1302" y="72"/>
                    <a:pt x="1303" y="72"/>
                    <a:pt x="1303" y="72"/>
                  </a:cubicBezTo>
                  <a:cubicBezTo>
                    <a:pt x="1303" y="73"/>
                    <a:pt x="1303" y="73"/>
                    <a:pt x="1303" y="73"/>
                  </a:cubicBezTo>
                  <a:cubicBezTo>
                    <a:pt x="1304" y="73"/>
                    <a:pt x="1304" y="74"/>
                    <a:pt x="1304" y="74"/>
                  </a:cubicBezTo>
                  <a:cubicBezTo>
                    <a:pt x="1309" y="82"/>
                    <a:pt x="1312" y="90"/>
                    <a:pt x="1313" y="99"/>
                  </a:cubicBezTo>
                  <a:cubicBezTo>
                    <a:pt x="1313" y="99"/>
                    <a:pt x="1313" y="99"/>
                    <a:pt x="1313" y="100"/>
                  </a:cubicBezTo>
                  <a:cubicBezTo>
                    <a:pt x="1314" y="103"/>
                    <a:pt x="1314" y="107"/>
                    <a:pt x="1314" y="110"/>
                  </a:cubicBezTo>
                  <a:cubicBezTo>
                    <a:pt x="1314" y="119"/>
                    <a:pt x="1313" y="128"/>
                    <a:pt x="1309" y="138"/>
                  </a:cubicBezTo>
                  <a:cubicBezTo>
                    <a:pt x="1309" y="138"/>
                    <a:pt x="1309" y="139"/>
                    <a:pt x="1309" y="139"/>
                  </a:cubicBezTo>
                  <a:cubicBezTo>
                    <a:pt x="1306" y="148"/>
                    <a:pt x="1302" y="157"/>
                    <a:pt x="1296" y="166"/>
                  </a:cubicBezTo>
                  <a:cubicBezTo>
                    <a:pt x="1296" y="166"/>
                    <a:pt x="1296" y="167"/>
                    <a:pt x="1295" y="167"/>
                  </a:cubicBezTo>
                  <a:cubicBezTo>
                    <a:pt x="1292" y="172"/>
                    <a:pt x="1289" y="177"/>
                    <a:pt x="1286" y="181"/>
                  </a:cubicBezTo>
                  <a:cubicBezTo>
                    <a:pt x="1285" y="182"/>
                    <a:pt x="1285" y="182"/>
                    <a:pt x="1285" y="183"/>
                  </a:cubicBezTo>
                  <a:cubicBezTo>
                    <a:pt x="1283" y="185"/>
                    <a:pt x="1281" y="188"/>
                    <a:pt x="1279" y="190"/>
                  </a:cubicBezTo>
                  <a:cubicBezTo>
                    <a:pt x="1279" y="191"/>
                    <a:pt x="1278" y="191"/>
                    <a:pt x="1278" y="192"/>
                  </a:cubicBezTo>
                  <a:cubicBezTo>
                    <a:pt x="1273" y="197"/>
                    <a:pt x="1268" y="203"/>
                    <a:pt x="1263" y="208"/>
                  </a:cubicBezTo>
                  <a:cubicBezTo>
                    <a:pt x="1262" y="209"/>
                    <a:pt x="1261" y="210"/>
                    <a:pt x="1261" y="210"/>
                  </a:cubicBezTo>
                  <a:cubicBezTo>
                    <a:pt x="1242" y="229"/>
                    <a:pt x="1219" y="247"/>
                    <a:pt x="1195" y="262"/>
                  </a:cubicBezTo>
                  <a:cubicBezTo>
                    <a:pt x="1182" y="271"/>
                    <a:pt x="1176" y="283"/>
                    <a:pt x="1176" y="298"/>
                  </a:cubicBezTo>
                  <a:cubicBezTo>
                    <a:pt x="1176" y="309"/>
                    <a:pt x="1179" y="322"/>
                    <a:pt x="1185" y="336"/>
                  </a:cubicBezTo>
                  <a:cubicBezTo>
                    <a:pt x="1185" y="337"/>
                    <a:pt x="1186" y="337"/>
                    <a:pt x="1186" y="337"/>
                  </a:cubicBezTo>
                  <a:cubicBezTo>
                    <a:pt x="1194" y="357"/>
                    <a:pt x="1207" y="379"/>
                    <a:pt x="1225" y="403"/>
                  </a:cubicBezTo>
                  <a:cubicBezTo>
                    <a:pt x="1225" y="403"/>
                    <a:pt x="1225" y="403"/>
                    <a:pt x="1225" y="403"/>
                  </a:cubicBezTo>
                  <a:cubicBezTo>
                    <a:pt x="1240" y="424"/>
                    <a:pt x="1259" y="447"/>
                    <a:pt x="1279" y="470"/>
                  </a:cubicBezTo>
                  <a:cubicBezTo>
                    <a:pt x="1279" y="471"/>
                    <a:pt x="1280" y="471"/>
                    <a:pt x="1280" y="471"/>
                  </a:cubicBezTo>
                  <a:cubicBezTo>
                    <a:pt x="1296" y="490"/>
                    <a:pt x="1314" y="509"/>
                    <a:pt x="1333" y="530"/>
                  </a:cubicBezTo>
                  <a:cubicBezTo>
                    <a:pt x="1333" y="530"/>
                    <a:pt x="1333" y="530"/>
                    <a:pt x="1334" y="530"/>
                  </a:cubicBezTo>
                  <a:cubicBezTo>
                    <a:pt x="1351" y="549"/>
                    <a:pt x="1370" y="569"/>
                    <a:pt x="1390" y="589"/>
                  </a:cubicBezTo>
                  <a:cubicBezTo>
                    <a:pt x="1390" y="589"/>
                    <a:pt x="1391" y="589"/>
                    <a:pt x="1391" y="590"/>
                  </a:cubicBezTo>
                  <a:cubicBezTo>
                    <a:pt x="1411" y="610"/>
                    <a:pt x="1432" y="631"/>
                    <a:pt x="1453" y="652"/>
                  </a:cubicBezTo>
                  <a:cubicBezTo>
                    <a:pt x="1453" y="652"/>
                    <a:pt x="1454" y="653"/>
                    <a:pt x="1454" y="653"/>
                  </a:cubicBezTo>
                  <a:cubicBezTo>
                    <a:pt x="1480" y="679"/>
                    <a:pt x="1507" y="705"/>
                    <a:pt x="1533" y="731"/>
                  </a:cubicBezTo>
                  <a:cubicBezTo>
                    <a:pt x="1534" y="732"/>
                    <a:pt x="1535" y="733"/>
                    <a:pt x="1536" y="734"/>
                  </a:cubicBezTo>
                  <a:cubicBezTo>
                    <a:pt x="1564" y="761"/>
                    <a:pt x="1592" y="788"/>
                    <a:pt x="1619" y="815"/>
                  </a:cubicBezTo>
                  <a:cubicBezTo>
                    <a:pt x="1620" y="815"/>
                    <a:pt x="1620" y="816"/>
                    <a:pt x="1621" y="817"/>
                  </a:cubicBezTo>
                  <a:cubicBezTo>
                    <a:pt x="1626" y="822"/>
                    <a:pt x="1631" y="827"/>
                    <a:pt x="1636" y="831"/>
                  </a:cubicBezTo>
                  <a:cubicBezTo>
                    <a:pt x="1656" y="851"/>
                    <a:pt x="1676" y="871"/>
                    <a:pt x="1695" y="891"/>
                  </a:cubicBezTo>
                  <a:cubicBezTo>
                    <a:pt x="1695" y="891"/>
                    <a:pt x="1696" y="892"/>
                    <a:pt x="1697" y="893"/>
                  </a:cubicBezTo>
                  <a:cubicBezTo>
                    <a:pt x="1720" y="916"/>
                    <a:pt x="1742" y="940"/>
                    <a:pt x="1764" y="963"/>
                  </a:cubicBezTo>
                  <a:cubicBezTo>
                    <a:pt x="1764" y="963"/>
                    <a:pt x="1765" y="964"/>
                    <a:pt x="1765" y="964"/>
                  </a:cubicBezTo>
                  <a:cubicBezTo>
                    <a:pt x="1786" y="987"/>
                    <a:pt x="1807" y="1010"/>
                    <a:pt x="1825" y="1032"/>
                  </a:cubicBezTo>
                  <a:cubicBezTo>
                    <a:pt x="1826" y="1032"/>
                    <a:pt x="1826" y="1032"/>
                    <a:pt x="1826" y="1033"/>
                  </a:cubicBezTo>
                  <a:cubicBezTo>
                    <a:pt x="1838" y="1046"/>
                    <a:pt x="1849" y="1059"/>
                    <a:pt x="1859" y="1072"/>
                  </a:cubicBezTo>
                  <a:cubicBezTo>
                    <a:pt x="1859" y="1072"/>
                    <a:pt x="1860" y="1072"/>
                    <a:pt x="1860" y="1073"/>
                  </a:cubicBezTo>
                  <a:cubicBezTo>
                    <a:pt x="1866" y="1080"/>
                    <a:pt x="1872" y="1087"/>
                    <a:pt x="1877" y="1095"/>
                  </a:cubicBezTo>
                  <a:cubicBezTo>
                    <a:pt x="1878" y="1095"/>
                    <a:pt x="1878" y="1096"/>
                    <a:pt x="1879" y="1096"/>
                  </a:cubicBezTo>
                  <a:cubicBezTo>
                    <a:pt x="1883" y="1102"/>
                    <a:pt x="1887" y="1108"/>
                    <a:pt x="1892" y="1113"/>
                  </a:cubicBezTo>
                  <a:cubicBezTo>
                    <a:pt x="1892" y="1114"/>
                    <a:pt x="1893" y="1115"/>
                    <a:pt x="1893" y="1116"/>
                  </a:cubicBezTo>
                  <a:cubicBezTo>
                    <a:pt x="1897" y="1120"/>
                    <a:pt x="1900" y="1124"/>
                    <a:pt x="1903" y="1129"/>
                  </a:cubicBezTo>
                  <a:cubicBezTo>
                    <a:pt x="1904" y="1130"/>
                    <a:pt x="1904" y="1131"/>
                    <a:pt x="1905" y="1132"/>
                  </a:cubicBezTo>
                  <a:cubicBezTo>
                    <a:pt x="1908" y="1136"/>
                    <a:pt x="1911" y="1141"/>
                    <a:pt x="1914" y="1145"/>
                  </a:cubicBezTo>
                  <a:cubicBezTo>
                    <a:pt x="1915" y="1147"/>
                    <a:pt x="1916" y="1148"/>
                    <a:pt x="1917" y="1149"/>
                  </a:cubicBezTo>
                  <a:cubicBezTo>
                    <a:pt x="1918" y="1151"/>
                    <a:pt x="1920" y="1154"/>
                    <a:pt x="1921" y="1156"/>
                  </a:cubicBezTo>
                  <a:cubicBezTo>
                    <a:pt x="1922" y="1158"/>
                    <a:pt x="1923" y="1159"/>
                    <a:pt x="1924" y="1161"/>
                  </a:cubicBezTo>
                  <a:cubicBezTo>
                    <a:pt x="1925" y="1162"/>
                    <a:pt x="1926" y="1163"/>
                    <a:pt x="1927" y="1165"/>
                  </a:cubicBezTo>
                  <a:cubicBezTo>
                    <a:pt x="1928" y="1167"/>
                    <a:pt x="1929" y="1169"/>
                    <a:pt x="1931" y="1171"/>
                  </a:cubicBezTo>
                  <a:cubicBezTo>
                    <a:pt x="1932" y="1174"/>
                    <a:pt x="1934" y="1176"/>
                    <a:pt x="1935" y="1179"/>
                  </a:cubicBezTo>
                  <a:cubicBezTo>
                    <a:pt x="1938" y="1183"/>
                    <a:pt x="1940" y="1187"/>
                    <a:pt x="1942" y="1192"/>
                  </a:cubicBezTo>
                  <a:cubicBezTo>
                    <a:pt x="1944" y="1195"/>
                    <a:pt x="1946" y="1199"/>
                    <a:pt x="1947" y="1203"/>
                  </a:cubicBezTo>
                  <a:cubicBezTo>
                    <a:pt x="1948" y="1204"/>
                    <a:pt x="1949" y="1206"/>
                    <a:pt x="1949" y="1207"/>
                  </a:cubicBezTo>
                  <a:cubicBezTo>
                    <a:pt x="1951" y="1209"/>
                    <a:pt x="1953" y="1212"/>
                    <a:pt x="1954" y="1214"/>
                  </a:cubicBezTo>
                  <a:cubicBezTo>
                    <a:pt x="1952" y="1210"/>
                    <a:pt x="1950" y="1206"/>
                    <a:pt x="1948" y="1202"/>
                  </a:cubicBezTo>
                  <a:cubicBezTo>
                    <a:pt x="1945" y="1194"/>
                    <a:pt x="1941" y="1186"/>
                    <a:pt x="1936" y="1178"/>
                  </a:cubicBezTo>
                  <a:cubicBezTo>
                    <a:pt x="1934" y="1175"/>
                    <a:pt x="1932" y="1172"/>
                    <a:pt x="1930" y="1169"/>
                  </a:cubicBezTo>
                  <a:cubicBezTo>
                    <a:pt x="1929" y="1167"/>
                    <a:pt x="1928" y="1166"/>
                    <a:pt x="1927" y="1164"/>
                  </a:cubicBezTo>
                  <a:cubicBezTo>
                    <a:pt x="1926" y="1162"/>
                    <a:pt x="1925" y="1160"/>
                    <a:pt x="1923" y="1158"/>
                  </a:cubicBezTo>
                  <a:cubicBezTo>
                    <a:pt x="1923" y="1157"/>
                    <a:pt x="1923" y="1156"/>
                    <a:pt x="1922" y="1155"/>
                  </a:cubicBezTo>
                  <a:cubicBezTo>
                    <a:pt x="1921" y="1154"/>
                    <a:pt x="1920" y="1152"/>
                    <a:pt x="1919" y="1151"/>
                  </a:cubicBezTo>
                  <a:cubicBezTo>
                    <a:pt x="1918" y="1149"/>
                    <a:pt x="1916" y="1147"/>
                    <a:pt x="1915" y="1145"/>
                  </a:cubicBezTo>
                  <a:cubicBezTo>
                    <a:pt x="1914" y="1144"/>
                    <a:pt x="1914" y="1142"/>
                    <a:pt x="1913" y="1141"/>
                  </a:cubicBezTo>
                  <a:cubicBezTo>
                    <a:pt x="1910" y="1137"/>
                    <a:pt x="1907" y="1133"/>
                    <a:pt x="1904" y="1128"/>
                  </a:cubicBezTo>
                  <a:cubicBezTo>
                    <a:pt x="1903" y="1127"/>
                    <a:pt x="1902" y="1126"/>
                    <a:pt x="1902" y="1125"/>
                  </a:cubicBezTo>
                  <a:cubicBezTo>
                    <a:pt x="1899" y="1121"/>
                    <a:pt x="1896" y="1117"/>
                    <a:pt x="1892" y="1113"/>
                  </a:cubicBezTo>
                  <a:cubicBezTo>
                    <a:pt x="1892" y="1112"/>
                    <a:pt x="1891" y="1111"/>
                    <a:pt x="1891" y="1111"/>
                  </a:cubicBezTo>
                  <a:cubicBezTo>
                    <a:pt x="1887" y="1105"/>
                    <a:pt x="1883" y="1100"/>
                    <a:pt x="1878" y="1094"/>
                  </a:cubicBezTo>
                  <a:cubicBezTo>
                    <a:pt x="1878" y="1094"/>
                    <a:pt x="1877" y="1093"/>
                    <a:pt x="1877" y="1092"/>
                  </a:cubicBezTo>
                  <a:cubicBezTo>
                    <a:pt x="1872" y="1086"/>
                    <a:pt x="1866" y="1078"/>
                    <a:pt x="1860" y="1071"/>
                  </a:cubicBezTo>
                  <a:cubicBezTo>
                    <a:pt x="1860" y="1071"/>
                    <a:pt x="1860" y="1071"/>
                    <a:pt x="1859" y="1070"/>
                  </a:cubicBezTo>
                  <a:cubicBezTo>
                    <a:pt x="1849" y="1057"/>
                    <a:pt x="1838" y="1045"/>
                    <a:pt x="1827" y="1031"/>
                  </a:cubicBezTo>
                  <a:cubicBezTo>
                    <a:pt x="1826" y="1031"/>
                    <a:pt x="1826" y="1031"/>
                    <a:pt x="1826" y="1030"/>
                  </a:cubicBezTo>
                  <a:cubicBezTo>
                    <a:pt x="1807" y="1008"/>
                    <a:pt x="1786" y="986"/>
                    <a:pt x="1765" y="963"/>
                  </a:cubicBezTo>
                  <a:cubicBezTo>
                    <a:pt x="1764" y="962"/>
                    <a:pt x="1764" y="962"/>
                    <a:pt x="1764" y="961"/>
                  </a:cubicBezTo>
                  <a:cubicBezTo>
                    <a:pt x="1742" y="938"/>
                    <a:pt x="1719" y="914"/>
                    <a:pt x="1696" y="890"/>
                  </a:cubicBezTo>
                  <a:cubicBezTo>
                    <a:pt x="1695" y="890"/>
                    <a:pt x="1695" y="889"/>
                    <a:pt x="1694" y="889"/>
                  </a:cubicBezTo>
                  <a:cubicBezTo>
                    <a:pt x="1675" y="869"/>
                    <a:pt x="1656" y="850"/>
                    <a:pt x="1636" y="831"/>
                  </a:cubicBezTo>
                  <a:cubicBezTo>
                    <a:pt x="1631" y="825"/>
                    <a:pt x="1625" y="820"/>
                    <a:pt x="1620" y="814"/>
                  </a:cubicBezTo>
                  <a:cubicBezTo>
                    <a:pt x="1619" y="813"/>
                    <a:pt x="1618" y="813"/>
                    <a:pt x="1617" y="812"/>
                  </a:cubicBezTo>
                  <a:cubicBezTo>
                    <a:pt x="1590" y="785"/>
                    <a:pt x="1562" y="758"/>
                    <a:pt x="1534" y="730"/>
                  </a:cubicBezTo>
                  <a:cubicBezTo>
                    <a:pt x="1533" y="729"/>
                    <a:pt x="1532" y="728"/>
                    <a:pt x="1531" y="727"/>
                  </a:cubicBezTo>
                  <a:cubicBezTo>
                    <a:pt x="1505" y="702"/>
                    <a:pt x="1479" y="676"/>
                    <a:pt x="1454" y="651"/>
                  </a:cubicBezTo>
                  <a:cubicBezTo>
                    <a:pt x="1453" y="651"/>
                    <a:pt x="1453" y="650"/>
                    <a:pt x="1452" y="650"/>
                  </a:cubicBezTo>
                  <a:cubicBezTo>
                    <a:pt x="1431" y="629"/>
                    <a:pt x="1411" y="609"/>
                    <a:pt x="1391" y="588"/>
                  </a:cubicBezTo>
                  <a:cubicBezTo>
                    <a:pt x="1391" y="588"/>
                    <a:pt x="1390" y="588"/>
                    <a:pt x="1390" y="587"/>
                  </a:cubicBezTo>
                  <a:cubicBezTo>
                    <a:pt x="1370" y="568"/>
                    <a:pt x="1352" y="548"/>
                    <a:pt x="1334" y="529"/>
                  </a:cubicBezTo>
                  <a:cubicBezTo>
                    <a:pt x="1334" y="529"/>
                    <a:pt x="1333" y="529"/>
                    <a:pt x="1333" y="528"/>
                  </a:cubicBezTo>
                  <a:cubicBezTo>
                    <a:pt x="1314" y="508"/>
                    <a:pt x="1297" y="489"/>
                    <a:pt x="1280" y="470"/>
                  </a:cubicBezTo>
                  <a:cubicBezTo>
                    <a:pt x="1280" y="470"/>
                    <a:pt x="1280" y="470"/>
                    <a:pt x="1280" y="469"/>
                  </a:cubicBezTo>
                  <a:cubicBezTo>
                    <a:pt x="1259" y="446"/>
                    <a:pt x="1241" y="423"/>
                    <a:pt x="1226" y="403"/>
                  </a:cubicBezTo>
                  <a:cubicBezTo>
                    <a:pt x="1226" y="402"/>
                    <a:pt x="1226" y="402"/>
                    <a:pt x="1225" y="402"/>
                  </a:cubicBezTo>
                  <a:cubicBezTo>
                    <a:pt x="1208" y="378"/>
                    <a:pt x="1195" y="356"/>
                    <a:pt x="1186" y="337"/>
                  </a:cubicBezTo>
                  <a:cubicBezTo>
                    <a:pt x="1186" y="336"/>
                    <a:pt x="1186" y="336"/>
                    <a:pt x="1186" y="336"/>
                  </a:cubicBezTo>
                  <a:cubicBezTo>
                    <a:pt x="1180" y="322"/>
                    <a:pt x="1177" y="309"/>
                    <a:pt x="1177" y="298"/>
                  </a:cubicBezTo>
                  <a:cubicBezTo>
                    <a:pt x="1177" y="283"/>
                    <a:pt x="1183" y="271"/>
                    <a:pt x="1196" y="263"/>
                  </a:cubicBezTo>
                  <a:cubicBezTo>
                    <a:pt x="1221" y="247"/>
                    <a:pt x="1244" y="229"/>
                    <a:pt x="1263" y="209"/>
                  </a:cubicBezTo>
                  <a:cubicBezTo>
                    <a:pt x="1264" y="208"/>
                    <a:pt x="1265" y="208"/>
                    <a:pt x="1265" y="207"/>
                  </a:cubicBezTo>
                  <a:cubicBezTo>
                    <a:pt x="1270" y="202"/>
                    <a:pt x="1275" y="196"/>
                    <a:pt x="1280" y="191"/>
                  </a:cubicBezTo>
                  <a:cubicBezTo>
                    <a:pt x="1280" y="190"/>
                    <a:pt x="1280" y="190"/>
                    <a:pt x="1281" y="189"/>
                  </a:cubicBezTo>
                  <a:cubicBezTo>
                    <a:pt x="1283" y="187"/>
                    <a:pt x="1285" y="185"/>
                    <a:pt x="1286" y="182"/>
                  </a:cubicBezTo>
                  <a:cubicBezTo>
                    <a:pt x="1287" y="182"/>
                    <a:pt x="1287" y="181"/>
                    <a:pt x="1288" y="181"/>
                  </a:cubicBezTo>
                  <a:cubicBezTo>
                    <a:pt x="1291" y="176"/>
                    <a:pt x="1294" y="171"/>
                    <a:pt x="1297" y="166"/>
                  </a:cubicBezTo>
                  <a:cubicBezTo>
                    <a:pt x="1297" y="166"/>
                    <a:pt x="1298" y="165"/>
                    <a:pt x="1298" y="165"/>
                  </a:cubicBezTo>
                  <a:cubicBezTo>
                    <a:pt x="1303" y="156"/>
                    <a:pt x="1307" y="147"/>
                    <a:pt x="1310" y="139"/>
                  </a:cubicBezTo>
                  <a:cubicBezTo>
                    <a:pt x="1310" y="138"/>
                    <a:pt x="1311" y="138"/>
                    <a:pt x="1311" y="137"/>
                  </a:cubicBezTo>
                  <a:cubicBezTo>
                    <a:pt x="1314" y="128"/>
                    <a:pt x="1315" y="119"/>
                    <a:pt x="1315" y="110"/>
                  </a:cubicBezTo>
                  <a:cubicBezTo>
                    <a:pt x="1315" y="106"/>
                    <a:pt x="1315" y="103"/>
                    <a:pt x="1314" y="99"/>
                  </a:cubicBezTo>
                  <a:cubicBezTo>
                    <a:pt x="1314" y="99"/>
                    <a:pt x="1314" y="98"/>
                    <a:pt x="1314" y="98"/>
                  </a:cubicBezTo>
                  <a:cubicBezTo>
                    <a:pt x="1313" y="89"/>
                    <a:pt x="1310" y="81"/>
                    <a:pt x="1305" y="73"/>
                  </a:cubicBezTo>
                  <a:cubicBezTo>
                    <a:pt x="1304" y="73"/>
                    <a:pt x="1304" y="73"/>
                    <a:pt x="1304" y="72"/>
                  </a:cubicBezTo>
                  <a:cubicBezTo>
                    <a:pt x="1304" y="72"/>
                    <a:pt x="1304" y="72"/>
                    <a:pt x="1303" y="71"/>
                  </a:cubicBezTo>
                  <a:cubicBezTo>
                    <a:pt x="1303" y="71"/>
                    <a:pt x="1303" y="71"/>
                    <a:pt x="1303" y="70"/>
                  </a:cubicBezTo>
                  <a:cubicBezTo>
                    <a:pt x="1302" y="70"/>
                    <a:pt x="1302" y="69"/>
                    <a:pt x="1302" y="69"/>
                  </a:cubicBezTo>
                  <a:cubicBezTo>
                    <a:pt x="1302" y="69"/>
                    <a:pt x="1301" y="68"/>
                    <a:pt x="1301" y="68"/>
                  </a:cubicBezTo>
                  <a:cubicBezTo>
                    <a:pt x="1300" y="67"/>
                    <a:pt x="1299" y="66"/>
                    <a:pt x="1298" y="64"/>
                  </a:cubicBezTo>
                  <a:cubicBezTo>
                    <a:pt x="1298" y="64"/>
                    <a:pt x="1298" y="64"/>
                    <a:pt x="1297" y="63"/>
                  </a:cubicBezTo>
                  <a:cubicBezTo>
                    <a:pt x="1296" y="62"/>
                    <a:pt x="1295" y="61"/>
                    <a:pt x="1294" y="60"/>
                  </a:cubicBezTo>
                  <a:cubicBezTo>
                    <a:pt x="1294" y="60"/>
                    <a:pt x="1294" y="60"/>
                    <a:pt x="1294" y="59"/>
                  </a:cubicBezTo>
                  <a:cubicBezTo>
                    <a:pt x="1293" y="58"/>
                    <a:pt x="1291" y="57"/>
                    <a:pt x="1290" y="56"/>
                  </a:cubicBezTo>
                  <a:cubicBezTo>
                    <a:pt x="1290" y="56"/>
                    <a:pt x="1290" y="56"/>
                    <a:pt x="1290" y="56"/>
                  </a:cubicBezTo>
                  <a:cubicBezTo>
                    <a:pt x="1289" y="55"/>
                    <a:pt x="1289" y="55"/>
                    <a:pt x="1289" y="55"/>
                  </a:cubicBezTo>
                  <a:cubicBezTo>
                    <a:pt x="1286" y="53"/>
                    <a:pt x="1283" y="50"/>
                    <a:pt x="1280" y="48"/>
                  </a:cubicBezTo>
                  <a:cubicBezTo>
                    <a:pt x="1280" y="48"/>
                    <a:pt x="1279" y="48"/>
                    <a:pt x="1279" y="47"/>
                  </a:cubicBezTo>
                  <a:cubicBezTo>
                    <a:pt x="1278" y="47"/>
                    <a:pt x="1277" y="46"/>
                    <a:pt x="1276" y="45"/>
                  </a:cubicBezTo>
                  <a:cubicBezTo>
                    <a:pt x="1275" y="45"/>
                    <a:pt x="1275" y="44"/>
                    <a:pt x="1274" y="44"/>
                  </a:cubicBezTo>
                  <a:cubicBezTo>
                    <a:pt x="1267" y="39"/>
                    <a:pt x="1258" y="35"/>
                    <a:pt x="1248" y="31"/>
                  </a:cubicBezTo>
                  <a:cubicBezTo>
                    <a:pt x="1248" y="30"/>
                    <a:pt x="1247" y="30"/>
                    <a:pt x="1247" y="30"/>
                  </a:cubicBezTo>
                  <a:cubicBezTo>
                    <a:pt x="1245" y="30"/>
                    <a:pt x="1244" y="29"/>
                    <a:pt x="1243" y="29"/>
                  </a:cubicBezTo>
                  <a:cubicBezTo>
                    <a:pt x="1243" y="28"/>
                    <a:pt x="1242" y="28"/>
                    <a:pt x="1242" y="28"/>
                  </a:cubicBezTo>
                  <a:cubicBezTo>
                    <a:pt x="1239" y="27"/>
                    <a:pt x="1235" y="26"/>
                    <a:pt x="1232" y="24"/>
                  </a:cubicBezTo>
                  <a:cubicBezTo>
                    <a:pt x="1232" y="24"/>
                    <a:pt x="1231" y="24"/>
                    <a:pt x="1231" y="24"/>
                  </a:cubicBezTo>
                  <a:cubicBezTo>
                    <a:pt x="1229" y="24"/>
                    <a:pt x="1228" y="23"/>
                    <a:pt x="1226" y="23"/>
                  </a:cubicBezTo>
                  <a:cubicBezTo>
                    <a:pt x="1226" y="23"/>
                    <a:pt x="1226" y="22"/>
                    <a:pt x="1225" y="22"/>
                  </a:cubicBezTo>
                  <a:cubicBezTo>
                    <a:pt x="1225" y="22"/>
                    <a:pt x="1224" y="22"/>
                    <a:pt x="1224" y="22"/>
                  </a:cubicBezTo>
                  <a:cubicBezTo>
                    <a:pt x="1223" y="22"/>
                    <a:pt x="1223" y="22"/>
                    <a:pt x="1223" y="22"/>
                  </a:cubicBezTo>
                  <a:cubicBezTo>
                    <a:pt x="1221" y="21"/>
                    <a:pt x="1219" y="21"/>
                    <a:pt x="1217" y="20"/>
                  </a:cubicBezTo>
                  <a:cubicBezTo>
                    <a:pt x="1217" y="20"/>
                    <a:pt x="1217" y="20"/>
                    <a:pt x="1216" y="20"/>
                  </a:cubicBezTo>
                  <a:cubicBezTo>
                    <a:pt x="1211" y="18"/>
                    <a:pt x="1206" y="17"/>
                    <a:pt x="1201" y="16"/>
                  </a:cubicBezTo>
                  <a:cubicBezTo>
                    <a:pt x="1200" y="16"/>
                    <a:pt x="1200" y="15"/>
                    <a:pt x="1199" y="15"/>
                  </a:cubicBezTo>
                  <a:cubicBezTo>
                    <a:pt x="1196" y="15"/>
                    <a:pt x="1192" y="14"/>
                    <a:pt x="1189" y="13"/>
                  </a:cubicBezTo>
                  <a:cubicBezTo>
                    <a:pt x="1188" y="13"/>
                    <a:pt x="1188" y="13"/>
                    <a:pt x="1188" y="13"/>
                  </a:cubicBezTo>
                  <a:cubicBezTo>
                    <a:pt x="1184" y="12"/>
                    <a:pt x="1180" y="11"/>
                    <a:pt x="1176" y="11"/>
                  </a:cubicBezTo>
                  <a:cubicBezTo>
                    <a:pt x="1175" y="11"/>
                    <a:pt x="1175" y="11"/>
                    <a:pt x="1175" y="10"/>
                  </a:cubicBezTo>
                  <a:cubicBezTo>
                    <a:pt x="1174" y="10"/>
                    <a:pt x="1173" y="10"/>
                    <a:pt x="1173" y="10"/>
                  </a:cubicBezTo>
                  <a:cubicBezTo>
                    <a:pt x="1173" y="10"/>
                    <a:pt x="1172" y="10"/>
                    <a:pt x="1172" y="10"/>
                  </a:cubicBezTo>
                  <a:cubicBezTo>
                    <a:pt x="1171" y="10"/>
                    <a:pt x="1171" y="10"/>
                    <a:pt x="1171" y="10"/>
                  </a:cubicBezTo>
                  <a:cubicBezTo>
                    <a:pt x="1170" y="10"/>
                    <a:pt x="1170" y="10"/>
                    <a:pt x="1170" y="10"/>
                  </a:cubicBezTo>
                  <a:cubicBezTo>
                    <a:pt x="1168" y="9"/>
                    <a:pt x="1167" y="9"/>
                    <a:pt x="1166" y="9"/>
                  </a:cubicBezTo>
                  <a:cubicBezTo>
                    <a:pt x="1165" y="9"/>
                    <a:pt x="1165" y="9"/>
                    <a:pt x="1164" y="9"/>
                  </a:cubicBezTo>
                  <a:cubicBezTo>
                    <a:pt x="1163" y="9"/>
                    <a:pt x="1161" y="8"/>
                    <a:pt x="1160" y="8"/>
                  </a:cubicBezTo>
                  <a:cubicBezTo>
                    <a:pt x="1159" y="8"/>
                    <a:pt x="1159" y="8"/>
                    <a:pt x="1158" y="8"/>
                  </a:cubicBezTo>
                  <a:cubicBezTo>
                    <a:pt x="1154" y="7"/>
                    <a:pt x="1148" y="7"/>
                    <a:pt x="1143" y="6"/>
                  </a:cubicBezTo>
                  <a:cubicBezTo>
                    <a:pt x="1143" y="6"/>
                    <a:pt x="1143" y="6"/>
                    <a:pt x="1142" y="6"/>
                  </a:cubicBezTo>
                  <a:cubicBezTo>
                    <a:pt x="1141" y="6"/>
                    <a:pt x="1141" y="6"/>
                    <a:pt x="1140" y="6"/>
                  </a:cubicBezTo>
                  <a:cubicBezTo>
                    <a:pt x="1137" y="5"/>
                    <a:pt x="1134" y="5"/>
                    <a:pt x="1131" y="5"/>
                  </a:cubicBezTo>
                  <a:cubicBezTo>
                    <a:pt x="1131" y="5"/>
                    <a:pt x="1130" y="5"/>
                    <a:pt x="1130" y="5"/>
                  </a:cubicBezTo>
                  <a:cubicBezTo>
                    <a:pt x="1128" y="4"/>
                    <a:pt x="1125" y="4"/>
                    <a:pt x="1123" y="4"/>
                  </a:cubicBezTo>
                  <a:cubicBezTo>
                    <a:pt x="1123" y="4"/>
                    <a:pt x="1122" y="4"/>
                    <a:pt x="1122" y="4"/>
                  </a:cubicBezTo>
                  <a:cubicBezTo>
                    <a:pt x="1118" y="3"/>
                    <a:pt x="1113" y="3"/>
                    <a:pt x="1109" y="3"/>
                  </a:cubicBezTo>
                  <a:cubicBezTo>
                    <a:pt x="1109" y="3"/>
                    <a:pt x="1109" y="3"/>
                    <a:pt x="1109" y="3"/>
                  </a:cubicBezTo>
                  <a:cubicBezTo>
                    <a:pt x="1108" y="3"/>
                    <a:pt x="1108" y="3"/>
                    <a:pt x="1107" y="3"/>
                  </a:cubicBezTo>
                  <a:cubicBezTo>
                    <a:pt x="1104" y="2"/>
                    <a:pt x="1100" y="2"/>
                    <a:pt x="1097" y="2"/>
                  </a:cubicBezTo>
                  <a:cubicBezTo>
                    <a:pt x="1096" y="2"/>
                    <a:pt x="1096" y="2"/>
                    <a:pt x="1095" y="2"/>
                  </a:cubicBezTo>
                  <a:cubicBezTo>
                    <a:pt x="1095" y="2"/>
                    <a:pt x="1094" y="2"/>
                    <a:pt x="1093" y="2"/>
                  </a:cubicBezTo>
                  <a:cubicBezTo>
                    <a:pt x="1093" y="2"/>
                    <a:pt x="1092" y="2"/>
                    <a:pt x="1092" y="2"/>
                  </a:cubicBezTo>
                  <a:cubicBezTo>
                    <a:pt x="1091" y="2"/>
                    <a:pt x="1090" y="2"/>
                    <a:pt x="1088" y="2"/>
                  </a:cubicBezTo>
                  <a:cubicBezTo>
                    <a:pt x="1088" y="2"/>
                    <a:pt x="1088" y="2"/>
                    <a:pt x="1087" y="2"/>
                  </a:cubicBezTo>
                  <a:cubicBezTo>
                    <a:pt x="1087" y="2"/>
                    <a:pt x="1087" y="1"/>
                    <a:pt x="1087" y="1"/>
                  </a:cubicBezTo>
                  <a:cubicBezTo>
                    <a:pt x="1086" y="1"/>
                    <a:pt x="1086" y="1"/>
                    <a:pt x="1086" y="1"/>
                  </a:cubicBezTo>
                  <a:cubicBezTo>
                    <a:pt x="1086" y="1"/>
                    <a:pt x="1085" y="1"/>
                    <a:pt x="1085" y="1"/>
                  </a:cubicBezTo>
                  <a:cubicBezTo>
                    <a:pt x="1085" y="1"/>
                    <a:pt x="1084" y="1"/>
                    <a:pt x="1084" y="1"/>
                  </a:cubicBezTo>
                  <a:cubicBezTo>
                    <a:pt x="1083" y="1"/>
                    <a:pt x="1082" y="1"/>
                    <a:pt x="1081" y="1"/>
                  </a:cubicBezTo>
                  <a:cubicBezTo>
                    <a:pt x="1080" y="1"/>
                    <a:pt x="1080" y="1"/>
                    <a:pt x="1079" y="1"/>
                  </a:cubicBezTo>
                  <a:cubicBezTo>
                    <a:pt x="1077" y="1"/>
                    <a:pt x="1075" y="1"/>
                    <a:pt x="1073" y="1"/>
                  </a:cubicBezTo>
                  <a:cubicBezTo>
                    <a:pt x="1072" y="1"/>
                    <a:pt x="1072" y="1"/>
                    <a:pt x="1072" y="1"/>
                  </a:cubicBezTo>
                  <a:cubicBezTo>
                    <a:pt x="1071" y="1"/>
                    <a:pt x="1071" y="1"/>
                    <a:pt x="1071" y="1"/>
                  </a:cubicBezTo>
                  <a:cubicBezTo>
                    <a:pt x="1071" y="1"/>
                    <a:pt x="1070" y="1"/>
                    <a:pt x="1070" y="1"/>
                  </a:cubicBezTo>
                  <a:cubicBezTo>
                    <a:pt x="1063" y="1"/>
                    <a:pt x="1055" y="0"/>
                    <a:pt x="1048" y="0"/>
                  </a:cubicBezTo>
                  <a:cubicBezTo>
                    <a:pt x="1047" y="0"/>
                    <a:pt x="1047" y="0"/>
                    <a:pt x="1047" y="0"/>
                  </a:cubicBezTo>
                  <a:cubicBezTo>
                    <a:pt x="1042" y="0"/>
                    <a:pt x="1037" y="0"/>
                    <a:pt x="1032" y="0"/>
                  </a:cubicBezTo>
                  <a:moveTo>
                    <a:pt x="762" y="50"/>
                  </a:moveTo>
                  <a:cubicBezTo>
                    <a:pt x="762" y="51"/>
                    <a:pt x="761" y="51"/>
                    <a:pt x="760" y="51"/>
                  </a:cubicBezTo>
                  <a:cubicBezTo>
                    <a:pt x="735" y="70"/>
                    <a:pt x="724" y="93"/>
                    <a:pt x="722" y="118"/>
                  </a:cubicBezTo>
                  <a:cubicBezTo>
                    <a:pt x="722" y="119"/>
                    <a:pt x="722" y="119"/>
                    <a:pt x="722" y="120"/>
                  </a:cubicBezTo>
                  <a:cubicBezTo>
                    <a:pt x="722" y="122"/>
                    <a:pt x="722" y="125"/>
                    <a:pt x="722" y="127"/>
                  </a:cubicBezTo>
                  <a:cubicBezTo>
                    <a:pt x="722" y="135"/>
                    <a:pt x="723" y="143"/>
                    <a:pt x="724" y="151"/>
                  </a:cubicBezTo>
                  <a:cubicBezTo>
                    <a:pt x="724" y="151"/>
                    <a:pt x="724" y="151"/>
                    <a:pt x="724" y="152"/>
                  </a:cubicBezTo>
                  <a:cubicBezTo>
                    <a:pt x="725" y="157"/>
                    <a:pt x="726" y="163"/>
                    <a:pt x="728" y="168"/>
                  </a:cubicBezTo>
                  <a:cubicBezTo>
                    <a:pt x="728" y="168"/>
                    <a:pt x="728" y="169"/>
                    <a:pt x="728" y="169"/>
                  </a:cubicBezTo>
                  <a:cubicBezTo>
                    <a:pt x="729" y="172"/>
                    <a:pt x="730" y="176"/>
                    <a:pt x="731" y="179"/>
                  </a:cubicBezTo>
                  <a:cubicBezTo>
                    <a:pt x="731" y="179"/>
                    <a:pt x="732" y="180"/>
                    <a:pt x="732" y="180"/>
                  </a:cubicBezTo>
                  <a:cubicBezTo>
                    <a:pt x="732" y="182"/>
                    <a:pt x="733" y="184"/>
                    <a:pt x="734" y="185"/>
                  </a:cubicBezTo>
                  <a:cubicBezTo>
                    <a:pt x="734" y="186"/>
                    <a:pt x="734" y="186"/>
                    <a:pt x="734" y="186"/>
                  </a:cubicBezTo>
                  <a:cubicBezTo>
                    <a:pt x="734" y="186"/>
                    <a:pt x="734" y="187"/>
                    <a:pt x="734" y="187"/>
                  </a:cubicBezTo>
                  <a:cubicBezTo>
                    <a:pt x="734" y="187"/>
                    <a:pt x="734" y="187"/>
                    <a:pt x="734" y="188"/>
                  </a:cubicBezTo>
                  <a:cubicBezTo>
                    <a:pt x="734" y="188"/>
                    <a:pt x="735" y="188"/>
                    <a:pt x="735" y="188"/>
                  </a:cubicBezTo>
                  <a:cubicBezTo>
                    <a:pt x="735" y="188"/>
                    <a:pt x="735" y="189"/>
                    <a:pt x="735" y="189"/>
                  </a:cubicBezTo>
                  <a:cubicBezTo>
                    <a:pt x="737" y="194"/>
                    <a:pt x="739" y="198"/>
                    <a:pt x="740" y="203"/>
                  </a:cubicBezTo>
                  <a:cubicBezTo>
                    <a:pt x="741" y="203"/>
                    <a:pt x="741" y="203"/>
                    <a:pt x="741" y="204"/>
                  </a:cubicBezTo>
                  <a:cubicBezTo>
                    <a:pt x="743" y="208"/>
                    <a:pt x="745" y="213"/>
                    <a:pt x="747" y="217"/>
                  </a:cubicBezTo>
                  <a:cubicBezTo>
                    <a:pt x="747" y="218"/>
                    <a:pt x="747" y="218"/>
                    <a:pt x="747" y="218"/>
                  </a:cubicBezTo>
                  <a:cubicBezTo>
                    <a:pt x="750" y="224"/>
                    <a:pt x="753" y="230"/>
                    <a:pt x="757" y="236"/>
                  </a:cubicBezTo>
                  <a:cubicBezTo>
                    <a:pt x="757" y="237"/>
                    <a:pt x="757" y="237"/>
                    <a:pt x="757" y="237"/>
                  </a:cubicBezTo>
                  <a:cubicBezTo>
                    <a:pt x="758" y="239"/>
                    <a:pt x="759" y="240"/>
                    <a:pt x="759" y="242"/>
                  </a:cubicBezTo>
                  <a:cubicBezTo>
                    <a:pt x="760" y="242"/>
                    <a:pt x="760" y="242"/>
                    <a:pt x="760" y="243"/>
                  </a:cubicBezTo>
                  <a:cubicBezTo>
                    <a:pt x="761" y="244"/>
                    <a:pt x="761" y="245"/>
                    <a:pt x="762" y="246"/>
                  </a:cubicBezTo>
                  <a:cubicBezTo>
                    <a:pt x="762" y="246"/>
                    <a:pt x="762" y="247"/>
                    <a:pt x="762" y="247"/>
                  </a:cubicBezTo>
                  <a:cubicBezTo>
                    <a:pt x="763" y="248"/>
                    <a:pt x="764" y="249"/>
                    <a:pt x="764" y="251"/>
                  </a:cubicBezTo>
                  <a:cubicBezTo>
                    <a:pt x="764" y="251"/>
                    <a:pt x="765" y="251"/>
                    <a:pt x="765" y="252"/>
                  </a:cubicBezTo>
                  <a:cubicBezTo>
                    <a:pt x="766" y="253"/>
                    <a:pt x="767" y="255"/>
                    <a:pt x="768" y="257"/>
                  </a:cubicBezTo>
                  <a:cubicBezTo>
                    <a:pt x="768" y="257"/>
                    <a:pt x="768" y="258"/>
                    <a:pt x="768" y="258"/>
                  </a:cubicBezTo>
                  <a:cubicBezTo>
                    <a:pt x="768" y="258"/>
                    <a:pt x="769" y="259"/>
                    <a:pt x="769" y="259"/>
                  </a:cubicBezTo>
                  <a:cubicBezTo>
                    <a:pt x="769" y="260"/>
                    <a:pt x="769" y="260"/>
                    <a:pt x="769" y="260"/>
                  </a:cubicBezTo>
                  <a:cubicBezTo>
                    <a:pt x="771" y="263"/>
                    <a:pt x="773" y="266"/>
                    <a:pt x="774" y="269"/>
                  </a:cubicBezTo>
                  <a:cubicBezTo>
                    <a:pt x="775" y="270"/>
                    <a:pt x="775" y="270"/>
                    <a:pt x="775" y="270"/>
                  </a:cubicBezTo>
                  <a:cubicBezTo>
                    <a:pt x="775" y="271"/>
                    <a:pt x="775" y="271"/>
                    <a:pt x="776" y="272"/>
                  </a:cubicBezTo>
                  <a:cubicBezTo>
                    <a:pt x="776" y="272"/>
                    <a:pt x="776" y="272"/>
                    <a:pt x="776" y="273"/>
                  </a:cubicBezTo>
                  <a:cubicBezTo>
                    <a:pt x="777" y="274"/>
                    <a:pt x="778" y="276"/>
                    <a:pt x="779" y="277"/>
                  </a:cubicBezTo>
                  <a:cubicBezTo>
                    <a:pt x="779" y="278"/>
                    <a:pt x="779" y="278"/>
                    <a:pt x="779" y="278"/>
                  </a:cubicBezTo>
                  <a:cubicBezTo>
                    <a:pt x="780" y="280"/>
                    <a:pt x="781" y="282"/>
                    <a:pt x="782" y="284"/>
                  </a:cubicBezTo>
                  <a:cubicBezTo>
                    <a:pt x="783" y="285"/>
                    <a:pt x="783" y="285"/>
                    <a:pt x="783" y="285"/>
                  </a:cubicBezTo>
                  <a:cubicBezTo>
                    <a:pt x="783" y="285"/>
                    <a:pt x="783" y="286"/>
                    <a:pt x="783" y="286"/>
                  </a:cubicBezTo>
                  <a:cubicBezTo>
                    <a:pt x="783" y="286"/>
                    <a:pt x="783" y="286"/>
                    <a:pt x="784" y="287"/>
                  </a:cubicBezTo>
                  <a:cubicBezTo>
                    <a:pt x="784" y="287"/>
                    <a:pt x="784" y="287"/>
                    <a:pt x="784" y="288"/>
                  </a:cubicBezTo>
                  <a:cubicBezTo>
                    <a:pt x="785" y="288"/>
                    <a:pt x="785" y="289"/>
                    <a:pt x="785" y="290"/>
                  </a:cubicBezTo>
                  <a:cubicBezTo>
                    <a:pt x="785" y="290"/>
                    <a:pt x="786" y="291"/>
                    <a:pt x="786" y="291"/>
                  </a:cubicBezTo>
                  <a:cubicBezTo>
                    <a:pt x="786" y="292"/>
                    <a:pt x="786" y="292"/>
                    <a:pt x="787" y="293"/>
                  </a:cubicBezTo>
                  <a:cubicBezTo>
                    <a:pt x="787" y="294"/>
                    <a:pt x="787" y="294"/>
                    <a:pt x="787" y="294"/>
                  </a:cubicBezTo>
                  <a:cubicBezTo>
                    <a:pt x="787" y="295"/>
                    <a:pt x="788" y="295"/>
                    <a:pt x="788" y="295"/>
                  </a:cubicBezTo>
                  <a:cubicBezTo>
                    <a:pt x="788" y="296"/>
                    <a:pt x="788" y="296"/>
                    <a:pt x="788" y="296"/>
                  </a:cubicBezTo>
                  <a:cubicBezTo>
                    <a:pt x="788" y="297"/>
                    <a:pt x="788" y="297"/>
                    <a:pt x="788" y="297"/>
                  </a:cubicBezTo>
                  <a:cubicBezTo>
                    <a:pt x="789" y="298"/>
                    <a:pt x="789" y="298"/>
                    <a:pt x="789" y="299"/>
                  </a:cubicBezTo>
                  <a:cubicBezTo>
                    <a:pt x="789" y="299"/>
                    <a:pt x="789" y="299"/>
                    <a:pt x="790" y="300"/>
                  </a:cubicBezTo>
                  <a:cubicBezTo>
                    <a:pt x="790" y="300"/>
                    <a:pt x="790" y="300"/>
                    <a:pt x="790" y="300"/>
                  </a:cubicBezTo>
                  <a:cubicBezTo>
                    <a:pt x="790" y="300"/>
                    <a:pt x="790" y="301"/>
                    <a:pt x="790" y="301"/>
                  </a:cubicBezTo>
                  <a:cubicBezTo>
                    <a:pt x="790" y="301"/>
                    <a:pt x="790" y="301"/>
                    <a:pt x="790" y="301"/>
                  </a:cubicBezTo>
                  <a:cubicBezTo>
                    <a:pt x="790" y="301"/>
                    <a:pt x="790" y="302"/>
                    <a:pt x="790" y="302"/>
                  </a:cubicBezTo>
                  <a:cubicBezTo>
                    <a:pt x="790" y="302"/>
                    <a:pt x="791" y="302"/>
                    <a:pt x="791" y="303"/>
                  </a:cubicBezTo>
                  <a:cubicBezTo>
                    <a:pt x="791" y="303"/>
                    <a:pt x="791" y="303"/>
                    <a:pt x="791" y="303"/>
                  </a:cubicBezTo>
                  <a:cubicBezTo>
                    <a:pt x="791" y="303"/>
                    <a:pt x="791" y="304"/>
                    <a:pt x="791" y="304"/>
                  </a:cubicBezTo>
                  <a:cubicBezTo>
                    <a:pt x="791" y="304"/>
                    <a:pt x="791" y="304"/>
                    <a:pt x="791" y="305"/>
                  </a:cubicBezTo>
                  <a:cubicBezTo>
                    <a:pt x="791" y="305"/>
                    <a:pt x="791" y="305"/>
                    <a:pt x="791" y="305"/>
                  </a:cubicBezTo>
                  <a:cubicBezTo>
                    <a:pt x="792" y="305"/>
                    <a:pt x="792" y="306"/>
                    <a:pt x="792" y="306"/>
                  </a:cubicBezTo>
                  <a:cubicBezTo>
                    <a:pt x="792" y="307"/>
                    <a:pt x="792" y="309"/>
                    <a:pt x="793" y="310"/>
                  </a:cubicBezTo>
                  <a:cubicBezTo>
                    <a:pt x="793" y="310"/>
                    <a:pt x="793" y="311"/>
                    <a:pt x="793" y="311"/>
                  </a:cubicBezTo>
                  <a:cubicBezTo>
                    <a:pt x="793" y="311"/>
                    <a:pt x="793" y="312"/>
                    <a:pt x="793" y="312"/>
                  </a:cubicBezTo>
                  <a:cubicBezTo>
                    <a:pt x="793" y="313"/>
                    <a:pt x="793" y="314"/>
                    <a:pt x="793" y="316"/>
                  </a:cubicBezTo>
                  <a:cubicBezTo>
                    <a:pt x="793" y="317"/>
                    <a:pt x="793" y="319"/>
                    <a:pt x="793" y="320"/>
                  </a:cubicBezTo>
                  <a:cubicBezTo>
                    <a:pt x="793" y="320"/>
                    <a:pt x="793" y="320"/>
                    <a:pt x="793" y="320"/>
                  </a:cubicBezTo>
                  <a:cubicBezTo>
                    <a:pt x="792" y="321"/>
                    <a:pt x="792" y="321"/>
                    <a:pt x="792" y="322"/>
                  </a:cubicBezTo>
                  <a:cubicBezTo>
                    <a:pt x="790" y="325"/>
                    <a:pt x="786" y="328"/>
                    <a:pt x="780" y="328"/>
                  </a:cubicBezTo>
                  <a:cubicBezTo>
                    <a:pt x="779" y="328"/>
                    <a:pt x="779" y="328"/>
                    <a:pt x="778" y="328"/>
                  </a:cubicBezTo>
                  <a:cubicBezTo>
                    <a:pt x="778" y="328"/>
                    <a:pt x="778" y="328"/>
                    <a:pt x="777" y="328"/>
                  </a:cubicBezTo>
                  <a:cubicBezTo>
                    <a:pt x="775" y="328"/>
                    <a:pt x="772" y="328"/>
                    <a:pt x="769" y="327"/>
                  </a:cubicBezTo>
                  <a:cubicBezTo>
                    <a:pt x="769" y="327"/>
                    <a:pt x="768" y="327"/>
                    <a:pt x="767" y="327"/>
                  </a:cubicBezTo>
                  <a:cubicBezTo>
                    <a:pt x="767" y="327"/>
                    <a:pt x="766" y="327"/>
                    <a:pt x="766" y="327"/>
                  </a:cubicBezTo>
                  <a:cubicBezTo>
                    <a:pt x="765" y="327"/>
                    <a:pt x="764" y="327"/>
                    <a:pt x="763" y="326"/>
                  </a:cubicBezTo>
                  <a:cubicBezTo>
                    <a:pt x="763" y="326"/>
                    <a:pt x="762" y="326"/>
                    <a:pt x="761" y="326"/>
                  </a:cubicBezTo>
                  <a:cubicBezTo>
                    <a:pt x="761" y="326"/>
                    <a:pt x="761" y="326"/>
                    <a:pt x="760" y="326"/>
                  </a:cubicBezTo>
                  <a:cubicBezTo>
                    <a:pt x="760" y="326"/>
                    <a:pt x="760" y="326"/>
                    <a:pt x="759" y="326"/>
                  </a:cubicBezTo>
                  <a:cubicBezTo>
                    <a:pt x="759" y="325"/>
                    <a:pt x="759" y="325"/>
                    <a:pt x="758" y="325"/>
                  </a:cubicBezTo>
                  <a:cubicBezTo>
                    <a:pt x="758" y="325"/>
                    <a:pt x="758" y="325"/>
                    <a:pt x="757" y="325"/>
                  </a:cubicBezTo>
                  <a:cubicBezTo>
                    <a:pt x="757" y="325"/>
                    <a:pt x="756" y="325"/>
                    <a:pt x="756" y="325"/>
                  </a:cubicBezTo>
                  <a:cubicBezTo>
                    <a:pt x="754" y="324"/>
                    <a:pt x="751" y="323"/>
                    <a:pt x="749" y="323"/>
                  </a:cubicBezTo>
                  <a:cubicBezTo>
                    <a:pt x="748" y="323"/>
                    <a:pt x="748" y="322"/>
                    <a:pt x="747" y="322"/>
                  </a:cubicBezTo>
                  <a:cubicBezTo>
                    <a:pt x="747" y="322"/>
                    <a:pt x="747" y="322"/>
                    <a:pt x="747" y="322"/>
                  </a:cubicBezTo>
                  <a:cubicBezTo>
                    <a:pt x="746" y="322"/>
                    <a:pt x="746" y="322"/>
                    <a:pt x="745" y="322"/>
                  </a:cubicBezTo>
                  <a:cubicBezTo>
                    <a:pt x="744" y="321"/>
                    <a:pt x="743" y="321"/>
                    <a:pt x="742" y="321"/>
                  </a:cubicBezTo>
                  <a:cubicBezTo>
                    <a:pt x="742" y="320"/>
                    <a:pt x="741" y="320"/>
                    <a:pt x="741" y="320"/>
                  </a:cubicBezTo>
                  <a:cubicBezTo>
                    <a:pt x="740" y="320"/>
                    <a:pt x="740" y="320"/>
                    <a:pt x="739" y="320"/>
                  </a:cubicBezTo>
                  <a:cubicBezTo>
                    <a:pt x="739" y="320"/>
                    <a:pt x="739" y="319"/>
                    <a:pt x="739" y="319"/>
                  </a:cubicBezTo>
                  <a:cubicBezTo>
                    <a:pt x="739" y="320"/>
                    <a:pt x="739" y="320"/>
                    <a:pt x="739" y="321"/>
                  </a:cubicBezTo>
                  <a:cubicBezTo>
                    <a:pt x="740" y="321"/>
                    <a:pt x="740" y="321"/>
                    <a:pt x="741" y="321"/>
                  </a:cubicBezTo>
                  <a:cubicBezTo>
                    <a:pt x="741" y="321"/>
                    <a:pt x="742" y="322"/>
                    <a:pt x="743" y="322"/>
                  </a:cubicBezTo>
                  <a:cubicBezTo>
                    <a:pt x="743" y="322"/>
                    <a:pt x="744" y="322"/>
                    <a:pt x="745" y="323"/>
                  </a:cubicBezTo>
                  <a:cubicBezTo>
                    <a:pt x="745" y="323"/>
                    <a:pt x="745" y="323"/>
                    <a:pt x="745" y="323"/>
                  </a:cubicBezTo>
                  <a:cubicBezTo>
                    <a:pt x="746" y="323"/>
                    <a:pt x="746" y="323"/>
                    <a:pt x="747" y="323"/>
                  </a:cubicBezTo>
                  <a:cubicBezTo>
                    <a:pt x="750" y="324"/>
                    <a:pt x="753" y="325"/>
                    <a:pt x="755" y="326"/>
                  </a:cubicBezTo>
                  <a:cubicBezTo>
                    <a:pt x="756" y="326"/>
                    <a:pt x="756" y="326"/>
                    <a:pt x="756" y="326"/>
                  </a:cubicBezTo>
                  <a:cubicBezTo>
                    <a:pt x="757" y="326"/>
                    <a:pt x="757" y="326"/>
                    <a:pt x="757" y="326"/>
                  </a:cubicBezTo>
                  <a:cubicBezTo>
                    <a:pt x="758" y="326"/>
                    <a:pt x="758" y="326"/>
                    <a:pt x="758" y="326"/>
                  </a:cubicBezTo>
                  <a:cubicBezTo>
                    <a:pt x="759" y="326"/>
                    <a:pt x="759" y="327"/>
                    <a:pt x="760" y="327"/>
                  </a:cubicBezTo>
                  <a:cubicBezTo>
                    <a:pt x="760" y="327"/>
                    <a:pt x="760" y="327"/>
                    <a:pt x="761" y="327"/>
                  </a:cubicBezTo>
                  <a:cubicBezTo>
                    <a:pt x="762" y="327"/>
                    <a:pt x="763" y="327"/>
                    <a:pt x="763" y="327"/>
                  </a:cubicBezTo>
                  <a:cubicBezTo>
                    <a:pt x="764" y="328"/>
                    <a:pt x="764" y="328"/>
                    <a:pt x="765" y="328"/>
                  </a:cubicBezTo>
                  <a:cubicBezTo>
                    <a:pt x="765" y="328"/>
                    <a:pt x="765" y="328"/>
                    <a:pt x="765" y="328"/>
                  </a:cubicBezTo>
                  <a:cubicBezTo>
                    <a:pt x="765" y="328"/>
                    <a:pt x="766" y="328"/>
                    <a:pt x="767" y="328"/>
                  </a:cubicBezTo>
                  <a:cubicBezTo>
                    <a:pt x="771" y="329"/>
                    <a:pt x="774" y="329"/>
                    <a:pt x="777" y="329"/>
                  </a:cubicBezTo>
                  <a:cubicBezTo>
                    <a:pt x="778" y="329"/>
                    <a:pt x="778" y="329"/>
                    <a:pt x="778" y="329"/>
                  </a:cubicBezTo>
                  <a:cubicBezTo>
                    <a:pt x="778" y="329"/>
                    <a:pt x="779" y="329"/>
                    <a:pt x="779" y="329"/>
                  </a:cubicBezTo>
                  <a:cubicBezTo>
                    <a:pt x="787" y="329"/>
                    <a:pt x="791" y="326"/>
                    <a:pt x="793" y="321"/>
                  </a:cubicBezTo>
                  <a:cubicBezTo>
                    <a:pt x="793" y="321"/>
                    <a:pt x="794" y="321"/>
                    <a:pt x="794" y="320"/>
                  </a:cubicBezTo>
                  <a:cubicBezTo>
                    <a:pt x="794" y="320"/>
                    <a:pt x="794" y="320"/>
                    <a:pt x="794" y="320"/>
                  </a:cubicBezTo>
                  <a:cubicBezTo>
                    <a:pt x="794" y="318"/>
                    <a:pt x="794" y="317"/>
                    <a:pt x="794" y="316"/>
                  </a:cubicBezTo>
                  <a:cubicBezTo>
                    <a:pt x="794" y="314"/>
                    <a:pt x="794" y="313"/>
                    <a:pt x="794" y="312"/>
                  </a:cubicBezTo>
                  <a:cubicBezTo>
                    <a:pt x="794" y="312"/>
                    <a:pt x="794" y="311"/>
                    <a:pt x="794" y="311"/>
                  </a:cubicBezTo>
                  <a:cubicBezTo>
                    <a:pt x="794" y="311"/>
                    <a:pt x="794" y="311"/>
                    <a:pt x="794" y="311"/>
                  </a:cubicBezTo>
                  <a:cubicBezTo>
                    <a:pt x="794" y="310"/>
                    <a:pt x="794" y="310"/>
                    <a:pt x="794" y="310"/>
                  </a:cubicBezTo>
                  <a:cubicBezTo>
                    <a:pt x="793" y="308"/>
                    <a:pt x="793" y="307"/>
                    <a:pt x="793" y="306"/>
                  </a:cubicBezTo>
                  <a:cubicBezTo>
                    <a:pt x="793" y="305"/>
                    <a:pt x="792" y="305"/>
                    <a:pt x="792" y="305"/>
                  </a:cubicBezTo>
                  <a:cubicBezTo>
                    <a:pt x="792" y="304"/>
                    <a:pt x="792" y="304"/>
                    <a:pt x="792" y="304"/>
                  </a:cubicBezTo>
                  <a:cubicBezTo>
                    <a:pt x="792" y="303"/>
                    <a:pt x="792" y="303"/>
                    <a:pt x="792" y="303"/>
                  </a:cubicBezTo>
                  <a:cubicBezTo>
                    <a:pt x="792" y="302"/>
                    <a:pt x="792" y="302"/>
                    <a:pt x="792" y="302"/>
                  </a:cubicBezTo>
                  <a:cubicBezTo>
                    <a:pt x="792" y="302"/>
                    <a:pt x="791" y="302"/>
                    <a:pt x="791" y="302"/>
                  </a:cubicBezTo>
                  <a:cubicBezTo>
                    <a:pt x="791" y="301"/>
                    <a:pt x="791" y="301"/>
                    <a:pt x="791" y="300"/>
                  </a:cubicBezTo>
                  <a:cubicBezTo>
                    <a:pt x="791" y="300"/>
                    <a:pt x="791" y="300"/>
                    <a:pt x="791" y="300"/>
                  </a:cubicBezTo>
                  <a:cubicBezTo>
                    <a:pt x="791" y="300"/>
                    <a:pt x="791" y="299"/>
                    <a:pt x="790" y="299"/>
                  </a:cubicBezTo>
                  <a:cubicBezTo>
                    <a:pt x="790" y="299"/>
                    <a:pt x="790" y="299"/>
                    <a:pt x="790" y="298"/>
                  </a:cubicBezTo>
                  <a:cubicBezTo>
                    <a:pt x="790" y="298"/>
                    <a:pt x="790" y="297"/>
                    <a:pt x="789" y="296"/>
                  </a:cubicBezTo>
                  <a:cubicBezTo>
                    <a:pt x="789" y="296"/>
                    <a:pt x="789" y="296"/>
                    <a:pt x="789" y="296"/>
                  </a:cubicBezTo>
                  <a:cubicBezTo>
                    <a:pt x="789" y="296"/>
                    <a:pt x="789" y="295"/>
                    <a:pt x="789" y="295"/>
                  </a:cubicBezTo>
                  <a:cubicBezTo>
                    <a:pt x="788" y="294"/>
                    <a:pt x="788" y="294"/>
                    <a:pt x="788" y="293"/>
                  </a:cubicBezTo>
                  <a:cubicBezTo>
                    <a:pt x="788" y="293"/>
                    <a:pt x="788" y="293"/>
                    <a:pt x="788" y="292"/>
                  </a:cubicBezTo>
                  <a:cubicBezTo>
                    <a:pt x="787" y="292"/>
                    <a:pt x="787" y="291"/>
                    <a:pt x="787" y="291"/>
                  </a:cubicBezTo>
                  <a:cubicBezTo>
                    <a:pt x="787" y="290"/>
                    <a:pt x="786" y="290"/>
                    <a:pt x="786" y="290"/>
                  </a:cubicBezTo>
                  <a:cubicBezTo>
                    <a:pt x="786" y="289"/>
                    <a:pt x="785" y="288"/>
                    <a:pt x="785" y="287"/>
                  </a:cubicBezTo>
                  <a:cubicBezTo>
                    <a:pt x="785" y="287"/>
                    <a:pt x="785" y="287"/>
                    <a:pt x="785" y="286"/>
                  </a:cubicBezTo>
                  <a:cubicBezTo>
                    <a:pt x="784" y="286"/>
                    <a:pt x="784" y="286"/>
                    <a:pt x="784" y="285"/>
                  </a:cubicBezTo>
                  <a:cubicBezTo>
                    <a:pt x="784" y="285"/>
                    <a:pt x="784" y="285"/>
                    <a:pt x="784" y="285"/>
                  </a:cubicBezTo>
                  <a:cubicBezTo>
                    <a:pt x="784" y="284"/>
                    <a:pt x="783" y="284"/>
                    <a:pt x="783" y="284"/>
                  </a:cubicBezTo>
                  <a:cubicBezTo>
                    <a:pt x="782" y="282"/>
                    <a:pt x="781" y="280"/>
                    <a:pt x="780" y="278"/>
                  </a:cubicBezTo>
                  <a:cubicBezTo>
                    <a:pt x="780" y="278"/>
                    <a:pt x="780" y="277"/>
                    <a:pt x="780" y="277"/>
                  </a:cubicBezTo>
                  <a:cubicBezTo>
                    <a:pt x="779" y="276"/>
                    <a:pt x="778" y="274"/>
                    <a:pt x="777" y="272"/>
                  </a:cubicBezTo>
                  <a:cubicBezTo>
                    <a:pt x="777" y="272"/>
                    <a:pt x="777" y="272"/>
                    <a:pt x="777" y="271"/>
                  </a:cubicBezTo>
                  <a:cubicBezTo>
                    <a:pt x="776" y="271"/>
                    <a:pt x="776" y="270"/>
                    <a:pt x="776" y="270"/>
                  </a:cubicBezTo>
                  <a:cubicBezTo>
                    <a:pt x="776" y="270"/>
                    <a:pt x="776" y="269"/>
                    <a:pt x="775" y="269"/>
                  </a:cubicBezTo>
                  <a:cubicBezTo>
                    <a:pt x="774" y="266"/>
                    <a:pt x="772" y="263"/>
                    <a:pt x="770" y="260"/>
                  </a:cubicBezTo>
                  <a:cubicBezTo>
                    <a:pt x="770" y="260"/>
                    <a:pt x="770" y="259"/>
                    <a:pt x="770" y="259"/>
                  </a:cubicBezTo>
                  <a:cubicBezTo>
                    <a:pt x="770" y="258"/>
                    <a:pt x="769" y="258"/>
                    <a:pt x="769" y="257"/>
                  </a:cubicBezTo>
                  <a:cubicBezTo>
                    <a:pt x="769" y="257"/>
                    <a:pt x="769" y="257"/>
                    <a:pt x="769" y="256"/>
                  </a:cubicBezTo>
                  <a:cubicBezTo>
                    <a:pt x="768" y="255"/>
                    <a:pt x="767" y="253"/>
                    <a:pt x="766" y="252"/>
                  </a:cubicBezTo>
                  <a:cubicBezTo>
                    <a:pt x="766" y="251"/>
                    <a:pt x="766" y="251"/>
                    <a:pt x="765" y="251"/>
                  </a:cubicBezTo>
                  <a:cubicBezTo>
                    <a:pt x="765" y="249"/>
                    <a:pt x="764" y="248"/>
                    <a:pt x="763" y="247"/>
                  </a:cubicBezTo>
                  <a:cubicBezTo>
                    <a:pt x="763" y="247"/>
                    <a:pt x="763" y="246"/>
                    <a:pt x="763" y="246"/>
                  </a:cubicBezTo>
                  <a:cubicBezTo>
                    <a:pt x="762" y="245"/>
                    <a:pt x="761" y="243"/>
                    <a:pt x="761" y="242"/>
                  </a:cubicBezTo>
                  <a:cubicBezTo>
                    <a:pt x="761" y="242"/>
                    <a:pt x="760" y="241"/>
                    <a:pt x="760" y="241"/>
                  </a:cubicBezTo>
                  <a:cubicBezTo>
                    <a:pt x="759" y="240"/>
                    <a:pt x="759" y="238"/>
                    <a:pt x="758" y="237"/>
                  </a:cubicBezTo>
                  <a:cubicBezTo>
                    <a:pt x="758" y="237"/>
                    <a:pt x="758" y="236"/>
                    <a:pt x="758" y="236"/>
                  </a:cubicBezTo>
                  <a:cubicBezTo>
                    <a:pt x="754" y="230"/>
                    <a:pt x="751" y="224"/>
                    <a:pt x="749" y="218"/>
                  </a:cubicBezTo>
                  <a:cubicBezTo>
                    <a:pt x="748" y="218"/>
                    <a:pt x="748" y="217"/>
                    <a:pt x="748" y="217"/>
                  </a:cubicBezTo>
                  <a:cubicBezTo>
                    <a:pt x="746" y="213"/>
                    <a:pt x="744" y="208"/>
                    <a:pt x="742" y="204"/>
                  </a:cubicBezTo>
                  <a:cubicBezTo>
                    <a:pt x="742" y="203"/>
                    <a:pt x="742" y="203"/>
                    <a:pt x="742" y="203"/>
                  </a:cubicBezTo>
                  <a:cubicBezTo>
                    <a:pt x="740" y="198"/>
                    <a:pt x="738" y="193"/>
                    <a:pt x="736" y="189"/>
                  </a:cubicBezTo>
                  <a:cubicBezTo>
                    <a:pt x="736" y="188"/>
                    <a:pt x="736" y="188"/>
                    <a:pt x="736" y="188"/>
                  </a:cubicBezTo>
                  <a:cubicBezTo>
                    <a:pt x="736" y="188"/>
                    <a:pt x="736" y="188"/>
                    <a:pt x="735" y="188"/>
                  </a:cubicBezTo>
                  <a:cubicBezTo>
                    <a:pt x="735" y="187"/>
                    <a:pt x="735" y="187"/>
                    <a:pt x="735" y="187"/>
                  </a:cubicBezTo>
                  <a:cubicBezTo>
                    <a:pt x="735" y="186"/>
                    <a:pt x="735" y="186"/>
                    <a:pt x="735" y="186"/>
                  </a:cubicBezTo>
                  <a:cubicBezTo>
                    <a:pt x="735" y="186"/>
                    <a:pt x="735" y="185"/>
                    <a:pt x="735" y="185"/>
                  </a:cubicBezTo>
                  <a:cubicBezTo>
                    <a:pt x="734" y="183"/>
                    <a:pt x="733" y="181"/>
                    <a:pt x="733" y="179"/>
                  </a:cubicBezTo>
                  <a:cubicBezTo>
                    <a:pt x="732" y="179"/>
                    <a:pt x="732" y="179"/>
                    <a:pt x="732" y="179"/>
                  </a:cubicBezTo>
                  <a:cubicBezTo>
                    <a:pt x="731" y="175"/>
                    <a:pt x="730" y="172"/>
                    <a:pt x="729" y="168"/>
                  </a:cubicBezTo>
                  <a:cubicBezTo>
                    <a:pt x="729" y="168"/>
                    <a:pt x="729" y="168"/>
                    <a:pt x="729" y="168"/>
                  </a:cubicBezTo>
                  <a:cubicBezTo>
                    <a:pt x="727" y="162"/>
                    <a:pt x="726" y="157"/>
                    <a:pt x="725" y="151"/>
                  </a:cubicBezTo>
                  <a:cubicBezTo>
                    <a:pt x="725" y="151"/>
                    <a:pt x="725" y="150"/>
                    <a:pt x="725" y="150"/>
                  </a:cubicBezTo>
                  <a:cubicBezTo>
                    <a:pt x="724" y="142"/>
                    <a:pt x="723" y="135"/>
                    <a:pt x="723" y="127"/>
                  </a:cubicBezTo>
                  <a:cubicBezTo>
                    <a:pt x="723" y="124"/>
                    <a:pt x="723" y="121"/>
                    <a:pt x="723" y="119"/>
                  </a:cubicBezTo>
                  <a:cubicBezTo>
                    <a:pt x="723" y="118"/>
                    <a:pt x="723" y="118"/>
                    <a:pt x="723" y="117"/>
                  </a:cubicBezTo>
                  <a:cubicBezTo>
                    <a:pt x="726" y="92"/>
                    <a:pt x="737" y="69"/>
                    <a:pt x="762" y="50"/>
                  </a:cubicBezTo>
                  <a:moveTo>
                    <a:pt x="651" y="299"/>
                  </a:moveTo>
                  <a:cubicBezTo>
                    <a:pt x="647" y="299"/>
                    <a:pt x="643" y="299"/>
                    <a:pt x="640" y="299"/>
                  </a:cubicBezTo>
                  <a:cubicBezTo>
                    <a:pt x="639" y="299"/>
                    <a:pt x="638" y="299"/>
                    <a:pt x="637" y="299"/>
                  </a:cubicBezTo>
                  <a:cubicBezTo>
                    <a:pt x="633" y="299"/>
                    <a:pt x="628" y="300"/>
                    <a:pt x="624" y="300"/>
                  </a:cubicBezTo>
                  <a:cubicBezTo>
                    <a:pt x="623" y="300"/>
                    <a:pt x="622" y="300"/>
                    <a:pt x="622" y="300"/>
                  </a:cubicBezTo>
                  <a:cubicBezTo>
                    <a:pt x="620" y="300"/>
                    <a:pt x="618" y="301"/>
                    <a:pt x="617" y="301"/>
                  </a:cubicBezTo>
                  <a:cubicBezTo>
                    <a:pt x="616" y="301"/>
                    <a:pt x="615" y="301"/>
                    <a:pt x="615" y="301"/>
                  </a:cubicBezTo>
                  <a:cubicBezTo>
                    <a:pt x="613" y="301"/>
                    <a:pt x="612" y="301"/>
                    <a:pt x="611" y="302"/>
                  </a:cubicBezTo>
                  <a:cubicBezTo>
                    <a:pt x="610" y="302"/>
                    <a:pt x="609" y="302"/>
                    <a:pt x="607" y="302"/>
                  </a:cubicBezTo>
                  <a:cubicBezTo>
                    <a:pt x="606" y="302"/>
                    <a:pt x="604" y="303"/>
                    <a:pt x="603" y="303"/>
                  </a:cubicBezTo>
                  <a:cubicBezTo>
                    <a:pt x="602" y="303"/>
                    <a:pt x="601" y="303"/>
                    <a:pt x="600" y="303"/>
                  </a:cubicBezTo>
                  <a:cubicBezTo>
                    <a:pt x="596" y="304"/>
                    <a:pt x="591" y="305"/>
                    <a:pt x="587" y="306"/>
                  </a:cubicBezTo>
                  <a:cubicBezTo>
                    <a:pt x="586" y="306"/>
                    <a:pt x="585" y="306"/>
                    <a:pt x="583" y="307"/>
                  </a:cubicBezTo>
                  <a:cubicBezTo>
                    <a:pt x="581" y="307"/>
                    <a:pt x="578" y="308"/>
                    <a:pt x="575" y="308"/>
                  </a:cubicBezTo>
                  <a:cubicBezTo>
                    <a:pt x="573" y="309"/>
                    <a:pt x="570" y="310"/>
                    <a:pt x="568" y="310"/>
                  </a:cubicBezTo>
                  <a:cubicBezTo>
                    <a:pt x="564" y="311"/>
                    <a:pt x="561" y="312"/>
                    <a:pt x="557" y="313"/>
                  </a:cubicBezTo>
                  <a:cubicBezTo>
                    <a:pt x="553" y="314"/>
                    <a:pt x="548" y="316"/>
                    <a:pt x="544" y="317"/>
                  </a:cubicBezTo>
                  <a:cubicBezTo>
                    <a:pt x="542" y="318"/>
                    <a:pt x="539" y="319"/>
                    <a:pt x="537" y="319"/>
                  </a:cubicBezTo>
                  <a:cubicBezTo>
                    <a:pt x="533" y="320"/>
                    <a:pt x="530" y="321"/>
                    <a:pt x="527" y="322"/>
                  </a:cubicBezTo>
                  <a:cubicBezTo>
                    <a:pt x="526" y="323"/>
                    <a:pt x="526" y="323"/>
                    <a:pt x="525" y="323"/>
                  </a:cubicBezTo>
                  <a:cubicBezTo>
                    <a:pt x="524" y="323"/>
                    <a:pt x="523" y="324"/>
                    <a:pt x="521" y="324"/>
                  </a:cubicBezTo>
                  <a:cubicBezTo>
                    <a:pt x="520" y="325"/>
                    <a:pt x="519" y="325"/>
                    <a:pt x="517" y="326"/>
                  </a:cubicBezTo>
                  <a:cubicBezTo>
                    <a:pt x="517" y="326"/>
                    <a:pt x="517" y="326"/>
                    <a:pt x="516" y="326"/>
                  </a:cubicBezTo>
                  <a:cubicBezTo>
                    <a:pt x="515" y="326"/>
                    <a:pt x="515" y="326"/>
                    <a:pt x="514" y="327"/>
                  </a:cubicBezTo>
                  <a:cubicBezTo>
                    <a:pt x="512" y="327"/>
                    <a:pt x="510" y="328"/>
                    <a:pt x="508" y="329"/>
                  </a:cubicBezTo>
                  <a:cubicBezTo>
                    <a:pt x="507" y="329"/>
                    <a:pt x="507" y="329"/>
                    <a:pt x="506" y="329"/>
                  </a:cubicBezTo>
                  <a:cubicBezTo>
                    <a:pt x="505" y="330"/>
                    <a:pt x="504" y="330"/>
                    <a:pt x="503" y="330"/>
                  </a:cubicBezTo>
                  <a:cubicBezTo>
                    <a:pt x="503" y="330"/>
                    <a:pt x="503" y="330"/>
                    <a:pt x="503" y="331"/>
                  </a:cubicBezTo>
                  <a:cubicBezTo>
                    <a:pt x="502" y="331"/>
                    <a:pt x="502" y="331"/>
                    <a:pt x="502" y="331"/>
                  </a:cubicBezTo>
                  <a:cubicBezTo>
                    <a:pt x="501" y="331"/>
                    <a:pt x="501" y="331"/>
                    <a:pt x="501" y="331"/>
                  </a:cubicBezTo>
                  <a:cubicBezTo>
                    <a:pt x="501" y="331"/>
                    <a:pt x="500" y="331"/>
                    <a:pt x="500" y="331"/>
                  </a:cubicBezTo>
                  <a:cubicBezTo>
                    <a:pt x="499" y="332"/>
                    <a:pt x="499" y="332"/>
                    <a:pt x="498" y="332"/>
                  </a:cubicBezTo>
                  <a:cubicBezTo>
                    <a:pt x="497" y="333"/>
                    <a:pt x="495" y="333"/>
                    <a:pt x="494" y="334"/>
                  </a:cubicBezTo>
                  <a:cubicBezTo>
                    <a:pt x="493" y="334"/>
                    <a:pt x="492" y="334"/>
                    <a:pt x="491" y="334"/>
                  </a:cubicBezTo>
                  <a:cubicBezTo>
                    <a:pt x="491" y="335"/>
                    <a:pt x="490" y="335"/>
                    <a:pt x="490" y="335"/>
                  </a:cubicBezTo>
                  <a:cubicBezTo>
                    <a:pt x="489" y="335"/>
                    <a:pt x="488" y="336"/>
                    <a:pt x="488" y="336"/>
                  </a:cubicBezTo>
                  <a:cubicBezTo>
                    <a:pt x="488" y="336"/>
                    <a:pt x="488" y="336"/>
                    <a:pt x="487" y="336"/>
                  </a:cubicBezTo>
                  <a:cubicBezTo>
                    <a:pt x="487" y="336"/>
                    <a:pt x="486" y="336"/>
                    <a:pt x="485" y="337"/>
                  </a:cubicBezTo>
                  <a:cubicBezTo>
                    <a:pt x="484" y="337"/>
                    <a:pt x="484" y="337"/>
                    <a:pt x="483" y="337"/>
                  </a:cubicBezTo>
                  <a:cubicBezTo>
                    <a:pt x="486" y="337"/>
                    <a:pt x="488" y="336"/>
                    <a:pt x="491" y="336"/>
                  </a:cubicBezTo>
                  <a:cubicBezTo>
                    <a:pt x="491" y="336"/>
                    <a:pt x="492" y="335"/>
                    <a:pt x="492" y="335"/>
                  </a:cubicBezTo>
                  <a:cubicBezTo>
                    <a:pt x="494" y="335"/>
                    <a:pt x="495" y="334"/>
                    <a:pt x="497" y="334"/>
                  </a:cubicBezTo>
                  <a:cubicBezTo>
                    <a:pt x="498" y="333"/>
                    <a:pt x="498" y="333"/>
                    <a:pt x="499" y="333"/>
                  </a:cubicBezTo>
                  <a:cubicBezTo>
                    <a:pt x="500" y="332"/>
                    <a:pt x="501" y="332"/>
                    <a:pt x="502" y="332"/>
                  </a:cubicBezTo>
                  <a:cubicBezTo>
                    <a:pt x="503" y="331"/>
                    <a:pt x="503" y="331"/>
                    <a:pt x="504" y="331"/>
                  </a:cubicBezTo>
                  <a:cubicBezTo>
                    <a:pt x="504" y="331"/>
                    <a:pt x="505" y="331"/>
                    <a:pt x="505" y="331"/>
                  </a:cubicBezTo>
                  <a:cubicBezTo>
                    <a:pt x="505" y="331"/>
                    <a:pt x="506" y="330"/>
                    <a:pt x="506" y="330"/>
                  </a:cubicBezTo>
                  <a:cubicBezTo>
                    <a:pt x="508" y="330"/>
                    <a:pt x="510" y="329"/>
                    <a:pt x="512" y="328"/>
                  </a:cubicBezTo>
                  <a:cubicBezTo>
                    <a:pt x="512" y="328"/>
                    <a:pt x="513" y="328"/>
                    <a:pt x="514" y="328"/>
                  </a:cubicBezTo>
                  <a:cubicBezTo>
                    <a:pt x="515" y="327"/>
                    <a:pt x="516" y="327"/>
                    <a:pt x="518" y="326"/>
                  </a:cubicBezTo>
                  <a:cubicBezTo>
                    <a:pt x="521" y="325"/>
                    <a:pt x="524" y="324"/>
                    <a:pt x="527" y="323"/>
                  </a:cubicBezTo>
                  <a:cubicBezTo>
                    <a:pt x="527" y="323"/>
                    <a:pt x="528" y="323"/>
                    <a:pt x="528" y="323"/>
                  </a:cubicBezTo>
                  <a:cubicBezTo>
                    <a:pt x="534" y="321"/>
                    <a:pt x="539" y="320"/>
                    <a:pt x="544" y="318"/>
                  </a:cubicBezTo>
                  <a:cubicBezTo>
                    <a:pt x="547" y="317"/>
                    <a:pt x="549" y="316"/>
                    <a:pt x="552" y="316"/>
                  </a:cubicBezTo>
                  <a:cubicBezTo>
                    <a:pt x="554" y="315"/>
                    <a:pt x="555" y="315"/>
                    <a:pt x="557" y="314"/>
                  </a:cubicBezTo>
                  <a:cubicBezTo>
                    <a:pt x="558" y="314"/>
                    <a:pt x="560" y="313"/>
                    <a:pt x="561" y="313"/>
                  </a:cubicBezTo>
                  <a:cubicBezTo>
                    <a:pt x="563" y="312"/>
                    <a:pt x="566" y="312"/>
                    <a:pt x="569" y="311"/>
                  </a:cubicBezTo>
                  <a:cubicBezTo>
                    <a:pt x="572" y="310"/>
                    <a:pt x="576" y="309"/>
                    <a:pt x="580" y="308"/>
                  </a:cubicBezTo>
                  <a:cubicBezTo>
                    <a:pt x="581" y="308"/>
                    <a:pt x="582" y="308"/>
                    <a:pt x="584" y="307"/>
                  </a:cubicBezTo>
                  <a:cubicBezTo>
                    <a:pt x="588" y="306"/>
                    <a:pt x="593" y="306"/>
                    <a:pt x="597" y="305"/>
                  </a:cubicBezTo>
                  <a:cubicBezTo>
                    <a:pt x="598" y="305"/>
                    <a:pt x="599" y="304"/>
                    <a:pt x="600" y="304"/>
                  </a:cubicBezTo>
                  <a:cubicBezTo>
                    <a:pt x="602" y="304"/>
                    <a:pt x="603" y="304"/>
                    <a:pt x="604" y="304"/>
                  </a:cubicBezTo>
                  <a:cubicBezTo>
                    <a:pt x="605" y="303"/>
                    <a:pt x="607" y="303"/>
                    <a:pt x="608" y="303"/>
                  </a:cubicBezTo>
                  <a:cubicBezTo>
                    <a:pt x="609" y="303"/>
                    <a:pt x="611" y="303"/>
                    <a:pt x="613" y="302"/>
                  </a:cubicBezTo>
                  <a:cubicBezTo>
                    <a:pt x="613" y="302"/>
                    <a:pt x="614" y="302"/>
                    <a:pt x="615" y="302"/>
                  </a:cubicBezTo>
                  <a:cubicBezTo>
                    <a:pt x="617" y="302"/>
                    <a:pt x="618" y="302"/>
                    <a:pt x="620" y="302"/>
                  </a:cubicBezTo>
                  <a:cubicBezTo>
                    <a:pt x="621" y="301"/>
                    <a:pt x="621" y="301"/>
                    <a:pt x="622" y="301"/>
                  </a:cubicBezTo>
                  <a:cubicBezTo>
                    <a:pt x="626" y="301"/>
                    <a:pt x="631" y="300"/>
                    <a:pt x="635" y="300"/>
                  </a:cubicBezTo>
                  <a:cubicBezTo>
                    <a:pt x="636" y="300"/>
                    <a:pt x="637" y="300"/>
                    <a:pt x="638" y="300"/>
                  </a:cubicBezTo>
                  <a:cubicBezTo>
                    <a:pt x="642" y="300"/>
                    <a:pt x="646" y="300"/>
                    <a:pt x="651" y="300"/>
                  </a:cubicBezTo>
                  <a:cubicBezTo>
                    <a:pt x="652" y="300"/>
                    <a:pt x="654" y="300"/>
                    <a:pt x="656" y="300"/>
                  </a:cubicBezTo>
                  <a:cubicBezTo>
                    <a:pt x="658" y="300"/>
                    <a:pt x="660" y="300"/>
                    <a:pt x="661" y="300"/>
                  </a:cubicBezTo>
                  <a:cubicBezTo>
                    <a:pt x="662" y="300"/>
                    <a:pt x="662" y="300"/>
                    <a:pt x="662" y="300"/>
                  </a:cubicBezTo>
                  <a:cubicBezTo>
                    <a:pt x="663" y="300"/>
                    <a:pt x="664" y="300"/>
                    <a:pt x="664" y="300"/>
                  </a:cubicBezTo>
                  <a:cubicBezTo>
                    <a:pt x="672" y="301"/>
                    <a:pt x="680" y="302"/>
                    <a:pt x="688" y="303"/>
                  </a:cubicBezTo>
                  <a:cubicBezTo>
                    <a:pt x="688" y="303"/>
                    <a:pt x="689" y="303"/>
                    <a:pt x="689" y="303"/>
                  </a:cubicBezTo>
                  <a:cubicBezTo>
                    <a:pt x="691" y="304"/>
                    <a:pt x="693" y="304"/>
                    <a:pt x="695" y="305"/>
                  </a:cubicBezTo>
                  <a:cubicBezTo>
                    <a:pt x="696" y="305"/>
                    <a:pt x="696" y="305"/>
                    <a:pt x="697" y="305"/>
                  </a:cubicBezTo>
                  <a:cubicBezTo>
                    <a:pt x="701" y="306"/>
                    <a:pt x="704" y="307"/>
                    <a:pt x="707" y="309"/>
                  </a:cubicBezTo>
                  <a:cubicBezTo>
                    <a:pt x="708" y="309"/>
                    <a:pt x="708" y="309"/>
                    <a:pt x="709" y="309"/>
                  </a:cubicBezTo>
                  <a:cubicBezTo>
                    <a:pt x="709" y="309"/>
                    <a:pt x="709" y="309"/>
                    <a:pt x="710" y="310"/>
                  </a:cubicBezTo>
                  <a:cubicBezTo>
                    <a:pt x="711" y="310"/>
                    <a:pt x="712" y="310"/>
                    <a:pt x="712" y="311"/>
                  </a:cubicBezTo>
                  <a:cubicBezTo>
                    <a:pt x="713" y="311"/>
                    <a:pt x="714" y="311"/>
                    <a:pt x="714" y="311"/>
                  </a:cubicBezTo>
                  <a:cubicBezTo>
                    <a:pt x="715" y="312"/>
                    <a:pt x="716" y="312"/>
                    <a:pt x="717" y="312"/>
                  </a:cubicBezTo>
                  <a:cubicBezTo>
                    <a:pt x="719" y="313"/>
                    <a:pt x="721" y="314"/>
                    <a:pt x="724" y="315"/>
                  </a:cubicBezTo>
                  <a:cubicBezTo>
                    <a:pt x="724" y="315"/>
                    <a:pt x="725" y="315"/>
                    <a:pt x="725" y="316"/>
                  </a:cubicBezTo>
                  <a:cubicBezTo>
                    <a:pt x="725" y="316"/>
                    <a:pt x="725" y="316"/>
                    <a:pt x="725" y="316"/>
                  </a:cubicBezTo>
                  <a:cubicBezTo>
                    <a:pt x="726" y="316"/>
                    <a:pt x="726" y="316"/>
                    <a:pt x="727" y="316"/>
                  </a:cubicBezTo>
                  <a:cubicBezTo>
                    <a:pt x="728" y="317"/>
                    <a:pt x="729" y="317"/>
                    <a:pt x="730" y="317"/>
                  </a:cubicBezTo>
                  <a:cubicBezTo>
                    <a:pt x="731" y="318"/>
                    <a:pt x="731" y="318"/>
                    <a:pt x="732" y="318"/>
                  </a:cubicBezTo>
                  <a:cubicBezTo>
                    <a:pt x="733" y="319"/>
                    <a:pt x="735" y="319"/>
                    <a:pt x="736" y="320"/>
                  </a:cubicBezTo>
                  <a:cubicBezTo>
                    <a:pt x="736" y="320"/>
                    <a:pt x="737" y="320"/>
                    <a:pt x="737" y="320"/>
                  </a:cubicBezTo>
                  <a:cubicBezTo>
                    <a:pt x="738" y="320"/>
                    <a:pt x="738" y="320"/>
                    <a:pt x="738" y="320"/>
                  </a:cubicBezTo>
                  <a:cubicBezTo>
                    <a:pt x="738" y="320"/>
                    <a:pt x="737" y="319"/>
                    <a:pt x="737" y="319"/>
                  </a:cubicBezTo>
                  <a:cubicBezTo>
                    <a:pt x="736" y="319"/>
                    <a:pt x="735" y="318"/>
                    <a:pt x="734" y="318"/>
                  </a:cubicBezTo>
                  <a:cubicBezTo>
                    <a:pt x="733" y="318"/>
                    <a:pt x="733" y="317"/>
                    <a:pt x="732" y="317"/>
                  </a:cubicBezTo>
                  <a:cubicBezTo>
                    <a:pt x="731" y="317"/>
                    <a:pt x="730" y="316"/>
                    <a:pt x="728" y="316"/>
                  </a:cubicBezTo>
                  <a:cubicBezTo>
                    <a:pt x="728" y="316"/>
                    <a:pt x="727" y="315"/>
                    <a:pt x="727" y="315"/>
                  </a:cubicBezTo>
                  <a:cubicBezTo>
                    <a:pt x="727" y="315"/>
                    <a:pt x="726" y="315"/>
                    <a:pt x="726" y="315"/>
                  </a:cubicBezTo>
                  <a:cubicBezTo>
                    <a:pt x="726" y="315"/>
                    <a:pt x="725" y="315"/>
                    <a:pt x="725" y="315"/>
                  </a:cubicBezTo>
                  <a:cubicBezTo>
                    <a:pt x="722" y="314"/>
                    <a:pt x="720" y="313"/>
                    <a:pt x="717" y="311"/>
                  </a:cubicBezTo>
                  <a:cubicBezTo>
                    <a:pt x="717" y="311"/>
                    <a:pt x="716" y="311"/>
                    <a:pt x="716" y="311"/>
                  </a:cubicBezTo>
                  <a:cubicBezTo>
                    <a:pt x="715" y="311"/>
                    <a:pt x="715" y="311"/>
                    <a:pt x="714" y="310"/>
                  </a:cubicBezTo>
                  <a:cubicBezTo>
                    <a:pt x="713" y="310"/>
                    <a:pt x="712" y="309"/>
                    <a:pt x="710" y="309"/>
                  </a:cubicBezTo>
                  <a:cubicBezTo>
                    <a:pt x="710" y="309"/>
                    <a:pt x="710" y="309"/>
                    <a:pt x="710" y="309"/>
                  </a:cubicBezTo>
                  <a:cubicBezTo>
                    <a:pt x="709" y="308"/>
                    <a:pt x="709" y="308"/>
                    <a:pt x="709" y="308"/>
                  </a:cubicBezTo>
                  <a:cubicBezTo>
                    <a:pt x="706" y="307"/>
                    <a:pt x="703" y="306"/>
                    <a:pt x="700" y="305"/>
                  </a:cubicBezTo>
                  <a:cubicBezTo>
                    <a:pt x="699" y="305"/>
                    <a:pt x="698" y="305"/>
                    <a:pt x="697" y="304"/>
                  </a:cubicBezTo>
                  <a:cubicBezTo>
                    <a:pt x="695" y="304"/>
                    <a:pt x="693" y="303"/>
                    <a:pt x="691" y="303"/>
                  </a:cubicBezTo>
                  <a:cubicBezTo>
                    <a:pt x="690" y="303"/>
                    <a:pt x="690" y="302"/>
                    <a:pt x="689" y="302"/>
                  </a:cubicBezTo>
                  <a:cubicBezTo>
                    <a:pt x="682" y="301"/>
                    <a:pt x="674" y="300"/>
                    <a:pt x="667" y="299"/>
                  </a:cubicBezTo>
                  <a:cubicBezTo>
                    <a:pt x="666" y="299"/>
                    <a:pt x="666" y="299"/>
                    <a:pt x="666" y="299"/>
                  </a:cubicBezTo>
                  <a:cubicBezTo>
                    <a:pt x="665" y="299"/>
                    <a:pt x="665" y="299"/>
                    <a:pt x="664" y="299"/>
                  </a:cubicBezTo>
                  <a:cubicBezTo>
                    <a:pt x="663" y="299"/>
                    <a:pt x="663" y="299"/>
                    <a:pt x="662" y="299"/>
                  </a:cubicBezTo>
                  <a:cubicBezTo>
                    <a:pt x="658" y="299"/>
                    <a:pt x="654" y="299"/>
                    <a:pt x="651" y="299"/>
                  </a:cubicBezTo>
                  <a:moveTo>
                    <a:pt x="483" y="338"/>
                  </a:moveTo>
                  <a:cubicBezTo>
                    <a:pt x="481" y="339"/>
                    <a:pt x="478" y="340"/>
                    <a:pt x="475" y="340"/>
                  </a:cubicBezTo>
                  <a:cubicBezTo>
                    <a:pt x="468" y="343"/>
                    <a:pt x="460" y="346"/>
                    <a:pt x="453" y="349"/>
                  </a:cubicBezTo>
                  <a:cubicBezTo>
                    <a:pt x="453" y="349"/>
                    <a:pt x="452" y="349"/>
                    <a:pt x="452" y="349"/>
                  </a:cubicBezTo>
                  <a:cubicBezTo>
                    <a:pt x="448" y="351"/>
                    <a:pt x="443" y="352"/>
                    <a:pt x="439" y="354"/>
                  </a:cubicBezTo>
                  <a:cubicBezTo>
                    <a:pt x="437" y="355"/>
                    <a:pt x="434" y="356"/>
                    <a:pt x="431" y="357"/>
                  </a:cubicBezTo>
                  <a:cubicBezTo>
                    <a:pt x="426" y="359"/>
                    <a:pt x="420" y="362"/>
                    <a:pt x="415" y="364"/>
                  </a:cubicBezTo>
                  <a:cubicBezTo>
                    <a:pt x="414" y="364"/>
                    <a:pt x="414" y="364"/>
                    <a:pt x="414" y="364"/>
                  </a:cubicBezTo>
                  <a:cubicBezTo>
                    <a:pt x="402" y="369"/>
                    <a:pt x="391" y="374"/>
                    <a:pt x="379" y="379"/>
                  </a:cubicBezTo>
                  <a:cubicBezTo>
                    <a:pt x="379" y="379"/>
                    <a:pt x="379" y="379"/>
                    <a:pt x="378" y="379"/>
                  </a:cubicBezTo>
                  <a:cubicBezTo>
                    <a:pt x="378" y="379"/>
                    <a:pt x="377" y="380"/>
                    <a:pt x="376" y="380"/>
                  </a:cubicBezTo>
                  <a:cubicBezTo>
                    <a:pt x="376" y="380"/>
                    <a:pt x="375" y="381"/>
                    <a:pt x="374" y="381"/>
                  </a:cubicBezTo>
                  <a:cubicBezTo>
                    <a:pt x="370" y="383"/>
                    <a:pt x="366" y="385"/>
                    <a:pt x="361" y="386"/>
                  </a:cubicBezTo>
                  <a:cubicBezTo>
                    <a:pt x="361" y="387"/>
                    <a:pt x="361" y="387"/>
                    <a:pt x="361" y="387"/>
                  </a:cubicBezTo>
                  <a:cubicBezTo>
                    <a:pt x="361" y="387"/>
                    <a:pt x="360" y="387"/>
                    <a:pt x="360" y="387"/>
                  </a:cubicBezTo>
                  <a:cubicBezTo>
                    <a:pt x="360" y="387"/>
                    <a:pt x="360" y="387"/>
                    <a:pt x="359" y="387"/>
                  </a:cubicBezTo>
                  <a:cubicBezTo>
                    <a:pt x="359" y="388"/>
                    <a:pt x="359" y="388"/>
                    <a:pt x="358" y="388"/>
                  </a:cubicBezTo>
                  <a:cubicBezTo>
                    <a:pt x="358" y="388"/>
                    <a:pt x="358" y="388"/>
                    <a:pt x="357" y="388"/>
                  </a:cubicBezTo>
                  <a:cubicBezTo>
                    <a:pt x="357" y="388"/>
                    <a:pt x="357" y="388"/>
                    <a:pt x="357" y="389"/>
                  </a:cubicBezTo>
                  <a:cubicBezTo>
                    <a:pt x="356" y="389"/>
                    <a:pt x="356" y="389"/>
                    <a:pt x="355" y="389"/>
                  </a:cubicBezTo>
                  <a:cubicBezTo>
                    <a:pt x="355" y="389"/>
                    <a:pt x="355" y="389"/>
                    <a:pt x="355" y="390"/>
                  </a:cubicBezTo>
                  <a:cubicBezTo>
                    <a:pt x="354" y="390"/>
                    <a:pt x="354" y="390"/>
                    <a:pt x="353" y="390"/>
                  </a:cubicBezTo>
                  <a:cubicBezTo>
                    <a:pt x="353" y="390"/>
                    <a:pt x="353" y="390"/>
                    <a:pt x="353" y="390"/>
                  </a:cubicBezTo>
                  <a:cubicBezTo>
                    <a:pt x="352" y="390"/>
                    <a:pt x="352" y="391"/>
                    <a:pt x="352" y="391"/>
                  </a:cubicBezTo>
                  <a:cubicBezTo>
                    <a:pt x="350" y="392"/>
                    <a:pt x="348" y="392"/>
                    <a:pt x="346" y="393"/>
                  </a:cubicBezTo>
                  <a:cubicBezTo>
                    <a:pt x="346" y="393"/>
                    <a:pt x="346" y="393"/>
                    <a:pt x="346" y="394"/>
                  </a:cubicBezTo>
                  <a:cubicBezTo>
                    <a:pt x="345" y="394"/>
                    <a:pt x="345" y="394"/>
                    <a:pt x="344" y="394"/>
                  </a:cubicBezTo>
                  <a:cubicBezTo>
                    <a:pt x="344" y="394"/>
                    <a:pt x="344" y="394"/>
                    <a:pt x="343" y="395"/>
                  </a:cubicBezTo>
                  <a:cubicBezTo>
                    <a:pt x="343" y="395"/>
                    <a:pt x="343" y="395"/>
                    <a:pt x="342" y="395"/>
                  </a:cubicBezTo>
                  <a:cubicBezTo>
                    <a:pt x="341" y="395"/>
                    <a:pt x="340" y="396"/>
                    <a:pt x="339" y="396"/>
                  </a:cubicBezTo>
                  <a:cubicBezTo>
                    <a:pt x="339" y="397"/>
                    <a:pt x="338" y="397"/>
                    <a:pt x="338" y="397"/>
                  </a:cubicBezTo>
                  <a:cubicBezTo>
                    <a:pt x="338" y="397"/>
                    <a:pt x="338" y="397"/>
                    <a:pt x="337" y="397"/>
                  </a:cubicBezTo>
                  <a:cubicBezTo>
                    <a:pt x="337" y="397"/>
                    <a:pt x="337" y="397"/>
                    <a:pt x="337" y="397"/>
                  </a:cubicBezTo>
                  <a:cubicBezTo>
                    <a:pt x="337" y="398"/>
                    <a:pt x="336" y="398"/>
                    <a:pt x="336" y="398"/>
                  </a:cubicBezTo>
                  <a:cubicBezTo>
                    <a:pt x="336" y="398"/>
                    <a:pt x="336" y="398"/>
                    <a:pt x="335" y="398"/>
                  </a:cubicBezTo>
                  <a:cubicBezTo>
                    <a:pt x="335" y="398"/>
                    <a:pt x="335" y="398"/>
                    <a:pt x="335" y="398"/>
                  </a:cubicBezTo>
                  <a:cubicBezTo>
                    <a:pt x="335" y="398"/>
                    <a:pt x="334" y="399"/>
                    <a:pt x="334" y="399"/>
                  </a:cubicBezTo>
                  <a:cubicBezTo>
                    <a:pt x="334" y="399"/>
                    <a:pt x="333" y="399"/>
                    <a:pt x="333" y="399"/>
                  </a:cubicBezTo>
                  <a:cubicBezTo>
                    <a:pt x="333" y="399"/>
                    <a:pt x="332" y="400"/>
                    <a:pt x="332" y="400"/>
                  </a:cubicBezTo>
                  <a:cubicBezTo>
                    <a:pt x="332" y="400"/>
                    <a:pt x="332" y="400"/>
                    <a:pt x="332" y="400"/>
                  </a:cubicBezTo>
                  <a:cubicBezTo>
                    <a:pt x="331" y="400"/>
                    <a:pt x="331" y="400"/>
                    <a:pt x="331" y="400"/>
                  </a:cubicBezTo>
                  <a:cubicBezTo>
                    <a:pt x="331" y="400"/>
                    <a:pt x="330" y="400"/>
                    <a:pt x="330" y="401"/>
                  </a:cubicBezTo>
                  <a:cubicBezTo>
                    <a:pt x="330" y="401"/>
                    <a:pt x="329" y="401"/>
                    <a:pt x="329" y="401"/>
                  </a:cubicBezTo>
                  <a:cubicBezTo>
                    <a:pt x="328" y="401"/>
                    <a:pt x="327" y="402"/>
                    <a:pt x="327" y="402"/>
                  </a:cubicBezTo>
                  <a:cubicBezTo>
                    <a:pt x="326" y="402"/>
                    <a:pt x="326" y="402"/>
                    <a:pt x="326" y="403"/>
                  </a:cubicBezTo>
                  <a:cubicBezTo>
                    <a:pt x="325" y="403"/>
                    <a:pt x="325" y="403"/>
                    <a:pt x="325" y="403"/>
                  </a:cubicBezTo>
                  <a:cubicBezTo>
                    <a:pt x="324" y="403"/>
                    <a:pt x="324" y="403"/>
                    <a:pt x="323" y="404"/>
                  </a:cubicBezTo>
                  <a:cubicBezTo>
                    <a:pt x="322" y="404"/>
                    <a:pt x="321" y="405"/>
                    <a:pt x="320" y="405"/>
                  </a:cubicBezTo>
                  <a:cubicBezTo>
                    <a:pt x="319" y="406"/>
                    <a:pt x="319" y="406"/>
                    <a:pt x="318" y="406"/>
                  </a:cubicBezTo>
                  <a:cubicBezTo>
                    <a:pt x="316" y="407"/>
                    <a:pt x="313" y="408"/>
                    <a:pt x="311" y="409"/>
                  </a:cubicBezTo>
                  <a:cubicBezTo>
                    <a:pt x="311" y="410"/>
                    <a:pt x="310" y="410"/>
                    <a:pt x="310" y="410"/>
                  </a:cubicBezTo>
                  <a:cubicBezTo>
                    <a:pt x="307" y="411"/>
                    <a:pt x="304" y="413"/>
                    <a:pt x="301" y="414"/>
                  </a:cubicBezTo>
                  <a:cubicBezTo>
                    <a:pt x="301" y="414"/>
                    <a:pt x="300" y="414"/>
                    <a:pt x="300" y="415"/>
                  </a:cubicBezTo>
                  <a:cubicBezTo>
                    <a:pt x="299" y="415"/>
                    <a:pt x="299" y="415"/>
                    <a:pt x="298" y="415"/>
                  </a:cubicBezTo>
                  <a:cubicBezTo>
                    <a:pt x="295" y="417"/>
                    <a:pt x="292" y="419"/>
                    <a:pt x="288" y="420"/>
                  </a:cubicBezTo>
                  <a:cubicBezTo>
                    <a:pt x="288" y="420"/>
                    <a:pt x="287" y="421"/>
                    <a:pt x="287" y="421"/>
                  </a:cubicBezTo>
                  <a:cubicBezTo>
                    <a:pt x="283" y="423"/>
                    <a:pt x="280" y="424"/>
                    <a:pt x="276" y="426"/>
                  </a:cubicBezTo>
                  <a:cubicBezTo>
                    <a:pt x="275" y="427"/>
                    <a:pt x="275" y="427"/>
                    <a:pt x="274" y="427"/>
                  </a:cubicBezTo>
                  <a:cubicBezTo>
                    <a:pt x="274" y="427"/>
                    <a:pt x="273" y="428"/>
                    <a:pt x="273" y="428"/>
                  </a:cubicBezTo>
                  <a:cubicBezTo>
                    <a:pt x="272" y="428"/>
                    <a:pt x="272" y="428"/>
                    <a:pt x="271" y="429"/>
                  </a:cubicBezTo>
                  <a:cubicBezTo>
                    <a:pt x="267" y="431"/>
                    <a:pt x="262" y="433"/>
                    <a:pt x="257" y="436"/>
                  </a:cubicBezTo>
                  <a:cubicBezTo>
                    <a:pt x="257" y="436"/>
                    <a:pt x="256" y="436"/>
                    <a:pt x="255" y="437"/>
                  </a:cubicBezTo>
                  <a:cubicBezTo>
                    <a:pt x="255" y="437"/>
                    <a:pt x="255" y="437"/>
                    <a:pt x="255" y="437"/>
                  </a:cubicBezTo>
                  <a:cubicBezTo>
                    <a:pt x="255" y="437"/>
                    <a:pt x="254" y="437"/>
                    <a:pt x="254" y="438"/>
                  </a:cubicBezTo>
                  <a:cubicBezTo>
                    <a:pt x="253" y="438"/>
                    <a:pt x="253" y="438"/>
                    <a:pt x="253" y="438"/>
                  </a:cubicBezTo>
                  <a:cubicBezTo>
                    <a:pt x="252" y="438"/>
                    <a:pt x="252" y="439"/>
                    <a:pt x="251" y="439"/>
                  </a:cubicBezTo>
                  <a:cubicBezTo>
                    <a:pt x="251" y="439"/>
                    <a:pt x="250" y="439"/>
                    <a:pt x="250" y="440"/>
                  </a:cubicBezTo>
                  <a:cubicBezTo>
                    <a:pt x="247" y="441"/>
                    <a:pt x="244" y="443"/>
                    <a:pt x="242" y="444"/>
                  </a:cubicBezTo>
                  <a:cubicBezTo>
                    <a:pt x="241" y="444"/>
                    <a:pt x="241" y="444"/>
                    <a:pt x="241" y="444"/>
                  </a:cubicBezTo>
                  <a:cubicBezTo>
                    <a:pt x="240" y="445"/>
                    <a:pt x="240" y="445"/>
                    <a:pt x="239" y="445"/>
                  </a:cubicBezTo>
                  <a:cubicBezTo>
                    <a:pt x="239" y="446"/>
                    <a:pt x="238" y="446"/>
                    <a:pt x="238" y="446"/>
                  </a:cubicBezTo>
                  <a:cubicBezTo>
                    <a:pt x="238" y="446"/>
                    <a:pt x="238" y="446"/>
                    <a:pt x="237" y="446"/>
                  </a:cubicBezTo>
                  <a:cubicBezTo>
                    <a:pt x="237" y="447"/>
                    <a:pt x="236" y="447"/>
                    <a:pt x="236" y="447"/>
                  </a:cubicBezTo>
                  <a:cubicBezTo>
                    <a:pt x="235" y="447"/>
                    <a:pt x="235" y="448"/>
                    <a:pt x="234" y="448"/>
                  </a:cubicBezTo>
                  <a:cubicBezTo>
                    <a:pt x="234" y="448"/>
                    <a:pt x="234" y="448"/>
                    <a:pt x="234" y="448"/>
                  </a:cubicBezTo>
                  <a:cubicBezTo>
                    <a:pt x="233" y="449"/>
                    <a:pt x="233" y="449"/>
                    <a:pt x="232" y="449"/>
                  </a:cubicBezTo>
                  <a:cubicBezTo>
                    <a:pt x="232" y="449"/>
                    <a:pt x="231" y="450"/>
                    <a:pt x="231" y="450"/>
                  </a:cubicBezTo>
                  <a:cubicBezTo>
                    <a:pt x="230" y="450"/>
                    <a:pt x="230" y="450"/>
                    <a:pt x="230" y="450"/>
                  </a:cubicBezTo>
                  <a:cubicBezTo>
                    <a:pt x="227" y="452"/>
                    <a:pt x="224" y="453"/>
                    <a:pt x="222" y="455"/>
                  </a:cubicBezTo>
                  <a:cubicBezTo>
                    <a:pt x="221" y="455"/>
                    <a:pt x="221" y="455"/>
                    <a:pt x="220" y="456"/>
                  </a:cubicBezTo>
                  <a:cubicBezTo>
                    <a:pt x="212" y="461"/>
                    <a:pt x="203" y="466"/>
                    <a:pt x="194" y="471"/>
                  </a:cubicBezTo>
                  <a:cubicBezTo>
                    <a:pt x="194" y="471"/>
                    <a:pt x="193" y="471"/>
                    <a:pt x="193" y="471"/>
                  </a:cubicBezTo>
                  <a:cubicBezTo>
                    <a:pt x="185" y="476"/>
                    <a:pt x="176" y="481"/>
                    <a:pt x="168" y="486"/>
                  </a:cubicBezTo>
                  <a:cubicBezTo>
                    <a:pt x="168" y="487"/>
                    <a:pt x="167" y="487"/>
                    <a:pt x="167" y="487"/>
                  </a:cubicBezTo>
                  <a:cubicBezTo>
                    <a:pt x="159" y="492"/>
                    <a:pt x="151" y="497"/>
                    <a:pt x="143" y="502"/>
                  </a:cubicBezTo>
                  <a:cubicBezTo>
                    <a:pt x="143" y="503"/>
                    <a:pt x="143" y="503"/>
                    <a:pt x="142" y="503"/>
                  </a:cubicBezTo>
                  <a:cubicBezTo>
                    <a:pt x="59" y="558"/>
                    <a:pt x="0" y="614"/>
                    <a:pt x="0" y="651"/>
                  </a:cubicBezTo>
                  <a:cubicBezTo>
                    <a:pt x="0" y="676"/>
                    <a:pt x="28" y="692"/>
                    <a:pt x="94" y="692"/>
                  </a:cubicBezTo>
                  <a:cubicBezTo>
                    <a:pt x="100" y="692"/>
                    <a:pt x="106" y="692"/>
                    <a:pt x="113" y="692"/>
                  </a:cubicBezTo>
                  <a:cubicBezTo>
                    <a:pt x="120" y="691"/>
                    <a:pt x="126" y="691"/>
                    <a:pt x="133" y="690"/>
                  </a:cubicBezTo>
                  <a:cubicBezTo>
                    <a:pt x="137" y="690"/>
                    <a:pt x="140" y="689"/>
                    <a:pt x="143" y="688"/>
                  </a:cubicBezTo>
                  <a:cubicBezTo>
                    <a:pt x="133" y="689"/>
                    <a:pt x="123" y="690"/>
                    <a:pt x="113" y="691"/>
                  </a:cubicBezTo>
                  <a:cubicBezTo>
                    <a:pt x="106" y="691"/>
                    <a:pt x="100" y="691"/>
                    <a:pt x="94" y="691"/>
                  </a:cubicBezTo>
                  <a:cubicBezTo>
                    <a:pt x="28" y="691"/>
                    <a:pt x="1" y="675"/>
                    <a:pt x="1" y="651"/>
                  </a:cubicBezTo>
                  <a:cubicBezTo>
                    <a:pt x="1" y="615"/>
                    <a:pt x="60" y="558"/>
                    <a:pt x="144" y="503"/>
                  </a:cubicBezTo>
                  <a:cubicBezTo>
                    <a:pt x="144" y="503"/>
                    <a:pt x="144" y="503"/>
                    <a:pt x="145" y="503"/>
                  </a:cubicBezTo>
                  <a:cubicBezTo>
                    <a:pt x="153" y="497"/>
                    <a:pt x="160" y="492"/>
                    <a:pt x="168" y="487"/>
                  </a:cubicBezTo>
                  <a:cubicBezTo>
                    <a:pt x="169" y="487"/>
                    <a:pt x="169" y="487"/>
                    <a:pt x="170" y="487"/>
                  </a:cubicBezTo>
                  <a:cubicBezTo>
                    <a:pt x="178" y="482"/>
                    <a:pt x="186" y="477"/>
                    <a:pt x="195" y="472"/>
                  </a:cubicBezTo>
                  <a:cubicBezTo>
                    <a:pt x="195" y="471"/>
                    <a:pt x="195" y="471"/>
                    <a:pt x="196" y="471"/>
                  </a:cubicBezTo>
                  <a:cubicBezTo>
                    <a:pt x="204" y="466"/>
                    <a:pt x="213" y="461"/>
                    <a:pt x="222" y="456"/>
                  </a:cubicBezTo>
                  <a:cubicBezTo>
                    <a:pt x="222" y="456"/>
                    <a:pt x="223" y="455"/>
                    <a:pt x="223" y="455"/>
                  </a:cubicBezTo>
                  <a:cubicBezTo>
                    <a:pt x="226" y="454"/>
                    <a:pt x="229" y="452"/>
                    <a:pt x="231" y="451"/>
                  </a:cubicBezTo>
                  <a:cubicBezTo>
                    <a:pt x="232" y="450"/>
                    <a:pt x="232" y="450"/>
                    <a:pt x="232" y="450"/>
                  </a:cubicBezTo>
                  <a:cubicBezTo>
                    <a:pt x="233" y="450"/>
                    <a:pt x="233" y="450"/>
                    <a:pt x="234" y="449"/>
                  </a:cubicBezTo>
                  <a:cubicBezTo>
                    <a:pt x="234" y="449"/>
                    <a:pt x="235" y="449"/>
                    <a:pt x="235" y="449"/>
                  </a:cubicBezTo>
                  <a:cubicBezTo>
                    <a:pt x="235" y="449"/>
                    <a:pt x="236" y="448"/>
                    <a:pt x="236" y="448"/>
                  </a:cubicBezTo>
                  <a:cubicBezTo>
                    <a:pt x="236" y="448"/>
                    <a:pt x="237" y="448"/>
                    <a:pt x="237" y="447"/>
                  </a:cubicBezTo>
                  <a:cubicBezTo>
                    <a:pt x="237" y="447"/>
                    <a:pt x="237" y="447"/>
                    <a:pt x="238" y="447"/>
                  </a:cubicBezTo>
                  <a:cubicBezTo>
                    <a:pt x="238" y="447"/>
                    <a:pt x="238" y="447"/>
                    <a:pt x="238" y="447"/>
                  </a:cubicBezTo>
                  <a:cubicBezTo>
                    <a:pt x="239" y="447"/>
                    <a:pt x="239" y="447"/>
                    <a:pt x="239" y="446"/>
                  </a:cubicBezTo>
                  <a:cubicBezTo>
                    <a:pt x="240" y="446"/>
                    <a:pt x="240" y="446"/>
                    <a:pt x="240" y="446"/>
                  </a:cubicBezTo>
                  <a:cubicBezTo>
                    <a:pt x="241" y="446"/>
                    <a:pt x="241" y="445"/>
                    <a:pt x="241" y="445"/>
                  </a:cubicBezTo>
                  <a:cubicBezTo>
                    <a:pt x="242" y="445"/>
                    <a:pt x="242" y="445"/>
                    <a:pt x="242" y="445"/>
                  </a:cubicBezTo>
                  <a:cubicBezTo>
                    <a:pt x="245" y="444"/>
                    <a:pt x="247" y="442"/>
                    <a:pt x="249" y="441"/>
                  </a:cubicBezTo>
                  <a:cubicBezTo>
                    <a:pt x="249" y="441"/>
                    <a:pt x="250" y="441"/>
                    <a:pt x="250" y="441"/>
                  </a:cubicBezTo>
                  <a:cubicBezTo>
                    <a:pt x="251" y="440"/>
                    <a:pt x="252" y="439"/>
                    <a:pt x="254" y="439"/>
                  </a:cubicBezTo>
                  <a:cubicBezTo>
                    <a:pt x="254" y="439"/>
                    <a:pt x="254" y="438"/>
                    <a:pt x="255" y="438"/>
                  </a:cubicBezTo>
                  <a:cubicBezTo>
                    <a:pt x="255" y="438"/>
                    <a:pt x="256" y="437"/>
                    <a:pt x="257" y="437"/>
                  </a:cubicBezTo>
                  <a:cubicBezTo>
                    <a:pt x="257" y="437"/>
                    <a:pt x="257" y="437"/>
                    <a:pt x="257" y="437"/>
                  </a:cubicBezTo>
                  <a:cubicBezTo>
                    <a:pt x="258" y="437"/>
                    <a:pt x="258" y="436"/>
                    <a:pt x="259" y="436"/>
                  </a:cubicBezTo>
                  <a:cubicBezTo>
                    <a:pt x="263" y="434"/>
                    <a:pt x="268" y="431"/>
                    <a:pt x="272" y="429"/>
                  </a:cubicBezTo>
                  <a:cubicBezTo>
                    <a:pt x="273" y="429"/>
                    <a:pt x="273" y="429"/>
                    <a:pt x="274" y="429"/>
                  </a:cubicBezTo>
                  <a:cubicBezTo>
                    <a:pt x="274" y="428"/>
                    <a:pt x="275" y="428"/>
                    <a:pt x="276" y="427"/>
                  </a:cubicBezTo>
                  <a:cubicBezTo>
                    <a:pt x="277" y="427"/>
                    <a:pt x="277" y="427"/>
                    <a:pt x="278" y="426"/>
                  </a:cubicBezTo>
                  <a:cubicBezTo>
                    <a:pt x="281" y="425"/>
                    <a:pt x="285" y="423"/>
                    <a:pt x="289" y="421"/>
                  </a:cubicBezTo>
                  <a:cubicBezTo>
                    <a:pt x="289" y="421"/>
                    <a:pt x="290" y="421"/>
                    <a:pt x="290" y="420"/>
                  </a:cubicBezTo>
                  <a:cubicBezTo>
                    <a:pt x="293" y="419"/>
                    <a:pt x="297" y="417"/>
                    <a:pt x="300" y="416"/>
                  </a:cubicBezTo>
                  <a:cubicBezTo>
                    <a:pt x="301" y="415"/>
                    <a:pt x="301" y="415"/>
                    <a:pt x="301" y="415"/>
                  </a:cubicBezTo>
                  <a:cubicBezTo>
                    <a:pt x="301" y="415"/>
                    <a:pt x="302" y="415"/>
                    <a:pt x="302" y="415"/>
                  </a:cubicBezTo>
                  <a:cubicBezTo>
                    <a:pt x="305" y="413"/>
                    <a:pt x="308" y="412"/>
                    <a:pt x="311" y="410"/>
                  </a:cubicBezTo>
                  <a:cubicBezTo>
                    <a:pt x="311" y="410"/>
                    <a:pt x="312" y="410"/>
                    <a:pt x="312" y="410"/>
                  </a:cubicBezTo>
                  <a:cubicBezTo>
                    <a:pt x="315" y="409"/>
                    <a:pt x="317" y="407"/>
                    <a:pt x="320" y="406"/>
                  </a:cubicBezTo>
                  <a:cubicBezTo>
                    <a:pt x="320" y="406"/>
                    <a:pt x="321" y="406"/>
                    <a:pt x="322" y="406"/>
                  </a:cubicBezTo>
                  <a:cubicBezTo>
                    <a:pt x="323" y="405"/>
                    <a:pt x="324" y="404"/>
                    <a:pt x="325" y="404"/>
                  </a:cubicBezTo>
                  <a:cubicBezTo>
                    <a:pt x="326" y="404"/>
                    <a:pt x="326" y="403"/>
                    <a:pt x="327" y="403"/>
                  </a:cubicBezTo>
                  <a:cubicBezTo>
                    <a:pt x="327" y="403"/>
                    <a:pt x="327" y="403"/>
                    <a:pt x="327" y="403"/>
                  </a:cubicBezTo>
                  <a:cubicBezTo>
                    <a:pt x="328" y="403"/>
                    <a:pt x="329" y="402"/>
                    <a:pt x="331" y="401"/>
                  </a:cubicBezTo>
                  <a:cubicBezTo>
                    <a:pt x="331" y="401"/>
                    <a:pt x="331" y="401"/>
                    <a:pt x="331" y="401"/>
                  </a:cubicBezTo>
                  <a:cubicBezTo>
                    <a:pt x="332" y="401"/>
                    <a:pt x="332" y="401"/>
                    <a:pt x="333" y="400"/>
                  </a:cubicBezTo>
                  <a:cubicBezTo>
                    <a:pt x="333" y="400"/>
                    <a:pt x="333" y="400"/>
                    <a:pt x="333" y="400"/>
                  </a:cubicBezTo>
                  <a:cubicBezTo>
                    <a:pt x="334" y="400"/>
                    <a:pt x="334" y="400"/>
                    <a:pt x="334" y="400"/>
                  </a:cubicBezTo>
                  <a:cubicBezTo>
                    <a:pt x="335" y="400"/>
                    <a:pt x="335" y="399"/>
                    <a:pt x="335" y="399"/>
                  </a:cubicBezTo>
                  <a:cubicBezTo>
                    <a:pt x="336" y="399"/>
                    <a:pt x="336" y="399"/>
                    <a:pt x="336" y="399"/>
                  </a:cubicBezTo>
                  <a:cubicBezTo>
                    <a:pt x="337" y="399"/>
                    <a:pt x="337" y="399"/>
                    <a:pt x="337" y="399"/>
                  </a:cubicBezTo>
                  <a:cubicBezTo>
                    <a:pt x="337" y="398"/>
                    <a:pt x="338" y="398"/>
                    <a:pt x="338" y="398"/>
                  </a:cubicBezTo>
                  <a:cubicBezTo>
                    <a:pt x="339" y="398"/>
                    <a:pt x="339" y="398"/>
                    <a:pt x="339" y="397"/>
                  </a:cubicBezTo>
                  <a:cubicBezTo>
                    <a:pt x="339" y="397"/>
                    <a:pt x="339" y="397"/>
                    <a:pt x="339" y="397"/>
                  </a:cubicBezTo>
                  <a:cubicBezTo>
                    <a:pt x="340" y="397"/>
                    <a:pt x="340" y="397"/>
                    <a:pt x="340" y="397"/>
                  </a:cubicBezTo>
                  <a:cubicBezTo>
                    <a:pt x="341" y="397"/>
                    <a:pt x="342" y="396"/>
                    <a:pt x="343" y="396"/>
                  </a:cubicBezTo>
                  <a:cubicBezTo>
                    <a:pt x="343" y="396"/>
                    <a:pt x="343" y="396"/>
                    <a:pt x="344" y="395"/>
                  </a:cubicBezTo>
                  <a:cubicBezTo>
                    <a:pt x="344" y="395"/>
                    <a:pt x="345" y="395"/>
                    <a:pt x="346" y="395"/>
                  </a:cubicBezTo>
                  <a:cubicBezTo>
                    <a:pt x="346" y="394"/>
                    <a:pt x="346" y="394"/>
                    <a:pt x="347" y="394"/>
                  </a:cubicBezTo>
                  <a:cubicBezTo>
                    <a:pt x="347" y="394"/>
                    <a:pt x="347" y="394"/>
                    <a:pt x="347" y="394"/>
                  </a:cubicBezTo>
                  <a:cubicBezTo>
                    <a:pt x="349" y="393"/>
                    <a:pt x="351" y="392"/>
                    <a:pt x="353" y="391"/>
                  </a:cubicBezTo>
                  <a:cubicBezTo>
                    <a:pt x="353" y="391"/>
                    <a:pt x="354" y="391"/>
                    <a:pt x="354" y="391"/>
                  </a:cubicBezTo>
                  <a:cubicBezTo>
                    <a:pt x="354" y="391"/>
                    <a:pt x="355" y="390"/>
                    <a:pt x="355" y="390"/>
                  </a:cubicBezTo>
                  <a:cubicBezTo>
                    <a:pt x="356" y="390"/>
                    <a:pt x="356" y="390"/>
                    <a:pt x="356" y="390"/>
                  </a:cubicBezTo>
                  <a:cubicBezTo>
                    <a:pt x="357" y="390"/>
                    <a:pt x="357" y="390"/>
                    <a:pt x="357" y="389"/>
                  </a:cubicBezTo>
                  <a:cubicBezTo>
                    <a:pt x="358" y="389"/>
                    <a:pt x="358" y="389"/>
                    <a:pt x="358" y="389"/>
                  </a:cubicBezTo>
                  <a:cubicBezTo>
                    <a:pt x="359" y="389"/>
                    <a:pt x="359" y="389"/>
                    <a:pt x="359" y="389"/>
                  </a:cubicBezTo>
                  <a:cubicBezTo>
                    <a:pt x="359" y="388"/>
                    <a:pt x="360" y="388"/>
                    <a:pt x="360" y="388"/>
                  </a:cubicBezTo>
                  <a:cubicBezTo>
                    <a:pt x="360" y="388"/>
                    <a:pt x="361" y="388"/>
                    <a:pt x="361" y="388"/>
                  </a:cubicBezTo>
                  <a:cubicBezTo>
                    <a:pt x="362" y="388"/>
                    <a:pt x="362" y="387"/>
                    <a:pt x="362" y="387"/>
                  </a:cubicBezTo>
                  <a:cubicBezTo>
                    <a:pt x="362" y="387"/>
                    <a:pt x="362" y="387"/>
                    <a:pt x="362" y="387"/>
                  </a:cubicBezTo>
                  <a:cubicBezTo>
                    <a:pt x="367" y="385"/>
                    <a:pt x="372" y="383"/>
                    <a:pt x="376" y="381"/>
                  </a:cubicBezTo>
                  <a:cubicBezTo>
                    <a:pt x="377" y="381"/>
                    <a:pt x="377" y="381"/>
                    <a:pt x="378" y="380"/>
                  </a:cubicBezTo>
                  <a:cubicBezTo>
                    <a:pt x="378" y="380"/>
                    <a:pt x="379" y="380"/>
                    <a:pt x="379" y="380"/>
                  </a:cubicBezTo>
                  <a:cubicBezTo>
                    <a:pt x="380" y="380"/>
                    <a:pt x="380" y="380"/>
                    <a:pt x="380" y="379"/>
                  </a:cubicBezTo>
                  <a:cubicBezTo>
                    <a:pt x="392" y="374"/>
                    <a:pt x="403" y="370"/>
                    <a:pt x="415" y="365"/>
                  </a:cubicBezTo>
                  <a:cubicBezTo>
                    <a:pt x="415" y="365"/>
                    <a:pt x="415" y="365"/>
                    <a:pt x="416" y="365"/>
                  </a:cubicBezTo>
                  <a:cubicBezTo>
                    <a:pt x="422" y="362"/>
                    <a:pt x="428" y="360"/>
                    <a:pt x="434" y="357"/>
                  </a:cubicBezTo>
                  <a:cubicBezTo>
                    <a:pt x="435" y="357"/>
                    <a:pt x="436" y="357"/>
                    <a:pt x="436" y="356"/>
                  </a:cubicBezTo>
                  <a:cubicBezTo>
                    <a:pt x="437" y="356"/>
                    <a:pt x="438" y="356"/>
                    <a:pt x="439" y="355"/>
                  </a:cubicBezTo>
                  <a:cubicBezTo>
                    <a:pt x="442" y="354"/>
                    <a:pt x="444" y="353"/>
                    <a:pt x="447" y="352"/>
                  </a:cubicBezTo>
                  <a:cubicBezTo>
                    <a:pt x="449" y="351"/>
                    <a:pt x="451" y="351"/>
                    <a:pt x="453" y="350"/>
                  </a:cubicBezTo>
                  <a:cubicBezTo>
                    <a:pt x="453" y="350"/>
                    <a:pt x="454" y="350"/>
                    <a:pt x="454" y="349"/>
                  </a:cubicBezTo>
                  <a:cubicBezTo>
                    <a:pt x="464" y="346"/>
                    <a:pt x="474" y="342"/>
                    <a:pt x="483" y="338"/>
                  </a:cubicBezTo>
                  <a:moveTo>
                    <a:pt x="829" y="511"/>
                  </a:moveTo>
                  <a:cubicBezTo>
                    <a:pt x="829" y="511"/>
                    <a:pt x="829" y="511"/>
                    <a:pt x="829" y="511"/>
                  </a:cubicBezTo>
                  <a:cubicBezTo>
                    <a:pt x="814" y="511"/>
                    <a:pt x="797" y="513"/>
                    <a:pt x="779" y="515"/>
                  </a:cubicBezTo>
                  <a:cubicBezTo>
                    <a:pt x="779" y="515"/>
                    <a:pt x="778" y="515"/>
                    <a:pt x="778" y="515"/>
                  </a:cubicBezTo>
                  <a:cubicBezTo>
                    <a:pt x="778" y="515"/>
                    <a:pt x="777" y="516"/>
                    <a:pt x="777" y="516"/>
                  </a:cubicBezTo>
                  <a:cubicBezTo>
                    <a:pt x="776" y="516"/>
                    <a:pt x="775" y="516"/>
                    <a:pt x="774" y="516"/>
                  </a:cubicBezTo>
                  <a:cubicBezTo>
                    <a:pt x="762" y="518"/>
                    <a:pt x="749" y="520"/>
                    <a:pt x="736" y="523"/>
                  </a:cubicBezTo>
                  <a:cubicBezTo>
                    <a:pt x="735" y="524"/>
                    <a:pt x="735" y="524"/>
                    <a:pt x="734" y="524"/>
                  </a:cubicBezTo>
                  <a:cubicBezTo>
                    <a:pt x="732" y="524"/>
                    <a:pt x="731" y="525"/>
                    <a:pt x="729" y="525"/>
                  </a:cubicBezTo>
                  <a:cubicBezTo>
                    <a:pt x="729" y="525"/>
                    <a:pt x="728" y="525"/>
                    <a:pt x="728" y="525"/>
                  </a:cubicBezTo>
                  <a:cubicBezTo>
                    <a:pt x="726" y="526"/>
                    <a:pt x="725" y="526"/>
                    <a:pt x="723" y="526"/>
                  </a:cubicBezTo>
                  <a:cubicBezTo>
                    <a:pt x="721" y="527"/>
                    <a:pt x="720" y="527"/>
                    <a:pt x="718" y="528"/>
                  </a:cubicBezTo>
                  <a:cubicBezTo>
                    <a:pt x="718" y="528"/>
                    <a:pt x="718" y="528"/>
                    <a:pt x="717" y="528"/>
                  </a:cubicBezTo>
                  <a:cubicBezTo>
                    <a:pt x="717" y="528"/>
                    <a:pt x="716" y="528"/>
                    <a:pt x="715" y="528"/>
                  </a:cubicBezTo>
                  <a:cubicBezTo>
                    <a:pt x="714" y="529"/>
                    <a:pt x="712" y="529"/>
                    <a:pt x="711" y="529"/>
                  </a:cubicBezTo>
                  <a:cubicBezTo>
                    <a:pt x="710" y="530"/>
                    <a:pt x="710" y="530"/>
                    <a:pt x="710" y="530"/>
                  </a:cubicBezTo>
                  <a:cubicBezTo>
                    <a:pt x="709" y="530"/>
                    <a:pt x="708" y="530"/>
                    <a:pt x="708" y="530"/>
                  </a:cubicBezTo>
                  <a:cubicBezTo>
                    <a:pt x="704" y="531"/>
                    <a:pt x="701" y="532"/>
                    <a:pt x="697" y="533"/>
                  </a:cubicBezTo>
                  <a:cubicBezTo>
                    <a:pt x="696" y="533"/>
                    <a:pt x="696" y="533"/>
                    <a:pt x="695" y="534"/>
                  </a:cubicBezTo>
                  <a:cubicBezTo>
                    <a:pt x="692" y="534"/>
                    <a:pt x="689" y="535"/>
                    <a:pt x="686" y="536"/>
                  </a:cubicBezTo>
                  <a:cubicBezTo>
                    <a:pt x="686" y="536"/>
                    <a:pt x="686" y="536"/>
                    <a:pt x="685" y="536"/>
                  </a:cubicBezTo>
                  <a:cubicBezTo>
                    <a:pt x="683" y="537"/>
                    <a:pt x="681" y="537"/>
                    <a:pt x="679" y="538"/>
                  </a:cubicBezTo>
                  <a:cubicBezTo>
                    <a:pt x="678" y="538"/>
                    <a:pt x="678" y="538"/>
                    <a:pt x="677" y="539"/>
                  </a:cubicBezTo>
                  <a:cubicBezTo>
                    <a:pt x="669" y="541"/>
                    <a:pt x="661" y="543"/>
                    <a:pt x="653" y="546"/>
                  </a:cubicBezTo>
                  <a:cubicBezTo>
                    <a:pt x="653" y="546"/>
                    <a:pt x="652" y="546"/>
                    <a:pt x="652" y="546"/>
                  </a:cubicBezTo>
                  <a:cubicBezTo>
                    <a:pt x="643" y="549"/>
                    <a:pt x="633" y="552"/>
                    <a:pt x="623" y="555"/>
                  </a:cubicBezTo>
                  <a:cubicBezTo>
                    <a:pt x="623" y="555"/>
                    <a:pt x="622" y="555"/>
                    <a:pt x="621" y="556"/>
                  </a:cubicBezTo>
                  <a:cubicBezTo>
                    <a:pt x="613" y="558"/>
                    <a:pt x="604" y="561"/>
                    <a:pt x="595" y="564"/>
                  </a:cubicBezTo>
                  <a:cubicBezTo>
                    <a:pt x="594" y="564"/>
                    <a:pt x="594" y="565"/>
                    <a:pt x="593" y="565"/>
                  </a:cubicBezTo>
                  <a:cubicBezTo>
                    <a:pt x="586" y="567"/>
                    <a:pt x="578" y="570"/>
                    <a:pt x="571" y="572"/>
                  </a:cubicBezTo>
                  <a:cubicBezTo>
                    <a:pt x="570" y="573"/>
                    <a:pt x="569" y="573"/>
                    <a:pt x="569" y="573"/>
                  </a:cubicBezTo>
                  <a:cubicBezTo>
                    <a:pt x="567" y="574"/>
                    <a:pt x="565" y="574"/>
                    <a:pt x="562" y="575"/>
                  </a:cubicBezTo>
                  <a:cubicBezTo>
                    <a:pt x="562" y="575"/>
                    <a:pt x="562" y="575"/>
                    <a:pt x="561" y="575"/>
                  </a:cubicBezTo>
                  <a:cubicBezTo>
                    <a:pt x="558" y="577"/>
                    <a:pt x="554" y="578"/>
                    <a:pt x="550" y="579"/>
                  </a:cubicBezTo>
                  <a:cubicBezTo>
                    <a:pt x="549" y="580"/>
                    <a:pt x="549" y="580"/>
                    <a:pt x="548" y="580"/>
                  </a:cubicBezTo>
                  <a:cubicBezTo>
                    <a:pt x="542" y="582"/>
                    <a:pt x="536" y="584"/>
                    <a:pt x="531" y="586"/>
                  </a:cubicBezTo>
                  <a:cubicBezTo>
                    <a:pt x="530" y="586"/>
                    <a:pt x="529" y="586"/>
                    <a:pt x="529" y="586"/>
                  </a:cubicBezTo>
                  <a:cubicBezTo>
                    <a:pt x="523" y="588"/>
                    <a:pt x="518" y="590"/>
                    <a:pt x="512" y="592"/>
                  </a:cubicBezTo>
                  <a:cubicBezTo>
                    <a:pt x="512" y="592"/>
                    <a:pt x="511" y="593"/>
                    <a:pt x="510" y="593"/>
                  </a:cubicBezTo>
                  <a:cubicBezTo>
                    <a:pt x="505" y="595"/>
                    <a:pt x="499" y="597"/>
                    <a:pt x="494" y="598"/>
                  </a:cubicBezTo>
                  <a:cubicBezTo>
                    <a:pt x="493" y="599"/>
                    <a:pt x="493" y="599"/>
                    <a:pt x="492" y="599"/>
                  </a:cubicBezTo>
                  <a:cubicBezTo>
                    <a:pt x="488" y="600"/>
                    <a:pt x="484" y="602"/>
                    <a:pt x="479" y="603"/>
                  </a:cubicBezTo>
                  <a:cubicBezTo>
                    <a:pt x="479" y="604"/>
                    <a:pt x="478" y="604"/>
                    <a:pt x="478" y="604"/>
                  </a:cubicBezTo>
                  <a:cubicBezTo>
                    <a:pt x="477" y="604"/>
                    <a:pt x="476" y="604"/>
                    <a:pt x="476" y="605"/>
                  </a:cubicBezTo>
                  <a:cubicBezTo>
                    <a:pt x="475" y="605"/>
                    <a:pt x="474" y="605"/>
                    <a:pt x="474" y="605"/>
                  </a:cubicBezTo>
                  <a:cubicBezTo>
                    <a:pt x="468" y="607"/>
                    <a:pt x="463" y="609"/>
                    <a:pt x="457" y="611"/>
                  </a:cubicBezTo>
                  <a:cubicBezTo>
                    <a:pt x="457" y="611"/>
                    <a:pt x="456" y="611"/>
                    <a:pt x="455" y="611"/>
                  </a:cubicBezTo>
                  <a:cubicBezTo>
                    <a:pt x="447" y="614"/>
                    <a:pt x="438" y="617"/>
                    <a:pt x="429" y="620"/>
                  </a:cubicBezTo>
                  <a:cubicBezTo>
                    <a:pt x="428" y="620"/>
                    <a:pt x="428" y="621"/>
                    <a:pt x="427" y="621"/>
                  </a:cubicBezTo>
                  <a:cubicBezTo>
                    <a:pt x="417" y="624"/>
                    <a:pt x="407" y="627"/>
                    <a:pt x="397" y="630"/>
                  </a:cubicBezTo>
                  <a:cubicBezTo>
                    <a:pt x="397" y="631"/>
                    <a:pt x="396" y="631"/>
                    <a:pt x="396" y="631"/>
                  </a:cubicBezTo>
                  <a:cubicBezTo>
                    <a:pt x="395" y="631"/>
                    <a:pt x="395" y="631"/>
                    <a:pt x="394" y="631"/>
                  </a:cubicBezTo>
                  <a:cubicBezTo>
                    <a:pt x="384" y="635"/>
                    <a:pt x="374" y="638"/>
                    <a:pt x="363" y="641"/>
                  </a:cubicBezTo>
                  <a:cubicBezTo>
                    <a:pt x="363" y="641"/>
                    <a:pt x="362" y="641"/>
                    <a:pt x="361" y="642"/>
                  </a:cubicBezTo>
                  <a:cubicBezTo>
                    <a:pt x="351" y="645"/>
                    <a:pt x="341" y="648"/>
                    <a:pt x="331" y="650"/>
                  </a:cubicBezTo>
                  <a:cubicBezTo>
                    <a:pt x="330" y="651"/>
                    <a:pt x="329" y="651"/>
                    <a:pt x="328" y="651"/>
                  </a:cubicBezTo>
                  <a:cubicBezTo>
                    <a:pt x="327" y="652"/>
                    <a:pt x="325" y="652"/>
                    <a:pt x="324" y="652"/>
                  </a:cubicBezTo>
                  <a:cubicBezTo>
                    <a:pt x="323" y="653"/>
                    <a:pt x="323" y="653"/>
                    <a:pt x="322" y="653"/>
                  </a:cubicBezTo>
                  <a:cubicBezTo>
                    <a:pt x="316" y="655"/>
                    <a:pt x="309" y="657"/>
                    <a:pt x="302" y="658"/>
                  </a:cubicBezTo>
                  <a:cubicBezTo>
                    <a:pt x="301" y="659"/>
                    <a:pt x="300" y="659"/>
                    <a:pt x="299" y="659"/>
                  </a:cubicBezTo>
                  <a:cubicBezTo>
                    <a:pt x="289" y="662"/>
                    <a:pt x="280" y="664"/>
                    <a:pt x="270" y="666"/>
                  </a:cubicBezTo>
                  <a:cubicBezTo>
                    <a:pt x="270" y="667"/>
                    <a:pt x="269" y="667"/>
                    <a:pt x="269" y="667"/>
                  </a:cubicBezTo>
                  <a:cubicBezTo>
                    <a:pt x="268" y="667"/>
                    <a:pt x="267" y="667"/>
                    <a:pt x="267" y="667"/>
                  </a:cubicBezTo>
                  <a:cubicBezTo>
                    <a:pt x="265" y="668"/>
                    <a:pt x="264" y="668"/>
                    <a:pt x="263" y="668"/>
                  </a:cubicBezTo>
                  <a:cubicBezTo>
                    <a:pt x="252" y="671"/>
                    <a:pt x="241" y="673"/>
                    <a:pt x="231" y="675"/>
                  </a:cubicBezTo>
                  <a:cubicBezTo>
                    <a:pt x="229" y="676"/>
                    <a:pt x="227" y="676"/>
                    <a:pt x="226" y="676"/>
                  </a:cubicBezTo>
                  <a:cubicBezTo>
                    <a:pt x="226" y="676"/>
                    <a:pt x="226" y="676"/>
                    <a:pt x="225" y="676"/>
                  </a:cubicBezTo>
                  <a:cubicBezTo>
                    <a:pt x="225" y="676"/>
                    <a:pt x="224" y="677"/>
                    <a:pt x="224" y="677"/>
                  </a:cubicBezTo>
                  <a:cubicBezTo>
                    <a:pt x="218" y="678"/>
                    <a:pt x="213" y="679"/>
                    <a:pt x="207" y="680"/>
                  </a:cubicBezTo>
                  <a:cubicBezTo>
                    <a:pt x="203" y="680"/>
                    <a:pt x="200" y="681"/>
                    <a:pt x="196" y="682"/>
                  </a:cubicBezTo>
                  <a:cubicBezTo>
                    <a:pt x="193" y="682"/>
                    <a:pt x="190" y="683"/>
                    <a:pt x="187" y="683"/>
                  </a:cubicBezTo>
                  <a:cubicBezTo>
                    <a:pt x="187" y="683"/>
                    <a:pt x="186" y="683"/>
                    <a:pt x="186" y="683"/>
                  </a:cubicBezTo>
                  <a:cubicBezTo>
                    <a:pt x="175" y="685"/>
                    <a:pt x="165" y="686"/>
                    <a:pt x="154" y="687"/>
                  </a:cubicBezTo>
                  <a:cubicBezTo>
                    <a:pt x="151" y="688"/>
                    <a:pt x="147" y="689"/>
                    <a:pt x="144" y="689"/>
                  </a:cubicBezTo>
                  <a:cubicBezTo>
                    <a:pt x="157" y="688"/>
                    <a:pt x="170" y="687"/>
                    <a:pt x="184" y="685"/>
                  </a:cubicBezTo>
                  <a:cubicBezTo>
                    <a:pt x="185" y="684"/>
                    <a:pt x="185" y="684"/>
                    <a:pt x="186" y="684"/>
                  </a:cubicBezTo>
                  <a:cubicBezTo>
                    <a:pt x="193" y="683"/>
                    <a:pt x="200" y="682"/>
                    <a:pt x="207" y="681"/>
                  </a:cubicBezTo>
                  <a:cubicBezTo>
                    <a:pt x="211" y="680"/>
                    <a:pt x="215" y="679"/>
                    <a:pt x="219" y="679"/>
                  </a:cubicBezTo>
                  <a:cubicBezTo>
                    <a:pt x="220" y="678"/>
                    <a:pt x="221" y="678"/>
                    <a:pt x="222" y="678"/>
                  </a:cubicBezTo>
                  <a:cubicBezTo>
                    <a:pt x="223" y="678"/>
                    <a:pt x="224" y="678"/>
                    <a:pt x="224" y="678"/>
                  </a:cubicBezTo>
                  <a:cubicBezTo>
                    <a:pt x="227" y="677"/>
                    <a:pt x="229" y="677"/>
                    <a:pt x="231" y="676"/>
                  </a:cubicBezTo>
                  <a:cubicBezTo>
                    <a:pt x="233" y="676"/>
                    <a:pt x="235" y="675"/>
                    <a:pt x="237" y="675"/>
                  </a:cubicBezTo>
                  <a:cubicBezTo>
                    <a:pt x="247" y="673"/>
                    <a:pt x="257" y="671"/>
                    <a:pt x="267" y="668"/>
                  </a:cubicBezTo>
                  <a:cubicBezTo>
                    <a:pt x="268" y="668"/>
                    <a:pt x="269" y="668"/>
                    <a:pt x="271" y="667"/>
                  </a:cubicBezTo>
                  <a:cubicBezTo>
                    <a:pt x="281" y="665"/>
                    <a:pt x="291" y="662"/>
                    <a:pt x="302" y="659"/>
                  </a:cubicBezTo>
                  <a:cubicBezTo>
                    <a:pt x="303" y="659"/>
                    <a:pt x="304" y="659"/>
                    <a:pt x="305" y="659"/>
                  </a:cubicBezTo>
                  <a:cubicBezTo>
                    <a:pt x="311" y="657"/>
                    <a:pt x="316" y="656"/>
                    <a:pt x="321" y="654"/>
                  </a:cubicBezTo>
                  <a:cubicBezTo>
                    <a:pt x="322" y="654"/>
                    <a:pt x="322" y="654"/>
                    <a:pt x="323" y="654"/>
                  </a:cubicBezTo>
                  <a:cubicBezTo>
                    <a:pt x="326" y="653"/>
                    <a:pt x="328" y="652"/>
                    <a:pt x="331" y="651"/>
                  </a:cubicBezTo>
                  <a:cubicBezTo>
                    <a:pt x="332" y="651"/>
                    <a:pt x="333" y="651"/>
                    <a:pt x="334" y="651"/>
                  </a:cubicBezTo>
                  <a:cubicBezTo>
                    <a:pt x="344" y="648"/>
                    <a:pt x="354" y="645"/>
                    <a:pt x="364" y="642"/>
                  </a:cubicBezTo>
                  <a:cubicBezTo>
                    <a:pt x="364" y="642"/>
                    <a:pt x="365" y="641"/>
                    <a:pt x="366" y="641"/>
                  </a:cubicBezTo>
                  <a:cubicBezTo>
                    <a:pt x="376" y="638"/>
                    <a:pt x="385" y="635"/>
                    <a:pt x="395" y="632"/>
                  </a:cubicBezTo>
                  <a:cubicBezTo>
                    <a:pt x="396" y="632"/>
                    <a:pt x="396" y="632"/>
                    <a:pt x="396" y="632"/>
                  </a:cubicBezTo>
                  <a:cubicBezTo>
                    <a:pt x="397" y="632"/>
                    <a:pt x="398" y="631"/>
                    <a:pt x="398" y="631"/>
                  </a:cubicBezTo>
                  <a:cubicBezTo>
                    <a:pt x="408" y="628"/>
                    <a:pt x="419" y="625"/>
                    <a:pt x="429" y="621"/>
                  </a:cubicBezTo>
                  <a:cubicBezTo>
                    <a:pt x="430" y="621"/>
                    <a:pt x="430" y="621"/>
                    <a:pt x="431" y="621"/>
                  </a:cubicBezTo>
                  <a:cubicBezTo>
                    <a:pt x="440" y="618"/>
                    <a:pt x="449" y="615"/>
                    <a:pt x="457" y="612"/>
                  </a:cubicBezTo>
                  <a:cubicBezTo>
                    <a:pt x="458" y="612"/>
                    <a:pt x="459" y="611"/>
                    <a:pt x="459" y="611"/>
                  </a:cubicBezTo>
                  <a:cubicBezTo>
                    <a:pt x="465" y="609"/>
                    <a:pt x="470" y="607"/>
                    <a:pt x="476" y="606"/>
                  </a:cubicBezTo>
                  <a:cubicBezTo>
                    <a:pt x="476" y="605"/>
                    <a:pt x="477" y="605"/>
                    <a:pt x="478" y="605"/>
                  </a:cubicBezTo>
                  <a:cubicBezTo>
                    <a:pt x="478" y="605"/>
                    <a:pt x="478" y="605"/>
                    <a:pt x="479" y="605"/>
                  </a:cubicBezTo>
                  <a:cubicBezTo>
                    <a:pt x="484" y="603"/>
                    <a:pt x="489" y="601"/>
                    <a:pt x="494" y="599"/>
                  </a:cubicBezTo>
                  <a:cubicBezTo>
                    <a:pt x="495" y="599"/>
                    <a:pt x="495" y="599"/>
                    <a:pt x="496" y="599"/>
                  </a:cubicBezTo>
                  <a:cubicBezTo>
                    <a:pt x="501" y="597"/>
                    <a:pt x="507" y="595"/>
                    <a:pt x="512" y="593"/>
                  </a:cubicBezTo>
                  <a:cubicBezTo>
                    <a:pt x="513" y="593"/>
                    <a:pt x="513" y="593"/>
                    <a:pt x="514" y="593"/>
                  </a:cubicBezTo>
                  <a:cubicBezTo>
                    <a:pt x="520" y="591"/>
                    <a:pt x="525" y="589"/>
                    <a:pt x="531" y="587"/>
                  </a:cubicBezTo>
                  <a:cubicBezTo>
                    <a:pt x="531" y="587"/>
                    <a:pt x="532" y="586"/>
                    <a:pt x="533" y="586"/>
                  </a:cubicBezTo>
                  <a:cubicBezTo>
                    <a:pt x="538" y="584"/>
                    <a:pt x="544" y="582"/>
                    <a:pt x="550" y="580"/>
                  </a:cubicBezTo>
                  <a:cubicBezTo>
                    <a:pt x="550" y="580"/>
                    <a:pt x="551" y="580"/>
                    <a:pt x="552" y="580"/>
                  </a:cubicBezTo>
                  <a:cubicBezTo>
                    <a:pt x="555" y="579"/>
                    <a:pt x="558" y="578"/>
                    <a:pt x="561" y="577"/>
                  </a:cubicBezTo>
                  <a:cubicBezTo>
                    <a:pt x="561" y="576"/>
                    <a:pt x="562" y="576"/>
                    <a:pt x="562" y="576"/>
                  </a:cubicBezTo>
                  <a:cubicBezTo>
                    <a:pt x="565" y="575"/>
                    <a:pt x="568" y="574"/>
                    <a:pt x="571" y="573"/>
                  </a:cubicBezTo>
                  <a:cubicBezTo>
                    <a:pt x="571" y="573"/>
                    <a:pt x="572" y="573"/>
                    <a:pt x="573" y="573"/>
                  </a:cubicBezTo>
                  <a:cubicBezTo>
                    <a:pt x="580" y="570"/>
                    <a:pt x="588" y="568"/>
                    <a:pt x="595" y="565"/>
                  </a:cubicBezTo>
                  <a:cubicBezTo>
                    <a:pt x="596" y="565"/>
                    <a:pt x="596" y="565"/>
                    <a:pt x="597" y="565"/>
                  </a:cubicBezTo>
                  <a:cubicBezTo>
                    <a:pt x="606" y="562"/>
                    <a:pt x="615" y="559"/>
                    <a:pt x="624" y="556"/>
                  </a:cubicBezTo>
                  <a:cubicBezTo>
                    <a:pt x="624" y="556"/>
                    <a:pt x="625" y="556"/>
                    <a:pt x="626" y="555"/>
                  </a:cubicBezTo>
                  <a:cubicBezTo>
                    <a:pt x="635" y="552"/>
                    <a:pt x="644" y="549"/>
                    <a:pt x="653" y="547"/>
                  </a:cubicBezTo>
                  <a:cubicBezTo>
                    <a:pt x="654" y="547"/>
                    <a:pt x="654" y="546"/>
                    <a:pt x="655" y="546"/>
                  </a:cubicBezTo>
                  <a:cubicBezTo>
                    <a:pt x="663" y="544"/>
                    <a:pt x="671" y="541"/>
                    <a:pt x="679" y="539"/>
                  </a:cubicBezTo>
                  <a:cubicBezTo>
                    <a:pt x="680" y="539"/>
                    <a:pt x="680" y="539"/>
                    <a:pt x="681" y="538"/>
                  </a:cubicBezTo>
                  <a:cubicBezTo>
                    <a:pt x="683" y="538"/>
                    <a:pt x="684" y="538"/>
                    <a:pt x="686" y="537"/>
                  </a:cubicBezTo>
                  <a:cubicBezTo>
                    <a:pt x="686" y="537"/>
                    <a:pt x="687" y="537"/>
                    <a:pt x="687" y="537"/>
                  </a:cubicBezTo>
                  <a:cubicBezTo>
                    <a:pt x="690" y="536"/>
                    <a:pt x="694" y="535"/>
                    <a:pt x="697" y="534"/>
                  </a:cubicBezTo>
                  <a:cubicBezTo>
                    <a:pt x="698" y="534"/>
                    <a:pt x="698" y="534"/>
                    <a:pt x="699" y="534"/>
                  </a:cubicBezTo>
                  <a:cubicBezTo>
                    <a:pt x="703" y="533"/>
                    <a:pt x="706" y="532"/>
                    <a:pt x="709" y="531"/>
                  </a:cubicBezTo>
                  <a:cubicBezTo>
                    <a:pt x="710" y="531"/>
                    <a:pt x="711" y="530"/>
                    <a:pt x="711" y="530"/>
                  </a:cubicBezTo>
                  <a:cubicBezTo>
                    <a:pt x="712" y="530"/>
                    <a:pt x="712" y="530"/>
                    <a:pt x="713" y="530"/>
                  </a:cubicBezTo>
                  <a:cubicBezTo>
                    <a:pt x="713" y="530"/>
                    <a:pt x="713" y="530"/>
                    <a:pt x="713" y="530"/>
                  </a:cubicBezTo>
                  <a:cubicBezTo>
                    <a:pt x="715" y="529"/>
                    <a:pt x="716" y="529"/>
                    <a:pt x="717" y="529"/>
                  </a:cubicBezTo>
                  <a:cubicBezTo>
                    <a:pt x="718" y="529"/>
                    <a:pt x="719" y="529"/>
                    <a:pt x="719" y="528"/>
                  </a:cubicBezTo>
                  <a:cubicBezTo>
                    <a:pt x="722" y="528"/>
                    <a:pt x="726" y="527"/>
                    <a:pt x="729" y="526"/>
                  </a:cubicBezTo>
                  <a:cubicBezTo>
                    <a:pt x="729" y="526"/>
                    <a:pt x="729" y="526"/>
                    <a:pt x="730" y="526"/>
                  </a:cubicBezTo>
                  <a:cubicBezTo>
                    <a:pt x="732" y="525"/>
                    <a:pt x="734" y="525"/>
                    <a:pt x="736" y="524"/>
                  </a:cubicBezTo>
                  <a:cubicBezTo>
                    <a:pt x="737" y="524"/>
                    <a:pt x="738" y="524"/>
                    <a:pt x="739" y="524"/>
                  </a:cubicBezTo>
                  <a:cubicBezTo>
                    <a:pt x="750" y="521"/>
                    <a:pt x="761" y="519"/>
                    <a:pt x="771" y="517"/>
                  </a:cubicBezTo>
                  <a:cubicBezTo>
                    <a:pt x="772" y="517"/>
                    <a:pt x="773" y="517"/>
                    <a:pt x="774" y="517"/>
                  </a:cubicBezTo>
                  <a:cubicBezTo>
                    <a:pt x="776" y="517"/>
                    <a:pt x="777" y="517"/>
                    <a:pt x="779" y="516"/>
                  </a:cubicBezTo>
                  <a:cubicBezTo>
                    <a:pt x="779" y="516"/>
                    <a:pt x="779" y="516"/>
                    <a:pt x="780" y="516"/>
                  </a:cubicBezTo>
                  <a:cubicBezTo>
                    <a:pt x="797" y="514"/>
                    <a:pt x="814" y="512"/>
                    <a:pt x="829" y="512"/>
                  </a:cubicBezTo>
                  <a:cubicBezTo>
                    <a:pt x="833" y="512"/>
                    <a:pt x="837" y="512"/>
                    <a:pt x="840" y="512"/>
                  </a:cubicBezTo>
                  <a:cubicBezTo>
                    <a:pt x="840" y="512"/>
                    <a:pt x="840" y="512"/>
                    <a:pt x="841" y="512"/>
                  </a:cubicBezTo>
                  <a:cubicBezTo>
                    <a:pt x="841" y="512"/>
                    <a:pt x="841" y="512"/>
                    <a:pt x="842" y="512"/>
                  </a:cubicBezTo>
                  <a:cubicBezTo>
                    <a:pt x="842" y="512"/>
                    <a:pt x="842" y="513"/>
                    <a:pt x="842" y="513"/>
                  </a:cubicBezTo>
                  <a:cubicBezTo>
                    <a:pt x="844" y="513"/>
                    <a:pt x="846" y="513"/>
                    <a:pt x="847" y="513"/>
                  </a:cubicBezTo>
                  <a:cubicBezTo>
                    <a:pt x="848" y="513"/>
                    <a:pt x="849" y="513"/>
                    <a:pt x="849" y="513"/>
                  </a:cubicBezTo>
                  <a:cubicBezTo>
                    <a:pt x="859" y="514"/>
                    <a:pt x="867" y="515"/>
                    <a:pt x="876" y="518"/>
                  </a:cubicBezTo>
                  <a:cubicBezTo>
                    <a:pt x="874" y="517"/>
                    <a:pt x="872" y="516"/>
                    <a:pt x="870" y="515"/>
                  </a:cubicBezTo>
                  <a:cubicBezTo>
                    <a:pt x="863" y="514"/>
                    <a:pt x="855" y="513"/>
                    <a:pt x="848" y="512"/>
                  </a:cubicBezTo>
                  <a:cubicBezTo>
                    <a:pt x="847" y="512"/>
                    <a:pt x="846" y="512"/>
                    <a:pt x="846" y="512"/>
                  </a:cubicBezTo>
                  <a:cubicBezTo>
                    <a:pt x="845" y="512"/>
                    <a:pt x="845" y="512"/>
                    <a:pt x="845" y="512"/>
                  </a:cubicBezTo>
                  <a:cubicBezTo>
                    <a:pt x="844" y="512"/>
                    <a:pt x="843" y="512"/>
                    <a:pt x="842" y="512"/>
                  </a:cubicBezTo>
                  <a:cubicBezTo>
                    <a:pt x="842" y="512"/>
                    <a:pt x="842" y="512"/>
                    <a:pt x="842" y="511"/>
                  </a:cubicBezTo>
                  <a:cubicBezTo>
                    <a:pt x="842" y="511"/>
                    <a:pt x="841" y="511"/>
                    <a:pt x="841" y="511"/>
                  </a:cubicBezTo>
                  <a:cubicBezTo>
                    <a:pt x="837" y="511"/>
                    <a:pt x="833" y="511"/>
                    <a:pt x="829" y="511"/>
                  </a:cubicBezTo>
                  <a:moveTo>
                    <a:pt x="876" y="517"/>
                  </a:moveTo>
                  <a:cubicBezTo>
                    <a:pt x="878" y="518"/>
                    <a:pt x="879" y="518"/>
                    <a:pt x="881" y="519"/>
                  </a:cubicBezTo>
                  <a:cubicBezTo>
                    <a:pt x="883" y="520"/>
                    <a:pt x="885" y="521"/>
                    <a:pt x="887" y="522"/>
                  </a:cubicBezTo>
                  <a:cubicBezTo>
                    <a:pt x="889" y="522"/>
                    <a:pt x="891" y="523"/>
                    <a:pt x="893" y="524"/>
                  </a:cubicBezTo>
                  <a:cubicBezTo>
                    <a:pt x="894" y="525"/>
                    <a:pt x="896" y="525"/>
                    <a:pt x="897" y="526"/>
                  </a:cubicBezTo>
                  <a:cubicBezTo>
                    <a:pt x="897" y="526"/>
                    <a:pt x="898" y="526"/>
                    <a:pt x="898" y="527"/>
                  </a:cubicBezTo>
                  <a:cubicBezTo>
                    <a:pt x="899" y="527"/>
                    <a:pt x="901" y="528"/>
                    <a:pt x="902" y="529"/>
                  </a:cubicBezTo>
                  <a:cubicBezTo>
                    <a:pt x="902" y="529"/>
                    <a:pt x="903" y="530"/>
                    <a:pt x="904" y="530"/>
                  </a:cubicBezTo>
                  <a:cubicBezTo>
                    <a:pt x="906" y="531"/>
                    <a:pt x="907" y="532"/>
                    <a:pt x="908" y="533"/>
                  </a:cubicBezTo>
                  <a:cubicBezTo>
                    <a:pt x="909" y="533"/>
                    <a:pt x="909" y="534"/>
                    <a:pt x="910" y="534"/>
                  </a:cubicBezTo>
                  <a:cubicBezTo>
                    <a:pt x="912" y="535"/>
                    <a:pt x="913" y="537"/>
                    <a:pt x="914" y="538"/>
                  </a:cubicBezTo>
                  <a:cubicBezTo>
                    <a:pt x="915" y="538"/>
                    <a:pt x="915" y="539"/>
                    <a:pt x="916" y="539"/>
                  </a:cubicBezTo>
                  <a:cubicBezTo>
                    <a:pt x="917" y="540"/>
                    <a:pt x="918" y="541"/>
                    <a:pt x="919" y="542"/>
                  </a:cubicBezTo>
                  <a:cubicBezTo>
                    <a:pt x="920" y="543"/>
                    <a:pt x="920" y="543"/>
                    <a:pt x="920" y="543"/>
                  </a:cubicBezTo>
                  <a:cubicBezTo>
                    <a:pt x="922" y="545"/>
                    <a:pt x="924" y="547"/>
                    <a:pt x="925" y="549"/>
                  </a:cubicBezTo>
                  <a:cubicBezTo>
                    <a:pt x="926" y="549"/>
                    <a:pt x="926" y="550"/>
                    <a:pt x="926" y="550"/>
                  </a:cubicBezTo>
                  <a:cubicBezTo>
                    <a:pt x="928" y="552"/>
                    <a:pt x="929" y="554"/>
                    <a:pt x="930" y="556"/>
                  </a:cubicBezTo>
                  <a:cubicBezTo>
                    <a:pt x="931" y="557"/>
                    <a:pt x="931" y="557"/>
                    <a:pt x="931" y="557"/>
                  </a:cubicBezTo>
                  <a:cubicBezTo>
                    <a:pt x="931" y="557"/>
                    <a:pt x="931" y="558"/>
                    <a:pt x="931" y="558"/>
                  </a:cubicBezTo>
                  <a:cubicBezTo>
                    <a:pt x="932" y="560"/>
                    <a:pt x="934" y="562"/>
                    <a:pt x="935" y="564"/>
                  </a:cubicBezTo>
                  <a:cubicBezTo>
                    <a:pt x="935" y="564"/>
                    <a:pt x="935" y="564"/>
                    <a:pt x="935" y="565"/>
                  </a:cubicBezTo>
                  <a:cubicBezTo>
                    <a:pt x="936" y="566"/>
                    <a:pt x="937" y="567"/>
                    <a:pt x="937" y="569"/>
                  </a:cubicBezTo>
                  <a:cubicBezTo>
                    <a:pt x="937" y="569"/>
                    <a:pt x="938" y="570"/>
                    <a:pt x="938" y="570"/>
                  </a:cubicBezTo>
                  <a:cubicBezTo>
                    <a:pt x="938" y="570"/>
                    <a:pt x="938" y="570"/>
                    <a:pt x="938" y="570"/>
                  </a:cubicBezTo>
                  <a:cubicBezTo>
                    <a:pt x="938" y="571"/>
                    <a:pt x="938" y="571"/>
                    <a:pt x="938" y="571"/>
                  </a:cubicBezTo>
                  <a:cubicBezTo>
                    <a:pt x="938" y="572"/>
                    <a:pt x="939" y="572"/>
                    <a:pt x="939" y="572"/>
                  </a:cubicBezTo>
                  <a:cubicBezTo>
                    <a:pt x="939" y="573"/>
                    <a:pt x="939" y="573"/>
                    <a:pt x="939" y="573"/>
                  </a:cubicBezTo>
                  <a:cubicBezTo>
                    <a:pt x="940" y="574"/>
                    <a:pt x="940" y="575"/>
                    <a:pt x="940" y="576"/>
                  </a:cubicBezTo>
                  <a:cubicBezTo>
                    <a:pt x="940" y="576"/>
                    <a:pt x="940" y="577"/>
                    <a:pt x="941" y="577"/>
                  </a:cubicBezTo>
                  <a:cubicBezTo>
                    <a:pt x="941" y="578"/>
                    <a:pt x="942" y="580"/>
                    <a:pt x="942" y="581"/>
                  </a:cubicBezTo>
                  <a:cubicBezTo>
                    <a:pt x="942" y="581"/>
                    <a:pt x="942" y="582"/>
                    <a:pt x="942" y="582"/>
                  </a:cubicBezTo>
                  <a:cubicBezTo>
                    <a:pt x="943" y="584"/>
                    <a:pt x="944" y="587"/>
                    <a:pt x="944" y="589"/>
                  </a:cubicBezTo>
                  <a:cubicBezTo>
                    <a:pt x="944" y="589"/>
                    <a:pt x="944" y="590"/>
                    <a:pt x="945" y="590"/>
                  </a:cubicBezTo>
                  <a:cubicBezTo>
                    <a:pt x="945" y="590"/>
                    <a:pt x="945" y="590"/>
                    <a:pt x="945" y="590"/>
                  </a:cubicBezTo>
                  <a:cubicBezTo>
                    <a:pt x="945" y="590"/>
                    <a:pt x="945" y="591"/>
                    <a:pt x="945" y="591"/>
                  </a:cubicBezTo>
                  <a:cubicBezTo>
                    <a:pt x="946" y="594"/>
                    <a:pt x="946" y="597"/>
                    <a:pt x="947" y="600"/>
                  </a:cubicBezTo>
                  <a:cubicBezTo>
                    <a:pt x="947" y="600"/>
                    <a:pt x="947" y="601"/>
                    <a:pt x="947" y="601"/>
                  </a:cubicBezTo>
                  <a:cubicBezTo>
                    <a:pt x="947" y="602"/>
                    <a:pt x="947" y="603"/>
                    <a:pt x="948" y="604"/>
                  </a:cubicBezTo>
                  <a:cubicBezTo>
                    <a:pt x="948" y="604"/>
                    <a:pt x="948" y="605"/>
                    <a:pt x="948" y="605"/>
                  </a:cubicBezTo>
                  <a:cubicBezTo>
                    <a:pt x="948" y="607"/>
                    <a:pt x="948" y="610"/>
                    <a:pt x="949" y="612"/>
                  </a:cubicBezTo>
                  <a:cubicBezTo>
                    <a:pt x="949" y="613"/>
                    <a:pt x="949" y="613"/>
                    <a:pt x="949" y="613"/>
                  </a:cubicBezTo>
                  <a:cubicBezTo>
                    <a:pt x="949" y="613"/>
                    <a:pt x="949" y="614"/>
                    <a:pt x="949" y="614"/>
                  </a:cubicBezTo>
                  <a:cubicBezTo>
                    <a:pt x="949" y="614"/>
                    <a:pt x="949" y="615"/>
                    <a:pt x="949" y="615"/>
                  </a:cubicBezTo>
                  <a:cubicBezTo>
                    <a:pt x="949" y="615"/>
                    <a:pt x="949" y="615"/>
                    <a:pt x="949" y="616"/>
                  </a:cubicBezTo>
                  <a:cubicBezTo>
                    <a:pt x="949" y="616"/>
                    <a:pt x="949" y="616"/>
                    <a:pt x="949" y="617"/>
                  </a:cubicBezTo>
                  <a:cubicBezTo>
                    <a:pt x="949" y="619"/>
                    <a:pt x="950" y="622"/>
                    <a:pt x="950" y="624"/>
                  </a:cubicBezTo>
                  <a:cubicBezTo>
                    <a:pt x="950" y="624"/>
                    <a:pt x="950" y="625"/>
                    <a:pt x="950" y="625"/>
                  </a:cubicBezTo>
                  <a:cubicBezTo>
                    <a:pt x="950" y="626"/>
                    <a:pt x="950" y="627"/>
                    <a:pt x="950" y="629"/>
                  </a:cubicBezTo>
                  <a:cubicBezTo>
                    <a:pt x="961" y="848"/>
                    <a:pt x="1704" y="1498"/>
                    <a:pt x="1942" y="1498"/>
                  </a:cubicBezTo>
                  <a:cubicBezTo>
                    <a:pt x="1965" y="1498"/>
                    <a:pt x="1983" y="1492"/>
                    <a:pt x="1995" y="1479"/>
                  </a:cubicBezTo>
                  <a:cubicBezTo>
                    <a:pt x="2008" y="1466"/>
                    <a:pt x="2015" y="1447"/>
                    <a:pt x="2015" y="1419"/>
                  </a:cubicBezTo>
                  <a:cubicBezTo>
                    <a:pt x="2015" y="1375"/>
                    <a:pt x="1997" y="1312"/>
                    <a:pt x="1958" y="1224"/>
                  </a:cubicBezTo>
                  <a:cubicBezTo>
                    <a:pt x="1957" y="1221"/>
                    <a:pt x="1955" y="1218"/>
                    <a:pt x="1953" y="1215"/>
                  </a:cubicBezTo>
                  <a:cubicBezTo>
                    <a:pt x="1995" y="1307"/>
                    <a:pt x="2014" y="1374"/>
                    <a:pt x="2014" y="1419"/>
                  </a:cubicBezTo>
                  <a:cubicBezTo>
                    <a:pt x="2014" y="1474"/>
                    <a:pt x="1987" y="1497"/>
                    <a:pt x="1942" y="1497"/>
                  </a:cubicBezTo>
                  <a:cubicBezTo>
                    <a:pt x="1942" y="1497"/>
                    <a:pt x="1942" y="1497"/>
                    <a:pt x="1942" y="1497"/>
                  </a:cubicBezTo>
                  <a:cubicBezTo>
                    <a:pt x="1705" y="1497"/>
                    <a:pt x="961" y="847"/>
                    <a:pt x="951" y="629"/>
                  </a:cubicBezTo>
                  <a:cubicBezTo>
                    <a:pt x="951" y="628"/>
                    <a:pt x="951" y="627"/>
                    <a:pt x="951" y="626"/>
                  </a:cubicBezTo>
                  <a:cubicBezTo>
                    <a:pt x="951" y="625"/>
                    <a:pt x="951" y="625"/>
                    <a:pt x="951" y="624"/>
                  </a:cubicBezTo>
                  <a:cubicBezTo>
                    <a:pt x="951" y="622"/>
                    <a:pt x="951" y="620"/>
                    <a:pt x="950" y="618"/>
                  </a:cubicBezTo>
                  <a:cubicBezTo>
                    <a:pt x="950" y="617"/>
                    <a:pt x="950" y="617"/>
                    <a:pt x="950" y="617"/>
                  </a:cubicBezTo>
                  <a:cubicBezTo>
                    <a:pt x="950" y="616"/>
                    <a:pt x="950" y="616"/>
                    <a:pt x="950" y="616"/>
                  </a:cubicBezTo>
                  <a:cubicBezTo>
                    <a:pt x="950" y="615"/>
                    <a:pt x="950" y="615"/>
                    <a:pt x="950" y="614"/>
                  </a:cubicBezTo>
                  <a:cubicBezTo>
                    <a:pt x="950" y="614"/>
                    <a:pt x="950" y="614"/>
                    <a:pt x="950" y="614"/>
                  </a:cubicBezTo>
                  <a:cubicBezTo>
                    <a:pt x="950" y="613"/>
                    <a:pt x="950" y="613"/>
                    <a:pt x="950" y="613"/>
                  </a:cubicBezTo>
                  <a:cubicBezTo>
                    <a:pt x="949" y="610"/>
                    <a:pt x="949" y="608"/>
                    <a:pt x="949" y="605"/>
                  </a:cubicBezTo>
                  <a:cubicBezTo>
                    <a:pt x="949" y="605"/>
                    <a:pt x="949" y="604"/>
                    <a:pt x="949" y="604"/>
                  </a:cubicBezTo>
                  <a:cubicBezTo>
                    <a:pt x="948" y="603"/>
                    <a:pt x="948" y="603"/>
                    <a:pt x="948" y="602"/>
                  </a:cubicBezTo>
                  <a:cubicBezTo>
                    <a:pt x="948" y="601"/>
                    <a:pt x="948" y="601"/>
                    <a:pt x="948" y="600"/>
                  </a:cubicBezTo>
                  <a:cubicBezTo>
                    <a:pt x="947" y="597"/>
                    <a:pt x="947" y="594"/>
                    <a:pt x="946" y="591"/>
                  </a:cubicBezTo>
                  <a:cubicBezTo>
                    <a:pt x="946" y="591"/>
                    <a:pt x="946" y="591"/>
                    <a:pt x="946" y="590"/>
                  </a:cubicBezTo>
                  <a:cubicBezTo>
                    <a:pt x="946" y="590"/>
                    <a:pt x="946" y="589"/>
                    <a:pt x="945" y="589"/>
                  </a:cubicBezTo>
                  <a:cubicBezTo>
                    <a:pt x="945" y="587"/>
                    <a:pt x="944" y="585"/>
                    <a:pt x="943" y="582"/>
                  </a:cubicBezTo>
                  <a:cubicBezTo>
                    <a:pt x="943" y="582"/>
                    <a:pt x="943" y="582"/>
                    <a:pt x="943" y="581"/>
                  </a:cubicBezTo>
                  <a:cubicBezTo>
                    <a:pt x="943" y="580"/>
                    <a:pt x="942" y="578"/>
                    <a:pt x="942" y="577"/>
                  </a:cubicBezTo>
                  <a:cubicBezTo>
                    <a:pt x="941" y="577"/>
                    <a:pt x="941" y="576"/>
                    <a:pt x="941" y="576"/>
                  </a:cubicBezTo>
                  <a:cubicBezTo>
                    <a:pt x="941" y="575"/>
                    <a:pt x="941" y="574"/>
                    <a:pt x="940" y="573"/>
                  </a:cubicBezTo>
                  <a:cubicBezTo>
                    <a:pt x="940" y="573"/>
                    <a:pt x="940" y="573"/>
                    <a:pt x="940" y="572"/>
                  </a:cubicBezTo>
                  <a:cubicBezTo>
                    <a:pt x="940" y="572"/>
                    <a:pt x="939" y="572"/>
                    <a:pt x="939" y="571"/>
                  </a:cubicBezTo>
                  <a:cubicBezTo>
                    <a:pt x="939" y="571"/>
                    <a:pt x="939" y="570"/>
                    <a:pt x="939" y="570"/>
                  </a:cubicBezTo>
                  <a:cubicBezTo>
                    <a:pt x="939" y="570"/>
                    <a:pt x="939" y="570"/>
                    <a:pt x="939" y="570"/>
                  </a:cubicBezTo>
                  <a:cubicBezTo>
                    <a:pt x="939" y="569"/>
                    <a:pt x="938" y="569"/>
                    <a:pt x="938" y="569"/>
                  </a:cubicBezTo>
                  <a:cubicBezTo>
                    <a:pt x="938" y="567"/>
                    <a:pt x="937" y="566"/>
                    <a:pt x="936" y="565"/>
                  </a:cubicBezTo>
                  <a:cubicBezTo>
                    <a:pt x="936" y="564"/>
                    <a:pt x="936" y="564"/>
                    <a:pt x="936" y="564"/>
                  </a:cubicBezTo>
                  <a:cubicBezTo>
                    <a:pt x="935" y="561"/>
                    <a:pt x="933" y="559"/>
                    <a:pt x="932" y="557"/>
                  </a:cubicBezTo>
                  <a:cubicBezTo>
                    <a:pt x="932" y="557"/>
                    <a:pt x="932" y="557"/>
                    <a:pt x="932" y="557"/>
                  </a:cubicBezTo>
                  <a:cubicBezTo>
                    <a:pt x="932" y="557"/>
                    <a:pt x="932" y="557"/>
                    <a:pt x="932" y="556"/>
                  </a:cubicBezTo>
                  <a:cubicBezTo>
                    <a:pt x="930" y="554"/>
                    <a:pt x="929" y="552"/>
                    <a:pt x="927" y="550"/>
                  </a:cubicBezTo>
                  <a:cubicBezTo>
                    <a:pt x="927" y="550"/>
                    <a:pt x="927" y="549"/>
                    <a:pt x="926" y="549"/>
                  </a:cubicBezTo>
                  <a:cubicBezTo>
                    <a:pt x="925" y="547"/>
                    <a:pt x="923" y="545"/>
                    <a:pt x="921" y="543"/>
                  </a:cubicBezTo>
                  <a:cubicBezTo>
                    <a:pt x="921" y="543"/>
                    <a:pt x="921" y="542"/>
                    <a:pt x="920" y="542"/>
                  </a:cubicBezTo>
                  <a:cubicBezTo>
                    <a:pt x="919" y="541"/>
                    <a:pt x="918" y="540"/>
                    <a:pt x="917" y="539"/>
                  </a:cubicBezTo>
                  <a:cubicBezTo>
                    <a:pt x="917" y="539"/>
                    <a:pt x="916" y="538"/>
                    <a:pt x="916" y="538"/>
                  </a:cubicBezTo>
                  <a:cubicBezTo>
                    <a:pt x="915" y="537"/>
                    <a:pt x="913" y="536"/>
                    <a:pt x="912" y="534"/>
                  </a:cubicBezTo>
                  <a:cubicBezTo>
                    <a:pt x="911" y="534"/>
                    <a:pt x="911" y="534"/>
                    <a:pt x="910" y="533"/>
                  </a:cubicBezTo>
                  <a:cubicBezTo>
                    <a:pt x="909" y="532"/>
                    <a:pt x="908" y="531"/>
                    <a:pt x="907" y="531"/>
                  </a:cubicBezTo>
                  <a:cubicBezTo>
                    <a:pt x="906" y="530"/>
                    <a:pt x="905" y="530"/>
                    <a:pt x="904" y="529"/>
                  </a:cubicBezTo>
                  <a:cubicBezTo>
                    <a:pt x="903" y="528"/>
                    <a:pt x="901" y="527"/>
                    <a:pt x="899" y="526"/>
                  </a:cubicBezTo>
                  <a:cubicBezTo>
                    <a:pt x="899" y="526"/>
                    <a:pt x="899" y="526"/>
                    <a:pt x="898" y="526"/>
                  </a:cubicBezTo>
                  <a:cubicBezTo>
                    <a:pt x="898" y="526"/>
                    <a:pt x="898" y="525"/>
                    <a:pt x="898" y="525"/>
                  </a:cubicBezTo>
                  <a:cubicBezTo>
                    <a:pt x="897" y="525"/>
                    <a:pt x="895" y="524"/>
                    <a:pt x="893" y="523"/>
                  </a:cubicBezTo>
                  <a:cubicBezTo>
                    <a:pt x="888" y="520"/>
                    <a:pt x="882" y="518"/>
                    <a:pt x="876" y="517"/>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sp>
          <p:nvSpPr>
            <p:cNvPr id="1075" name="Freeform 104"/>
            <p:cNvSpPr>
              <a:spLocks noEditPoints="1"/>
            </p:cNvSpPr>
            <p:nvPr userDrawn="1"/>
          </p:nvSpPr>
          <p:spPr bwMode="auto">
            <a:xfrm>
              <a:off x="1470" y="4372"/>
              <a:ext cx="4188" cy="3080"/>
            </a:xfrm>
            <a:custGeom>
              <a:avLst/>
              <a:gdLst>
                <a:gd name="T0" fmla="*/ 2147483646 w 2066"/>
                <a:gd name="T1" fmla="*/ 2147483646 h 1519"/>
                <a:gd name="T2" fmla="*/ 2147483646 w 2066"/>
                <a:gd name="T3" fmla="*/ 2147483646 h 1519"/>
                <a:gd name="T4" fmla="*/ 2147483646 w 2066"/>
                <a:gd name="T5" fmla="*/ 2147483646 h 1519"/>
                <a:gd name="T6" fmla="*/ 2147483646 w 2066"/>
                <a:gd name="T7" fmla="*/ 2147483646 h 1519"/>
                <a:gd name="T8" fmla="*/ 2147483646 w 2066"/>
                <a:gd name="T9" fmla="*/ 2147483646 h 1519"/>
                <a:gd name="T10" fmla="*/ 2147483646 w 2066"/>
                <a:gd name="T11" fmla="*/ 2147483646 h 1519"/>
                <a:gd name="T12" fmla="*/ 2147483646 w 2066"/>
                <a:gd name="T13" fmla="*/ 2147483646 h 1519"/>
                <a:gd name="T14" fmla="*/ 2147483646 w 2066"/>
                <a:gd name="T15" fmla="*/ 2147483646 h 1519"/>
                <a:gd name="T16" fmla="*/ 2147483646 w 2066"/>
                <a:gd name="T17" fmla="*/ 2147483646 h 1519"/>
                <a:gd name="T18" fmla="*/ 2147483646 w 2066"/>
                <a:gd name="T19" fmla="*/ 2147483646 h 1519"/>
                <a:gd name="T20" fmla="*/ 2147483646 w 2066"/>
                <a:gd name="T21" fmla="*/ 2147483646 h 1519"/>
                <a:gd name="T22" fmla="*/ 2147483646 w 2066"/>
                <a:gd name="T23" fmla="*/ 2147483646 h 1519"/>
                <a:gd name="T24" fmla="*/ 2147483646 w 2066"/>
                <a:gd name="T25" fmla="*/ 2147483646 h 1519"/>
                <a:gd name="T26" fmla="*/ 2147483646 w 2066"/>
                <a:gd name="T27" fmla="*/ 2147483646 h 1519"/>
                <a:gd name="T28" fmla="*/ 2147483646 w 2066"/>
                <a:gd name="T29" fmla="*/ 2147483646 h 1519"/>
                <a:gd name="T30" fmla="*/ 2147483646 w 2066"/>
                <a:gd name="T31" fmla="*/ 2147483646 h 1519"/>
                <a:gd name="T32" fmla="*/ 2147483646 w 2066"/>
                <a:gd name="T33" fmla="*/ 2147483646 h 1519"/>
                <a:gd name="T34" fmla="*/ 2147483646 w 2066"/>
                <a:gd name="T35" fmla="*/ 2147483646 h 1519"/>
                <a:gd name="T36" fmla="*/ 2147483646 w 2066"/>
                <a:gd name="T37" fmla="*/ 2147483646 h 1519"/>
                <a:gd name="T38" fmla="*/ 2147483646 w 2066"/>
                <a:gd name="T39" fmla="*/ 2147483646 h 1519"/>
                <a:gd name="T40" fmla="*/ 2147483646 w 2066"/>
                <a:gd name="T41" fmla="*/ 2147483646 h 1519"/>
                <a:gd name="T42" fmla="*/ 2147483646 w 2066"/>
                <a:gd name="T43" fmla="*/ 2147483646 h 1519"/>
                <a:gd name="T44" fmla="*/ 2147483646 w 2066"/>
                <a:gd name="T45" fmla="*/ 2147483646 h 1519"/>
                <a:gd name="T46" fmla="*/ 2147483646 w 2066"/>
                <a:gd name="T47" fmla="*/ 2147483646 h 1519"/>
                <a:gd name="T48" fmla="*/ 2147483646 w 2066"/>
                <a:gd name="T49" fmla="*/ 2147483646 h 1519"/>
                <a:gd name="T50" fmla="*/ 2147483646 w 2066"/>
                <a:gd name="T51" fmla="*/ 2147483646 h 1519"/>
                <a:gd name="T52" fmla="*/ 2147483646 w 2066"/>
                <a:gd name="T53" fmla="*/ 2147483646 h 1519"/>
                <a:gd name="T54" fmla="*/ 2147483646 w 2066"/>
                <a:gd name="T55" fmla="*/ 2147483646 h 1519"/>
                <a:gd name="T56" fmla="*/ 2147483646 w 2066"/>
                <a:gd name="T57" fmla="*/ 2147483646 h 1519"/>
                <a:gd name="T58" fmla="*/ 2147483646 w 2066"/>
                <a:gd name="T59" fmla="*/ 2147483646 h 1519"/>
                <a:gd name="T60" fmla="*/ 2147483646 w 2066"/>
                <a:gd name="T61" fmla="*/ 2147483646 h 1519"/>
                <a:gd name="T62" fmla="*/ 2147483646 w 2066"/>
                <a:gd name="T63" fmla="*/ 2147483646 h 1519"/>
                <a:gd name="T64" fmla="*/ 2147483646 w 2066"/>
                <a:gd name="T65" fmla="*/ 2147483646 h 1519"/>
                <a:gd name="T66" fmla="*/ 2147483646 w 2066"/>
                <a:gd name="T67" fmla="*/ 2147483646 h 1519"/>
                <a:gd name="T68" fmla="*/ 2147483646 w 2066"/>
                <a:gd name="T69" fmla="*/ 2147483646 h 1519"/>
                <a:gd name="T70" fmla="*/ 2147483646 w 2066"/>
                <a:gd name="T71" fmla="*/ 2147483646 h 1519"/>
                <a:gd name="T72" fmla="*/ 2147483646 w 2066"/>
                <a:gd name="T73" fmla="*/ 2147483646 h 1519"/>
                <a:gd name="T74" fmla="*/ 2147483646 w 2066"/>
                <a:gd name="T75" fmla="*/ 2147483646 h 1519"/>
                <a:gd name="T76" fmla="*/ 2147483646 w 2066"/>
                <a:gd name="T77" fmla="*/ 2147483646 h 1519"/>
                <a:gd name="T78" fmla="*/ 2147483646 w 2066"/>
                <a:gd name="T79" fmla="*/ 2147483646 h 1519"/>
                <a:gd name="T80" fmla="*/ 2147483646 w 2066"/>
                <a:gd name="T81" fmla="*/ 2147483646 h 1519"/>
                <a:gd name="T82" fmla="*/ 2147483646 w 2066"/>
                <a:gd name="T83" fmla="*/ 2147483646 h 1519"/>
                <a:gd name="T84" fmla="*/ 2147483646 w 2066"/>
                <a:gd name="T85" fmla="*/ 2147483646 h 1519"/>
                <a:gd name="T86" fmla="*/ 2147483646 w 2066"/>
                <a:gd name="T87" fmla="*/ 2147483646 h 1519"/>
                <a:gd name="T88" fmla="*/ 2147483646 w 2066"/>
                <a:gd name="T89" fmla="*/ 2147483646 h 1519"/>
                <a:gd name="T90" fmla="*/ 2147483646 w 2066"/>
                <a:gd name="T91" fmla="*/ 2147483646 h 1519"/>
                <a:gd name="T92" fmla="*/ 2147483646 w 2066"/>
                <a:gd name="T93" fmla="*/ 2147483646 h 1519"/>
                <a:gd name="T94" fmla="*/ 2147483646 w 2066"/>
                <a:gd name="T95" fmla="*/ 2147483646 h 1519"/>
                <a:gd name="T96" fmla="*/ 2147483646 w 2066"/>
                <a:gd name="T97" fmla="*/ 2147483646 h 1519"/>
                <a:gd name="T98" fmla="*/ 2147483646 w 2066"/>
                <a:gd name="T99" fmla="*/ 2147483646 h 1519"/>
                <a:gd name="T100" fmla="*/ 2147483646 w 2066"/>
                <a:gd name="T101" fmla="*/ 2147483646 h 1519"/>
                <a:gd name="T102" fmla="*/ 2147483646 w 2066"/>
                <a:gd name="T103" fmla="*/ 2147483646 h 1519"/>
                <a:gd name="T104" fmla="*/ 2147483646 w 2066"/>
                <a:gd name="T105" fmla="*/ 2147483646 h 1519"/>
                <a:gd name="T106" fmla="*/ 2147483646 w 2066"/>
                <a:gd name="T107" fmla="*/ 2147483646 h 1519"/>
                <a:gd name="T108" fmla="*/ 2147483646 w 2066"/>
                <a:gd name="T109" fmla="*/ 2147483646 h 1519"/>
                <a:gd name="T110" fmla="*/ 2147483646 w 2066"/>
                <a:gd name="T111" fmla="*/ 2147483646 h 1519"/>
                <a:gd name="T112" fmla="*/ 2147483646 w 2066"/>
                <a:gd name="T113" fmla="*/ 2147483646 h 1519"/>
                <a:gd name="T114" fmla="*/ 2147483646 w 2066"/>
                <a:gd name="T115" fmla="*/ 2147483646 h 1519"/>
                <a:gd name="T116" fmla="*/ 2147483646 w 2066"/>
                <a:gd name="T117" fmla="*/ 2147483646 h 1519"/>
                <a:gd name="T118" fmla="*/ 2147483646 w 2066"/>
                <a:gd name="T119" fmla="*/ 2147483646 h 1519"/>
                <a:gd name="T120" fmla="*/ 2147483646 w 2066"/>
                <a:gd name="T121" fmla="*/ 2147483646 h 151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066" h="1519">
                  <a:moveTo>
                    <a:pt x="1020" y="0"/>
                  </a:moveTo>
                  <a:cubicBezTo>
                    <a:pt x="1019" y="0"/>
                    <a:pt x="1019" y="0"/>
                    <a:pt x="1019" y="0"/>
                  </a:cubicBezTo>
                  <a:cubicBezTo>
                    <a:pt x="1018" y="0"/>
                    <a:pt x="1018" y="0"/>
                    <a:pt x="1017" y="0"/>
                  </a:cubicBezTo>
                  <a:cubicBezTo>
                    <a:pt x="1017" y="0"/>
                    <a:pt x="1017" y="0"/>
                    <a:pt x="1016" y="0"/>
                  </a:cubicBezTo>
                  <a:cubicBezTo>
                    <a:pt x="1016" y="0"/>
                    <a:pt x="1015" y="0"/>
                    <a:pt x="1014" y="0"/>
                  </a:cubicBezTo>
                  <a:cubicBezTo>
                    <a:pt x="1009" y="0"/>
                    <a:pt x="1005" y="0"/>
                    <a:pt x="1000" y="0"/>
                  </a:cubicBezTo>
                  <a:cubicBezTo>
                    <a:pt x="999" y="0"/>
                    <a:pt x="999" y="0"/>
                    <a:pt x="998" y="0"/>
                  </a:cubicBezTo>
                  <a:cubicBezTo>
                    <a:pt x="998" y="0"/>
                    <a:pt x="998" y="0"/>
                    <a:pt x="998" y="0"/>
                  </a:cubicBezTo>
                  <a:cubicBezTo>
                    <a:pt x="998" y="0"/>
                    <a:pt x="997" y="0"/>
                    <a:pt x="996" y="0"/>
                  </a:cubicBezTo>
                  <a:cubicBezTo>
                    <a:pt x="992" y="0"/>
                    <a:pt x="988" y="0"/>
                    <a:pt x="984" y="1"/>
                  </a:cubicBezTo>
                  <a:cubicBezTo>
                    <a:pt x="983" y="1"/>
                    <a:pt x="983" y="1"/>
                    <a:pt x="982" y="1"/>
                  </a:cubicBezTo>
                  <a:cubicBezTo>
                    <a:pt x="980" y="1"/>
                    <a:pt x="977" y="1"/>
                    <a:pt x="975" y="1"/>
                  </a:cubicBezTo>
                  <a:cubicBezTo>
                    <a:pt x="975" y="1"/>
                    <a:pt x="975" y="1"/>
                    <a:pt x="975" y="1"/>
                  </a:cubicBezTo>
                  <a:cubicBezTo>
                    <a:pt x="974" y="1"/>
                    <a:pt x="974" y="1"/>
                    <a:pt x="974" y="1"/>
                  </a:cubicBezTo>
                  <a:cubicBezTo>
                    <a:pt x="973" y="1"/>
                    <a:pt x="972" y="1"/>
                    <a:pt x="971" y="1"/>
                  </a:cubicBezTo>
                  <a:cubicBezTo>
                    <a:pt x="971" y="1"/>
                    <a:pt x="970" y="1"/>
                    <a:pt x="970" y="1"/>
                  </a:cubicBezTo>
                  <a:cubicBezTo>
                    <a:pt x="969" y="1"/>
                    <a:pt x="969" y="1"/>
                    <a:pt x="968" y="1"/>
                  </a:cubicBezTo>
                  <a:cubicBezTo>
                    <a:pt x="964" y="1"/>
                    <a:pt x="960" y="1"/>
                    <a:pt x="956" y="2"/>
                  </a:cubicBezTo>
                  <a:cubicBezTo>
                    <a:pt x="956" y="2"/>
                    <a:pt x="955" y="2"/>
                    <a:pt x="955" y="2"/>
                  </a:cubicBezTo>
                  <a:cubicBezTo>
                    <a:pt x="953" y="2"/>
                    <a:pt x="951" y="2"/>
                    <a:pt x="949" y="2"/>
                  </a:cubicBezTo>
                  <a:cubicBezTo>
                    <a:pt x="948" y="2"/>
                    <a:pt x="948" y="2"/>
                    <a:pt x="947" y="2"/>
                  </a:cubicBezTo>
                  <a:cubicBezTo>
                    <a:pt x="936" y="2"/>
                    <a:pt x="925" y="3"/>
                    <a:pt x="913" y="4"/>
                  </a:cubicBezTo>
                  <a:cubicBezTo>
                    <a:pt x="913" y="4"/>
                    <a:pt x="913" y="4"/>
                    <a:pt x="912" y="4"/>
                  </a:cubicBezTo>
                  <a:cubicBezTo>
                    <a:pt x="912" y="4"/>
                    <a:pt x="911" y="4"/>
                    <a:pt x="910" y="4"/>
                  </a:cubicBezTo>
                  <a:cubicBezTo>
                    <a:pt x="910" y="4"/>
                    <a:pt x="910" y="4"/>
                    <a:pt x="909" y="4"/>
                  </a:cubicBezTo>
                  <a:cubicBezTo>
                    <a:pt x="908" y="4"/>
                    <a:pt x="907" y="4"/>
                    <a:pt x="906" y="4"/>
                  </a:cubicBezTo>
                  <a:cubicBezTo>
                    <a:pt x="906" y="4"/>
                    <a:pt x="905" y="4"/>
                    <a:pt x="905" y="5"/>
                  </a:cubicBezTo>
                  <a:cubicBezTo>
                    <a:pt x="903" y="5"/>
                    <a:pt x="902" y="5"/>
                    <a:pt x="901" y="5"/>
                  </a:cubicBezTo>
                  <a:cubicBezTo>
                    <a:pt x="888" y="6"/>
                    <a:pt x="876" y="7"/>
                    <a:pt x="865" y="8"/>
                  </a:cubicBezTo>
                  <a:cubicBezTo>
                    <a:pt x="864" y="8"/>
                    <a:pt x="864" y="8"/>
                    <a:pt x="863" y="8"/>
                  </a:cubicBezTo>
                  <a:cubicBezTo>
                    <a:pt x="863" y="8"/>
                    <a:pt x="862" y="8"/>
                    <a:pt x="862" y="9"/>
                  </a:cubicBezTo>
                  <a:cubicBezTo>
                    <a:pt x="861" y="9"/>
                    <a:pt x="861" y="9"/>
                    <a:pt x="860" y="9"/>
                  </a:cubicBezTo>
                  <a:cubicBezTo>
                    <a:pt x="856" y="9"/>
                    <a:pt x="853" y="10"/>
                    <a:pt x="849" y="10"/>
                  </a:cubicBezTo>
                  <a:cubicBezTo>
                    <a:pt x="848" y="10"/>
                    <a:pt x="848" y="10"/>
                    <a:pt x="847" y="10"/>
                  </a:cubicBezTo>
                  <a:cubicBezTo>
                    <a:pt x="840" y="11"/>
                    <a:pt x="833" y="13"/>
                    <a:pt x="826" y="14"/>
                  </a:cubicBezTo>
                  <a:cubicBezTo>
                    <a:pt x="826" y="14"/>
                    <a:pt x="825" y="14"/>
                    <a:pt x="825" y="14"/>
                  </a:cubicBezTo>
                  <a:cubicBezTo>
                    <a:pt x="819" y="15"/>
                    <a:pt x="813" y="16"/>
                    <a:pt x="807" y="17"/>
                  </a:cubicBezTo>
                  <a:cubicBezTo>
                    <a:pt x="807" y="18"/>
                    <a:pt x="806" y="18"/>
                    <a:pt x="806" y="18"/>
                  </a:cubicBezTo>
                  <a:cubicBezTo>
                    <a:pt x="803" y="18"/>
                    <a:pt x="800" y="19"/>
                    <a:pt x="797" y="20"/>
                  </a:cubicBezTo>
                  <a:cubicBezTo>
                    <a:pt x="796" y="20"/>
                    <a:pt x="795" y="20"/>
                    <a:pt x="794" y="21"/>
                  </a:cubicBezTo>
                  <a:cubicBezTo>
                    <a:pt x="774" y="25"/>
                    <a:pt x="758" y="31"/>
                    <a:pt x="744" y="38"/>
                  </a:cubicBezTo>
                  <a:cubicBezTo>
                    <a:pt x="743" y="38"/>
                    <a:pt x="743" y="38"/>
                    <a:pt x="742" y="38"/>
                  </a:cubicBezTo>
                  <a:cubicBezTo>
                    <a:pt x="737" y="41"/>
                    <a:pt x="732" y="43"/>
                    <a:pt x="728" y="46"/>
                  </a:cubicBezTo>
                  <a:cubicBezTo>
                    <a:pt x="727" y="46"/>
                    <a:pt x="727" y="47"/>
                    <a:pt x="727" y="47"/>
                  </a:cubicBezTo>
                  <a:cubicBezTo>
                    <a:pt x="726" y="47"/>
                    <a:pt x="726" y="47"/>
                    <a:pt x="725" y="48"/>
                  </a:cubicBezTo>
                  <a:cubicBezTo>
                    <a:pt x="725" y="48"/>
                    <a:pt x="725" y="48"/>
                    <a:pt x="724" y="48"/>
                  </a:cubicBezTo>
                  <a:cubicBezTo>
                    <a:pt x="722" y="50"/>
                    <a:pt x="719" y="52"/>
                    <a:pt x="717" y="53"/>
                  </a:cubicBezTo>
                  <a:cubicBezTo>
                    <a:pt x="717" y="53"/>
                    <a:pt x="717" y="53"/>
                    <a:pt x="717" y="54"/>
                  </a:cubicBezTo>
                  <a:cubicBezTo>
                    <a:pt x="716" y="54"/>
                    <a:pt x="716" y="54"/>
                    <a:pt x="715" y="55"/>
                  </a:cubicBezTo>
                  <a:cubicBezTo>
                    <a:pt x="712" y="57"/>
                    <a:pt x="709" y="59"/>
                    <a:pt x="707" y="62"/>
                  </a:cubicBezTo>
                  <a:cubicBezTo>
                    <a:pt x="707" y="62"/>
                    <a:pt x="706" y="62"/>
                    <a:pt x="706" y="63"/>
                  </a:cubicBezTo>
                  <a:cubicBezTo>
                    <a:pt x="703" y="66"/>
                    <a:pt x="700" y="69"/>
                    <a:pt x="698" y="72"/>
                  </a:cubicBezTo>
                  <a:cubicBezTo>
                    <a:pt x="697" y="73"/>
                    <a:pt x="697" y="73"/>
                    <a:pt x="697" y="73"/>
                  </a:cubicBezTo>
                  <a:cubicBezTo>
                    <a:pt x="694" y="78"/>
                    <a:pt x="691" y="82"/>
                    <a:pt x="689" y="86"/>
                  </a:cubicBezTo>
                  <a:cubicBezTo>
                    <a:pt x="689" y="87"/>
                    <a:pt x="689" y="87"/>
                    <a:pt x="689" y="88"/>
                  </a:cubicBezTo>
                  <a:cubicBezTo>
                    <a:pt x="686" y="95"/>
                    <a:pt x="684" y="102"/>
                    <a:pt x="683" y="109"/>
                  </a:cubicBezTo>
                  <a:cubicBezTo>
                    <a:pt x="683" y="109"/>
                    <a:pt x="683" y="110"/>
                    <a:pt x="683" y="110"/>
                  </a:cubicBezTo>
                  <a:cubicBezTo>
                    <a:pt x="683" y="111"/>
                    <a:pt x="683" y="112"/>
                    <a:pt x="683" y="113"/>
                  </a:cubicBezTo>
                  <a:cubicBezTo>
                    <a:pt x="683" y="113"/>
                    <a:pt x="683" y="114"/>
                    <a:pt x="683" y="114"/>
                  </a:cubicBezTo>
                  <a:cubicBezTo>
                    <a:pt x="683" y="115"/>
                    <a:pt x="683" y="116"/>
                    <a:pt x="683" y="118"/>
                  </a:cubicBezTo>
                  <a:cubicBezTo>
                    <a:pt x="683" y="125"/>
                    <a:pt x="684" y="133"/>
                    <a:pt x="685" y="141"/>
                  </a:cubicBezTo>
                  <a:cubicBezTo>
                    <a:pt x="686" y="141"/>
                    <a:pt x="686" y="142"/>
                    <a:pt x="686" y="142"/>
                  </a:cubicBezTo>
                  <a:cubicBezTo>
                    <a:pt x="686" y="143"/>
                    <a:pt x="686" y="143"/>
                    <a:pt x="686" y="144"/>
                  </a:cubicBezTo>
                  <a:cubicBezTo>
                    <a:pt x="686" y="144"/>
                    <a:pt x="686" y="145"/>
                    <a:pt x="687" y="145"/>
                  </a:cubicBezTo>
                  <a:cubicBezTo>
                    <a:pt x="687" y="149"/>
                    <a:pt x="689" y="152"/>
                    <a:pt x="690" y="156"/>
                  </a:cubicBezTo>
                  <a:cubicBezTo>
                    <a:pt x="690" y="156"/>
                    <a:pt x="690" y="157"/>
                    <a:pt x="690" y="157"/>
                  </a:cubicBezTo>
                  <a:cubicBezTo>
                    <a:pt x="690" y="157"/>
                    <a:pt x="690" y="158"/>
                    <a:pt x="691" y="158"/>
                  </a:cubicBezTo>
                  <a:cubicBezTo>
                    <a:pt x="691" y="160"/>
                    <a:pt x="692" y="161"/>
                    <a:pt x="692" y="163"/>
                  </a:cubicBezTo>
                  <a:cubicBezTo>
                    <a:pt x="692" y="163"/>
                    <a:pt x="693" y="164"/>
                    <a:pt x="693" y="164"/>
                  </a:cubicBezTo>
                  <a:cubicBezTo>
                    <a:pt x="693" y="164"/>
                    <a:pt x="693" y="164"/>
                    <a:pt x="693" y="164"/>
                  </a:cubicBezTo>
                  <a:cubicBezTo>
                    <a:pt x="693" y="165"/>
                    <a:pt x="693" y="165"/>
                    <a:pt x="693" y="165"/>
                  </a:cubicBezTo>
                  <a:cubicBezTo>
                    <a:pt x="694" y="166"/>
                    <a:pt x="694" y="167"/>
                    <a:pt x="694" y="167"/>
                  </a:cubicBezTo>
                  <a:cubicBezTo>
                    <a:pt x="694" y="167"/>
                    <a:pt x="694" y="168"/>
                    <a:pt x="694" y="168"/>
                  </a:cubicBezTo>
                  <a:cubicBezTo>
                    <a:pt x="695" y="168"/>
                    <a:pt x="695" y="169"/>
                    <a:pt x="695" y="169"/>
                  </a:cubicBezTo>
                  <a:cubicBezTo>
                    <a:pt x="695" y="169"/>
                    <a:pt x="695" y="169"/>
                    <a:pt x="695" y="169"/>
                  </a:cubicBezTo>
                  <a:cubicBezTo>
                    <a:pt x="696" y="171"/>
                    <a:pt x="697" y="173"/>
                    <a:pt x="698" y="175"/>
                  </a:cubicBezTo>
                  <a:cubicBezTo>
                    <a:pt x="698" y="176"/>
                    <a:pt x="698" y="176"/>
                    <a:pt x="698" y="176"/>
                  </a:cubicBezTo>
                  <a:cubicBezTo>
                    <a:pt x="699" y="178"/>
                    <a:pt x="700" y="180"/>
                    <a:pt x="701" y="182"/>
                  </a:cubicBezTo>
                  <a:cubicBezTo>
                    <a:pt x="701" y="182"/>
                    <a:pt x="701" y="182"/>
                    <a:pt x="701" y="183"/>
                  </a:cubicBezTo>
                  <a:cubicBezTo>
                    <a:pt x="701" y="183"/>
                    <a:pt x="702" y="183"/>
                    <a:pt x="702" y="184"/>
                  </a:cubicBezTo>
                  <a:cubicBezTo>
                    <a:pt x="703" y="186"/>
                    <a:pt x="704" y="188"/>
                    <a:pt x="705" y="191"/>
                  </a:cubicBezTo>
                  <a:cubicBezTo>
                    <a:pt x="706" y="191"/>
                    <a:pt x="706" y="192"/>
                    <a:pt x="706" y="192"/>
                  </a:cubicBezTo>
                  <a:cubicBezTo>
                    <a:pt x="706" y="192"/>
                    <a:pt x="706" y="192"/>
                    <a:pt x="706" y="192"/>
                  </a:cubicBezTo>
                  <a:cubicBezTo>
                    <a:pt x="706" y="193"/>
                    <a:pt x="707" y="193"/>
                    <a:pt x="707" y="193"/>
                  </a:cubicBezTo>
                  <a:cubicBezTo>
                    <a:pt x="707" y="193"/>
                    <a:pt x="707" y="193"/>
                    <a:pt x="707" y="193"/>
                  </a:cubicBezTo>
                  <a:cubicBezTo>
                    <a:pt x="713" y="204"/>
                    <a:pt x="719" y="214"/>
                    <a:pt x="726" y="224"/>
                  </a:cubicBezTo>
                  <a:cubicBezTo>
                    <a:pt x="726" y="225"/>
                    <a:pt x="726" y="225"/>
                    <a:pt x="726" y="225"/>
                  </a:cubicBezTo>
                  <a:cubicBezTo>
                    <a:pt x="728" y="228"/>
                    <a:pt x="729" y="230"/>
                    <a:pt x="731" y="232"/>
                  </a:cubicBezTo>
                  <a:cubicBezTo>
                    <a:pt x="731" y="232"/>
                    <a:pt x="731" y="232"/>
                    <a:pt x="731" y="233"/>
                  </a:cubicBezTo>
                  <a:cubicBezTo>
                    <a:pt x="732" y="234"/>
                    <a:pt x="733" y="234"/>
                    <a:pt x="733" y="235"/>
                  </a:cubicBezTo>
                  <a:cubicBezTo>
                    <a:pt x="733" y="235"/>
                    <a:pt x="733" y="236"/>
                    <a:pt x="734" y="236"/>
                  </a:cubicBezTo>
                  <a:cubicBezTo>
                    <a:pt x="734" y="237"/>
                    <a:pt x="735" y="239"/>
                    <a:pt x="736" y="240"/>
                  </a:cubicBezTo>
                  <a:cubicBezTo>
                    <a:pt x="736" y="240"/>
                    <a:pt x="737" y="240"/>
                    <a:pt x="737" y="241"/>
                  </a:cubicBezTo>
                  <a:cubicBezTo>
                    <a:pt x="738" y="242"/>
                    <a:pt x="739" y="244"/>
                    <a:pt x="740" y="245"/>
                  </a:cubicBezTo>
                  <a:cubicBezTo>
                    <a:pt x="740" y="245"/>
                    <a:pt x="740" y="246"/>
                    <a:pt x="741" y="246"/>
                  </a:cubicBezTo>
                  <a:cubicBezTo>
                    <a:pt x="741" y="246"/>
                    <a:pt x="741" y="246"/>
                    <a:pt x="741" y="247"/>
                  </a:cubicBezTo>
                  <a:cubicBezTo>
                    <a:pt x="742" y="249"/>
                    <a:pt x="744" y="250"/>
                    <a:pt x="745" y="252"/>
                  </a:cubicBezTo>
                  <a:cubicBezTo>
                    <a:pt x="745" y="253"/>
                    <a:pt x="745" y="253"/>
                    <a:pt x="745" y="253"/>
                  </a:cubicBezTo>
                  <a:cubicBezTo>
                    <a:pt x="747" y="255"/>
                    <a:pt x="748" y="257"/>
                    <a:pt x="749" y="258"/>
                  </a:cubicBezTo>
                  <a:cubicBezTo>
                    <a:pt x="749" y="259"/>
                    <a:pt x="749" y="259"/>
                    <a:pt x="750" y="259"/>
                  </a:cubicBezTo>
                  <a:cubicBezTo>
                    <a:pt x="750" y="260"/>
                    <a:pt x="751" y="261"/>
                    <a:pt x="752" y="262"/>
                  </a:cubicBezTo>
                  <a:cubicBezTo>
                    <a:pt x="752" y="263"/>
                    <a:pt x="752" y="263"/>
                    <a:pt x="752" y="263"/>
                  </a:cubicBezTo>
                  <a:cubicBezTo>
                    <a:pt x="754" y="266"/>
                    <a:pt x="756" y="268"/>
                    <a:pt x="757" y="271"/>
                  </a:cubicBezTo>
                  <a:cubicBezTo>
                    <a:pt x="758" y="271"/>
                    <a:pt x="758" y="271"/>
                    <a:pt x="758" y="271"/>
                  </a:cubicBezTo>
                  <a:cubicBezTo>
                    <a:pt x="758" y="271"/>
                    <a:pt x="758" y="272"/>
                    <a:pt x="758" y="272"/>
                  </a:cubicBezTo>
                  <a:cubicBezTo>
                    <a:pt x="759" y="274"/>
                    <a:pt x="761" y="276"/>
                    <a:pt x="762" y="278"/>
                  </a:cubicBezTo>
                  <a:cubicBezTo>
                    <a:pt x="762" y="278"/>
                    <a:pt x="762" y="278"/>
                    <a:pt x="763" y="279"/>
                  </a:cubicBezTo>
                  <a:cubicBezTo>
                    <a:pt x="763" y="280"/>
                    <a:pt x="764" y="281"/>
                    <a:pt x="765" y="282"/>
                  </a:cubicBezTo>
                  <a:cubicBezTo>
                    <a:pt x="765" y="282"/>
                    <a:pt x="765" y="283"/>
                    <a:pt x="765" y="283"/>
                  </a:cubicBezTo>
                  <a:cubicBezTo>
                    <a:pt x="765" y="283"/>
                    <a:pt x="766" y="284"/>
                    <a:pt x="766" y="284"/>
                  </a:cubicBezTo>
                  <a:cubicBezTo>
                    <a:pt x="766" y="285"/>
                    <a:pt x="766" y="285"/>
                    <a:pt x="767" y="285"/>
                  </a:cubicBezTo>
                  <a:cubicBezTo>
                    <a:pt x="767" y="286"/>
                    <a:pt x="767" y="287"/>
                    <a:pt x="768" y="287"/>
                  </a:cubicBezTo>
                  <a:cubicBezTo>
                    <a:pt x="768" y="288"/>
                    <a:pt x="768" y="288"/>
                    <a:pt x="768" y="288"/>
                  </a:cubicBezTo>
                  <a:cubicBezTo>
                    <a:pt x="769" y="289"/>
                    <a:pt x="769" y="289"/>
                    <a:pt x="769" y="290"/>
                  </a:cubicBezTo>
                  <a:cubicBezTo>
                    <a:pt x="769" y="290"/>
                    <a:pt x="770" y="291"/>
                    <a:pt x="770" y="291"/>
                  </a:cubicBezTo>
                  <a:cubicBezTo>
                    <a:pt x="770" y="292"/>
                    <a:pt x="770" y="292"/>
                    <a:pt x="770" y="292"/>
                  </a:cubicBezTo>
                  <a:cubicBezTo>
                    <a:pt x="770" y="292"/>
                    <a:pt x="771" y="293"/>
                    <a:pt x="771" y="293"/>
                  </a:cubicBezTo>
                  <a:cubicBezTo>
                    <a:pt x="771" y="293"/>
                    <a:pt x="771" y="293"/>
                    <a:pt x="771" y="294"/>
                  </a:cubicBezTo>
                  <a:cubicBezTo>
                    <a:pt x="771" y="294"/>
                    <a:pt x="771" y="294"/>
                    <a:pt x="771" y="295"/>
                  </a:cubicBezTo>
                  <a:cubicBezTo>
                    <a:pt x="772" y="295"/>
                    <a:pt x="772" y="295"/>
                    <a:pt x="772" y="296"/>
                  </a:cubicBezTo>
                  <a:cubicBezTo>
                    <a:pt x="772" y="296"/>
                    <a:pt x="772" y="296"/>
                    <a:pt x="772" y="297"/>
                  </a:cubicBezTo>
                  <a:cubicBezTo>
                    <a:pt x="773" y="298"/>
                    <a:pt x="774" y="300"/>
                    <a:pt x="774" y="301"/>
                  </a:cubicBezTo>
                  <a:cubicBezTo>
                    <a:pt x="774" y="302"/>
                    <a:pt x="774" y="302"/>
                    <a:pt x="774" y="302"/>
                  </a:cubicBezTo>
                  <a:cubicBezTo>
                    <a:pt x="774" y="303"/>
                    <a:pt x="775" y="304"/>
                    <a:pt x="775" y="304"/>
                  </a:cubicBezTo>
                  <a:cubicBezTo>
                    <a:pt x="775" y="305"/>
                    <a:pt x="775" y="305"/>
                    <a:pt x="775" y="305"/>
                  </a:cubicBezTo>
                  <a:cubicBezTo>
                    <a:pt x="775" y="306"/>
                    <a:pt x="775" y="306"/>
                    <a:pt x="775" y="307"/>
                  </a:cubicBezTo>
                  <a:cubicBezTo>
                    <a:pt x="775" y="308"/>
                    <a:pt x="775" y="309"/>
                    <a:pt x="775" y="310"/>
                  </a:cubicBezTo>
                  <a:cubicBezTo>
                    <a:pt x="774" y="310"/>
                    <a:pt x="774" y="311"/>
                    <a:pt x="774" y="311"/>
                  </a:cubicBezTo>
                  <a:cubicBezTo>
                    <a:pt x="774" y="312"/>
                    <a:pt x="774" y="312"/>
                    <a:pt x="773" y="312"/>
                  </a:cubicBezTo>
                  <a:cubicBezTo>
                    <a:pt x="773" y="313"/>
                    <a:pt x="772" y="314"/>
                    <a:pt x="771" y="315"/>
                  </a:cubicBezTo>
                  <a:cubicBezTo>
                    <a:pt x="770" y="315"/>
                    <a:pt x="769" y="316"/>
                    <a:pt x="768" y="316"/>
                  </a:cubicBezTo>
                  <a:cubicBezTo>
                    <a:pt x="766" y="317"/>
                    <a:pt x="762" y="317"/>
                    <a:pt x="759" y="317"/>
                  </a:cubicBezTo>
                  <a:cubicBezTo>
                    <a:pt x="754" y="317"/>
                    <a:pt x="748" y="316"/>
                    <a:pt x="741" y="315"/>
                  </a:cubicBezTo>
                  <a:cubicBezTo>
                    <a:pt x="739" y="315"/>
                    <a:pt x="738" y="315"/>
                    <a:pt x="736" y="314"/>
                  </a:cubicBezTo>
                  <a:cubicBezTo>
                    <a:pt x="736" y="314"/>
                    <a:pt x="735" y="314"/>
                    <a:pt x="734" y="314"/>
                  </a:cubicBezTo>
                  <a:cubicBezTo>
                    <a:pt x="734" y="314"/>
                    <a:pt x="733" y="314"/>
                    <a:pt x="732" y="313"/>
                  </a:cubicBezTo>
                  <a:cubicBezTo>
                    <a:pt x="729" y="313"/>
                    <a:pt x="725" y="312"/>
                    <a:pt x="722" y="311"/>
                  </a:cubicBezTo>
                  <a:cubicBezTo>
                    <a:pt x="721" y="311"/>
                    <a:pt x="721" y="311"/>
                    <a:pt x="721" y="311"/>
                  </a:cubicBezTo>
                  <a:cubicBezTo>
                    <a:pt x="720" y="311"/>
                    <a:pt x="719" y="310"/>
                    <a:pt x="719" y="310"/>
                  </a:cubicBezTo>
                  <a:cubicBezTo>
                    <a:pt x="718" y="310"/>
                    <a:pt x="716" y="310"/>
                    <a:pt x="715" y="309"/>
                  </a:cubicBezTo>
                  <a:cubicBezTo>
                    <a:pt x="714" y="309"/>
                    <a:pt x="713" y="309"/>
                    <a:pt x="712" y="308"/>
                  </a:cubicBezTo>
                  <a:cubicBezTo>
                    <a:pt x="711" y="308"/>
                    <a:pt x="709" y="308"/>
                    <a:pt x="707" y="307"/>
                  </a:cubicBezTo>
                  <a:cubicBezTo>
                    <a:pt x="707" y="307"/>
                    <a:pt x="706" y="307"/>
                    <a:pt x="706" y="307"/>
                  </a:cubicBezTo>
                  <a:cubicBezTo>
                    <a:pt x="705" y="306"/>
                    <a:pt x="705" y="306"/>
                    <a:pt x="704" y="306"/>
                  </a:cubicBezTo>
                  <a:cubicBezTo>
                    <a:pt x="703" y="306"/>
                    <a:pt x="701" y="305"/>
                    <a:pt x="700" y="305"/>
                  </a:cubicBezTo>
                  <a:cubicBezTo>
                    <a:pt x="699" y="305"/>
                    <a:pt x="698" y="304"/>
                    <a:pt x="698" y="304"/>
                  </a:cubicBezTo>
                  <a:cubicBezTo>
                    <a:pt x="698" y="304"/>
                    <a:pt x="698" y="304"/>
                    <a:pt x="698" y="304"/>
                  </a:cubicBezTo>
                  <a:cubicBezTo>
                    <a:pt x="696" y="304"/>
                    <a:pt x="694" y="303"/>
                    <a:pt x="692" y="302"/>
                  </a:cubicBezTo>
                  <a:cubicBezTo>
                    <a:pt x="691" y="302"/>
                    <a:pt x="690" y="302"/>
                    <a:pt x="690" y="302"/>
                  </a:cubicBezTo>
                  <a:cubicBezTo>
                    <a:pt x="690" y="302"/>
                    <a:pt x="690" y="302"/>
                    <a:pt x="690" y="302"/>
                  </a:cubicBezTo>
                  <a:cubicBezTo>
                    <a:pt x="689" y="302"/>
                    <a:pt x="689" y="302"/>
                    <a:pt x="689" y="302"/>
                  </a:cubicBezTo>
                  <a:cubicBezTo>
                    <a:pt x="688" y="302"/>
                    <a:pt x="687" y="301"/>
                    <a:pt x="687" y="301"/>
                  </a:cubicBezTo>
                  <a:cubicBezTo>
                    <a:pt x="682" y="300"/>
                    <a:pt x="677" y="299"/>
                    <a:pt x="672" y="298"/>
                  </a:cubicBezTo>
                  <a:cubicBezTo>
                    <a:pt x="671" y="298"/>
                    <a:pt x="671" y="298"/>
                    <a:pt x="670" y="298"/>
                  </a:cubicBezTo>
                  <a:cubicBezTo>
                    <a:pt x="668" y="298"/>
                    <a:pt x="666" y="297"/>
                    <a:pt x="664" y="297"/>
                  </a:cubicBezTo>
                  <a:cubicBezTo>
                    <a:pt x="663" y="297"/>
                    <a:pt x="662" y="297"/>
                    <a:pt x="661" y="297"/>
                  </a:cubicBezTo>
                  <a:cubicBezTo>
                    <a:pt x="657" y="296"/>
                    <a:pt x="652" y="296"/>
                    <a:pt x="647" y="295"/>
                  </a:cubicBezTo>
                  <a:cubicBezTo>
                    <a:pt x="647" y="295"/>
                    <a:pt x="646" y="295"/>
                    <a:pt x="645" y="295"/>
                  </a:cubicBezTo>
                  <a:cubicBezTo>
                    <a:pt x="638" y="295"/>
                    <a:pt x="632" y="294"/>
                    <a:pt x="624" y="294"/>
                  </a:cubicBezTo>
                  <a:cubicBezTo>
                    <a:pt x="624" y="294"/>
                    <a:pt x="623" y="294"/>
                    <a:pt x="622" y="294"/>
                  </a:cubicBezTo>
                  <a:cubicBezTo>
                    <a:pt x="621" y="294"/>
                    <a:pt x="620" y="294"/>
                    <a:pt x="619" y="295"/>
                  </a:cubicBezTo>
                  <a:cubicBezTo>
                    <a:pt x="619" y="295"/>
                    <a:pt x="619" y="295"/>
                    <a:pt x="619" y="295"/>
                  </a:cubicBezTo>
                  <a:cubicBezTo>
                    <a:pt x="617" y="295"/>
                    <a:pt x="615" y="295"/>
                    <a:pt x="613" y="295"/>
                  </a:cubicBezTo>
                  <a:cubicBezTo>
                    <a:pt x="612" y="295"/>
                    <a:pt x="611" y="295"/>
                    <a:pt x="610" y="295"/>
                  </a:cubicBezTo>
                  <a:cubicBezTo>
                    <a:pt x="607" y="295"/>
                    <a:pt x="605" y="295"/>
                    <a:pt x="602" y="295"/>
                  </a:cubicBezTo>
                  <a:cubicBezTo>
                    <a:pt x="601" y="295"/>
                    <a:pt x="600" y="295"/>
                    <a:pt x="599" y="295"/>
                  </a:cubicBezTo>
                  <a:cubicBezTo>
                    <a:pt x="597" y="296"/>
                    <a:pt x="595" y="296"/>
                    <a:pt x="593" y="296"/>
                  </a:cubicBezTo>
                  <a:cubicBezTo>
                    <a:pt x="592" y="296"/>
                    <a:pt x="591" y="296"/>
                    <a:pt x="590" y="296"/>
                  </a:cubicBezTo>
                  <a:cubicBezTo>
                    <a:pt x="585" y="297"/>
                    <a:pt x="580" y="297"/>
                    <a:pt x="576" y="298"/>
                  </a:cubicBezTo>
                  <a:cubicBezTo>
                    <a:pt x="575" y="298"/>
                    <a:pt x="574" y="298"/>
                    <a:pt x="574" y="298"/>
                  </a:cubicBezTo>
                  <a:cubicBezTo>
                    <a:pt x="573" y="298"/>
                    <a:pt x="572" y="298"/>
                    <a:pt x="571" y="298"/>
                  </a:cubicBezTo>
                  <a:cubicBezTo>
                    <a:pt x="570" y="298"/>
                    <a:pt x="570" y="298"/>
                    <a:pt x="569" y="298"/>
                  </a:cubicBezTo>
                  <a:cubicBezTo>
                    <a:pt x="569" y="298"/>
                    <a:pt x="569" y="298"/>
                    <a:pt x="569" y="299"/>
                  </a:cubicBezTo>
                  <a:cubicBezTo>
                    <a:pt x="567" y="299"/>
                    <a:pt x="566" y="299"/>
                    <a:pt x="565" y="299"/>
                  </a:cubicBezTo>
                  <a:cubicBezTo>
                    <a:pt x="562" y="299"/>
                    <a:pt x="559" y="300"/>
                    <a:pt x="556" y="300"/>
                  </a:cubicBezTo>
                  <a:cubicBezTo>
                    <a:pt x="555" y="301"/>
                    <a:pt x="553" y="301"/>
                    <a:pt x="552" y="301"/>
                  </a:cubicBezTo>
                  <a:cubicBezTo>
                    <a:pt x="549" y="302"/>
                    <a:pt x="546" y="302"/>
                    <a:pt x="543" y="303"/>
                  </a:cubicBezTo>
                  <a:cubicBezTo>
                    <a:pt x="542" y="303"/>
                    <a:pt x="541" y="303"/>
                    <a:pt x="540" y="303"/>
                  </a:cubicBezTo>
                  <a:cubicBezTo>
                    <a:pt x="540" y="303"/>
                    <a:pt x="539" y="303"/>
                    <a:pt x="539" y="303"/>
                  </a:cubicBezTo>
                  <a:cubicBezTo>
                    <a:pt x="538" y="304"/>
                    <a:pt x="538" y="304"/>
                    <a:pt x="538" y="304"/>
                  </a:cubicBezTo>
                  <a:cubicBezTo>
                    <a:pt x="537" y="304"/>
                    <a:pt x="537" y="304"/>
                    <a:pt x="536" y="304"/>
                  </a:cubicBezTo>
                  <a:cubicBezTo>
                    <a:pt x="536" y="304"/>
                    <a:pt x="536" y="304"/>
                    <a:pt x="536" y="304"/>
                  </a:cubicBezTo>
                  <a:cubicBezTo>
                    <a:pt x="535" y="304"/>
                    <a:pt x="535" y="304"/>
                    <a:pt x="534" y="304"/>
                  </a:cubicBezTo>
                  <a:cubicBezTo>
                    <a:pt x="533" y="305"/>
                    <a:pt x="531" y="305"/>
                    <a:pt x="530" y="305"/>
                  </a:cubicBezTo>
                  <a:cubicBezTo>
                    <a:pt x="529" y="305"/>
                    <a:pt x="529" y="305"/>
                    <a:pt x="528" y="306"/>
                  </a:cubicBezTo>
                  <a:cubicBezTo>
                    <a:pt x="527" y="306"/>
                    <a:pt x="525" y="306"/>
                    <a:pt x="524" y="307"/>
                  </a:cubicBezTo>
                  <a:cubicBezTo>
                    <a:pt x="523" y="307"/>
                    <a:pt x="523" y="307"/>
                    <a:pt x="523" y="307"/>
                  </a:cubicBezTo>
                  <a:cubicBezTo>
                    <a:pt x="520" y="307"/>
                    <a:pt x="518" y="308"/>
                    <a:pt x="515" y="308"/>
                  </a:cubicBezTo>
                  <a:cubicBezTo>
                    <a:pt x="504" y="311"/>
                    <a:pt x="493" y="314"/>
                    <a:pt x="481" y="317"/>
                  </a:cubicBezTo>
                  <a:cubicBezTo>
                    <a:pt x="481" y="317"/>
                    <a:pt x="480" y="317"/>
                    <a:pt x="480" y="318"/>
                  </a:cubicBezTo>
                  <a:cubicBezTo>
                    <a:pt x="471" y="320"/>
                    <a:pt x="462" y="323"/>
                    <a:pt x="453" y="326"/>
                  </a:cubicBezTo>
                  <a:cubicBezTo>
                    <a:pt x="452" y="326"/>
                    <a:pt x="452" y="326"/>
                    <a:pt x="451" y="326"/>
                  </a:cubicBezTo>
                  <a:cubicBezTo>
                    <a:pt x="447" y="328"/>
                    <a:pt x="443" y="329"/>
                    <a:pt x="440" y="330"/>
                  </a:cubicBezTo>
                  <a:cubicBezTo>
                    <a:pt x="439" y="330"/>
                    <a:pt x="439" y="330"/>
                    <a:pt x="438" y="331"/>
                  </a:cubicBezTo>
                  <a:cubicBezTo>
                    <a:pt x="427" y="335"/>
                    <a:pt x="415" y="339"/>
                    <a:pt x="403" y="343"/>
                  </a:cubicBezTo>
                  <a:cubicBezTo>
                    <a:pt x="403" y="344"/>
                    <a:pt x="402" y="344"/>
                    <a:pt x="402" y="344"/>
                  </a:cubicBezTo>
                  <a:cubicBezTo>
                    <a:pt x="398" y="345"/>
                    <a:pt x="394" y="347"/>
                    <a:pt x="391" y="348"/>
                  </a:cubicBezTo>
                  <a:cubicBezTo>
                    <a:pt x="390" y="348"/>
                    <a:pt x="389" y="349"/>
                    <a:pt x="389" y="349"/>
                  </a:cubicBezTo>
                  <a:cubicBezTo>
                    <a:pt x="387" y="350"/>
                    <a:pt x="386" y="350"/>
                    <a:pt x="384" y="351"/>
                  </a:cubicBezTo>
                  <a:cubicBezTo>
                    <a:pt x="384" y="351"/>
                    <a:pt x="384" y="351"/>
                    <a:pt x="384" y="351"/>
                  </a:cubicBezTo>
                  <a:cubicBezTo>
                    <a:pt x="374" y="355"/>
                    <a:pt x="365" y="359"/>
                    <a:pt x="355" y="363"/>
                  </a:cubicBezTo>
                  <a:cubicBezTo>
                    <a:pt x="355" y="363"/>
                    <a:pt x="355" y="363"/>
                    <a:pt x="355" y="363"/>
                  </a:cubicBezTo>
                  <a:cubicBezTo>
                    <a:pt x="354" y="363"/>
                    <a:pt x="354" y="363"/>
                    <a:pt x="354" y="364"/>
                  </a:cubicBezTo>
                  <a:cubicBezTo>
                    <a:pt x="353" y="364"/>
                    <a:pt x="353" y="364"/>
                    <a:pt x="352" y="364"/>
                  </a:cubicBezTo>
                  <a:cubicBezTo>
                    <a:pt x="352" y="364"/>
                    <a:pt x="351" y="365"/>
                    <a:pt x="351" y="365"/>
                  </a:cubicBezTo>
                  <a:cubicBezTo>
                    <a:pt x="350" y="365"/>
                    <a:pt x="349" y="366"/>
                    <a:pt x="348" y="366"/>
                  </a:cubicBezTo>
                  <a:cubicBezTo>
                    <a:pt x="348" y="366"/>
                    <a:pt x="348" y="366"/>
                    <a:pt x="347" y="367"/>
                  </a:cubicBezTo>
                  <a:cubicBezTo>
                    <a:pt x="347" y="367"/>
                    <a:pt x="347" y="367"/>
                    <a:pt x="347" y="367"/>
                  </a:cubicBezTo>
                  <a:cubicBezTo>
                    <a:pt x="346" y="367"/>
                    <a:pt x="346" y="367"/>
                    <a:pt x="345" y="367"/>
                  </a:cubicBezTo>
                  <a:cubicBezTo>
                    <a:pt x="343" y="368"/>
                    <a:pt x="341" y="369"/>
                    <a:pt x="339" y="370"/>
                  </a:cubicBezTo>
                  <a:cubicBezTo>
                    <a:pt x="338" y="370"/>
                    <a:pt x="338" y="371"/>
                    <a:pt x="337" y="371"/>
                  </a:cubicBezTo>
                  <a:cubicBezTo>
                    <a:pt x="336" y="371"/>
                    <a:pt x="335" y="372"/>
                    <a:pt x="334" y="373"/>
                  </a:cubicBezTo>
                  <a:cubicBezTo>
                    <a:pt x="328" y="375"/>
                    <a:pt x="322" y="378"/>
                    <a:pt x="317" y="381"/>
                  </a:cubicBezTo>
                  <a:cubicBezTo>
                    <a:pt x="315" y="381"/>
                    <a:pt x="313" y="382"/>
                    <a:pt x="312" y="383"/>
                  </a:cubicBezTo>
                  <a:cubicBezTo>
                    <a:pt x="311" y="383"/>
                    <a:pt x="311" y="383"/>
                    <a:pt x="310" y="384"/>
                  </a:cubicBezTo>
                  <a:cubicBezTo>
                    <a:pt x="308" y="385"/>
                    <a:pt x="305" y="386"/>
                    <a:pt x="303" y="387"/>
                  </a:cubicBezTo>
                  <a:cubicBezTo>
                    <a:pt x="302" y="387"/>
                    <a:pt x="302" y="388"/>
                    <a:pt x="302" y="388"/>
                  </a:cubicBezTo>
                  <a:cubicBezTo>
                    <a:pt x="299" y="389"/>
                    <a:pt x="296" y="391"/>
                    <a:pt x="293" y="392"/>
                  </a:cubicBezTo>
                  <a:cubicBezTo>
                    <a:pt x="293" y="392"/>
                    <a:pt x="292" y="392"/>
                    <a:pt x="292" y="393"/>
                  </a:cubicBezTo>
                  <a:cubicBezTo>
                    <a:pt x="290" y="393"/>
                    <a:pt x="289" y="394"/>
                    <a:pt x="287" y="395"/>
                  </a:cubicBezTo>
                  <a:cubicBezTo>
                    <a:pt x="286" y="396"/>
                    <a:pt x="286" y="396"/>
                    <a:pt x="285" y="396"/>
                  </a:cubicBezTo>
                  <a:cubicBezTo>
                    <a:pt x="282" y="398"/>
                    <a:pt x="279" y="399"/>
                    <a:pt x="276" y="401"/>
                  </a:cubicBezTo>
                  <a:cubicBezTo>
                    <a:pt x="276" y="401"/>
                    <a:pt x="275" y="401"/>
                    <a:pt x="275" y="401"/>
                  </a:cubicBezTo>
                  <a:cubicBezTo>
                    <a:pt x="274" y="402"/>
                    <a:pt x="273" y="402"/>
                    <a:pt x="272" y="403"/>
                  </a:cubicBezTo>
                  <a:cubicBezTo>
                    <a:pt x="272" y="403"/>
                    <a:pt x="272" y="403"/>
                    <a:pt x="271" y="403"/>
                  </a:cubicBezTo>
                  <a:cubicBezTo>
                    <a:pt x="271" y="403"/>
                    <a:pt x="271" y="404"/>
                    <a:pt x="270" y="404"/>
                  </a:cubicBezTo>
                  <a:cubicBezTo>
                    <a:pt x="270" y="404"/>
                    <a:pt x="270" y="404"/>
                    <a:pt x="269" y="404"/>
                  </a:cubicBezTo>
                  <a:cubicBezTo>
                    <a:pt x="269" y="405"/>
                    <a:pt x="269" y="405"/>
                    <a:pt x="268" y="405"/>
                  </a:cubicBezTo>
                  <a:cubicBezTo>
                    <a:pt x="268" y="405"/>
                    <a:pt x="267" y="406"/>
                    <a:pt x="267" y="406"/>
                  </a:cubicBezTo>
                  <a:cubicBezTo>
                    <a:pt x="266" y="406"/>
                    <a:pt x="266" y="406"/>
                    <a:pt x="266" y="406"/>
                  </a:cubicBezTo>
                  <a:cubicBezTo>
                    <a:pt x="262" y="408"/>
                    <a:pt x="258" y="410"/>
                    <a:pt x="254" y="413"/>
                  </a:cubicBezTo>
                  <a:cubicBezTo>
                    <a:pt x="254" y="413"/>
                    <a:pt x="253" y="413"/>
                    <a:pt x="253" y="413"/>
                  </a:cubicBezTo>
                  <a:cubicBezTo>
                    <a:pt x="252" y="414"/>
                    <a:pt x="251" y="414"/>
                    <a:pt x="251" y="414"/>
                  </a:cubicBezTo>
                  <a:cubicBezTo>
                    <a:pt x="250" y="415"/>
                    <a:pt x="250" y="415"/>
                    <a:pt x="249" y="415"/>
                  </a:cubicBezTo>
                  <a:cubicBezTo>
                    <a:pt x="249" y="415"/>
                    <a:pt x="249" y="415"/>
                    <a:pt x="249" y="415"/>
                  </a:cubicBezTo>
                  <a:cubicBezTo>
                    <a:pt x="249" y="415"/>
                    <a:pt x="248" y="416"/>
                    <a:pt x="248" y="416"/>
                  </a:cubicBezTo>
                  <a:cubicBezTo>
                    <a:pt x="247" y="416"/>
                    <a:pt x="247" y="417"/>
                    <a:pt x="246" y="417"/>
                  </a:cubicBezTo>
                  <a:cubicBezTo>
                    <a:pt x="246" y="417"/>
                    <a:pt x="245" y="417"/>
                    <a:pt x="245" y="418"/>
                  </a:cubicBezTo>
                  <a:cubicBezTo>
                    <a:pt x="245" y="418"/>
                    <a:pt x="244" y="418"/>
                    <a:pt x="244" y="418"/>
                  </a:cubicBezTo>
                  <a:cubicBezTo>
                    <a:pt x="241" y="420"/>
                    <a:pt x="238" y="421"/>
                    <a:pt x="236" y="423"/>
                  </a:cubicBezTo>
                  <a:cubicBezTo>
                    <a:pt x="235" y="423"/>
                    <a:pt x="235" y="423"/>
                    <a:pt x="234" y="424"/>
                  </a:cubicBezTo>
                  <a:cubicBezTo>
                    <a:pt x="226" y="429"/>
                    <a:pt x="217" y="433"/>
                    <a:pt x="209" y="439"/>
                  </a:cubicBezTo>
                  <a:cubicBezTo>
                    <a:pt x="208" y="439"/>
                    <a:pt x="208" y="439"/>
                    <a:pt x="208" y="439"/>
                  </a:cubicBezTo>
                  <a:cubicBezTo>
                    <a:pt x="199" y="444"/>
                    <a:pt x="191" y="449"/>
                    <a:pt x="183" y="454"/>
                  </a:cubicBezTo>
                  <a:cubicBezTo>
                    <a:pt x="183" y="455"/>
                    <a:pt x="182" y="455"/>
                    <a:pt x="182" y="455"/>
                  </a:cubicBezTo>
                  <a:cubicBezTo>
                    <a:pt x="174" y="460"/>
                    <a:pt x="166" y="465"/>
                    <a:pt x="159" y="470"/>
                  </a:cubicBezTo>
                  <a:cubicBezTo>
                    <a:pt x="158" y="471"/>
                    <a:pt x="158" y="471"/>
                    <a:pt x="158" y="471"/>
                  </a:cubicBezTo>
                  <a:cubicBezTo>
                    <a:pt x="65" y="534"/>
                    <a:pt x="0" y="598"/>
                    <a:pt x="0" y="637"/>
                  </a:cubicBezTo>
                  <a:cubicBezTo>
                    <a:pt x="0" y="659"/>
                    <a:pt x="21" y="672"/>
                    <a:pt x="70" y="672"/>
                  </a:cubicBezTo>
                  <a:cubicBezTo>
                    <a:pt x="79" y="672"/>
                    <a:pt x="88" y="672"/>
                    <a:pt x="99" y="671"/>
                  </a:cubicBezTo>
                  <a:cubicBezTo>
                    <a:pt x="124" y="669"/>
                    <a:pt x="149" y="665"/>
                    <a:pt x="176" y="660"/>
                  </a:cubicBezTo>
                  <a:cubicBezTo>
                    <a:pt x="179" y="660"/>
                    <a:pt x="183" y="659"/>
                    <a:pt x="186" y="658"/>
                  </a:cubicBezTo>
                  <a:cubicBezTo>
                    <a:pt x="194" y="657"/>
                    <a:pt x="201" y="655"/>
                    <a:pt x="209" y="654"/>
                  </a:cubicBezTo>
                  <a:cubicBezTo>
                    <a:pt x="210" y="653"/>
                    <a:pt x="212" y="653"/>
                    <a:pt x="214" y="652"/>
                  </a:cubicBezTo>
                  <a:cubicBezTo>
                    <a:pt x="217" y="652"/>
                    <a:pt x="219" y="651"/>
                    <a:pt x="222" y="651"/>
                  </a:cubicBezTo>
                  <a:cubicBezTo>
                    <a:pt x="222" y="651"/>
                    <a:pt x="223" y="650"/>
                    <a:pt x="224" y="650"/>
                  </a:cubicBezTo>
                  <a:cubicBezTo>
                    <a:pt x="228" y="649"/>
                    <a:pt x="232" y="648"/>
                    <a:pt x="237" y="647"/>
                  </a:cubicBezTo>
                  <a:cubicBezTo>
                    <a:pt x="238" y="647"/>
                    <a:pt x="239" y="647"/>
                    <a:pt x="240" y="646"/>
                  </a:cubicBezTo>
                  <a:cubicBezTo>
                    <a:pt x="248" y="644"/>
                    <a:pt x="256" y="642"/>
                    <a:pt x="263" y="640"/>
                  </a:cubicBezTo>
                  <a:cubicBezTo>
                    <a:pt x="264" y="640"/>
                    <a:pt x="265" y="640"/>
                    <a:pt x="265" y="640"/>
                  </a:cubicBezTo>
                  <a:cubicBezTo>
                    <a:pt x="267" y="639"/>
                    <a:pt x="270" y="639"/>
                    <a:pt x="272" y="638"/>
                  </a:cubicBezTo>
                  <a:cubicBezTo>
                    <a:pt x="273" y="638"/>
                    <a:pt x="274" y="638"/>
                    <a:pt x="275" y="637"/>
                  </a:cubicBezTo>
                  <a:cubicBezTo>
                    <a:pt x="285" y="634"/>
                    <a:pt x="296" y="631"/>
                    <a:pt x="307" y="628"/>
                  </a:cubicBezTo>
                  <a:cubicBezTo>
                    <a:pt x="308" y="628"/>
                    <a:pt x="309" y="628"/>
                    <a:pt x="310" y="627"/>
                  </a:cubicBezTo>
                  <a:cubicBezTo>
                    <a:pt x="310" y="627"/>
                    <a:pt x="310" y="627"/>
                    <a:pt x="310" y="627"/>
                  </a:cubicBezTo>
                  <a:cubicBezTo>
                    <a:pt x="311" y="627"/>
                    <a:pt x="312" y="627"/>
                    <a:pt x="312" y="627"/>
                  </a:cubicBezTo>
                  <a:cubicBezTo>
                    <a:pt x="320" y="624"/>
                    <a:pt x="328" y="622"/>
                    <a:pt x="337" y="619"/>
                  </a:cubicBezTo>
                  <a:cubicBezTo>
                    <a:pt x="337" y="619"/>
                    <a:pt x="338" y="619"/>
                    <a:pt x="339" y="619"/>
                  </a:cubicBezTo>
                  <a:cubicBezTo>
                    <a:pt x="347" y="616"/>
                    <a:pt x="356" y="613"/>
                    <a:pt x="365" y="611"/>
                  </a:cubicBezTo>
                  <a:cubicBezTo>
                    <a:pt x="365" y="610"/>
                    <a:pt x="366" y="610"/>
                    <a:pt x="366" y="610"/>
                  </a:cubicBezTo>
                  <a:cubicBezTo>
                    <a:pt x="367" y="610"/>
                    <a:pt x="368" y="609"/>
                    <a:pt x="369" y="609"/>
                  </a:cubicBezTo>
                  <a:cubicBezTo>
                    <a:pt x="370" y="609"/>
                    <a:pt x="370" y="609"/>
                    <a:pt x="371" y="608"/>
                  </a:cubicBezTo>
                  <a:cubicBezTo>
                    <a:pt x="381" y="605"/>
                    <a:pt x="392" y="602"/>
                    <a:pt x="402" y="598"/>
                  </a:cubicBezTo>
                  <a:cubicBezTo>
                    <a:pt x="403" y="598"/>
                    <a:pt x="403" y="598"/>
                    <a:pt x="404" y="598"/>
                  </a:cubicBezTo>
                  <a:cubicBezTo>
                    <a:pt x="414" y="594"/>
                    <a:pt x="425" y="591"/>
                    <a:pt x="435" y="587"/>
                  </a:cubicBezTo>
                  <a:cubicBezTo>
                    <a:pt x="436" y="587"/>
                    <a:pt x="436" y="587"/>
                    <a:pt x="437" y="587"/>
                  </a:cubicBezTo>
                  <a:cubicBezTo>
                    <a:pt x="437" y="586"/>
                    <a:pt x="438" y="586"/>
                    <a:pt x="438" y="586"/>
                  </a:cubicBezTo>
                  <a:cubicBezTo>
                    <a:pt x="439" y="586"/>
                    <a:pt x="439" y="586"/>
                    <a:pt x="440" y="586"/>
                  </a:cubicBezTo>
                  <a:cubicBezTo>
                    <a:pt x="448" y="583"/>
                    <a:pt x="456" y="580"/>
                    <a:pt x="464" y="577"/>
                  </a:cubicBezTo>
                  <a:cubicBezTo>
                    <a:pt x="464" y="577"/>
                    <a:pt x="465" y="577"/>
                    <a:pt x="465" y="577"/>
                  </a:cubicBezTo>
                  <a:cubicBezTo>
                    <a:pt x="471" y="575"/>
                    <a:pt x="476" y="573"/>
                    <a:pt x="482" y="571"/>
                  </a:cubicBezTo>
                  <a:cubicBezTo>
                    <a:pt x="482" y="571"/>
                    <a:pt x="483" y="571"/>
                    <a:pt x="484" y="571"/>
                  </a:cubicBezTo>
                  <a:cubicBezTo>
                    <a:pt x="489" y="569"/>
                    <a:pt x="495" y="567"/>
                    <a:pt x="500" y="565"/>
                  </a:cubicBezTo>
                  <a:cubicBezTo>
                    <a:pt x="501" y="565"/>
                    <a:pt x="501" y="564"/>
                    <a:pt x="502" y="564"/>
                  </a:cubicBezTo>
                  <a:cubicBezTo>
                    <a:pt x="507" y="562"/>
                    <a:pt x="513" y="560"/>
                    <a:pt x="518" y="559"/>
                  </a:cubicBezTo>
                  <a:cubicBezTo>
                    <a:pt x="519" y="558"/>
                    <a:pt x="520" y="558"/>
                    <a:pt x="520" y="558"/>
                  </a:cubicBezTo>
                  <a:cubicBezTo>
                    <a:pt x="521" y="558"/>
                    <a:pt x="521" y="558"/>
                    <a:pt x="521" y="558"/>
                  </a:cubicBezTo>
                  <a:cubicBezTo>
                    <a:pt x="526" y="556"/>
                    <a:pt x="532" y="554"/>
                    <a:pt x="537" y="552"/>
                  </a:cubicBezTo>
                  <a:cubicBezTo>
                    <a:pt x="538" y="552"/>
                    <a:pt x="539" y="552"/>
                    <a:pt x="539" y="551"/>
                  </a:cubicBezTo>
                  <a:cubicBezTo>
                    <a:pt x="545" y="549"/>
                    <a:pt x="551" y="547"/>
                    <a:pt x="557" y="545"/>
                  </a:cubicBezTo>
                  <a:cubicBezTo>
                    <a:pt x="558" y="545"/>
                    <a:pt x="558" y="545"/>
                    <a:pt x="559" y="545"/>
                  </a:cubicBezTo>
                  <a:cubicBezTo>
                    <a:pt x="565" y="543"/>
                    <a:pt x="571" y="540"/>
                    <a:pt x="578" y="538"/>
                  </a:cubicBezTo>
                  <a:cubicBezTo>
                    <a:pt x="578" y="538"/>
                    <a:pt x="579" y="538"/>
                    <a:pt x="579" y="538"/>
                  </a:cubicBezTo>
                  <a:cubicBezTo>
                    <a:pt x="586" y="535"/>
                    <a:pt x="593" y="533"/>
                    <a:pt x="600" y="531"/>
                  </a:cubicBezTo>
                  <a:cubicBezTo>
                    <a:pt x="600" y="531"/>
                    <a:pt x="600" y="531"/>
                    <a:pt x="601" y="531"/>
                  </a:cubicBezTo>
                  <a:cubicBezTo>
                    <a:pt x="601" y="530"/>
                    <a:pt x="601" y="530"/>
                    <a:pt x="601" y="530"/>
                  </a:cubicBezTo>
                  <a:cubicBezTo>
                    <a:pt x="602" y="530"/>
                    <a:pt x="602" y="530"/>
                    <a:pt x="603" y="530"/>
                  </a:cubicBezTo>
                  <a:cubicBezTo>
                    <a:pt x="612" y="527"/>
                    <a:pt x="620" y="524"/>
                    <a:pt x="629" y="521"/>
                  </a:cubicBezTo>
                  <a:cubicBezTo>
                    <a:pt x="629" y="521"/>
                    <a:pt x="630" y="521"/>
                    <a:pt x="631" y="521"/>
                  </a:cubicBezTo>
                  <a:cubicBezTo>
                    <a:pt x="648" y="515"/>
                    <a:pt x="664" y="510"/>
                    <a:pt x="681" y="506"/>
                  </a:cubicBezTo>
                  <a:cubicBezTo>
                    <a:pt x="681" y="506"/>
                    <a:pt x="681" y="505"/>
                    <a:pt x="682" y="505"/>
                  </a:cubicBezTo>
                  <a:cubicBezTo>
                    <a:pt x="683" y="505"/>
                    <a:pt x="684" y="505"/>
                    <a:pt x="685" y="504"/>
                  </a:cubicBezTo>
                  <a:cubicBezTo>
                    <a:pt x="686" y="504"/>
                    <a:pt x="686" y="504"/>
                    <a:pt x="687" y="504"/>
                  </a:cubicBezTo>
                  <a:cubicBezTo>
                    <a:pt x="693" y="502"/>
                    <a:pt x="700" y="500"/>
                    <a:pt x="706" y="499"/>
                  </a:cubicBezTo>
                  <a:cubicBezTo>
                    <a:pt x="706" y="498"/>
                    <a:pt x="707" y="498"/>
                    <a:pt x="708" y="498"/>
                  </a:cubicBezTo>
                  <a:cubicBezTo>
                    <a:pt x="709" y="498"/>
                    <a:pt x="711" y="497"/>
                    <a:pt x="712" y="497"/>
                  </a:cubicBezTo>
                  <a:cubicBezTo>
                    <a:pt x="712" y="497"/>
                    <a:pt x="713" y="497"/>
                    <a:pt x="713" y="497"/>
                  </a:cubicBezTo>
                  <a:cubicBezTo>
                    <a:pt x="716" y="496"/>
                    <a:pt x="719" y="495"/>
                    <a:pt x="722" y="495"/>
                  </a:cubicBezTo>
                  <a:cubicBezTo>
                    <a:pt x="722" y="494"/>
                    <a:pt x="723" y="494"/>
                    <a:pt x="723" y="494"/>
                  </a:cubicBezTo>
                  <a:cubicBezTo>
                    <a:pt x="723" y="494"/>
                    <a:pt x="724" y="494"/>
                    <a:pt x="724" y="494"/>
                  </a:cubicBezTo>
                  <a:cubicBezTo>
                    <a:pt x="725" y="494"/>
                    <a:pt x="726" y="493"/>
                    <a:pt x="727" y="493"/>
                  </a:cubicBezTo>
                  <a:cubicBezTo>
                    <a:pt x="727" y="493"/>
                    <a:pt x="728" y="493"/>
                    <a:pt x="729" y="493"/>
                  </a:cubicBezTo>
                  <a:cubicBezTo>
                    <a:pt x="733" y="492"/>
                    <a:pt x="737" y="491"/>
                    <a:pt x="741" y="490"/>
                  </a:cubicBezTo>
                  <a:cubicBezTo>
                    <a:pt x="742" y="490"/>
                    <a:pt x="743" y="489"/>
                    <a:pt x="743" y="489"/>
                  </a:cubicBezTo>
                  <a:cubicBezTo>
                    <a:pt x="747" y="489"/>
                    <a:pt x="750" y="488"/>
                    <a:pt x="754" y="487"/>
                  </a:cubicBezTo>
                  <a:cubicBezTo>
                    <a:pt x="754" y="487"/>
                    <a:pt x="754" y="487"/>
                    <a:pt x="755" y="487"/>
                  </a:cubicBezTo>
                  <a:cubicBezTo>
                    <a:pt x="765" y="485"/>
                    <a:pt x="775" y="483"/>
                    <a:pt x="785" y="481"/>
                  </a:cubicBezTo>
                  <a:cubicBezTo>
                    <a:pt x="786" y="481"/>
                    <a:pt x="787" y="481"/>
                    <a:pt x="788" y="481"/>
                  </a:cubicBezTo>
                  <a:cubicBezTo>
                    <a:pt x="793" y="480"/>
                    <a:pt x="798" y="479"/>
                    <a:pt x="803" y="479"/>
                  </a:cubicBezTo>
                  <a:cubicBezTo>
                    <a:pt x="803" y="479"/>
                    <a:pt x="804" y="479"/>
                    <a:pt x="804" y="479"/>
                  </a:cubicBezTo>
                  <a:cubicBezTo>
                    <a:pt x="811" y="478"/>
                    <a:pt x="818" y="477"/>
                    <a:pt x="825" y="477"/>
                  </a:cubicBezTo>
                  <a:cubicBezTo>
                    <a:pt x="826" y="477"/>
                    <a:pt x="827" y="477"/>
                    <a:pt x="828" y="477"/>
                  </a:cubicBezTo>
                  <a:cubicBezTo>
                    <a:pt x="832" y="476"/>
                    <a:pt x="837" y="476"/>
                    <a:pt x="842" y="476"/>
                  </a:cubicBezTo>
                  <a:cubicBezTo>
                    <a:pt x="852" y="476"/>
                    <a:pt x="863" y="477"/>
                    <a:pt x="872" y="478"/>
                  </a:cubicBezTo>
                  <a:cubicBezTo>
                    <a:pt x="873" y="479"/>
                    <a:pt x="873" y="479"/>
                    <a:pt x="874" y="479"/>
                  </a:cubicBezTo>
                  <a:cubicBezTo>
                    <a:pt x="874" y="479"/>
                    <a:pt x="874" y="479"/>
                    <a:pt x="875" y="479"/>
                  </a:cubicBezTo>
                  <a:cubicBezTo>
                    <a:pt x="877" y="479"/>
                    <a:pt x="879" y="480"/>
                    <a:pt x="881" y="480"/>
                  </a:cubicBezTo>
                  <a:cubicBezTo>
                    <a:pt x="881" y="480"/>
                    <a:pt x="882" y="480"/>
                    <a:pt x="882" y="480"/>
                  </a:cubicBezTo>
                  <a:cubicBezTo>
                    <a:pt x="889" y="482"/>
                    <a:pt x="896" y="484"/>
                    <a:pt x="902" y="486"/>
                  </a:cubicBezTo>
                  <a:cubicBezTo>
                    <a:pt x="904" y="487"/>
                    <a:pt x="906" y="488"/>
                    <a:pt x="908" y="489"/>
                  </a:cubicBezTo>
                  <a:cubicBezTo>
                    <a:pt x="909" y="490"/>
                    <a:pt x="911" y="490"/>
                    <a:pt x="913" y="491"/>
                  </a:cubicBezTo>
                  <a:cubicBezTo>
                    <a:pt x="914" y="492"/>
                    <a:pt x="914" y="492"/>
                    <a:pt x="915" y="493"/>
                  </a:cubicBezTo>
                  <a:cubicBezTo>
                    <a:pt x="918" y="494"/>
                    <a:pt x="921" y="496"/>
                    <a:pt x="923" y="498"/>
                  </a:cubicBezTo>
                  <a:cubicBezTo>
                    <a:pt x="924" y="498"/>
                    <a:pt x="924" y="499"/>
                    <a:pt x="925" y="499"/>
                  </a:cubicBezTo>
                  <a:cubicBezTo>
                    <a:pt x="925" y="499"/>
                    <a:pt x="925" y="499"/>
                    <a:pt x="925" y="499"/>
                  </a:cubicBezTo>
                  <a:cubicBezTo>
                    <a:pt x="927" y="501"/>
                    <a:pt x="928" y="502"/>
                    <a:pt x="929" y="503"/>
                  </a:cubicBezTo>
                  <a:cubicBezTo>
                    <a:pt x="930" y="503"/>
                    <a:pt x="930" y="504"/>
                    <a:pt x="931" y="504"/>
                  </a:cubicBezTo>
                  <a:cubicBezTo>
                    <a:pt x="932" y="506"/>
                    <a:pt x="934" y="507"/>
                    <a:pt x="935" y="509"/>
                  </a:cubicBezTo>
                  <a:cubicBezTo>
                    <a:pt x="935" y="509"/>
                    <a:pt x="936" y="509"/>
                    <a:pt x="936" y="510"/>
                  </a:cubicBezTo>
                  <a:cubicBezTo>
                    <a:pt x="937" y="511"/>
                    <a:pt x="939" y="513"/>
                    <a:pt x="940" y="514"/>
                  </a:cubicBezTo>
                  <a:cubicBezTo>
                    <a:pt x="940" y="515"/>
                    <a:pt x="940" y="515"/>
                    <a:pt x="941" y="515"/>
                  </a:cubicBezTo>
                  <a:cubicBezTo>
                    <a:pt x="942" y="517"/>
                    <a:pt x="944" y="519"/>
                    <a:pt x="945" y="522"/>
                  </a:cubicBezTo>
                  <a:cubicBezTo>
                    <a:pt x="945" y="522"/>
                    <a:pt x="945" y="522"/>
                    <a:pt x="946" y="523"/>
                  </a:cubicBezTo>
                  <a:cubicBezTo>
                    <a:pt x="947" y="525"/>
                    <a:pt x="948" y="527"/>
                    <a:pt x="949" y="529"/>
                  </a:cubicBezTo>
                  <a:cubicBezTo>
                    <a:pt x="949" y="530"/>
                    <a:pt x="950" y="530"/>
                    <a:pt x="950" y="530"/>
                  </a:cubicBezTo>
                  <a:cubicBezTo>
                    <a:pt x="950" y="531"/>
                    <a:pt x="950" y="531"/>
                    <a:pt x="950" y="531"/>
                  </a:cubicBezTo>
                  <a:cubicBezTo>
                    <a:pt x="950" y="531"/>
                    <a:pt x="950" y="532"/>
                    <a:pt x="951" y="532"/>
                  </a:cubicBezTo>
                  <a:cubicBezTo>
                    <a:pt x="951" y="534"/>
                    <a:pt x="952" y="535"/>
                    <a:pt x="953" y="537"/>
                  </a:cubicBezTo>
                  <a:cubicBezTo>
                    <a:pt x="953" y="537"/>
                    <a:pt x="953" y="538"/>
                    <a:pt x="953" y="538"/>
                  </a:cubicBezTo>
                  <a:cubicBezTo>
                    <a:pt x="954" y="539"/>
                    <a:pt x="954" y="541"/>
                    <a:pt x="955" y="542"/>
                  </a:cubicBezTo>
                  <a:cubicBezTo>
                    <a:pt x="955" y="543"/>
                    <a:pt x="955" y="543"/>
                    <a:pt x="955" y="543"/>
                  </a:cubicBezTo>
                  <a:cubicBezTo>
                    <a:pt x="955" y="544"/>
                    <a:pt x="955" y="544"/>
                    <a:pt x="955" y="544"/>
                  </a:cubicBezTo>
                  <a:cubicBezTo>
                    <a:pt x="955" y="544"/>
                    <a:pt x="955" y="544"/>
                    <a:pt x="955" y="545"/>
                  </a:cubicBezTo>
                  <a:cubicBezTo>
                    <a:pt x="956" y="545"/>
                    <a:pt x="956" y="545"/>
                    <a:pt x="956" y="546"/>
                  </a:cubicBezTo>
                  <a:cubicBezTo>
                    <a:pt x="956" y="546"/>
                    <a:pt x="956" y="546"/>
                    <a:pt x="956" y="547"/>
                  </a:cubicBezTo>
                  <a:cubicBezTo>
                    <a:pt x="956" y="547"/>
                    <a:pt x="956" y="548"/>
                    <a:pt x="956" y="548"/>
                  </a:cubicBezTo>
                  <a:cubicBezTo>
                    <a:pt x="957" y="549"/>
                    <a:pt x="957" y="550"/>
                    <a:pt x="957" y="551"/>
                  </a:cubicBezTo>
                  <a:cubicBezTo>
                    <a:pt x="957" y="551"/>
                    <a:pt x="957" y="551"/>
                    <a:pt x="958" y="552"/>
                  </a:cubicBezTo>
                  <a:cubicBezTo>
                    <a:pt x="958" y="553"/>
                    <a:pt x="958" y="554"/>
                    <a:pt x="959" y="556"/>
                  </a:cubicBezTo>
                  <a:cubicBezTo>
                    <a:pt x="959" y="556"/>
                    <a:pt x="959" y="557"/>
                    <a:pt x="959" y="557"/>
                  </a:cubicBezTo>
                  <a:cubicBezTo>
                    <a:pt x="959" y="557"/>
                    <a:pt x="959" y="558"/>
                    <a:pt x="959" y="558"/>
                  </a:cubicBezTo>
                  <a:cubicBezTo>
                    <a:pt x="959" y="559"/>
                    <a:pt x="959" y="559"/>
                    <a:pt x="959" y="559"/>
                  </a:cubicBezTo>
                  <a:cubicBezTo>
                    <a:pt x="960" y="561"/>
                    <a:pt x="960" y="562"/>
                    <a:pt x="960" y="563"/>
                  </a:cubicBezTo>
                  <a:cubicBezTo>
                    <a:pt x="960" y="564"/>
                    <a:pt x="960" y="564"/>
                    <a:pt x="960" y="564"/>
                  </a:cubicBezTo>
                  <a:cubicBezTo>
                    <a:pt x="961" y="566"/>
                    <a:pt x="961" y="568"/>
                    <a:pt x="961" y="570"/>
                  </a:cubicBezTo>
                  <a:cubicBezTo>
                    <a:pt x="961" y="571"/>
                    <a:pt x="961" y="571"/>
                    <a:pt x="961" y="571"/>
                  </a:cubicBezTo>
                  <a:cubicBezTo>
                    <a:pt x="961" y="572"/>
                    <a:pt x="961" y="572"/>
                    <a:pt x="962" y="573"/>
                  </a:cubicBezTo>
                  <a:cubicBezTo>
                    <a:pt x="962" y="573"/>
                    <a:pt x="962" y="574"/>
                    <a:pt x="962" y="574"/>
                  </a:cubicBezTo>
                  <a:cubicBezTo>
                    <a:pt x="962" y="575"/>
                    <a:pt x="962" y="575"/>
                    <a:pt x="962" y="575"/>
                  </a:cubicBezTo>
                  <a:cubicBezTo>
                    <a:pt x="962" y="576"/>
                    <a:pt x="962" y="576"/>
                    <a:pt x="962" y="576"/>
                  </a:cubicBezTo>
                  <a:cubicBezTo>
                    <a:pt x="962" y="577"/>
                    <a:pt x="962" y="577"/>
                    <a:pt x="962" y="577"/>
                  </a:cubicBezTo>
                  <a:cubicBezTo>
                    <a:pt x="962" y="580"/>
                    <a:pt x="962" y="582"/>
                    <a:pt x="963" y="585"/>
                  </a:cubicBezTo>
                  <a:cubicBezTo>
                    <a:pt x="963" y="585"/>
                    <a:pt x="963" y="586"/>
                    <a:pt x="963" y="586"/>
                  </a:cubicBezTo>
                  <a:cubicBezTo>
                    <a:pt x="963" y="591"/>
                    <a:pt x="963" y="595"/>
                    <a:pt x="963" y="600"/>
                  </a:cubicBezTo>
                  <a:cubicBezTo>
                    <a:pt x="963" y="825"/>
                    <a:pt x="1742" y="1519"/>
                    <a:pt x="1991" y="1519"/>
                  </a:cubicBezTo>
                  <a:cubicBezTo>
                    <a:pt x="2014" y="1519"/>
                    <a:pt x="2033" y="1513"/>
                    <a:pt x="2046" y="1499"/>
                  </a:cubicBezTo>
                  <a:cubicBezTo>
                    <a:pt x="2059" y="1486"/>
                    <a:pt x="2066" y="1465"/>
                    <a:pt x="2066" y="1436"/>
                  </a:cubicBezTo>
                  <a:cubicBezTo>
                    <a:pt x="2066" y="1386"/>
                    <a:pt x="2046" y="1313"/>
                    <a:pt x="2000" y="1211"/>
                  </a:cubicBezTo>
                  <a:cubicBezTo>
                    <a:pt x="1996" y="1203"/>
                    <a:pt x="1991" y="1194"/>
                    <a:pt x="1986" y="1185"/>
                  </a:cubicBezTo>
                  <a:cubicBezTo>
                    <a:pt x="1985" y="1183"/>
                    <a:pt x="1983" y="1180"/>
                    <a:pt x="1981" y="1178"/>
                  </a:cubicBezTo>
                  <a:cubicBezTo>
                    <a:pt x="1981" y="1177"/>
                    <a:pt x="1980" y="1176"/>
                    <a:pt x="1979" y="1175"/>
                  </a:cubicBezTo>
                  <a:cubicBezTo>
                    <a:pt x="1978" y="1173"/>
                    <a:pt x="1977" y="1171"/>
                    <a:pt x="1976" y="1169"/>
                  </a:cubicBezTo>
                  <a:cubicBezTo>
                    <a:pt x="1975" y="1167"/>
                    <a:pt x="1973" y="1165"/>
                    <a:pt x="1972" y="1163"/>
                  </a:cubicBezTo>
                  <a:cubicBezTo>
                    <a:pt x="1971" y="1162"/>
                    <a:pt x="1970" y="1160"/>
                    <a:pt x="1969" y="1159"/>
                  </a:cubicBezTo>
                  <a:cubicBezTo>
                    <a:pt x="1967" y="1157"/>
                    <a:pt x="1966" y="1155"/>
                    <a:pt x="1965" y="1153"/>
                  </a:cubicBezTo>
                  <a:cubicBezTo>
                    <a:pt x="1964" y="1152"/>
                    <a:pt x="1963" y="1151"/>
                    <a:pt x="1962" y="1150"/>
                  </a:cubicBezTo>
                  <a:cubicBezTo>
                    <a:pt x="1960" y="1147"/>
                    <a:pt x="1958" y="1144"/>
                    <a:pt x="1956" y="1141"/>
                  </a:cubicBezTo>
                  <a:cubicBezTo>
                    <a:pt x="1955" y="1140"/>
                    <a:pt x="1955" y="1139"/>
                    <a:pt x="1954" y="1139"/>
                  </a:cubicBezTo>
                  <a:cubicBezTo>
                    <a:pt x="1951" y="1134"/>
                    <a:pt x="1947" y="1130"/>
                    <a:pt x="1944" y="1125"/>
                  </a:cubicBezTo>
                  <a:cubicBezTo>
                    <a:pt x="1943" y="1124"/>
                    <a:pt x="1943" y="1124"/>
                    <a:pt x="1942" y="1123"/>
                  </a:cubicBezTo>
                  <a:cubicBezTo>
                    <a:pt x="1938" y="1118"/>
                    <a:pt x="1934" y="1113"/>
                    <a:pt x="1930" y="1108"/>
                  </a:cubicBezTo>
                  <a:cubicBezTo>
                    <a:pt x="1929" y="1107"/>
                    <a:pt x="1929" y="1107"/>
                    <a:pt x="1928" y="1106"/>
                  </a:cubicBezTo>
                  <a:cubicBezTo>
                    <a:pt x="1923" y="1100"/>
                    <a:pt x="1917" y="1093"/>
                    <a:pt x="1912" y="1087"/>
                  </a:cubicBezTo>
                  <a:cubicBezTo>
                    <a:pt x="1911" y="1086"/>
                    <a:pt x="1911" y="1086"/>
                    <a:pt x="1911" y="1086"/>
                  </a:cubicBezTo>
                  <a:cubicBezTo>
                    <a:pt x="1904" y="1077"/>
                    <a:pt x="1896" y="1069"/>
                    <a:pt x="1888" y="1061"/>
                  </a:cubicBezTo>
                  <a:cubicBezTo>
                    <a:pt x="1888" y="1060"/>
                    <a:pt x="1888" y="1060"/>
                    <a:pt x="1888" y="1060"/>
                  </a:cubicBezTo>
                  <a:cubicBezTo>
                    <a:pt x="1876" y="1047"/>
                    <a:pt x="1864" y="1035"/>
                    <a:pt x="1852" y="1022"/>
                  </a:cubicBezTo>
                  <a:cubicBezTo>
                    <a:pt x="1852" y="1021"/>
                    <a:pt x="1851" y="1021"/>
                    <a:pt x="1851" y="1021"/>
                  </a:cubicBezTo>
                  <a:cubicBezTo>
                    <a:pt x="1834" y="1003"/>
                    <a:pt x="1816" y="985"/>
                    <a:pt x="1797" y="966"/>
                  </a:cubicBezTo>
                  <a:cubicBezTo>
                    <a:pt x="1796" y="966"/>
                    <a:pt x="1796" y="965"/>
                    <a:pt x="1796" y="965"/>
                  </a:cubicBezTo>
                  <a:cubicBezTo>
                    <a:pt x="1777" y="947"/>
                    <a:pt x="1758" y="928"/>
                    <a:pt x="1738" y="909"/>
                  </a:cubicBezTo>
                  <a:cubicBezTo>
                    <a:pt x="1738" y="909"/>
                    <a:pt x="1737" y="908"/>
                    <a:pt x="1737" y="908"/>
                  </a:cubicBezTo>
                  <a:cubicBezTo>
                    <a:pt x="1717" y="889"/>
                    <a:pt x="1697" y="870"/>
                    <a:pt x="1677" y="851"/>
                  </a:cubicBezTo>
                  <a:cubicBezTo>
                    <a:pt x="1676" y="851"/>
                    <a:pt x="1676" y="850"/>
                    <a:pt x="1675" y="850"/>
                  </a:cubicBezTo>
                  <a:cubicBezTo>
                    <a:pt x="1654" y="830"/>
                    <a:pt x="1633" y="811"/>
                    <a:pt x="1612" y="791"/>
                  </a:cubicBezTo>
                  <a:cubicBezTo>
                    <a:pt x="1611" y="791"/>
                    <a:pt x="1611" y="790"/>
                    <a:pt x="1610" y="790"/>
                  </a:cubicBezTo>
                  <a:cubicBezTo>
                    <a:pt x="1588" y="769"/>
                    <a:pt x="1566" y="749"/>
                    <a:pt x="1543" y="728"/>
                  </a:cubicBezTo>
                  <a:cubicBezTo>
                    <a:pt x="1543" y="728"/>
                    <a:pt x="1542" y="727"/>
                    <a:pt x="1542" y="726"/>
                  </a:cubicBezTo>
                  <a:cubicBezTo>
                    <a:pt x="1517" y="704"/>
                    <a:pt x="1493" y="682"/>
                    <a:pt x="1470" y="660"/>
                  </a:cubicBezTo>
                  <a:cubicBezTo>
                    <a:pt x="1469" y="659"/>
                    <a:pt x="1468" y="659"/>
                    <a:pt x="1467" y="658"/>
                  </a:cubicBezTo>
                  <a:cubicBezTo>
                    <a:pt x="1440" y="632"/>
                    <a:pt x="1413" y="607"/>
                    <a:pt x="1387" y="582"/>
                  </a:cubicBezTo>
                  <a:cubicBezTo>
                    <a:pt x="1386" y="581"/>
                    <a:pt x="1385" y="580"/>
                    <a:pt x="1384" y="579"/>
                  </a:cubicBezTo>
                  <a:cubicBezTo>
                    <a:pt x="1356" y="552"/>
                    <a:pt x="1329" y="526"/>
                    <a:pt x="1305" y="501"/>
                  </a:cubicBezTo>
                  <a:cubicBezTo>
                    <a:pt x="1304" y="501"/>
                    <a:pt x="1304" y="500"/>
                    <a:pt x="1303" y="500"/>
                  </a:cubicBezTo>
                  <a:cubicBezTo>
                    <a:pt x="1281" y="477"/>
                    <a:pt x="1260" y="455"/>
                    <a:pt x="1241" y="434"/>
                  </a:cubicBezTo>
                  <a:cubicBezTo>
                    <a:pt x="1241" y="433"/>
                    <a:pt x="1240" y="433"/>
                    <a:pt x="1240" y="432"/>
                  </a:cubicBezTo>
                  <a:cubicBezTo>
                    <a:pt x="1216" y="406"/>
                    <a:pt x="1197" y="381"/>
                    <a:pt x="1182" y="359"/>
                  </a:cubicBezTo>
                  <a:cubicBezTo>
                    <a:pt x="1182" y="359"/>
                    <a:pt x="1181" y="359"/>
                    <a:pt x="1181" y="358"/>
                  </a:cubicBezTo>
                  <a:cubicBezTo>
                    <a:pt x="1162" y="329"/>
                    <a:pt x="1151" y="305"/>
                    <a:pt x="1151" y="286"/>
                  </a:cubicBezTo>
                  <a:cubicBezTo>
                    <a:pt x="1151" y="280"/>
                    <a:pt x="1152" y="274"/>
                    <a:pt x="1154" y="270"/>
                  </a:cubicBezTo>
                  <a:cubicBezTo>
                    <a:pt x="1154" y="269"/>
                    <a:pt x="1155" y="268"/>
                    <a:pt x="1155" y="267"/>
                  </a:cubicBezTo>
                  <a:cubicBezTo>
                    <a:pt x="1158" y="262"/>
                    <a:pt x="1162" y="258"/>
                    <a:pt x="1168" y="255"/>
                  </a:cubicBezTo>
                  <a:cubicBezTo>
                    <a:pt x="1170" y="254"/>
                    <a:pt x="1173" y="252"/>
                    <a:pt x="1175" y="250"/>
                  </a:cubicBezTo>
                  <a:cubicBezTo>
                    <a:pt x="1186" y="244"/>
                    <a:pt x="1195" y="237"/>
                    <a:pt x="1205" y="229"/>
                  </a:cubicBezTo>
                  <a:cubicBezTo>
                    <a:pt x="1221" y="216"/>
                    <a:pt x="1237" y="202"/>
                    <a:pt x="1249" y="187"/>
                  </a:cubicBezTo>
                  <a:cubicBezTo>
                    <a:pt x="1249" y="187"/>
                    <a:pt x="1250" y="186"/>
                    <a:pt x="1250" y="186"/>
                  </a:cubicBezTo>
                  <a:cubicBezTo>
                    <a:pt x="1254" y="182"/>
                    <a:pt x="1257" y="177"/>
                    <a:pt x="1260" y="173"/>
                  </a:cubicBezTo>
                  <a:cubicBezTo>
                    <a:pt x="1261" y="173"/>
                    <a:pt x="1261" y="172"/>
                    <a:pt x="1261" y="172"/>
                  </a:cubicBezTo>
                  <a:cubicBezTo>
                    <a:pt x="1263" y="169"/>
                    <a:pt x="1265" y="167"/>
                    <a:pt x="1267" y="164"/>
                  </a:cubicBezTo>
                  <a:cubicBezTo>
                    <a:pt x="1267" y="163"/>
                    <a:pt x="1267" y="163"/>
                    <a:pt x="1267" y="163"/>
                  </a:cubicBezTo>
                  <a:cubicBezTo>
                    <a:pt x="1271" y="157"/>
                    <a:pt x="1274" y="151"/>
                    <a:pt x="1277" y="146"/>
                  </a:cubicBezTo>
                  <a:cubicBezTo>
                    <a:pt x="1277" y="145"/>
                    <a:pt x="1277" y="145"/>
                    <a:pt x="1277" y="144"/>
                  </a:cubicBezTo>
                  <a:cubicBezTo>
                    <a:pt x="1281" y="136"/>
                    <a:pt x="1284" y="128"/>
                    <a:pt x="1285" y="120"/>
                  </a:cubicBezTo>
                  <a:cubicBezTo>
                    <a:pt x="1285" y="119"/>
                    <a:pt x="1285" y="118"/>
                    <a:pt x="1285" y="117"/>
                  </a:cubicBezTo>
                  <a:cubicBezTo>
                    <a:pt x="1285" y="117"/>
                    <a:pt x="1285" y="116"/>
                    <a:pt x="1285" y="116"/>
                  </a:cubicBezTo>
                  <a:cubicBezTo>
                    <a:pt x="1286" y="116"/>
                    <a:pt x="1286" y="115"/>
                    <a:pt x="1286" y="115"/>
                  </a:cubicBezTo>
                  <a:cubicBezTo>
                    <a:pt x="1286" y="114"/>
                    <a:pt x="1286" y="114"/>
                    <a:pt x="1286" y="113"/>
                  </a:cubicBezTo>
                  <a:cubicBezTo>
                    <a:pt x="1286" y="111"/>
                    <a:pt x="1286" y="109"/>
                    <a:pt x="1286" y="106"/>
                  </a:cubicBezTo>
                  <a:cubicBezTo>
                    <a:pt x="1286" y="106"/>
                    <a:pt x="1286" y="106"/>
                    <a:pt x="1286" y="106"/>
                  </a:cubicBezTo>
                  <a:cubicBezTo>
                    <a:pt x="1286" y="105"/>
                    <a:pt x="1286" y="105"/>
                    <a:pt x="1286" y="105"/>
                  </a:cubicBezTo>
                  <a:cubicBezTo>
                    <a:pt x="1286" y="101"/>
                    <a:pt x="1286" y="97"/>
                    <a:pt x="1285" y="93"/>
                  </a:cubicBezTo>
                  <a:cubicBezTo>
                    <a:pt x="1285" y="93"/>
                    <a:pt x="1285" y="92"/>
                    <a:pt x="1285" y="92"/>
                  </a:cubicBezTo>
                  <a:cubicBezTo>
                    <a:pt x="1284" y="87"/>
                    <a:pt x="1282" y="81"/>
                    <a:pt x="1280" y="76"/>
                  </a:cubicBezTo>
                  <a:cubicBezTo>
                    <a:pt x="1279" y="76"/>
                    <a:pt x="1279" y="76"/>
                    <a:pt x="1279" y="75"/>
                  </a:cubicBezTo>
                  <a:cubicBezTo>
                    <a:pt x="1279" y="75"/>
                    <a:pt x="1278" y="74"/>
                    <a:pt x="1278" y="73"/>
                  </a:cubicBezTo>
                  <a:cubicBezTo>
                    <a:pt x="1278" y="73"/>
                    <a:pt x="1277" y="72"/>
                    <a:pt x="1277" y="72"/>
                  </a:cubicBezTo>
                  <a:cubicBezTo>
                    <a:pt x="1274" y="66"/>
                    <a:pt x="1269" y="60"/>
                    <a:pt x="1263" y="55"/>
                  </a:cubicBezTo>
                  <a:cubicBezTo>
                    <a:pt x="1263" y="54"/>
                    <a:pt x="1263" y="54"/>
                    <a:pt x="1263" y="54"/>
                  </a:cubicBezTo>
                  <a:cubicBezTo>
                    <a:pt x="1258" y="50"/>
                    <a:pt x="1253" y="46"/>
                    <a:pt x="1247" y="42"/>
                  </a:cubicBezTo>
                  <a:cubicBezTo>
                    <a:pt x="1247" y="42"/>
                    <a:pt x="1246" y="42"/>
                    <a:pt x="1246" y="41"/>
                  </a:cubicBezTo>
                  <a:cubicBezTo>
                    <a:pt x="1243" y="39"/>
                    <a:pt x="1239" y="37"/>
                    <a:pt x="1235" y="35"/>
                  </a:cubicBezTo>
                  <a:cubicBezTo>
                    <a:pt x="1235" y="35"/>
                    <a:pt x="1234" y="35"/>
                    <a:pt x="1234" y="35"/>
                  </a:cubicBezTo>
                  <a:cubicBezTo>
                    <a:pt x="1233" y="34"/>
                    <a:pt x="1233" y="34"/>
                    <a:pt x="1233" y="34"/>
                  </a:cubicBezTo>
                  <a:cubicBezTo>
                    <a:pt x="1232" y="34"/>
                    <a:pt x="1232" y="33"/>
                    <a:pt x="1232" y="33"/>
                  </a:cubicBezTo>
                  <a:cubicBezTo>
                    <a:pt x="1230" y="32"/>
                    <a:pt x="1227" y="31"/>
                    <a:pt x="1225" y="30"/>
                  </a:cubicBezTo>
                  <a:cubicBezTo>
                    <a:pt x="1225" y="30"/>
                    <a:pt x="1225" y="30"/>
                    <a:pt x="1224" y="30"/>
                  </a:cubicBezTo>
                  <a:cubicBezTo>
                    <a:pt x="1220" y="28"/>
                    <a:pt x="1216" y="27"/>
                    <a:pt x="1212" y="25"/>
                  </a:cubicBezTo>
                  <a:cubicBezTo>
                    <a:pt x="1212" y="25"/>
                    <a:pt x="1211" y="25"/>
                    <a:pt x="1211" y="25"/>
                  </a:cubicBezTo>
                  <a:cubicBezTo>
                    <a:pt x="1204" y="22"/>
                    <a:pt x="1197" y="20"/>
                    <a:pt x="1189" y="18"/>
                  </a:cubicBezTo>
                  <a:cubicBezTo>
                    <a:pt x="1189" y="18"/>
                    <a:pt x="1188" y="18"/>
                    <a:pt x="1188" y="17"/>
                  </a:cubicBezTo>
                  <a:cubicBezTo>
                    <a:pt x="1186" y="17"/>
                    <a:pt x="1184" y="17"/>
                    <a:pt x="1183" y="16"/>
                  </a:cubicBezTo>
                  <a:cubicBezTo>
                    <a:pt x="1182" y="16"/>
                    <a:pt x="1182" y="16"/>
                    <a:pt x="1182" y="16"/>
                  </a:cubicBezTo>
                  <a:cubicBezTo>
                    <a:pt x="1180" y="15"/>
                    <a:pt x="1178" y="15"/>
                    <a:pt x="1176" y="15"/>
                  </a:cubicBezTo>
                  <a:cubicBezTo>
                    <a:pt x="1176" y="14"/>
                    <a:pt x="1176" y="14"/>
                    <a:pt x="1175" y="14"/>
                  </a:cubicBezTo>
                  <a:cubicBezTo>
                    <a:pt x="1169" y="13"/>
                    <a:pt x="1162" y="11"/>
                    <a:pt x="1155" y="10"/>
                  </a:cubicBezTo>
                  <a:cubicBezTo>
                    <a:pt x="1155" y="10"/>
                    <a:pt x="1155" y="10"/>
                    <a:pt x="1154" y="10"/>
                  </a:cubicBezTo>
                  <a:cubicBezTo>
                    <a:pt x="1151" y="9"/>
                    <a:pt x="1147" y="9"/>
                    <a:pt x="1144" y="8"/>
                  </a:cubicBezTo>
                  <a:cubicBezTo>
                    <a:pt x="1143" y="8"/>
                    <a:pt x="1143" y="8"/>
                    <a:pt x="1142" y="8"/>
                  </a:cubicBezTo>
                  <a:cubicBezTo>
                    <a:pt x="1141" y="8"/>
                    <a:pt x="1141" y="8"/>
                    <a:pt x="1141" y="8"/>
                  </a:cubicBezTo>
                  <a:cubicBezTo>
                    <a:pt x="1140" y="8"/>
                    <a:pt x="1139" y="8"/>
                    <a:pt x="1138" y="7"/>
                  </a:cubicBezTo>
                  <a:cubicBezTo>
                    <a:pt x="1135" y="7"/>
                    <a:pt x="1132" y="7"/>
                    <a:pt x="1128" y="6"/>
                  </a:cubicBezTo>
                  <a:cubicBezTo>
                    <a:pt x="1128" y="6"/>
                    <a:pt x="1127" y="6"/>
                    <a:pt x="1127" y="6"/>
                  </a:cubicBezTo>
                  <a:cubicBezTo>
                    <a:pt x="1125" y="6"/>
                    <a:pt x="1122" y="5"/>
                    <a:pt x="1120" y="5"/>
                  </a:cubicBezTo>
                  <a:cubicBezTo>
                    <a:pt x="1119" y="5"/>
                    <a:pt x="1119" y="5"/>
                    <a:pt x="1118" y="5"/>
                  </a:cubicBezTo>
                  <a:cubicBezTo>
                    <a:pt x="1116" y="5"/>
                    <a:pt x="1114" y="5"/>
                    <a:pt x="1112" y="4"/>
                  </a:cubicBezTo>
                  <a:cubicBezTo>
                    <a:pt x="1112" y="4"/>
                    <a:pt x="1112" y="4"/>
                    <a:pt x="1111" y="4"/>
                  </a:cubicBezTo>
                  <a:cubicBezTo>
                    <a:pt x="1111" y="4"/>
                    <a:pt x="1111" y="4"/>
                    <a:pt x="1111" y="4"/>
                  </a:cubicBezTo>
                  <a:cubicBezTo>
                    <a:pt x="1110" y="4"/>
                    <a:pt x="1110" y="4"/>
                    <a:pt x="1109" y="4"/>
                  </a:cubicBezTo>
                  <a:cubicBezTo>
                    <a:pt x="1109" y="4"/>
                    <a:pt x="1109" y="4"/>
                    <a:pt x="1108" y="4"/>
                  </a:cubicBezTo>
                  <a:cubicBezTo>
                    <a:pt x="1108" y="4"/>
                    <a:pt x="1107" y="4"/>
                    <a:pt x="1107" y="4"/>
                  </a:cubicBezTo>
                  <a:cubicBezTo>
                    <a:pt x="1106" y="4"/>
                    <a:pt x="1106" y="4"/>
                    <a:pt x="1105" y="4"/>
                  </a:cubicBezTo>
                  <a:cubicBezTo>
                    <a:pt x="1105" y="4"/>
                    <a:pt x="1104" y="4"/>
                    <a:pt x="1104" y="4"/>
                  </a:cubicBezTo>
                  <a:cubicBezTo>
                    <a:pt x="1102" y="3"/>
                    <a:pt x="1099" y="3"/>
                    <a:pt x="1097" y="3"/>
                  </a:cubicBezTo>
                  <a:cubicBezTo>
                    <a:pt x="1096" y="3"/>
                    <a:pt x="1096" y="3"/>
                    <a:pt x="1096" y="3"/>
                  </a:cubicBezTo>
                  <a:cubicBezTo>
                    <a:pt x="1096" y="3"/>
                    <a:pt x="1096" y="3"/>
                    <a:pt x="1095" y="3"/>
                  </a:cubicBezTo>
                  <a:cubicBezTo>
                    <a:pt x="1095" y="3"/>
                    <a:pt x="1095" y="3"/>
                    <a:pt x="1094" y="3"/>
                  </a:cubicBezTo>
                  <a:cubicBezTo>
                    <a:pt x="1093" y="3"/>
                    <a:pt x="1091" y="2"/>
                    <a:pt x="1089" y="2"/>
                  </a:cubicBezTo>
                  <a:cubicBezTo>
                    <a:pt x="1089" y="2"/>
                    <a:pt x="1089" y="2"/>
                    <a:pt x="1088" y="2"/>
                  </a:cubicBezTo>
                  <a:cubicBezTo>
                    <a:pt x="1087" y="2"/>
                    <a:pt x="1086" y="2"/>
                    <a:pt x="1085" y="2"/>
                  </a:cubicBezTo>
                  <a:cubicBezTo>
                    <a:pt x="1084" y="2"/>
                    <a:pt x="1084" y="2"/>
                    <a:pt x="1084" y="2"/>
                  </a:cubicBezTo>
                  <a:cubicBezTo>
                    <a:pt x="1082" y="2"/>
                    <a:pt x="1081" y="2"/>
                    <a:pt x="1079" y="2"/>
                  </a:cubicBezTo>
                  <a:cubicBezTo>
                    <a:pt x="1079" y="2"/>
                    <a:pt x="1078" y="2"/>
                    <a:pt x="1078" y="2"/>
                  </a:cubicBezTo>
                  <a:cubicBezTo>
                    <a:pt x="1074" y="1"/>
                    <a:pt x="1070" y="1"/>
                    <a:pt x="1066" y="1"/>
                  </a:cubicBezTo>
                  <a:cubicBezTo>
                    <a:pt x="1066" y="1"/>
                    <a:pt x="1065" y="1"/>
                    <a:pt x="1065" y="1"/>
                  </a:cubicBezTo>
                  <a:cubicBezTo>
                    <a:pt x="1063" y="1"/>
                    <a:pt x="1062" y="1"/>
                    <a:pt x="1061" y="1"/>
                  </a:cubicBezTo>
                  <a:cubicBezTo>
                    <a:pt x="1060" y="1"/>
                    <a:pt x="1060" y="1"/>
                    <a:pt x="1059" y="1"/>
                  </a:cubicBezTo>
                  <a:cubicBezTo>
                    <a:pt x="1055" y="1"/>
                    <a:pt x="1051" y="0"/>
                    <a:pt x="1047" y="0"/>
                  </a:cubicBezTo>
                  <a:cubicBezTo>
                    <a:pt x="1047" y="0"/>
                    <a:pt x="1046" y="0"/>
                    <a:pt x="1046" y="0"/>
                  </a:cubicBezTo>
                  <a:cubicBezTo>
                    <a:pt x="1044" y="0"/>
                    <a:pt x="1042" y="0"/>
                    <a:pt x="1041" y="0"/>
                  </a:cubicBezTo>
                  <a:cubicBezTo>
                    <a:pt x="1040" y="0"/>
                    <a:pt x="1040" y="0"/>
                    <a:pt x="1040" y="0"/>
                  </a:cubicBezTo>
                  <a:cubicBezTo>
                    <a:pt x="1039" y="0"/>
                    <a:pt x="1038" y="0"/>
                    <a:pt x="1037" y="0"/>
                  </a:cubicBezTo>
                  <a:cubicBezTo>
                    <a:pt x="1036" y="0"/>
                    <a:pt x="1036" y="0"/>
                    <a:pt x="1036" y="0"/>
                  </a:cubicBezTo>
                  <a:cubicBezTo>
                    <a:pt x="1033" y="0"/>
                    <a:pt x="1030" y="0"/>
                    <a:pt x="1027" y="0"/>
                  </a:cubicBezTo>
                  <a:cubicBezTo>
                    <a:pt x="1027" y="0"/>
                    <a:pt x="1026" y="0"/>
                    <a:pt x="1026" y="0"/>
                  </a:cubicBezTo>
                  <a:cubicBezTo>
                    <a:pt x="1026" y="0"/>
                    <a:pt x="1026" y="0"/>
                    <a:pt x="1026" y="0"/>
                  </a:cubicBezTo>
                  <a:cubicBezTo>
                    <a:pt x="1025" y="0"/>
                    <a:pt x="1025" y="0"/>
                    <a:pt x="1024" y="0"/>
                  </a:cubicBezTo>
                  <a:cubicBezTo>
                    <a:pt x="1022" y="0"/>
                    <a:pt x="1021" y="0"/>
                    <a:pt x="1020" y="0"/>
                  </a:cubicBezTo>
                  <a:moveTo>
                    <a:pt x="1018" y="1"/>
                  </a:moveTo>
                  <a:cubicBezTo>
                    <a:pt x="1018" y="1"/>
                    <a:pt x="1019" y="1"/>
                    <a:pt x="1020" y="1"/>
                  </a:cubicBezTo>
                  <a:cubicBezTo>
                    <a:pt x="1022" y="1"/>
                    <a:pt x="1024" y="1"/>
                    <a:pt x="1026" y="1"/>
                  </a:cubicBezTo>
                  <a:cubicBezTo>
                    <a:pt x="1026" y="1"/>
                    <a:pt x="1026" y="1"/>
                    <a:pt x="1026" y="1"/>
                  </a:cubicBezTo>
                  <a:cubicBezTo>
                    <a:pt x="1026" y="1"/>
                    <a:pt x="1027" y="1"/>
                    <a:pt x="1027" y="1"/>
                  </a:cubicBezTo>
                  <a:cubicBezTo>
                    <a:pt x="1027" y="1"/>
                    <a:pt x="1027" y="1"/>
                    <a:pt x="1027" y="1"/>
                  </a:cubicBezTo>
                  <a:cubicBezTo>
                    <a:pt x="1030" y="1"/>
                    <a:pt x="1033" y="1"/>
                    <a:pt x="1035" y="1"/>
                  </a:cubicBezTo>
                  <a:cubicBezTo>
                    <a:pt x="1036" y="1"/>
                    <a:pt x="1036" y="1"/>
                    <a:pt x="1037" y="1"/>
                  </a:cubicBezTo>
                  <a:cubicBezTo>
                    <a:pt x="1037" y="1"/>
                    <a:pt x="1038" y="1"/>
                    <a:pt x="1039" y="1"/>
                  </a:cubicBezTo>
                  <a:cubicBezTo>
                    <a:pt x="1039" y="1"/>
                    <a:pt x="1040" y="1"/>
                    <a:pt x="1040" y="1"/>
                  </a:cubicBezTo>
                  <a:cubicBezTo>
                    <a:pt x="1042" y="1"/>
                    <a:pt x="1045" y="1"/>
                    <a:pt x="1047" y="1"/>
                  </a:cubicBezTo>
                  <a:cubicBezTo>
                    <a:pt x="1047" y="1"/>
                    <a:pt x="1048" y="1"/>
                    <a:pt x="1048" y="1"/>
                  </a:cubicBezTo>
                  <a:cubicBezTo>
                    <a:pt x="1052" y="1"/>
                    <a:pt x="1056" y="2"/>
                    <a:pt x="1059" y="2"/>
                  </a:cubicBezTo>
                  <a:cubicBezTo>
                    <a:pt x="1059" y="2"/>
                    <a:pt x="1060" y="2"/>
                    <a:pt x="1060" y="2"/>
                  </a:cubicBezTo>
                  <a:cubicBezTo>
                    <a:pt x="1062" y="2"/>
                    <a:pt x="1064" y="2"/>
                    <a:pt x="1065" y="2"/>
                  </a:cubicBezTo>
                  <a:cubicBezTo>
                    <a:pt x="1066" y="2"/>
                    <a:pt x="1066" y="2"/>
                    <a:pt x="1066" y="2"/>
                  </a:cubicBezTo>
                  <a:cubicBezTo>
                    <a:pt x="1070" y="2"/>
                    <a:pt x="1074" y="2"/>
                    <a:pt x="1077" y="3"/>
                  </a:cubicBezTo>
                  <a:cubicBezTo>
                    <a:pt x="1077" y="3"/>
                    <a:pt x="1078" y="3"/>
                    <a:pt x="1078" y="3"/>
                  </a:cubicBezTo>
                  <a:cubicBezTo>
                    <a:pt x="1080" y="3"/>
                    <a:pt x="1082" y="3"/>
                    <a:pt x="1084" y="3"/>
                  </a:cubicBezTo>
                  <a:cubicBezTo>
                    <a:pt x="1085" y="3"/>
                    <a:pt x="1085" y="3"/>
                    <a:pt x="1086" y="3"/>
                  </a:cubicBezTo>
                  <a:cubicBezTo>
                    <a:pt x="1086" y="3"/>
                    <a:pt x="1087" y="3"/>
                    <a:pt x="1087" y="3"/>
                  </a:cubicBezTo>
                  <a:cubicBezTo>
                    <a:pt x="1088" y="3"/>
                    <a:pt x="1088" y="3"/>
                    <a:pt x="1089" y="3"/>
                  </a:cubicBezTo>
                  <a:cubicBezTo>
                    <a:pt x="1091" y="3"/>
                    <a:pt x="1092" y="4"/>
                    <a:pt x="1094" y="4"/>
                  </a:cubicBezTo>
                  <a:cubicBezTo>
                    <a:pt x="1095" y="4"/>
                    <a:pt x="1095" y="4"/>
                    <a:pt x="1095" y="4"/>
                  </a:cubicBezTo>
                  <a:cubicBezTo>
                    <a:pt x="1096" y="4"/>
                    <a:pt x="1096" y="4"/>
                    <a:pt x="1096" y="4"/>
                  </a:cubicBezTo>
                  <a:cubicBezTo>
                    <a:pt x="1099" y="4"/>
                    <a:pt x="1101" y="4"/>
                    <a:pt x="1104" y="4"/>
                  </a:cubicBezTo>
                  <a:cubicBezTo>
                    <a:pt x="1104" y="4"/>
                    <a:pt x="1104" y="4"/>
                    <a:pt x="1105" y="5"/>
                  </a:cubicBezTo>
                  <a:cubicBezTo>
                    <a:pt x="1105" y="5"/>
                    <a:pt x="1106" y="5"/>
                    <a:pt x="1106" y="5"/>
                  </a:cubicBezTo>
                  <a:cubicBezTo>
                    <a:pt x="1107" y="5"/>
                    <a:pt x="1107" y="5"/>
                    <a:pt x="1108" y="5"/>
                  </a:cubicBezTo>
                  <a:cubicBezTo>
                    <a:pt x="1108" y="5"/>
                    <a:pt x="1108" y="5"/>
                    <a:pt x="1108" y="5"/>
                  </a:cubicBezTo>
                  <a:cubicBezTo>
                    <a:pt x="1108" y="5"/>
                    <a:pt x="1108" y="5"/>
                    <a:pt x="1109" y="5"/>
                  </a:cubicBezTo>
                  <a:cubicBezTo>
                    <a:pt x="1109" y="5"/>
                    <a:pt x="1109" y="5"/>
                    <a:pt x="1110" y="5"/>
                  </a:cubicBezTo>
                  <a:cubicBezTo>
                    <a:pt x="1110" y="5"/>
                    <a:pt x="1110" y="5"/>
                    <a:pt x="1110" y="5"/>
                  </a:cubicBezTo>
                  <a:cubicBezTo>
                    <a:pt x="1110" y="5"/>
                    <a:pt x="1111" y="5"/>
                    <a:pt x="1111" y="5"/>
                  </a:cubicBezTo>
                  <a:cubicBezTo>
                    <a:pt x="1111" y="5"/>
                    <a:pt x="1111" y="5"/>
                    <a:pt x="1111" y="5"/>
                  </a:cubicBezTo>
                  <a:cubicBezTo>
                    <a:pt x="1111" y="5"/>
                    <a:pt x="1111" y="5"/>
                    <a:pt x="1111" y="5"/>
                  </a:cubicBezTo>
                  <a:cubicBezTo>
                    <a:pt x="1111" y="5"/>
                    <a:pt x="1112" y="5"/>
                    <a:pt x="1112" y="5"/>
                  </a:cubicBezTo>
                  <a:cubicBezTo>
                    <a:pt x="1114" y="5"/>
                    <a:pt x="1116" y="6"/>
                    <a:pt x="1117" y="6"/>
                  </a:cubicBezTo>
                  <a:cubicBezTo>
                    <a:pt x="1118" y="6"/>
                    <a:pt x="1118" y="6"/>
                    <a:pt x="1119" y="6"/>
                  </a:cubicBezTo>
                  <a:cubicBezTo>
                    <a:pt x="1121" y="6"/>
                    <a:pt x="1124" y="7"/>
                    <a:pt x="1126" y="7"/>
                  </a:cubicBezTo>
                  <a:cubicBezTo>
                    <a:pt x="1126" y="7"/>
                    <a:pt x="1127" y="7"/>
                    <a:pt x="1127" y="7"/>
                  </a:cubicBezTo>
                  <a:cubicBezTo>
                    <a:pt x="1130" y="7"/>
                    <a:pt x="1133" y="8"/>
                    <a:pt x="1136" y="8"/>
                  </a:cubicBezTo>
                  <a:cubicBezTo>
                    <a:pt x="1137" y="8"/>
                    <a:pt x="1138" y="8"/>
                    <a:pt x="1139" y="8"/>
                  </a:cubicBezTo>
                  <a:cubicBezTo>
                    <a:pt x="1139" y="8"/>
                    <a:pt x="1139" y="9"/>
                    <a:pt x="1139" y="9"/>
                  </a:cubicBezTo>
                  <a:cubicBezTo>
                    <a:pt x="1139" y="9"/>
                    <a:pt x="1140" y="9"/>
                    <a:pt x="1140" y="9"/>
                  </a:cubicBezTo>
                  <a:cubicBezTo>
                    <a:pt x="1141" y="9"/>
                    <a:pt x="1142" y="9"/>
                    <a:pt x="1142" y="9"/>
                  </a:cubicBezTo>
                  <a:cubicBezTo>
                    <a:pt x="1146" y="10"/>
                    <a:pt x="1150" y="10"/>
                    <a:pt x="1154" y="11"/>
                  </a:cubicBezTo>
                  <a:cubicBezTo>
                    <a:pt x="1155" y="11"/>
                    <a:pt x="1155" y="11"/>
                    <a:pt x="1155" y="11"/>
                  </a:cubicBezTo>
                  <a:cubicBezTo>
                    <a:pt x="1162" y="12"/>
                    <a:pt x="1169" y="14"/>
                    <a:pt x="1175" y="15"/>
                  </a:cubicBezTo>
                  <a:cubicBezTo>
                    <a:pt x="1175" y="15"/>
                    <a:pt x="1175" y="15"/>
                    <a:pt x="1176" y="15"/>
                  </a:cubicBezTo>
                  <a:cubicBezTo>
                    <a:pt x="1178" y="16"/>
                    <a:pt x="1179" y="16"/>
                    <a:pt x="1181" y="17"/>
                  </a:cubicBezTo>
                  <a:cubicBezTo>
                    <a:pt x="1181" y="17"/>
                    <a:pt x="1182" y="17"/>
                    <a:pt x="1182" y="17"/>
                  </a:cubicBezTo>
                  <a:cubicBezTo>
                    <a:pt x="1184" y="17"/>
                    <a:pt x="1186" y="18"/>
                    <a:pt x="1188" y="18"/>
                  </a:cubicBezTo>
                  <a:cubicBezTo>
                    <a:pt x="1188" y="18"/>
                    <a:pt x="1188" y="19"/>
                    <a:pt x="1189" y="19"/>
                  </a:cubicBezTo>
                  <a:cubicBezTo>
                    <a:pt x="1197" y="21"/>
                    <a:pt x="1204" y="23"/>
                    <a:pt x="1211" y="26"/>
                  </a:cubicBezTo>
                  <a:cubicBezTo>
                    <a:pt x="1211" y="26"/>
                    <a:pt x="1212" y="26"/>
                    <a:pt x="1212" y="26"/>
                  </a:cubicBezTo>
                  <a:cubicBezTo>
                    <a:pt x="1216" y="28"/>
                    <a:pt x="1220" y="29"/>
                    <a:pt x="1224" y="31"/>
                  </a:cubicBezTo>
                  <a:cubicBezTo>
                    <a:pt x="1225" y="31"/>
                    <a:pt x="1225" y="31"/>
                    <a:pt x="1225" y="31"/>
                  </a:cubicBezTo>
                  <a:cubicBezTo>
                    <a:pt x="1226" y="32"/>
                    <a:pt x="1226" y="32"/>
                    <a:pt x="1227" y="32"/>
                  </a:cubicBezTo>
                  <a:cubicBezTo>
                    <a:pt x="1228" y="33"/>
                    <a:pt x="1230" y="33"/>
                    <a:pt x="1231" y="34"/>
                  </a:cubicBezTo>
                  <a:cubicBezTo>
                    <a:pt x="1231" y="34"/>
                    <a:pt x="1232" y="34"/>
                    <a:pt x="1232" y="35"/>
                  </a:cubicBezTo>
                  <a:cubicBezTo>
                    <a:pt x="1233" y="35"/>
                    <a:pt x="1233" y="35"/>
                    <a:pt x="1234" y="36"/>
                  </a:cubicBezTo>
                  <a:cubicBezTo>
                    <a:pt x="1234" y="36"/>
                    <a:pt x="1235" y="36"/>
                    <a:pt x="1235" y="36"/>
                  </a:cubicBezTo>
                  <a:cubicBezTo>
                    <a:pt x="1239" y="38"/>
                    <a:pt x="1243" y="40"/>
                    <a:pt x="1246" y="43"/>
                  </a:cubicBezTo>
                  <a:cubicBezTo>
                    <a:pt x="1247" y="43"/>
                    <a:pt x="1247" y="43"/>
                    <a:pt x="1247" y="43"/>
                  </a:cubicBezTo>
                  <a:cubicBezTo>
                    <a:pt x="1253" y="47"/>
                    <a:pt x="1258" y="51"/>
                    <a:pt x="1262" y="55"/>
                  </a:cubicBezTo>
                  <a:cubicBezTo>
                    <a:pt x="1263" y="55"/>
                    <a:pt x="1263" y="56"/>
                    <a:pt x="1263" y="56"/>
                  </a:cubicBezTo>
                  <a:cubicBezTo>
                    <a:pt x="1269" y="61"/>
                    <a:pt x="1273" y="67"/>
                    <a:pt x="1276" y="73"/>
                  </a:cubicBezTo>
                  <a:cubicBezTo>
                    <a:pt x="1277" y="73"/>
                    <a:pt x="1277" y="73"/>
                    <a:pt x="1277" y="74"/>
                  </a:cubicBezTo>
                  <a:cubicBezTo>
                    <a:pt x="1277" y="74"/>
                    <a:pt x="1278" y="75"/>
                    <a:pt x="1278" y="75"/>
                  </a:cubicBezTo>
                  <a:cubicBezTo>
                    <a:pt x="1278" y="76"/>
                    <a:pt x="1278" y="76"/>
                    <a:pt x="1278" y="76"/>
                  </a:cubicBezTo>
                  <a:cubicBezTo>
                    <a:pt x="1281" y="81"/>
                    <a:pt x="1283" y="87"/>
                    <a:pt x="1284" y="92"/>
                  </a:cubicBezTo>
                  <a:cubicBezTo>
                    <a:pt x="1284" y="93"/>
                    <a:pt x="1284" y="93"/>
                    <a:pt x="1284" y="93"/>
                  </a:cubicBezTo>
                  <a:cubicBezTo>
                    <a:pt x="1285" y="97"/>
                    <a:pt x="1285" y="101"/>
                    <a:pt x="1285" y="105"/>
                  </a:cubicBezTo>
                  <a:cubicBezTo>
                    <a:pt x="1285" y="106"/>
                    <a:pt x="1285" y="106"/>
                    <a:pt x="1285" y="106"/>
                  </a:cubicBezTo>
                  <a:cubicBezTo>
                    <a:pt x="1285" y="106"/>
                    <a:pt x="1285" y="106"/>
                    <a:pt x="1285" y="107"/>
                  </a:cubicBezTo>
                  <a:cubicBezTo>
                    <a:pt x="1285" y="109"/>
                    <a:pt x="1285" y="112"/>
                    <a:pt x="1285" y="114"/>
                  </a:cubicBezTo>
                  <a:cubicBezTo>
                    <a:pt x="1285" y="115"/>
                    <a:pt x="1285" y="115"/>
                    <a:pt x="1285" y="116"/>
                  </a:cubicBezTo>
                  <a:cubicBezTo>
                    <a:pt x="1285" y="116"/>
                    <a:pt x="1285" y="116"/>
                    <a:pt x="1285" y="116"/>
                  </a:cubicBezTo>
                  <a:cubicBezTo>
                    <a:pt x="1284" y="116"/>
                    <a:pt x="1284" y="117"/>
                    <a:pt x="1284" y="117"/>
                  </a:cubicBezTo>
                  <a:cubicBezTo>
                    <a:pt x="1284" y="118"/>
                    <a:pt x="1284" y="119"/>
                    <a:pt x="1284" y="119"/>
                  </a:cubicBezTo>
                  <a:cubicBezTo>
                    <a:pt x="1284" y="120"/>
                    <a:pt x="1284" y="121"/>
                    <a:pt x="1283" y="122"/>
                  </a:cubicBezTo>
                  <a:cubicBezTo>
                    <a:pt x="1282" y="130"/>
                    <a:pt x="1279" y="137"/>
                    <a:pt x="1276" y="145"/>
                  </a:cubicBezTo>
                  <a:cubicBezTo>
                    <a:pt x="1276" y="145"/>
                    <a:pt x="1275" y="146"/>
                    <a:pt x="1275" y="146"/>
                  </a:cubicBezTo>
                  <a:cubicBezTo>
                    <a:pt x="1272" y="152"/>
                    <a:pt x="1269" y="158"/>
                    <a:pt x="1266" y="163"/>
                  </a:cubicBezTo>
                  <a:cubicBezTo>
                    <a:pt x="1266" y="164"/>
                    <a:pt x="1265" y="164"/>
                    <a:pt x="1265" y="165"/>
                  </a:cubicBezTo>
                  <a:cubicBezTo>
                    <a:pt x="1263" y="167"/>
                    <a:pt x="1262" y="170"/>
                    <a:pt x="1260" y="172"/>
                  </a:cubicBezTo>
                  <a:cubicBezTo>
                    <a:pt x="1259" y="173"/>
                    <a:pt x="1259" y="173"/>
                    <a:pt x="1259" y="174"/>
                  </a:cubicBezTo>
                  <a:cubicBezTo>
                    <a:pt x="1255" y="178"/>
                    <a:pt x="1252" y="182"/>
                    <a:pt x="1248" y="187"/>
                  </a:cubicBezTo>
                  <a:cubicBezTo>
                    <a:pt x="1248" y="187"/>
                    <a:pt x="1247" y="188"/>
                    <a:pt x="1247" y="188"/>
                  </a:cubicBezTo>
                  <a:cubicBezTo>
                    <a:pt x="1226" y="213"/>
                    <a:pt x="1198" y="236"/>
                    <a:pt x="1167" y="254"/>
                  </a:cubicBezTo>
                  <a:cubicBezTo>
                    <a:pt x="1161" y="258"/>
                    <a:pt x="1156" y="263"/>
                    <a:pt x="1153" y="269"/>
                  </a:cubicBezTo>
                  <a:cubicBezTo>
                    <a:pt x="1153" y="270"/>
                    <a:pt x="1152" y="271"/>
                    <a:pt x="1152" y="271"/>
                  </a:cubicBezTo>
                  <a:cubicBezTo>
                    <a:pt x="1150" y="276"/>
                    <a:pt x="1150" y="281"/>
                    <a:pt x="1150" y="286"/>
                  </a:cubicBezTo>
                  <a:cubicBezTo>
                    <a:pt x="1150" y="305"/>
                    <a:pt x="1161" y="330"/>
                    <a:pt x="1181" y="359"/>
                  </a:cubicBezTo>
                  <a:cubicBezTo>
                    <a:pt x="1181" y="360"/>
                    <a:pt x="1181" y="360"/>
                    <a:pt x="1181" y="360"/>
                  </a:cubicBezTo>
                  <a:cubicBezTo>
                    <a:pt x="1196" y="383"/>
                    <a:pt x="1216" y="407"/>
                    <a:pt x="1240" y="434"/>
                  </a:cubicBezTo>
                  <a:cubicBezTo>
                    <a:pt x="1241" y="435"/>
                    <a:pt x="1241" y="435"/>
                    <a:pt x="1241" y="436"/>
                  </a:cubicBezTo>
                  <a:cubicBezTo>
                    <a:pt x="1260" y="457"/>
                    <a:pt x="1281" y="479"/>
                    <a:pt x="1304" y="502"/>
                  </a:cubicBezTo>
                  <a:cubicBezTo>
                    <a:pt x="1304" y="502"/>
                    <a:pt x="1305" y="503"/>
                    <a:pt x="1305" y="504"/>
                  </a:cubicBezTo>
                  <a:cubicBezTo>
                    <a:pt x="1331" y="529"/>
                    <a:pt x="1358" y="556"/>
                    <a:pt x="1387" y="583"/>
                  </a:cubicBezTo>
                  <a:cubicBezTo>
                    <a:pt x="1388" y="584"/>
                    <a:pt x="1389" y="585"/>
                    <a:pt x="1390" y="587"/>
                  </a:cubicBezTo>
                  <a:cubicBezTo>
                    <a:pt x="1416" y="611"/>
                    <a:pt x="1442" y="636"/>
                    <a:pt x="1469" y="661"/>
                  </a:cubicBezTo>
                  <a:cubicBezTo>
                    <a:pt x="1470" y="662"/>
                    <a:pt x="1471" y="662"/>
                    <a:pt x="1472" y="663"/>
                  </a:cubicBezTo>
                  <a:cubicBezTo>
                    <a:pt x="1495" y="685"/>
                    <a:pt x="1519" y="707"/>
                    <a:pt x="1543" y="729"/>
                  </a:cubicBezTo>
                  <a:cubicBezTo>
                    <a:pt x="1543" y="729"/>
                    <a:pt x="1544" y="730"/>
                    <a:pt x="1545" y="730"/>
                  </a:cubicBezTo>
                  <a:cubicBezTo>
                    <a:pt x="1567" y="751"/>
                    <a:pt x="1589" y="771"/>
                    <a:pt x="1611" y="792"/>
                  </a:cubicBezTo>
                  <a:cubicBezTo>
                    <a:pt x="1612" y="792"/>
                    <a:pt x="1612" y="793"/>
                    <a:pt x="1612" y="793"/>
                  </a:cubicBezTo>
                  <a:cubicBezTo>
                    <a:pt x="1634" y="813"/>
                    <a:pt x="1655" y="832"/>
                    <a:pt x="1676" y="852"/>
                  </a:cubicBezTo>
                  <a:cubicBezTo>
                    <a:pt x="1676" y="852"/>
                    <a:pt x="1676" y="852"/>
                    <a:pt x="1677" y="853"/>
                  </a:cubicBezTo>
                  <a:cubicBezTo>
                    <a:pt x="1697" y="872"/>
                    <a:pt x="1717" y="891"/>
                    <a:pt x="1737" y="909"/>
                  </a:cubicBezTo>
                  <a:cubicBezTo>
                    <a:pt x="1737" y="910"/>
                    <a:pt x="1738" y="910"/>
                    <a:pt x="1738" y="910"/>
                  </a:cubicBezTo>
                  <a:cubicBezTo>
                    <a:pt x="1758" y="929"/>
                    <a:pt x="1777" y="948"/>
                    <a:pt x="1796" y="966"/>
                  </a:cubicBezTo>
                  <a:cubicBezTo>
                    <a:pt x="1796" y="966"/>
                    <a:pt x="1796" y="967"/>
                    <a:pt x="1796" y="967"/>
                  </a:cubicBezTo>
                  <a:cubicBezTo>
                    <a:pt x="1815" y="986"/>
                    <a:pt x="1833" y="1004"/>
                    <a:pt x="1851" y="1022"/>
                  </a:cubicBezTo>
                  <a:cubicBezTo>
                    <a:pt x="1851" y="1022"/>
                    <a:pt x="1851" y="1022"/>
                    <a:pt x="1851" y="1022"/>
                  </a:cubicBezTo>
                  <a:cubicBezTo>
                    <a:pt x="1864" y="1035"/>
                    <a:pt x="1876" y="1048"/>
                    <a:pt x="1887" y="1061"/>
                  </a:cubicBezTo>
                  <a:cubicBezTo>
                    <a:pt x="1888" y="1061"/>
                    <a:pt x="1888" y="1061"/>
                    <a:pt x="1888" y="1062"/>
                  </a:cubicBezTo>
                  <a:cubicBezTo>
                    <a:pt x="1896" y="1070"/>
                    <a:pt x="1903" y="1079"/>
                    <a:pt x="1911" y="1087"/>
                  </a:cubicBezTo>
                  <a:cubicBezTo>
                    <a:pt x="1911" y="1087"/>
                    <a:pt x="1911" y="1088"/>
                    <a:pt x="1912" y="1088"/>
                  </a:cubicBezTo>
                  <a:cubicBezTo>
                    <a:pt x="1917" y="1095"/>
                    <a:pt x="1923" y="1102"/>
                    <a:pt x="1929" y="1108"/>
                  </a:cubicBezTo>
                  <a:cubicBezTo>
                    <a:pt x="1929" y="1109"/>
                    <a:pt x="1929" y="1109"/>
                    <a:pt x="1930" y="1110"/>
                  </a:cubicBezTo>
                  <a:cubicBezTo>
                    <a:pt x="1934" y="1115"/>
                    <a:pt x="1939" y="1120"/>
                    <a:pt x="1943" y="1125"/>
                  </a:cubicBezTo>
                  <a:cubicBezTo>
                    <a:pt x="1943" y="1126"/>
                    <a:pt x="1944" y="1127"/>
                    <a:pt x="1944" y="1127"/>
                  </a:cubicBezTo>
                  <a:cubicBezTo>
                    <a:pt x="1948" y="1132"/>
                    <a:pt x="1952" y="1137"/>
                    <a:pt x="1955" y="1141"/>
                  </a:cubicBezTo>
                  <a:cubicBezTo>
                    <a:pt x="1956" y="1142"/>
                    <a:pt x="1956" y="1143"/>
                    <a:pt x="1957" y="1144"/>
                  </a:cubicBezTo>
                  <a:cubicBezTo>
                    <a:pt x="1959" y="1147"/>
                    <a:pt x="1961" y="1150"/>
                    <a:pt x="1964" y="1153"/>
                  </a:cubicBezTo>
                  <a:cubicBezTo>
                    <a:pt x="1965" y="1154"/>
                    <a:pt x="1965" y="1155"/>
                    <a:pt x="1966" y="1157"/>
                  </a:cubicBezTo>
                  <a:cubicBezTo>
                    <a:pt x="1968" y="1159"/>
                    <a:pt x="1969" y="1161"/>
                    <a:pt x="1971" y="1163"/>
                  </a:cubicBezTo>
                  <a:cubicBezTo>
                    <a:pt x="1972" y="1165"/>
                    <a:pt x="1973" y="1166"/>
                    <a:pt x="1973" y="1167"/>
                  </a:cubicBezTo>
                  <a:cubicBezTo>
                    <a:pt x="1975" y="1170"/>
                    <a:pt x="1977" y="1173"/>
                    <a:pt x="1979" y="1175"/>
                  </a:cubicBezTo>
                  <a:cubicBezTo>
                    <a:pt x="1980" y="1177"/>
                    <a:pt x="1981" y="1179"/>
                    <a:pt x="1982" y="1181"/>
                  </a:cubicBezTo>
                  <a:cubicBezTo>
                    <a:pt x="1983" y="1183"/>
                    <a:pt x="1984" y="1184"/>
                    <a:pt x="1985" y="1186"/>
                  </a:cubicBezTo>
                  <a:cubicBezTo>
                    <a:pt x="1987" y="1189"/>
                    <a:pt x="1989" y="1192"/>
                    <a:pt x="1990" y="1195"/>
                  </a:cubicBezTo>
                  <a:cubicBezTo>
                    <a:pt x="1993" y="1201"/>
                    <a:pt x="1996" y="1206"/>
                    <a:pt x="1999" y="1212"/>
                  </a:cubicBezTo>
                  <a:cubicBezTo>
                    <a:pt x="2045" y="1314"/>
                    <a:pt x="2065" y="1387"/>
                    <a:pt x="2065" y="1436"/>
                  </a:cubicBezTo>
                  <a:cubicBezTo>
                    <a:pt x="2065" y="1493"/>
                    <a:pt x="2038" y="1518"/>
                    <a:pt x="1991" y="1518"/>
                  </a:cubicBezTo>
                  <a:cubicBezTo>
                    <a:pt x="1991" y="1518"/>
                    <a:pt x="1991" y="1518"/>
                    <a:pt x="1991" y="1518"/>
                  </a:cubicBezTo>
                  <a:cubicBezTo>
                    <a:pt x="1867" y="1518"/>
                    <a:pt x="1610" y="1345"/>
                    <a:pt x="1384" y="1143"/>
                  </a:cubicBezTo>
                  <a:cubicBezTo>
                    <a:pt x="1159" y="942"/>
                    <a:pt x="964" y="712"/>
                    <a:pt x="964" y="600"/>
                  </a:cubicBezTo>
                  <a:cubicBezTo>
                    <a:pt x="964" y="596"/>
                    <a:pt x="964" y="591"/>
                    <a:pt x="964" y="587"/>
                  </a:cubicBezTo>
                  <a:cubicBezTo>
                    <a:pt x="964" y="587"/>
                    <a:pt x="964" y="586"/>
                    <a:pt x="964" y="586"/>
                  </a:cubicBezTo>
                  <a:cubicBezTo>
                    <a:pt x="964" y="583"/>
                    <a:pt x="963" y="580"/>
                    <a:pt x="963" y="578"/>
                  </a:cubicBezTo>
                  <a:cubicBezTo>
                    <a:pt x="963" y="577"/>
                    <a:pt x="963" y="577"/>
                    <a:pt x="963" y="577"/>
                  </a:cubicBezTo>
                  <a:cubicBezTo>
                    <a:pt x="963" y="577"/>
                    <a:pt x="963" y="576"/>
                    <a:pt x="963" y="576"/>
                  </a:cubicBezTo>
                  <a:cubicBezTo>
                    <a:pt x="963" y="575"/>
                    <a:pt x="963" y="575"/>
                    <a:pt x="963" y="575"/>
                  </a:cubicBezTo>
                  <a:cubicBezTo>
                    <a:pt x="963" y="574"/>
                    <a:pt x="963" y="574"/>
                    <a:pt x="963" y="574"/>
                  </a:cubicBezTo>
                  <a:cubicBezTo>
                    <a:pt x="963" y="573"/>
                    <a:pt x="962" y="572"/>
                    <a:pt x="962" y="572"/>
                  </a:cubicBezTo>
                  <a:cubicBezTo>
                    <a:pt x="962" y="571"/>
                    <a:pt x="962" y="571"/>
                    <a:pt x="962" y="571"/>
                  </a:cubicBezTo>
                  <a:cubicBezTo>
                    <a:pt x="962" y="569"/>
                    <a:pt x="962" y="567"/>
                    <a:pt x="961" y="565"/>
                  </a:cubicBezTo>
                  <a:cubicBezTo>
                    <a:pt x="961" y="564"/>
                    <a:pt x="961" y="564"/>
                    <a:pt x="961" y="564"/>
                  </a:cubicBezTo>
                  <a:cubicBezTo>
                    <a:pt x="961" y="562"/>
                    <a:pt x="961" y="561"/>
                    <a:pt x="960" y="560"/>
                  </a:cubicBezTo>
                  <a:cubicBezTo>
                    <a:pt x="960" y="559"/>
                    <a:pt x="960" y="559"/>
                    <a:pt x="960" y="559"/>
                  </a:cubicBezTo>
                  <a:cubicBezTo>
                    <a:pt x="960" y="558"/>
                    <a:pt x="960" y="558"/>
                    <a:pt x="960" y="557"/>
                  </a:cubicBezTo>
                  <a:cubicBezTo>
                    <a:pt x="960" y="557"/>
                    <a:pt x="960" y="556"/>
                    <a:pt x="960" y="556"/>
                  </a:cubicBezTo>
                  <a:cubicBezTo>
                    <a:pt x="959" y="555"/>
                    <a:pt x="959" y="553"/>
                    <a:pt x="959" y="552"/>
                  </a:cubicBezTo>
                  <a:cubicBezTo>
                    <a:pt x="958" y="551"/>
                    <a:pt x="958" y="551"/>
                    <a:pt x="958" y="551"/>
                  </a:cubicBezTo>
                  <a:cubicBezTo>
                    <a:pt x="958" y="550"/>
                    <a:pt x="958" y="549"/>
                    <a:pt x="958" y="548"/>
                  </a:cubicBezTo>
                  <a:cubicBezTo>
                    <a:pt x="957" y="548"/>
                    <a:pt x="957" y="547"/>
                    <a:pt x="957" y="547"/>
                  </a:cubicBezTo>
                  <a:cubicBezTo>
                    <a:pt x="957" y="546"/>
                    <a:pt x="957" y="546"/>
                    <a:pt x="957" y="545"/>
                  </a:cubicBezTo>
                  <a:cubicBezTo>
                    <a:pt x="957" y="545"/>
                    <a:pt x="957" y="545"/>
                    <a:pt x="956" y="544"/>
                  </a:cubicBezTo>
                  <a:cubicBezTo>
                    <a:pt x="956" y="544"/>
                    <a:pt x="956" y="544"/>
                    <a:pt x="956" y="544"/>
                  </a:cubicBezTo>
                  <a:cubicBezTo>
                    <a:pt x="956" y="544"/>
                    <a:pt x="956" y="543"/>
                    <a:pt x="956" y="543"/>
                  </a:cubicBezTo>
                  <a:cubicBezTo>
                    <a:pt x="956" y="543"/>
                    <a:pt x="956" y="542"/>
                    <a:pt x="956" y="542"/>
                  </a:cubicBezTo>
                  <a:cubicBezTo>
                    <a:pt x="955" y="541"/>
                    <a:pt x="955" y="539"/>
                    <a:pt x="954" y="538"/>
                  </a:cubicBezTo>
                  <a:cubicBezTo>
                    <a:pt x="954" y="538"/>
                    <a:pt x="954" y="537"/>
                    <a:pt x="954" y="537"/>
                  </a:cubicBezTo>
                  <a:cubicBezTo>
                    <a:pt x="953" y="535"/>
                    <a:pt x="952" y="533"/>
                    <a:pt x="952" y="532"/>
                  </a:cubicBezTo>
                  <a:cubicBezTo>
                    <a:pt x="951" y="531"/>
                    <a:pt x="951" y="531"/>
                    <a:pt x="951" y="531"/>
                  </a:cubicBezTo>
                  <a:cubicBezTo>
                    <a:pt x="951" y="531"/>
                    <a:pt x="951" y="530"/>
                    <a:pt x="951" y="530"/>
                  </a:cubicBezTo>
                  <a:cubicBezTo>
                    <a:pt x="951" y="530"/>
                    <a:pt x="950" y="530"/>
                    <a:pt x="950" y="529"/>
                  </a:cubicBezTo>
                  <a:cubicBezTo>
                    <a:pt x="949" y="527"/>
                    <a:pt x="948" y="525"/>
                    <a:pt x="947" y="523"/>
                  </a:cubicBezTo>
                  <a:cubicBezTo>
                    <a:pt x="946" y="522"/>
                    <a:pt x="946" y="522"/>
                    <a:pt x="946" y="522"/>
                  </a:cubicBezTo>
                  <a:cubicBezTo>
                    <a:pt x="945" y="519"/>
                    <a:pt x="943" y="517"/>
                    <a:pt x="942" y="515"/>
                  </a:cubicBezTo>
                  <a:cubicBezTo>
                    <a:pt x="942" y="515"/>
                    <a:pt x="941" y="515"/>
                    <a:pt x="941" y="514"/>
                  </a:cubicBezTo>
                  <a:cubicBezTo>
                    <a:pt x="940" y="513"/>
                    <a:pt x="939" y="511"/>
                    <a:pt x="937" y="510"/>
                  </a:cubicBezTo>
                  <a:cubicBezTo>
                    <a:pt x="937" y="509"/>
                    <a:pt x="937" y="509"/>
                    <a:pt x="936" y="509"/>
                  </a:cubicBezTo>
                  <a:cubicBezTo>
                    <a:pt x="935" y="507"/>
                    <a:pt x="934" y="506"/>
                    <a:pt x="932" y="504"/>
                  </a:cubicBezTo>
                  <a:cubicBezTo>
                    <a:pt x="932" y="504"/>
                    <a:pt x="931" y="504"/>
                    <a:pt x="931" y="503"/>
                  </a:cubicBezTo>
                  <a:cubicBezTo>
                    <a:pt x="931" y="503"/>
                    <a:pt x="931" y="503"/>
                    <a:pt x="931" y="503"/>
                  </a:cubicBezTo>
                  <a:cubicBezTo>
                    <a:pt x="930" y="502"/>
                    <a:pt x="928" y="501"/>
                    <a:pt x="927" y="499"/>
                  </a:cubicBezTo>
                  <a:cubicBezTo>
                    <a:pt x="926" y="499"/>
                    <a:pt x="926" y="499"/>
                    <a:pt x="925" y="498"/>
                  </a:cubicBezTo>
                  <a:cubicBezTo>
                    <a:pt x="923" y="496"/>
                    <a:pt x="921" y="495"/>
                    <a:pt x="918" y="493"/>
                  </a:cubicBezTo>
                  <a:cubicBezTo>
                    <a:pt x="917" y="493"/>
                    <a:pt x="916" y="492"/>
                    <a:pt x="916" y="492"/>
                  </a:cubicBezTo>
                  <a:cubicBezTo>
                    <a:pt x="915" y="491"/>
                    <a:pt x="914" y="491"/>
                    <a:pt x="913" y="490"/>
                  </a:cubicBezTo>
                  <a:cubicBezTo>
                    <a:pt x="911" y="489"/>
                    <a:pt x="910" y="489"/>
                    <a:pt x="908" y="488"/>
                  </a:cubicBezTo>
                  <a:cubicBezTo>
                    <a:pt x="901" y="484"/>
                    <a:pt x="893" y="482"/>
                    <a:pt x="884" y="480"/>
                  </a:cubicBezTo>
                  <a:cubicBezTo>
                    <a:pt x="883" y="480"/>
                    <a:pt x="883" y="479"/>
                    <a:pt x="882" y="479"/>
                  </a:cubicBezTo>
                  <a:cubicBezTo>
                    <a:pt x="880" y="479"/>
                    <a:pt x="877" y="478"/>
                    <a:pt x="875" y="478"/>
                  </a:cubicBezTo>
                  <a:cubicBezTo>
                    <a:pt x="874" y="478"/>
                    <a:pt x="874" y="478"/>
                    <a:pt x="874" y="478"/>
                  </a:cubicBezTo>
                  <a:cubicBezTo>
                    <a:pt x="873" y="478"/>
                    <a:pt x="873" y="478"/>
                    <a:pt x="873" y="478"/>
                  </a:cubicBezTo>
                  <a:cubicBezTo>
                    <a:pt x="872" y="477"/>
                    <a:pt x="871" y="477"/>
                    <a:pt x="871" y="477"/>
                  </a:cubicBezTo>
                  <a:cubicBezTo>
                    <a:pt x="861" y="476"/>
                    <a:pt x="852" y="475"/>
                    <a:pt x="842" y="475"/>
                  </a:cubicBezTo>
                  <a:cubicBezTo>
                    <a:pt x="838" y="475"/>
                    <a:pt x="834" y="475"/>
                    <a:pt x="830" y="476"/>
                  </a:cubicBezTo>
                  <a:cubicBezTo>
                    <a:pt x="829" y="476"/>
                    <a:pt x="828" y="476"/>
                    <a:pt x="828" y="476"/>
                  </a:cubicBezTo>
                  <a:cubicBezTo>
                    <a:pt x="820" y="476"/>
                    <a:pt x="812" y="477"/>
                    <a:pt x="803" y="478"/>
                  </a:cubicBezTo>
                  <a:cubicBezTo>
                    <a:pt x="803" y="478"/>
                    <a:pt x="802" y="478"/>
                    <a:pt x="802" y="478"/>
                  </a:cubicBezTo>
                  <a:cubicBezTo>
                    <a:pt x="798" y="478"/>
                    <a:pt x="794" y="479"/>
                    <a:pt x="790" y="479"/>
                  </a:cubicBezTo>
                  <a:cubicBezTo>
                    <a:pt x="789" y="480"/>
                    <a:pt x="788" y="480"/>
                    <a:pt x="787" y="480"/>
                  </a:cubicBezTo>
                  <a:cubicBezTo>
                    <a:pt x="777" y="482"/>
                    <a:pt x="765" y="484"/>
                    <a:pt x="754" y="486"/>
                  </a:cubicBezTo>
                  <a:cubicBezTo>
                    <a:pt x="754" y="486"/>
                    <a:pt x="753" y="486"/>
                    <a:pt x="753" y="486"/>
                  </a:cubicBezTo>
                  <a:cubicBezTo>
                    <a:pt x="749" y="487"/>
                    <a:pt x="745" y="488"/>
                    <a:pt x="741" y="489"/>
                  </a:cubicBezTo>
                  <a:cubicBezTo>
                    <a:pt x="740" y="489"/>
                    <a:pt x="740" y="489"/>
                    <a:pt x="739" y="489"/>
                  </a:cubicBezTo>
                  <a:cubicBezTo>
                    <a:pt x="735" y="490"/>
                    <a:pt x="731" y="491"/>
                    <a:pt x="727" y="492"/>
                  </a:cubicBezTo>
                  <a:cubicBezTo>
                    <a:pt x="726" y="492"/>
                    <a:pt x="726" y="493"/>
                    <a:pt x="725" y="493"/>
                  </a:cubicBezTo>
                  <a:cubicBezTo>
                    <a:pt x="724" y="493"/>
                    <a:pt x="723" y="493"/>
                    <a:pt x="722" y="493"/>
                  </a:cubicBezTo>
                  <a:cubicBezTo>
                    <a:pt x="722" y="493"/>
                    <a:pt x="722" y="493"/>
                    <a:pt x="722" y="493"/>
                  </a:cubicBezTo>
                  <a:cubicBezTo>
                    <a:pt x="721" y="494"/>
                    <a:pt x="720" y="494"/>
                    <a:pt x="720" y="494"/>
                  </a:cubicBezTo>
                  <a:cubicBezTo>
                    <a:pt x="717" y="495"/>
                    <a:pt x="715" y="495"/>
                    <a:pt x="713" y="496"/>
                  </a:cubicBezTo>
                  <a:cubicBezTo>
                    <a:pt x="712" y="496"/>
                    <a:pt x="712" y="496"/>
                    <a:pt x="712" y="496"/>
                  </a:cubicBezTo>
                  <a:cubicBezTo>
                    <a:pt x="710" y="497"/>
                    <a:pt x="708" y="497"/>
                    <a:pt x="706" y="498"/>
                  </a:cubicBezTo>
                  <a:cubicBezTo>
                    <a:pt x="705" y="498"/>
                    <a:pt x="704" y="498"/>
                    <a:pt x="704" y="498"/>
                  </a:cubicBezTo>
                  <a:cubicBezTo>
                    <a:pt x="698" y="500"/>
                    <a:pt x="691" y="502"/>
                    <a:pt x="685" y="503"/>
                  </a:cubicBezTo>
                  <a:cubicBezTo>
                    <a:pt x="684" y="504"/>
                    <a:pt x="684" y="504"/>
                    <a:pt x="683" y="504"/>
                  </a:cubicBezTo>
                  <a:cubicBezTo>
                    <a:pt x="683" y="504"/>
                    <a:pt x="682" y="504"/>
                    <a:pt x="682" y="504"/>
                  </a:cubicBezTo>
                  <a:cubicBezTo>
                    <a:pt x="681" y="504"/>
                    <a:pt x="681" y="504"/>
                    <a:pt x="681" y="505"/>
                  </a:cubicBezTo>
                  <a:cubicBezTo>
                    <a:pt x="664" y="509"/>
                    <a:pt x="646" y="515"/>
                    <a:pt x="629" y="520"/>
                  </a:cubicBezTo>
                  <a:cubicBezTo>
                    <a:pt x="628" y="521"/>
                    <a:pt x="628" y="521"/>
                    <a:pt x="627" y="521"/>
                  </a:cubicBezTo>
                  <a:cubicBezTo>
                    <a:pt x="619" y="524"/>
                    <a:pt x="610" y="526"/>
                    <a:pt x="602" y="529"/>
                  </a:cubicBezTo>
                  <a:cubicBezTo>
                    <a:pt x="601" y="529"/>
                    <a:pt x="601" y="529"/>
                    <a:pt x="601" y="529"/>
                  </a:cubicBezTo>
                  <a:cubicBezTo>
                    <a:pt x="600" y="530"/>
                    <a:pt x="600" y="530"/>
                    <a:pt x="599" y="530"/>
                  </a:cubicBezTo>
                  <a:cubicBezTo>
                    <a:pt x="592" y="532"/>
                    <a:pt x="585" y="535"/>
                    <a:pt x="578" y="537"/>
                  </a:cubicBezTo>
                  <a:cubicBezTo>
                    <a:pt x="577" y="537"/>
                    <a:pt x="577" y="538"/>
                    <a:pt x="576" y="538"/>
                  </a:cubicBezTo>
                  <a:cubicBezTo>
                    <a:pt x="570" y="540"/>
                    <a:pt x="563" y="542"/>
                    <a:pt x="557" y="544"/>
                  </a:cubicBezTo>
                  <a:cubicBezTo>
                    <a:pt x="556" y="544"/>
                    <a:pt x="556" y="545"/>
                    <a:pt x="555" y="545"/>
                  </a:cubicBezTo>
                  <a:cubicBezTo>
                    <a:pt x="549" y="547"/>
                    <a:pt x="543" y="549"/>
                    <a:pt x="537" y="551"/>
                  </a:cubicBezTo>
                  <a:cubicBezTo>
                    <a:pt x="537" y="551"/>
                    <a:pt x="536" y="551"/>
                    <a:pt x="536" y="552"/>
                  </a:cubicBezTo>
                  <a:cubicBezTo>
                    <a:pt x="531" y="553"/>
                    <a:pt x="526" y="555"/>
                    <a:pt x="522" y="556"/>
                  </a:cubicBezTo>
                  <a:cubicBezTo>
                    <a:pt x="521" y="556"/>
                    <a:pt x="521" y="557"/>
                    <a:pt x="520" y="557"/>
                  </a:cubicBezTo>
                  <a:cubicBezTo>
                    <a:pt x="520" y="557"/>
                    <a:pt x="519" y="557"/>
                    <a:pt x="518" y="557"/>
                  </a:cubicBezTo>
                  <a:cubicBezTo>
                    <a:pt x="518" y="558"/>
                    <a:pt x="517" y="558"/>
                    <a:pt x="517" y="558"/>
                  </a:cubicBezTo>
                  <a:cubicBezTo>
                    <a:pt x="511" y="560"/>
                    <a:pt x="506" y="562"/>
                    <a:pt x="500" y="564"/>
                  </a:cubicBezTo>
                  <a:cubicBezTo>
                    <a:pt x="499" y="564"/>
                    <a:pt x="499" y="564"/>
                    <a:pt x="498" y="564"/>
                  </a:cubicBezTo>
                  <a:cubicBezTo>
                    <a:pt x="493" y="566"/>
                    <a:pt x="487" y="568"/>
                    <a:pt x="482" y="570"/>
                  </a:cubicBezTo>
                  <a:cubicBezTo>
                    <a:pt x="481" y="570"/>
                    <a:pt x="481" y="571"/>
                    <a:pt x="480" y="571"/>
                  </a:cubicBezTo>
                  <a:cubicBezTo>
                    <a:pt x="474" y="573"/>
                    <a:pt x="469" y="575"/>
                    <a:pt x="464" y="576"/>
                  </a:cubicBezTo>
                  <a:cubicBezTo>
                    <a:pt x="463" y="577"/>
                    <a:pt x="462" y="577"/>
                    <a:pt x="462" y="577"/>
                  </a:cubicBezTo>
                  <a:cubicBezTo>
                    <a:pt x="455" y="579"/>
                    <a:pt x="448" y="582"/>
                    <a:pt x="441" y="584"/>
                  </a:cubicBezTo>
                  <a:cubicBezTo>
                    <a:pt x="440" y="584"/>
                    <a:pt x="440" y="585"/>
                    <a:pt x="439" y="585"/>
                  </a:cubicBezTo>
                  <a:cubicBezTo>
                    <a:pt x="438" y="585"/>
                    <a:pt x="436" y="586"/>
                    <a:pt x="435" y="586"/>
                  </a:cubicBezTo>
                  <a:cubicBezTo>
                    <a:pt x="435" y="586"/>
                    <a:pt x="434" y="587"/>
                    <a:pt x="433" y="587"/>
                  </a:cubicBezTo>
                  <a:cubicBezTo>
                    <a:pt x="423" y="590"/>
                    <a:pt x="412" y="594"/>
                    <a:pt x="402" y="597"/>
                  </a:cubicBezTo>
                  <a:cubicBezTo>
                    <a:pt x="401" y="598"/>
                    <a:pt x="401" y="598"/>
                    <a:pt x="400" y="598"/>
                  </a:cubicBezTo>
                  <a:cubicBezTo>
                    <a:pt x="390" y="601"/>
                    <a:pt x="379" y="605"/>
                    <a:pt x="369" y="608"/>
                  </a:cubicBezTo>
                  <a:cubicBezTo>
                    <a:pt x="368" y="608"/>
                    <a:pt x="368" y="609"/>
                    <a:pt x="367" y="609"/>
                  </a:cubicBezTo>
                  <a:cubicBezTo>
                    <a:pt x="366" y="609"/>
                    <a:pt x="366" y="609"/>
                    <a:pt x="366" y="609"/>
                  </a:cubicBezTo>
                  <a:cubicBezTo>
                    <a:pt x="356" y="612"/>
                    <a:pt x="346" y="615"/>
                    <a:pt x="336" y="618"/>
                  </a:cubicBezTo>
                  <a:cubicBezTo>
                    <a:pt x="336" y="619"/>
                    <a:pt x="335" y="619"/>
                    <a:pt x="334" y="619"/>
                  </a:cubicBezTo>
                  <a:cubicBezTo>
                    <a:pt x="327" y="621"/>
                    <a:pt x="320" y="623"/>
                    <a:pt x="314" y="625"/>
                  </a:cubicBezTo>
                  <a:cubicBezTo>
                    <a:pt x="313" y="625"/>
                    <a:pt x="312" y="626"/>
                    <a:pt x="312" y="626"/>
                  </a:cubicBezTo>
                  <a:cubicBezTo>
                    <a:pt x="310" y="626"/>
                    <a:pt x="308" y="627"/>
                    <a:pt x="307" y="627"/>
                  </a:cubicBezTo>
                  <a:cubicBezTo>
                    <a:pt x="306" y="627"/>
                    <a:pt x="305" y="628"/>
                    <a:pt x="304" y="628"/>
                  </a:cubicBezTo>
                  <a:cubicBezTo>
                    <a:pt x="293" y="631"/>
                    <a:pt x="283" y="634"/>
                    <a:pt x="272" y="637"/>
                  </a:cubicBezTo>
                  <a:cubicBezTo>
                    <a:pt x="271" y="637"/>
                    <a:pt x="270" y="638"/>
                    <a:pt x="269" y="638"/>
                  </a:cubicBezTo>
                  <a:cubicBezTo>
                    <a:pt x="268" y="638"/>
                    <a:pt x="267" y="638"/>
                    <a:pt x="267" y="638"/>
                  </a:cubicBezTo>
                  <a:cubicBezTo>
                    <a:pt x="266" y="639"/>
                    <a:pt x="265" y="639"/>
                    <a:pt x="265" y="639"/>
                  </a:cubicBezTo>
                  <a:cubicBezTo>
                    <a:pt x="255" y="641"/>
                    <a:pt x="246" y="644"/>
                    <a:pt x="237" y="646"/>
                  </a:cubicBezTo>
                  <a:cubicBezTo>
                    <a:pt x="235" y="646"/>
                    <a:pt x="234" y="647"/>
                    <a:pt x="233" y="647"/>
                  </a:cubicBezTo>
                  <a:cubicBezTo>
                    <a:pt x="230" y="648"/>
                    <a:pt x="228" y="648"/>
                    <a:pt x="226" y="649"/>
                  </a:cubicBezTo>
                  <a:cubicBezTo>
                    <a:pt x="225" y="649"/>
                    <a:pt x="224" y="649"/>
                    <a:pt x="223" y="649"/>
                  </a:cubicBezTo>
                  <a:cubicBezTo>
                    <a:pt x="218" y="651"/>
                    <a:pt x="213" y="652"/>
                    <a:pt x="208" y="653"/>
                  </a:cubicBezTo>
                  <a:cubicBezTo>
                    <a:pt x="207" y="653"/>
                    <a:pt x="205" y="654"/>
                    <a:pt x="203" y="654"/>
                  </a:cubicBezTo>
                  <a:cubicBezTo>
                    <a:pt x="194" y="656"/>
                    <a:pt x="185" y="658"/>
                    <a:pt x="175" y="659"/>
                  </a:cubicBezTo>
                  <a:cubicBezTo>
                    <a:pt x="172" y="660"/>
                    <a:pt x="169" y="661"/>
                    <a:pt x="165" y="661"/>
                  </a:cubicBezTo>
                  <a:cubicBezTo>
                    <a:pt x="142" y="665"/>
                    <a:pt x="120" y="668"/>
                    <a:pt x="99" y="670"/>
                  </a:cubicBezTo>
                  <a:cubicBezTo>
                    <a:pt x="89" y="671"/>
                    <a:pt x="80" y="671"/>
                    <a:pt x="71" y="671"/>
                  </a:cubicBezTo>
                  <a:cubicBezTo>
                    <a:pt x="71" y="671"/>
                    <a:pt x="71" y="671"/>
                    <a:pt x="70" y="671"/>
                  </a:cubicBezTo>
                  <a:cubicBezTo>
                    <a:pt x="21" y="671"/>
                    <a:pt x="1" y="658"/>
                    <a:pt x="1" y="637"/>
                  </a:cubicBezTo>
                  <a:cubicBezTo>
                    <a:pt x="1" y="599"/>
                    <a:pt x="66" y="534"/>
                    <a:pt x="159" y="471"/>
                  </a:cubicBezTo>
                  <a:cubicBezTo>
                    <a:pt x="159" y="471"/>
                    <a:pt x="160" y="471"/>
                    <a:pt x="160" y="471"/>
                  </a:cubicBezTo>
                  <a:cubicBezTo>
                    <a:pt x="168" y="465"/>
                    <a:pt x="176" y="460"/>
                    <a:pt x="184" y="455"/>
                  </a:cubicBezTo>
                  <a:cubicBezTo>
                    <a:pt x="184" y="455"/>
                    <a:pt x="184" y="455"/>
                    <a:pt x="185" y="455"/>
                  </a:cubicBezTo>
                  <a:cubicBezTo>
                    <a:pt x="193" y="450"/>
                    <a:pt x="201" y="445"/>
                    <a:pt x="209" y="440"/>
                  </a:cubicBezTo>
                  <a:cubicBezTo>
                    <a:pt x="210" y="439"/>
                    <a:pt x="210" y="439"/>
                    <a:pt x="210" y="439"/>
                  </a:cubicBezTo>
                  <a:cubicBezTo>
                    <a:pt x="215" y="436"/>
                    <a:pt x="219" y="434"/>
                    <a:pt x="224" y="431"/>
                  </a:cubicBezTo>
                  <a:cubicBezTo>
                    <a:pt x="228" y="429"/>
                    <a:pt x="232" y="426"/>
                    <a:pt x="236" y="424"/>
                  </a:cubicBezTo>
                  <a:cubicBezTo>
                    <a:pt x="236" y="424"/>
                    <a:pt x="237" y="423"/>
                    <a:pt x="237" y="423"/>
                  </a:cubicBezTo>
                  <a:cubicBezTo>
                    <a:pt x="240" y="422"/>
                    <a:pt x="243" y="420"/>
                    <a:pt x="246" y="418"/>
                  </a:cubicBezTo>
                  <a:cubicBezTo>
                    <a:pt x="246" y="418"/>
                    <a:pt x="246" y="418"/>
                    <a:pt x="246" y="418"/>
                  </a:cubicBezTo>
                  <a:cubicBezTo>
                    <a:pt x="247" y="418"/>
                    <a:pt x="247" y="417"/>
                    <a:pt x="248" y="417"/>
                  </a:cubicBezTo>
                  <a:cubicBezTo>
                    <a:pt x="248" y="417"/>
                    <a:pt x="249" y="417"/>
                    <a:pt x="250" y="416"/>
                  </a:cubicBezTo>
                  <a:cubicBezTo>
                    <a:pt x="250" y="416"/>
                    <a:pt x="250" y="416"/>
                    <a:pt x="251" y="415"/>
                  </a:cubicBezTo>
                  <a:cubicBezTo>
                    <a:pt x="251" y="415"/>
                    <a:pt x="252" y="415"/>
                    <a:pt x="252" y="415"/>
                  </a:cubicBezTo>
                  <a:cubicBezTo>
                    <a:pt x="253" y="414"/>
                    <a:pt x="254" y="414"/>
                    <a:pt x="254" y="414"/>
                  </a:cubicBezTo>
                  <a:cubicBezTo>
                    <a:pt x="255" y="413"/>
                    <a:pt x="255" y="413"/>
                    <a:pt x="256" y="413"/>
                  </a:cubicBezTo>
                  <a:cubicBezTo>
                    <a:pt x="259" y="411"/>
                    <a:pt x="263" y="409"/>
                    <a:pt x="266" y="407"/>
                  </a:cubicBezTo>
                  <a:cubicBezTo>
                    <a:pt x="267" y="407"/>
                    <a:pt x="267" y="407"/>
                    <a:pt x="267" y="407"/>
                  </a:cubicBezTo>
                  <a:cubicBezTo>
                    <a:pt x="268" y="407"/>
                    <a:pt x="268" y="406"/>
                    <a:pt x="268" y="406"/>
                  </a:cubicBezTo>
                  <a:cubicBezTo>
                    <a:pt x="269" y="406"/>
                    <a:pt x="269" y="406"/>
                    <a:pt x="269" y="406"/>
                  </a:cubicBezTo>
                  <a:cubicBezTo>
                    <a:pt x="270" y="405"/>
                    <a:pt x="271" y="405"/>
                    <a:pt x="272" y="404"/>
                  </a:cubicBezTo>
                  <a:cubicBezTo>
                    <a:pt x="272" y="404"/>
                    <a:pt x="272" y="404"/>
                    <a:pt x="272" y="404"/>
                  </a:cubicBezTo>
                  <a:cubicBezTo>
                    <a:pt x="273" y="404"/>
                    <a:pt x="273" y="404"/>
                    <a:pt x="273" y="403"/>
                  </a:cubicBezTo>
                  <a:cubicBezTo>
                    <a:pt x="274" y="403"/>
                    <a:pt x="275" y="403"/>
                    <a:pt x="276" y="402"/>
                  </a:cubicBezTo>
                  <a:cubicBezTo>
                    <a:pt x="276" y="402"/>
                    <a:pt x="276" y="402"/>
                    <a:pt x="277" y="402"/>
                  </a:cubicBezTo>
                  <a:cubicBezTo>
                    <a:pt x="280" y="400"/>
                    <a:pt x="284" y="398"/>
                    <a:pt x="287" y="396"/>
                  </a:cubicBezTo>
                  <a:cubicBezTo>
                    <a:pt x="288" y="396"/>
                    <a:pt x="288" y="396"/>
                    <a:pt x="289" y="395"/>
                  </a:cubicBezTo>
                  <a:cubicBezTo>
                    <a:pt x="290" y="395"/>
                    <a:pt x="292" y="394"/>
                    <a:pt x="293" y="393"/>
                  </a:cubicBezTo>
                  <a:cubicBezTo>
                    <a:pt x="293" y="393"/>
                    <a:pt x="294" y="393"/>
                    <a:pt x="294" y="393"/>
                  </a:cubicBezTo>
                  <a:cubicBezTo>
                    <a:pt x="297" y="391"/>
                    <a:pt x="300" y="390"/>
                    <a:pt x="303" y="388"/>
                  </a:cubicBezTo>
                  <a:cubicBezTo>
                    <a:pt x="304" y="388"/>
                    <a:pt x="304" y="388"/>
                    <a:pt x="304" y="388"/>
                  </a:cubicBezTo>
                  <a:cubicBezTo>
                    <a:pt x="306" y="387"/>
                    <a:pt x="307" y="386"/>
                    <a:pt x="308" y="386"/>
                  </a:cubicBezTo>
                  <a:cubicBezTo>
                    <a:pt x="311" y="384"/>
                    <a:pt x="314" y="383"/>
                    <a:pt x="316" y="382"/>
                  </a:cubicBezTo>
                  <a:cubicBezTo>
                    <a:pt x="321" y="380"/>
                    <a:pt x="326" y="377"/>
                    <a:pt x="330" y="375"/>
                  </a:cubicBezTo>
                  <a:cubicBezTo>
                    <a:pt x="331" y="375"/>
                    <a:pt x="331" y="375"/>
                    <a:pt x="332" y="375"/>
                  </a:cubicBezTo>
                  <a:cubicBezTo>
                    <a:pt x="332" y="374"/>
                    <a:pt x="332" y="374"/>
                    <a:pt x="333" y="374"/>
                  </a:cubicBezTo>
                  <a:cubicBezTo>
                    <a:pt x="333" y="374"/>
                    <a:pt x="334" y="374"/>
                    <a:pt x="334" y="373"/>
                  </a:cubicBezTo>
                  <a:cubicBezTo>
                    <a:pt x="336" y="373"/>
                    <a:pt x="337" y="372"/>
                    <a:pt x="339" y="371"/>
                  </a:cubicBezTo>
                  <a:cubicBezTo>
                    <a:pt x="340" y="371"/>
                    <a:pt x="340" y="371"/>
                    <a:pt x="341" y="371"/>
                  </a:cubicBezTo>
                  <a:cubicBezTo>
                    <a:pt x="343" y="370"/>
                    <a:pt x="345" y="369"/>
                    <a:pt x="347" y="368"/>
                  </a:cubicBezTo>
                  <a:cubicBezTo>
                    <a:pt x="347" y="368"/>
                    <a:pt x="348" y="367"/>
                    <a:pt x="348" y="367"/>
                  </a:cubicBezTo>
                  <a:cubicBezTo>
                    <a:pt x="348" y="367"/>
                    <a:pt x="348" y="367"/>
                    <a:pt x="348" y="367"/>
                  </a:cubicBezTo>
                  <a:cubicBezTo>
                    <a:pt x="349" y="367"/>
                    <a:pt x="349" y="367"/>
                    <a:pt x="350" y="366"/>
                  </a:cubicBezTo>
                  <a:cubicBezTo>
                    <a:pt x="351" y="366"/>
                    <a:pt x="351" y="366"/>
                    <a:pt x="352" y="365"/>
                  </a:cubicBezTo>
                  <a:cubicBezTo>
                    <a:pt x="353" y="365"/>
                    <a:pt x="353" y="365"/>
                    <a:pt x="354" y="365"/>
                  </a:cubicBezTo>
                  <a:cubicBezTo>
                    <a:pt x="354" y="365"/>
                    <a:pt x="354" y="364"/>
                    <a:pt x="355" y="364"/>
                  </a:cubicBezTo>
                  <a:cubicBezTo>
                    <a:pt x="355" y="364"/>
                    <a:pt x="356" y="364"/>
                    <a:pt x="356" y="364"/>
                  </a:cubicBezTo>
                  <a:cubicBezTo>
                    <a:pt x="356" y="364"/>
                    <a:pt x="356" y="364"/>
                    <a:pt x="357" y="363"/>
                  </a:cubicBezTo>
                  <a:cubicBezTo>
                    <a:pt x="357" y="363"/>
                    <a:pt x="357" y="363"/>
                    <a:pt x="357" y="363"/>
                  </a:cubicBezTo>
                  <a:cubicBezTo>
                    <a:pt x="357" y="363"/>
                    <a:pt x="358" y="363"/>
                    <a:pt x="358" y="363"/>
                  </a:cubicBezTo>
                  <a:cubicBezTo>
                    <a:pt x="358" y="363"/>
                    <a:pt x="358" y="363"/>
                    <a:pt x="358" y="363"/>
                  </a:cubicBezTo>
                  <a:cubicBezTo>
                    <a:pt x="358" y="363"/>
                    <a:pt x="359" y="362"/>
                    <a:pt x="359" y="362"/>
                  </a:cubicBezTo>
                  <a:cubicBezTo>
                    <a:pt x="359" y="362"/>
                    <a:pt x="359" y="362"/>
                    <a:pt x="360" y="362"/>
                  </a:cubicBezTo>
                  <a:cubicBezTo>
                    <a:pt x="360" y="362"/>
                    <a:pt x="360" y="362"/>
                    <a:pt x="360" y="362"/>
                  </a:cubicBezTo>
                  <a:cubicBezTo>
                    <a:pt x="361" y="362"/>
                    <a:pt x="361" y="362"/>
                    <a:pt x="361" y="361"/>
                  </a:cubicBezTo>
                  <a:cubicBezTo>
                    <a:pt x="361" y="361"/>
                    <a:pt x="362" y="361"/>
                    <a:pt x="362" y="361"/>
                  </a:cubicBezTo>
                  <a:cubicBezTo>
                    <a:pt x="363" y="361"/>
                    <a:pt x="364" y="360"/>
                    <a:pt x="365" y="360"/>
                  </a:cubicBezTo>
                  <a:cubicBezTo>
                    <a:pt x="365" y="360"/>
                    <a:pt x="366" y="360"/>
                    <a:pt x="366" y="359"/>
                  </a:cubicBezTo>
                  <a:cubicBezTo>
                    <a:pt x="366" y="359"/>
                    <a:pt x="367" y="359"/>
                    <a:pt x="367" y="359"/>
                  </a:cubicBezTo>
                  <a:cubicBezTo>
                    <a:pt x="367" y="359"/>
                    <a:pt x="368" y="359"/>
                    <a:pt x="368" y="358"/>
                  </a:cubicBezTo>
                  <a:cubicBezTo>
                    <a:pt x="369" y="358"/>
                    <a:pt x="369" y="358"/>
                    <a:pt x="370" y="358"/>
                  </a:cubicBezTo>
                  <a:cubicBezTo>
                    <a:pt x="370" y="358"/>
                    <a:pt x="370" y="358"/>
                    <a:pt x="370" y="358"/>
                  </a:cubicBezTo>
                  <a:cubicBezTo>
                    <a:pt x="371" y="357"/>
                    <a:pt x="372" y="357"/>
                    <a:pt x="373" y="357"/>
                  </a:cubicBezTo>
                  <a:cubicBezTo>
                    <a:pt x="373" y="356"/>
                    <a:pt x="373" y="356"/>
                    <a:pt x="374" y="356"/>
                  </a:cubicBezTo>
                  <a:cubicBezTo>
                    <a:pt x="375" y="355"/>
                    <a:pt x="377" y="355"/>
                    <a:pt x="378" y="354"/>
                  </a:cubicBezTo>
                  <a:cubicBezTo>
                    <a:pt x="379" y="354"/>
                    <a:pt x="379" y="354"/>
                    <a:pt x="379" y="354"/>
                  </a:cubicBezTo>
                  <a:cubicBezTo>
                    <a:pt x="379" y="354"/>
                    <a:pt x="380" y="354"/>
                    <a:pt x="380" y="354"/>
                  </a:cubicBezTo>
                  <a:cubicBezTo>
                    <a:pt x="380" y="353"/>
                    <a:pt x="381" y="353"/>
                    <a:pt x="381" y="353"/>
                  </a:cubicBezTo>
                  <a:cubicBezTo>
                    <a:pt x="381" y="353"/>
                    <a:pt x="381" y="353"/>
                    <a:pt x="381" y="353"/>
                  </a:cubicBezTo>
                  <a:cubicBezTo>
                    <a:pt x="382" y="353"/>
                    <a:pt x="382" y="353"/>
                    <a:pt x="383" y="352"/>
                  </a:cubicBezTo>
                  <a:cubicBezTo>
                    <a:pt x="389" y="350"/>
                    <a:pt x="396" y="347"/>
                    <a:pt x="402" y="345"/>
                  </a:cubicBezTo>
                  <a:cubicBezTo>
                    <a:pt x="403" y="345"/>
                    <a:pt x="403" y="345"/>
                    <a:pt x="403" y="344"/>
                  </a:cubicBezTo>
                  <a:cubicBezTo>
                    <a:pt x="403" y="344"/>
                    <a:pt x="404" y="344"/>
                    <a:pt x="404" y="344"/>
                  </a:cubicBezTo>
                  <a:cubicBezTo>
                    <a:pt x="416" y="340"/>
                    <a:pt x="428" y="335"/>
                    <a:pt x="439" y="331"/>
                  </a:cubicBezTo>
                  <a:cubicBezTo>
                    <a:pt x="440" y="331"/>
                    <a:pt x="440" y="331"/>
                    <a:pt x="441" y="331"/>
                  </a:cubicBezTo>
                  <a:cubicBezTo>
                    <a:pt x="445" y="329"/>
                    <a:pt x="449" y="328"/>
                    <a:pt x="453" y="327"/>
                  </a:cubicBezTo>
                  <a:cubicBezTo>
                    <a:pt x="454" y="326"/>
                    <a:pt x="455" y="326"/>
                    <a:pt x="456" y="326"/>
                  </a:cubicBezTo>
                  <a:cubicBezTo>
                    <a:pt x="464" y="323"/>
                    <a:pt x="473" y="321"/>
                    <a:pt x="481" y="318"/>
                  </a:cubicBezTo>
                  <a:cubicBezTo>
                    <a:pt x="481" y="318"/>
                    <a:pt x="482" y="318"/>
                    <a:pt x="482" y="318"/>
                  </a:cubicBezTo>
                  <a:cubicBezTo>
                    <a:pt x="491" y="316"/>
                    <a:pt x="499" y="313"/>
                    <a:pt x="507" y="311"/>
                  </a:cubicBezTo>
                  <a:cubicBezTo>
                    <a:pt x="510" y="311"/>
                    <a:pt x="513" y="310"/>
                    <a:pt x="515" y="309"/>
                  </a:cubicBezTo>
                  <a:cubicBezTo>
                    <a:pt x="516" y="309"/>
                    <a:pt x="517" y="309"/>
                    <a:pt x="518" y="309"/>
                  </a:cubicBezTo>
                  <a:cubicBezTo>
                    <a:pt x="519" y="309"/>
                    <a:pt x="519" y="309"/>
                    <a:pt x="520" y="308"/>
                  </a:cubicBezTo>
                  <a:cubicBezTo>
                    <a:pt x="520" y="308"/>
                    <a:pt x="520" y="308"/>
                    <a:pt x="521" y="308"/>
                  </a:cubicBezTo>
                  <a:cubicBezTo>
                    <a:pt x="521" y="308"/>
                    <a:pt x="521" y="308"/>
                    <a:pt x="521" y="308"/>
                  </a:cubicBezTo>
                  <a:cubicBezTo>
                    <a:pt x="523" y="308"/>
                    <a:pt x="524" y="308"/>
                    <a:pt x="525" y="307"/>
                  </a:cubicBezTo>
                  <a:cubicBezTo>
                    <a:pt x="526" y="307"/>
                    <a:pt x="526" y="307"/>
                    <a:pt x="527" y="307"/>
                  </a:cubicBezTo>
                  <a:cubicBezTo>
                    <a:pt x="528" y="307"/>
                    <a:pt x="528" y="307"/>
                    <a:pt x="529" y="306"/>
                  </a:cubicBezTo>
                  <a:cubicBezTo>
                    <a:pt x="530" y="306"/>
                    <a:pt x="532" y="306"/>
                    <a:pt x="533" y="305"/>
                  </a:cubicBezTo>
                  <a:cubicBezTo>
                    <a:pt x="534" y="305"/>
                    <a:pt x="534" y="305"/>
                    <a:pt x="535" y="305"/>
                  </a:cubicBezTo>
                  <a:cubicBezTo>
                    <a:pt x="536" y="305"/>
                    <a:pt x="536" y="305"/>
                    <a:pt x="537" y="305"/>
                  </a:cubicBezTo>
                  <a:cubicBezTo>
                    <a:pt x="537" y="305"/>
                    <a:pt x="537" y="305"/>
                    <a:pt x="537" y="305"/>
                  </a:cubicBezTo>
                  <a:cubicBezTo>
                    <a:pt x="538" y="305"/>
                    <a:pt x="538" y="305"/>
                    <a:pt x="539" y="304"/>
                  </a:cubicBezTo>
                  <a:cubicBezTo>
                    <a:pt x="539" y="304"/>
                    <a:pt x="539" y="304"/>
                    <a:pt x="539" y="304"/>
                  </a:cubicBezTo>
                  <a:cubicBezTo>
                    <a:pt x="539" y="304"/>
                    <a:pt x="540" y="304"/>
                    <a:pt x="540" y="304"/>
                  </a:cubicBezTo>
                  <a:cubicBezTo>
                    <a:pt x="541" y="304"/>
                    <a:pt x="542" y="304"/>
                    <a:pt x="543" y="304"/>
                  </a:cubicBezTo>
                  <a:cubicBezTo>
                    <a:pt x="544" y="303"/>
                    <a:pt x="545" y="303"/>
                    <a:pt x="546" y="303"/>
                  </a:cubicBezTo>
                  <a:cubicBezTo>
                    <a:pt x="547" y="303"/>
                    <a:pt x="547" y="303"/>
                    <a:pt x="548" y="303"/>
                  </a:cubicBezTo>
                  <a:cubicBezTo>
                    <a:pt x="549" y="303"/>
                    <a:pt x="551" y="302"/>
                    <a:pt x="552" y="302"/>
                  </a:cubicBezTo>
                  <a:cubicBezTo>
                    <a:pt x="555" y="301"/>
                    <a:pt x="559" y="301"/>
                    <a:pt x="562" y="300"/>
                  </a:cubicBezTo>
                  <a:cubicBezTo>
                    <a:pt x="562" y="300"/>
                    <a:pt x="562" y="300"/>
                    <a:pt x="563" y="300"/>
                  </a:cubicBezTo>
                  <a:cubicBezTo>
                    <a:pt x="565" y="300"/>
                    <a:pt x="567" y="300"/>
                    <a:pt x="569" y="299"/>
                  </a:cubicBezTo>
                  <a:cubicBezTo>
                    <a:pt x="571" y="299"/>
                    <a:pt x="572" y="299"/>
                    <a:pt x="574" y="299"/>
                  </a:cubicBezTo>
                  <a:cubicBezTo>
                    <a:pt x="574" y="299"/>
                    <a:pt x="575" y="299"/>
                    <a:pt x="576" y="299"/>
                  </a:cubicBezTo>
                  <a:cubicBezTo>
                    <a:pt x="580" y="298"/>
                    <a:pt x="583" y="298"/>
                    <a:pt x="587" y="297"/>
                  </a:cubicBezTo>
                  <a:cubicBezTo>
                    <a:pt x="588" y="297"/>
                    <a:pt x="589" y="297"/>
                    <a:pt x="590" y="297"/>
                  </a:cubicBezTo>
                  <a:cubicBezTo>
                    <a:pt x="592" y="297"/>
                    <a:pt x="593" y="297"/>
                    <a:pt x="595" y="297"/>
                  </a:cubicBezTo>
                  <a:cubicBezTo>
                    <a:pt x="596" y="297"/>
                    <a:pt x="598" y="296"/>
                    <a:pt x="599" y="296"/>
                  </a:cubicBezTo>
                  <a:cubicBezTo>
                    <a:pt x="601" y="296"/>
                    <a:pt x="603" y="296"/>
                    <a:pt x="606" y="296"/>
                  </a:cubicBezTo>
                  <a:cubicBezTo>
                    <a:pt x="608" y="296"/>
                    <a:pt x="610" y="296"/>
                    <a:pt x="612" y="296"/>
                  </a:cubicBezTo>
                  <a:cubicBezTo>
                    <a:pt x="614" y="296"/>
                    <a:pt x="616" y="296"/>
                    <a:pt x="617" y="296"/>
                  </a:cubicBezTo>
                  <a:cubicBezTo>
                    <a:pt x="618" y="296"/>
                    <a:pt x="619" y="296"/>
                    <a:pt x="620" y="296"/>
                  </a:cubicBezTo>
                  <a:cubicBezTo>
                    <a:pt x="621" y="295"/>
                    <a:pt x="623" y="295"/>
                    <a:pt x="624" y="295"/>
                  </a:cubicBezTo>
                  <a:cubicBezTo>
                    <a:pt x="631" y="295"/>
                    <a:pt x="637" y="296"/>
                    <a:pt x="643" y="296"/>
                  </a:cubicBezTo>
                  <a:cubicBezTo>
                    <a:pt x="644" y="296"/>
                    <a:pt x="645" y="296"/>
                    <a:pt x="645" y="296"/>
                  </a:cubicBezTo>
                  <a:cubicBezTo>
                    <a:pt x="650" y="296"/>
                    <a:pt x="654" y="297"/>
                    <a:pt x="658" y="297"/>
                  </a:cubicBezTo>
                  <a:cubicBezTo>
                    <a:pt x="659" y="297"/>
                    <a:pt x="660" y="298"/>
                    <a:pt x="661" y="298"/>
                  </a:cubicBezTo>
                  <a:cubicBezTo>
                    <a:pt x="664" y="298"/>
                    <a:pt x="666" y="298"/>
                    <a:pt x="668" y="299"/>
                  </a:cubicBezTo>
                  <a:cubicBezTo>
                    <a:pt x="669" y="299"/>
                    <a:pt x="670" y="299"/>
                    <a:pt x="670" y="299"/>
                  </a:cubicBezTo>
                  <a:cubicBezTo>
                    <a:pt x="675" y="300"/>
                    <a:pt x="680" y="301"/>
                    <a:pt x="684" y="302"/>
                  </a:cubicBezTo>
                  <a:cubicBezTo>
                    <a:pt x="684" y="302"/>
                    <a:pt x="684" y="302"/>
                    <a:pt x="684" y="302"/>
                  </a:cubicBezTo>
                  <a:cubicBezTo>
                    <a:pt x="685" y="302"/>
                    <a:pt x="686" y="302"/>
                    <a:pt x="686" y="302"/>
                  </a:cubicBezTo>
                  <a:cubicBezTo>
                    <a:pt x="687" y="302"/>
                    <a:pt x="687" y="302"/>
                    <a:pt x="687" y="302"/>
                  </a:cubicBezTo>
                  <a:cubicBezTo>
                    <a:pt x="687" y="302"/>
                    <a:pt x="688" y="303"/>
                    <a:pt x="688" y="303"/>
                  </a:cubicBezTo>
                  <a:cubicBezTo>
                    <a:pt x="689" y="303"/>
                    <a:pt x="689" y="303"/>
                    <a:pt x="690" y="303"/>
                  </a:cubicBezTo>
                  <a:cubicBezTo>
                    <a:pt x="692" y="304"/>
                    <a:pt x="693" y="304"/>
                    <a:pt x="695" y="304"/>
                  </a:cubicBezTo>
                  <a:cubicBezTo>
                    <a:pt x="696" y="305"/>
                    <a:pt x="697" y="305"/>
                    <a:pt x="697" y="305"/>
                  </a:cubicBezTo>
                  <a:cubicBezTo>
                    <a:pt x="697" y="305"/>
                    <a:pt x="697" y="305"/>
                    <a:pt x="698" y="305"/>
                  </a:cubicBezTo>
                  <a:cubicBezTo>
                    <a:pt x="699" y="306"/>
                    <a:pt x="701" y="306"/>
                    <a:pt x="702" y="307"/>
                  </a:cubicBezTo>
                  <a:cubicBezTo>
                    <a:pt x="703" y="307"/>
                    <a:pt x="703" y="307"/>
                    <a:pt x="704" y="307"/>
                  </a:cubicBezTo>
                  <a:cubicBezTo>
                    <a:pt x="704" y="307"/>
                    <a:pt x="704" y="307"/>
                    <a:pt x="704" y="307"/>
                  </a:cubicBezTo>
                  <a:cubicBezTo>
                    <a:pt x="705" y="307"/>
                    <a:pt x="705" y="308"/>
                    <a:pt x="706" y="308"/>
                  </a:cubicBezTo>
                  <a:cubicBezTo>
                    <a:pt x="707" y="308"/>
                    <a:pt x="708" y="308"/>
                    <a:pt x="709" y="309"/>
                  </a:cubicBezTo>
                  <a:cubicBezTo>
                    <a:pt x="710" y="309"/>
                    <a:pt x="711" y="309"/>
                    <a:pt x="712" y="309"/>
                  </a:cubicBezTo>
                  <a:cubicBezTo>
                    <a:pt x="714" y="310"/>
                    <a:pt x="715" y="310"/>
                    <a:pt x="717" y="311"/>
                  </a:cubicBezTo>
                  <a:cubicBezTo>
                    <a:pt x="718" y="311"/>
                    <a:pt x="718" y="311"/>
                    <a:pt x="719" y="311"/>
                  </a:cubicBezTo>
                  <a:cubicBezTo>
                    <a:pt x="719" y="311"/>
                    <a:pt x="719" y="311"/>
                    <a:pt x="720" y="311"/>
                  </a:cubicBezTo>
                  <a:cubicBezTo>
                    <a:pt x="723" y="312"/>
                    <a:pt x="726" y="313"/>
                    <a:pt x="730" y="314"/>
                  </a:cubicBezTo>
                  <a:cubicBezTo>
                    <a:pt x="730" y="314"/>
                    <a:pt x="731" y="314"/>
                    <a:pt x="732" y="314"/>
                  </a:cubicBezTo>
                  <a:cubicBezTo>
                    <a:pt x="732" y="314"/>
                    <a:pt x="732" y="314"/>
                    <a:pt x="732" y="314"/>
                  </a:cubicBezTo>
                  <a:cubicBezTo>
                    <a:pt x="733" y="315"/>
                    <a:pt x="735" y="315"/>
                    <a:pt x="736" y="315"/>
                  </a:cubicBezTo>
                  <a:cubicBezTo>
                    <a:pt x="745" y="317"/>
                    <a:pt x="753" y="318"/>
                    <a:pt x="759" y="318"/>
                  </a:cubicBezTo>
                  <a:cubicBezTo>
                    <a:pt x="762" y="318"/>
                    <a:pt x="764" y="318"/>
                    <a:pt x="767" y="317"/>
                  </a:cubicBezTo>
                  <a:cubicBezTo>
                    <a:pt x="767" y="317"/>
                    <a:pt x="768" y="317"/>
                    <a:pt x="769" y="317"/>
                  </a:cubicBezTo>
                  <a:cubicBezTo>
                    <a:pt x="770" y="316"/>
                    <a:pt x="771" y="316"/>
                    <a:pt x="772" y="315"/>
                  </a:cubicBezTo>
                  <a:cubicBezTo>
                    <a:pt x="773" y="314"/>
                    <a:pt x="774" y="313"/>
                    <a:pt x="775" y="312"/>
                  </a:cubicBezTo>
                  <a:cubicBezTo>
                    <a:pt x="775" y="312"/>
                    <a:pt x="775" y="312"/>
                    <a:pt x="775" y="311"/>
                  </a:cubicBezTo>
                  <a:cubicBezTo>
                    <a:pt x="775" y="311"/>
                    <a:pt x="775" y="311"/>
                    <a:pt x="775" y="311"/>
                  </a:cubicBezTo>
                  <a:cubicBezTo>
                    <a:pt x="775" y="310"/>
                    <a:pt x="775" y="310"/>
                    <a:pt x="775" y="310"/>
                  </a:cubicBezTo>
                  <a:cubicBezTo>
                    <a:pt x="776" y="310"/>
                    <a:pt x="776" y="309"/>
                    <a:pt x="776" y="309"/>
                  </a:cubicBezTo>
                  <a:cubicBezTo>
                    <a:pt x="776" y="308"/>
                    <a:pt x="776" y="308"/>
                    <a:pt x="776" y="307"/>
                  </a:cubicBezTo>
                  <a:cubicBezTo>
                    <a:pt x="776" y="306"/>
                    <a:pt x="776" y="306"/>
                    <a:pt x="776" y="305"/>
                  </a:cubicBezTo>
                  <a:cubicBezTo>
                    <a:pt x="776" y="305"/>
                    <a:pt x="776" y="304"/>
                    <a:pt x="776" y="304"/>
                  </a:cubicBezTo>
                  <a:cubicBezTo>
                    <a:pt x="775" y="303"/>
                    <a:pt x="775" y="303"/>
                    <a:pt x="775" y="302"/>
                  </a:cubicBezTo>
                  <a:cubicBezTo>
                    <a:pt x="775" y="302"/>
                    <a:pt x="775" y="301"/>
                    <a:pt x="775" y="301"/>
                  </a:cubicBezTo>
                  <a:cubicBezTo>
                    <a:pt x="774" y="300"/>
                    <a:pt x="774" y="298"/>
                    <a:pt x="773" y="296"/>
                  </a:cubicBezTo>
                  <a:cubicBezTo>
                    <a:pt x="773" y="296"/>
                    <a:pt x="773" y="296"/>
                    <a:pt x="773" y="295"/>
                  </a:cubicBezTo>
                  <a:cubicBezTo>
                    <a:pt x="773" y="295"/>
                    <a:pt x="773" y="295"/>
                    <a:pt x="772" y="294"/>
                  </a:cubicBezTo>
                  <a:cubicBezTo>
                    <a:pt x="772" y="294"/>
                    <a:pt x="772" y="294"/>
                    <a:pt x="772" y="293"/>
                  </a:cubicBezTo>
                  <a:cubicBezTo>
                    <a:pt x="772" y="293"/>
                    <a:pt x="772" y="293"/>
                    <a:pt x="772" y="293"/>
                  </a:cubicBezTo>
                  <a:cubicBezTo>
                    <a:pt x="771" y="292"/>
                    <a:pt x="771" y="292"/>
                    <a:pt x="771" y="292"/>
                  </a:cubicBezTo>
                  <a:cubicBezTo>
                    <a:pt x="771" y="291"/>
                    <a:pt x="771" y="291"/>
                    <a:pt x="771" y="290"/>
                  </a:cubicBezTo>
                  <a:cubicBezTo>
                    <a:pt x="770" y="290"/>
                    <a:pt x="770" y="290"/>
                    <a:pt x="770" y="290"/>
                  </a:cubicBezTo>
                  <a:cubicBezTo>
                    <a:pt x="770" y="289"/>
                    <a:pt x="770" y="289"/>
                    <a:pt x="769" y="288"/>
                  </a:cubicBezTo>
                  <a:cubicBezTo>
                    <a:pt x="769" y="288"/>
                    <a:pt x="769" y="287"/>
                    <a:pt x="769" y="287"/>
                  </a:cubicBezTo>
                  <a:cubicBezTo>
                    <a:pt x="768" y="286"/>
                    <a:pt x="768" y="286"/>
                    <a:pt x="768" y="285"/>
                  </a:cubicBezTo>
                  <a:cubicBezTo>
                    <a:pt x="767" y="285"/>
                    <a:pt x="767" y="284"/>
                    <a:pt x="767" y="284"/>
                  </a:cubicBezTo>
                  <a:cubicBezTo>
                    <a:pt x="767" y="284"/>
                    <a:pt x="766" y="283"/>
                    <a:pt x="766" y="282"/>
                  </a:cubicBezTo>
                  <a:cubicBezTo>
                    <a:pt x="766" y="282"/>
                    <a:pt x="766" y="282"/>
                    <a:pt x="766" y="282"/>
                  </a:cubicBezTo>
                  <a:cubicBezTo>
                    <a:pt x="765" y="281"/>
                    <a:pt x="764" y="280"/>
                    <a:pt x="764" y="279"/>
                  </a:cubicBezTo>
                  <a:cubicBezTo>
                    <a:pt x="763" y="278"/>
                    <a:pt x="763" y="278"/>
                    <a:pt x="763" y="278"/>
                  </a:cubicBezTo>
                  <a:cubicBezTo>
                    <a:pt x="762" y="276"/>
                    <a:pt x="760" y="273"/>
                    <a:pt x="759" y="271"/>
                  </a:cubicBezTo>
                  <a:cubicBezTo>
                    <a:pt x="759" y="271"/>
                    <a:pt x="759" y="271"/>
                    <a:pt x="759" y="271"/>
                  </a:cubicBezTo>
                  <a:cubicBezTo>
                    <a:pt x="759" y="271"/>
                    <a:pt x="758" y="270"/>
                    <a:pt x="758" y="270"/>
                  </a:cubicBezTo>
                  <a:cubicBezTo>
                    <a:pt x="757" y="268"/>
                    <a:pt x="755" y="265"/>
                    <a:pt x="753" y="263"/>
                  </a:cubicBezTo>
                  <a:cubicBezTo>
                    <a:pt x="753" y="263"/>
                    <a:pt x="753" y="262"/>
                    <a:pt x="753" y="262"/>
                  </a:cubicBezTo>
                  <a:cubicBezTo>
                    <a:pt x="752" y="261"/>
                    <a:pt x="751" y="260"/>
                    <a:pt x="751" y="259"/>
                  </a:cubicBezTo>
                  <a:cubicBezTo>
                    <a:pt x="750" y="258"/>
                    <a:pt x="750" y="258"/>
                    <a:pt x="750" y="258"/>
                  </a:cubicBezTo>
                  <a:cubicBezTo>
                    <a:pt x="749" y="256"/>
                    <a:pt x="748" y="255"/>
                    <a:pt x="747" y="253"/>
                  </a:cubicBezTo>
                  <a:cubicBezTo>
                    <a:pt x="746" y="253"/>
                    <a:pt x="746" y="252"/>
                    <a:pt x="746" y="252"/>
                  </a:cubicBezTo>
                  <a:cubicBezTo>
                    <a:pt x="745" y="250"/>
                    <a:pt x="743" y="248"/>
                    <a:pt x="742" y="246"/>
                  </a:cubicBezTo>
                  <a:cubicBezTo>
                    <a:pt x="742" y="246"/>
                    <a:pt x="742" y="246"/>
                    <a:pt x="742" y="246"/>
                  </a:cubicBezTo>
                  <a:cubicBezTo>
                    <a:pt x="742" y="246"/>
                    <a:pt x="741" y="245"/>
                    <a:pt x="741" y="245"/>
                  </a:cubicBezTo>
                  <a:cubicBezTo>
                    <a:pt x="740" y="244"/>
                    <a:pt x="739" y="242"/>
                    <a:pt x="738" y="241"/>
                  </a:cubicBezTo>
                  <a:cubicBezTo>
                    <a:pt x="738" y="240"/>
                    <a:pt x="738" y="240"/>
                    <a:pt x="737" y="240"/>
                  </a:cubicBezTo>
                  <a:cubicBezTo>
                    <a:pt x="736" y="238"/>
                    <a:pt x="735" y="237"/>
                    <a:pt x="734" y="235"/>
                  </a:cubicBezTo>
                  <a:cubicBezTo>
                    <a:pt x="734" y="235"/>
                    <a:pt x="734" y="235"/>
                    <a:pt x="734" y="235"/>
                  </a:cubicBezTo>
                  <a:cubicBezTo>
                    <a:pt x="733" y="234"/>
                    <a:pt x="733" y="233"/>
                    <a:pt x="732" y="232"/>
                  </a:cubicBezTo>
                  <a:cubicBezTo>
                    <a:pt x="732" y="232"/>
                    <a:pt x="732" y="232"/>
                    <a:pt x="732" y="232"/>
                  </a:cubicBezTo>
                  <a:cubicBezTo>
                    <a:pt x="730" y="229"/>
                    <a:pt x="729" y="227"/>
                    <a:pt x="728" y="225"/>
                  </a:cubicBezTo>
                  <a:cubicBezTo>
                    <a:pt x="727" y="225"/>
                    <a:pt x="727" y="225"/>
                    <a:pt x="727" y="224"/>
                  </a:cubicBezTo>
                  <a:cubicBezTo>
                    <a:pt x="720" y="214"/>
                    <a:pt x="714" y="204"/>
                    <a:pt x="708" y="193"/>
                  </a:cubicBezTo>
                  <a:cubicBezTo>
                    <a:pt x="708" y="193"/>
                    <a:pt x="708" y="192"/>
                    <a:pt x="707" y="192"/>
                  </a:cubicBezTo>
                  <a:cubicBezTo>
                    <a:pt x="707" y="192"/>
                    <a:pt x="707" y="192"/>
                    <a:pt x="707" y="192"/>
                  </a:cubicBezTo>
                  <a:cubicBezTo>
                    <a:pt x="707" y="191"/>
                    <a:pt x="707" y="191"/>
                    <a:pt x="707" y="191"/>
                  </a:cubicBezTo>
                  <a:cubicBezTo>
                    <a:pt x="706" y="190"/>
                    <a:pt x="706" y="190"/>
                    <a:pt x="706" y="189"/>
                  </a:cubicBezTo>
                  <a:cubicBezTo>
                    <a:pt x="705" y="187"/>
                    <a:pt x="703" y="184"/>
                    <a:pt x="702" y="182"/>
                  </a:cubicBezTo>
                  <a:cubicBezTo>
                    <a:pt x="702" y="182"/>
                    <a:pt x="702" y="182"/>
                    <a:pt x="702" y="182"/>
                  </a:cubicBezTo>
                  <a:cubicBezTo>
                    <a:pt x="702" y="181"/>
                    <a:pt x="701" y="181"/>
                    <a:pt x="701" y="181"/>
                  </a:cubicBezTo>
                  <a:cubicBezTo>
                    <a:pt x="701" y="180"/>
                    <a:pt x="701" y="180"/>
                    <a:pt x="701" y="180"/>
                  </a:cubicBezTo>
                  <a:cubicBezTo>
                    <a:pt x="700" y="179"/>
                    <a:pt x="700" y="178"/>
                    <a:pt x="699" y="176"/>
                  </a:cubicBezTo>
                  <a:cubicBezTo>
                    <a:pt x="699" y="176"/>
                    <a:pt x="699" y="176"/>
                    <a:pt x="699" y="175"/>
                  </a:cubicBezTo>
                  <a:cubicBezTo>
                    <a:pt x="698" y="173"/>
                    <a:pt x="697" y="171"/>
                    <a:pt x="696" y="169"/>
                  </a:cubicBezTo>
                  <a:cubicBezTo>
                    <a:pt x="696" y="169"/>
                    <a:pt x="696" y="168"/>
                    <a:pt x="696" y="168"/>
                  </a:cubicBezTo>
                  <a:cubicBezTo>
                    <a:pt x="695" y="168"/>
                    <a:pt x="695" y="167"/>
                    <a:pt x="695" y="167"/>
                  </a:cubicBezTo>
                  <a:cubicBezTo>
                    <a:pt x="695" y="167"/>
                    <a:pt x="695" y="167"/>
                    <a:pt x="695" y="167"/>
                  </a:cubicBezTo>
                  <a:cubicBezTo>
                    <a:pt x="695" y="166"/>
                    <a:pt x="695" y="166"/>
                    <a:pt x="694" y="165"/>
                  </a:cubicBezTo>
                  <a:cubicBezTo>
                    <a:pt x="694" y="165"/>
                    <a:pt x="694" y="164"/>
                    <a:pt x="694" y="164"/>
                  </a:cubicBezTo>
                  <a:cubicBezTo>
                    <a:pt x="694" y="164"/>
                    <a:pt x="694" y="164"/>
                    <a:pt x="694" y="164"/>
                  </a:cubicBezTo>
                  <a:cubicBezTo>
                    <a:pt x="694" y="164"/>
                    <a:pt x="694" y="163"/>
                    <a:pt x="693" y="163"/>
                  </a:cubicBezTo>
                  <a:cubicBezTo>
                    <a:pt x="693" y="161"/>
                    <a:pt x="692" y="160"/>
                    <a:pt x="692" y="158"/>
                  </a:cubicBezTo>
                  <a:cubicBezTo>
                    <a:pt x="691" y="158"/>
                    <a:pt x="691" y="157"/>
                    <a:pt x="691" y="157"/>
                  </a:cubicBezTo>
                  <a:cubicBezTo>
                    <a:pt x="691" y="157"/>
                    <a:pt x="691" y="157"/>
                    <a:pt x="691" y="157"/>
                  </a:cubicBezTo>
                  <a:cubicBezTo>
                    <a:pt x="691" y="156"/>
                    <a:pt x="691" y="156"/>
                    <a:pt x="691" y="156"/>
                  </a:cubicBezTo>
                  <a:cubicBezTo>
                    <a:pt x="689" y="152"/>
                    <a:pt x="688" y="148"/>
                    <a:pt x="687" y="144"/>
                  </a:cubicBezTo>
                  <a:cubicBezTo>
                    <a:pt x="687" y="144"/>
                    <a:pt x="687" y="143"/>
                    <a:pt x="687" y="143"/>
                  </a:cubicBezTo>
                  <a:cubicBezTo>
                    <a:pt x="687" y="142"/>
                    <a:pt x="687" y="142"/>
                    <a:pt x="687" y="141"/>
                  </a:cubicBezTo>
                  <a:cubicBezTo>
                    <a:pt x="687" y="141"/>
                    <a:pt x="686" y="141"/>
                    <a:pt x="686" y="140"/>
                  </a:cubicBezTo>
                  <a:cubicBezTo>
                    <a:pt x="685" y="133"/>
                    <a:pt x="684" y="125"/>
                    <a:pt x="684" y="118"/>
                  </a:cubicBezTo>
                  <a:cubicBezTo>
                    <a:pt x="684" y="116"/>
                    <a:pt x="684" y="115"/>
                    <a:pt x="684" y="113"/>
                  </a:cubicBezTo>
                  <a:cubicBezTo>
                    <a:pt x="684" y="113"/>
                    <a:pt x="684" y="112"/>
                    <a:pt x="684" y="112"/>
                  </a:cubicBezTo>
                  <a:cubicBezTo>
                    <a:pt x="684" y="111"/>
                    <a:pt x="684" y="110"/>
                    <a:pt x="684" y="109"/>
                  </a:cubicBezTo>
                  <a:cubicBezTo>
                    <a:pt x="684" y="108"/>
                    <a:pt x="684" y="108"/>
                    <a:pt x="684" y="107"/>
                  </a:cubicBezTo>
                  <a:cubicBezTo>
                    <a:pt x="685" y="101"/>
                    <a:pt x="687" y="95"/>
                    <a:pt x="689" y="89"/>
                  </a:cubicBezTo>
                  <a:cubicBezTo>
                    <a:pt x="689" y="89"/>
                    <a:pt x="689" y="88"/>
                    <a:pt x="690" y="88"/>
                  </a:cubicBezTo>
                  <a:cubicBezTo>
                    <a:pt x="692" y="83"/>
                    <a:pt x="694" y="79"/>
                    <a:pt x="697" y="75"/>
                  </a:cubicBezTo>
                  <a:cubicBezTo>
                    <a:pt x="697" y="74"/>
                    <a:pt x="698" y="74"/>
                    <a:pt x="698" y="74"/>
                  </a:cubicBezTo>
                  <a:cubicBezTo>
                    <a:pt x="700" y="70"/>
                    <a:pt x="703" y="67"/>
                    <a:pt x="706" y="64"/>
                  </a:cubicBezTo>
                  <a:cubicBezTo>
                    <a:pt x="707" y="64"/>
                    <a:pt x="707" y="63"/>
                    <a:pt x="707" y="63"/>
                  </a:cubicBezTo>
                  <a:cubicBezTo>
                    <a:pt x="709" y="61"/>
                    <a:pt x="712" y="59"/>
                    <a:pt x="714" y="57"/>
                  </a:cubicBezTo>
                  <a:cubicBezTo>
                    <a:pt x="715" y="56"/>
                    <a:pt x="715" y="56"/>
                    <a:pt x="716" y="55"/>
                  </a:cubicBezTo>
                  <a:cubicBezTo>
                    <a:pt x="716" y="55"/>
                    <a:pt x="716" y="55"/>
                    <a:pt x="716" y="55"/>
                  </a:cubicBezTo>
                  <a:cubicBezTo>
                    <a:pt x="717" y="55"/>
                    <a:pt x="717" y="55"/>
                    <a:pt x="717" y="54"/>
                  </a:cubicBezTo>
                  <a:cubicBezTo>
                    <a:pt x="719" y="53"/>
                    <a:pt x="722" y="51"/>
                    <a:pt x="724" y="49"/>
                  </a:cubicBezTo>
                  <a:cubicBezTo>
                    <a:pt x="725" y="49"/>
                    <a:pt x="725" y="49"/>
                    <a:pt x="725" y="49"/>
                  </a:cubicBezTo>
                  <a:cubicBezTo>
                    <a:pt x="726" y="49"/>
                    <a:pt x="726" y="48"/>
                    <a:pt x="727" y="48"/>
                  </a:cubicBezTo>
                  <a:cubicBezTo>
                    <a:pt x="727" y="48"/>
                    <a:pt x="727" y="48"/>
                    <a:pt x="728" y="47"/>
                  </a:cubicBezTo>
                  <a:cubicBezTo>
                    <a:pt x="732" y="45"/>
                    <a:pt x="737" y="42"/>
                    <a:pt x="742" y="40"/>
                  </a:cubicBezTo>
                  <a:cubicBezTo>
                    <a:pt x="742" y="40"/>
                    <a:pt x="743" y="39"/>
                    <a:pt x="743" y="39"/>
                  </a:cubicBezTo>
                  <a:cubicBezTo>
                    <a:pt x="757" y="33"/>
                    <a:pt x="773" y="27"/>
                    <a:pt x="792" y="22"/>
                  </a:cubicBezTo>
                  <a:cubicBezTo>
                    <a:pt x="793" y="22"/>
                    <a:pt x="794" y="22"/>
                    <a:pt x="794" y="21"/>
                  </a:cubicBezTo>
                  <a:cubicBezTo>
                    <a:pt x="798" y="21"/>
                    <a:pt x="802" y="20"/>
                    <a:pt x="805" y="19"/>
                  </a:cubicBezTo>
                  <a:cubicBezTo>
                    <a:pt x="806" y="19"/>
                    <a:pt x="806" y="19"/>
                    <a:pt x="807" y="19"/>
                  </a:cubicBezTo>
                  <a:cubicBezTo>
                    <a:pt x="813" y="17"/>
                    <a:pt x="819" y="16"/>
                    <a:pt x="826" y="15"/>
                  </a:cubicBezTo>
                  <a:cubicBezTo>
                    <a:pt x="827" y="15"/>
                    <a:pt x="827" y="15"/>
                    <a:pt x="828" y="14"/>
                  </a:cubicBezTo>
                  <a:cubicBezTo>
                    <a:pt x="834" y="13"/>
                    <a:pt x="840" y="12"/>
                    <a:pt x="847" y="12"/>
                  </a:cubicBezTo>
                  <a:cubicBezTo>
                    <a:pt x="847" y="11"/>
                    <a:pt x="847" y="11"/>
                    <a:pt x="848" y="11"/>
                  </a:cubicBezTo>
                  <a:cubicBezTo>
                    <a:pt x="852" y="11"/>
                    <a:pt x="856" y="10"/>
                    <a:pt x="860" y="10"/>
                  </a:cubicBezTo>
                  <a:cubicBezTo>
                    <a:pt x="860" y="10"/>
                    <a:pt x="861" y="10"/>
                    <a:pt x="861" y="10"/>
                  </a:cubicBezTo>
                  <a:cubicBezTo>
                    <a:pt x="862" y="9"/>
                    <a:pt x="864" y="9"/>
                    <a:pt x="865" y="9"/>
                  </a:cubicBezTo>
                  <a:cubicBezTo>
                    <a:pt x="865" y="9"/>
                    <a:pt x="866" y="9"/>
                    <a:pt x="867" y="9"/>
                  </a:cubicBezTo>
                  <a:cubicBezTo>
                    <a:pt x="878" y="8"/>
                    <a:pt x="889" y="7"/>
                    <a:pt x="901" y="6"/>
                  </a:cubicBezTo>
                  <a:cubicBezTo>
                    <a:pt x="903" y="6"/>
                    <a:pt x="905" y="6"/>
                    <a:pt x="906" y="5"/>
                  </a:cubicBezTo>
                  <a:cubicBezTo>
                    <a:pt x="907" y="5"/>
                    <a:pt x="907" y="5"/>
                    <a:pt x="908" y="5"/>
                  </a:cubicBezTo>
                  <a:cubicBezTo>
                    <a:pt x="908" y="5"/>
                    <a:pt x="908" y="5"/>
                    <a:pt x="908" y="5"/>
                  </a:cubicBezTo>
                  <a:cubicBezTo>
                    <a:pt x="909" y="5"/>
                    <a:pt x="909" y="5"/>
                    <a:pt x="910" y="5"/>
                  </a:cubicBezTo>
                  <a:cubicBezTo>
                    <a:pt x="910" y="5"/>
                    <a:pt x="911" y="5"/>
                    <a:pt x="912" y="5"/>
                  </a:cubicBezTo>
                  <a:cubicBezTo>
                    <a:pt x="912" y="5"/>
                    <a:pt x="912" y="5"/>
                    <a:pt x="913" y="5"/>
                  </a:cubicBezTo>
                  <a:cubicBezTo>
                    <a:pt x="925" y="4"/>
                    <a:pt x="937" y="3"/>
                    <a:pt x="949" y="3"/>
                  </a:cubicBezTo>
                  <a:cubicBezTo>
                    <a:pt x="949" y="3"/>
                    <a:pt x="950" y="3"/>
                    <a:pt x="950" y="3"/>
                  </a:cubicBezTo>
                  <a:cubicBezTo>
                    <a:pt x="952" y="3"/>
                    <a:pt x="953" y="3"/>
                    <a:pt x="954" y="3"/>
                  </a:cubicBezTo>
                  <a:cubicBezTo>
                    <a:pt x="955" y="3"/>
                    <a:pt x="955" y="3"/>
                    <a:pt x="956" y="3"/>
                  </a:cubicBezTo>
                  <a:cubicBezTo>
                    <a:pt x="960" y="2"/>
                    <a:pt x="963" y="2"/>
                    <a:pt x="967" y="2"/>
                  </a:cubicBezTo>
                  <a:cubicBezTo>
                    <a:pt x="968" y="2"/>
                    <a:pt x="968" y="2"/>
                    <a:pt x="969" y="2"/>
                  </a:cubicBezTo>
                  <a:cubicBezTo>
                    <a:pt x="969" y="2"/>
                    <a:pt x="970" y="2"/>
                    <a:pt x="971" y="2"/>
                  </a:cubicBezTo>
                  <a:cubicBezTo>
                    <a:pt x="971" y="2"/>
                    <a:pt x="972" y="2"/>
                    <a:pt x="973" y="2"/>
                  </a:cubicBezTo>
                  <a:cubicBezTo>
                    <a:pt x="973" y="2"/>
                    <a:pt x="973" y="2"/>
                    <a:pt x="973" y="2"/>
                  </a:cubicBezTo>
                  <a:cubicBezTo>
                    <a:pt x="973" y="2"/>
                    <a:pt x="974" y="2"/>
                    <a:pt x="974" y="2"/>
                  </a:cubicBezTo>
                  <a:cubicBezTo>
                    <a:pt x="974" y="2"/>
                    <a:pt x="975" y="2"/>
                    <a:pt x="975" y="2"/>
                  </a:cubicBezTo>
                  <a:cubicBezTo>
                    <a:pt x="978" y="2"/>
                    <a:pt x="981" y="2"/>
                    <a:pt x="984" y="2"/>
                  </a:cubicBezTo>
                  <a:cubicBezTo>
                    <a:pt x="984" y="2"/>
                    <a:pt x="985" y="1"/>
                    <a:pt x="985" y="1"/>
                  </a:cubicBezTo>
                  <a:cubicBezTo>
                    <a:pt x="990" y="1"/>
                    <a:pt x="994" y="1"/>
                    <a:pt x="998" y="1"/>
                  </a:cubicBezTo>
                  <a:cubicBezTo>
                    <a:pt x="998" y="1"/>
                    <a:pt x="999" y="1"/>
                    <a:pt x="999" y="1"/>
                  </a:cubicBezTo>
                  <a:cubicBezTo>
                    <a:pt x="999" y="1"/>
                    <a:pt x="1000" y="1"/>
                    <a:pt x="1000" y="1"/>
                  </a:cubicBezTo>
                  <a:cubicBezTo>
                    <a:pt x="1005" y="1"/>
                    <a:pt x="1011" y="1"/>
                    <a:pt x="1016" y="1"/>
                  </a:cubicBezTo>
                  <a:cubicBezTo>
                    <a:pt x="1016" y="1"/>
                    <a:pt x="1016" y="1"/>
                    <a:pt x="1016" y="1"/>
                  </a:cubicBezTo>
                  <a:cubicBezTo>
                    <a:pt x="1017" y="1"/>
                    <a:pt x="1017" y="1"/>
                    <a:pt x="1018" y="1"/>
                  </a:cubicBezTo>
                  <a:cubicBezTo>
                    <a:pt x="1018" y="1"/>
                    <a:pt x="1018" y="1"/>
                    <a:pt x="1018" y="1"/>
                  </a:cubicBezTo>
                </a:path>
              </a:pathLst>
            </a:custGeom>
            <a:solidFill>
              <a:srgbClr val="36C2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da-DK" sz="1800">
                <a:solidFill>
                  <a:srgbClr val="000000"/>
                </a:solidFill>
                <a:ea typeface="MS PGothic" charset="-128"/>
              </a:endParaRPr>
            </a:p>
          </p:txBody>
        </p:sp>
      </p:grpSp>
      <p:sp>
        <p:nvSpPr>
          <p:cNvPr id="1027"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da-DK" altLang="da-DK"/>
              <a:t>Overskrift</a:t>
            </a:r>
          </a:p>
        </p:txBody>
      </p:sp>
      <p:sp>
        <p:nvSpPr>
          <p:cNvPr id="1028" name="Rectangle 4"/>
          <p:cNvSpPr>
            <a:spLocks noGrp="1" noChangeArrowheads="1"/>
          </p:cNvSpPr>
          <p:nvPr>
            <p:ph type="dt" sz="half" idx="2"/>
          </p:nvPr>
        </p:nvSpPr>
        <p:spPr bwMode="auto">
          <a:xfrm>
            <a:off x="8027988" y="288925"/>
            <a:ext cx="21336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hangingPunct="1">
              <a:defRPr sz="825">
                <a:solidFill>
                  <a:schemeClr val="bg2"/>
                </a:solidFill>
                <a:latin typeface="Arial" panose="020B0604020202020204" pitchFamily="34" charset="0"/>
                <a:ea typeface="MS PGothic" panose="020B0600070205080204" pitchFamily="34" charset="-128"/>
              </a:defRPr>
            </a:lvl1pPr>
          </a:lstStyle>
          <a:p>
            <a:pPr fontAlgn="base">
              <a:spcBef>
                <a:spcPct val="0"/>
              </a:spcBef>
              <a:spcAft>
                <a:spcPct val="0"/>
              </a:spcAft>
              <a:defRPr/>
            </a:pPr>
            <a:endParaRPr lang="da-DK" altLang="da-DK">
              <a:solidFill>
                <a:srgbClr val="808080"/>
              </a:solidFill>
            </a:endParaRPr>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eaLnBrk="1" hangingPunct="1">
              <a:defRPr sz="1050">
                <a:latin typeface="Arial" charset="0"/>
                <a:ea typeface="+mn-ea"/>
                <a:cs typeface="Arial" charset="0"/>
              </a:defRPr>
            </a:lvl1pPr>
          </a:lstStyle>
          <a:p>
            <a:pPr fontAlgn="base">
              <a:spcBef>
                <a:spcPct val="0"/>
              </a:spcBef>
              <a:spcAft>
                <a:spcPct val="0"/>
              </a:spcAft>
              <a:defRPr/>
            </a:pPr>
            <a:r>
              <a:rPr lang="en-US">
                <a:solidFill>
                  <a:srgbClr val="000000"/>
                </a:solidFill>
              </a:rPr>
              <a:t>  © The </a:t>
            </a:r>
            <a:r>
              <a:rPr lang="en-US" err="1">
                <a:solidFill>
                  <a:srgbClr val="000000"/>
                </a:solidFill>
              </a:rPr>
              <a:t>Kempler</a:t>
            </a:r>
            <a:r>
              <a:rPr lang="en-US">
                <a:solidFill>
                  <a:srgbClr val="000000"/>
                </a:solidFill>
              </a:rPr>
              <a:t> Institute of Scandinavia A/S </a:t>
            </a:r>
            <a:endParaRPr lang="da-DK">
              <a:solidFill>
                <a:srgbClr val="000000"/>
              </a:solidFill>
            </a:endParaRPr>
          </a:p>
        </p:txBody>
      </p:sp>
      <p:sp>
        <p:nvSpPr>
          <p:cNvPr id="1030" name="Rectangle 12"/>
          <p:cNvSpPr>
            <a:spLocks noGrp="1" noChangeArrowheads="1"/>
          </p:cNvSpPr>
          <p:nvPr>
            <p:ph type="body" idx="1"/>
          </p:nvPr>
        </p:nvSpPr>
        <p:spPr bwMode="auto">
          <a:xfrm>
            <a:off x="457200" y="1600202"/>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da-DK" altLang="da-DK"/>
              <a:t>Klik for at redigere teksttypografierne i masteren</a:t>
            </a:r>
          </a:p>
          <a:p>
            <a:pPr lvl="1"/>
            <a:r>
              <a:rPr lang="da-DK" altLang="da-DK"/>
              <a:t>Andet niveau</a:t>
            </a:r>
          </a:p>
          <a:p>
            <a:pPr lvl="2"/>
            <a:r>
              <a:rPr lang="da-DK" altLang="da-DK"/>
              <a:t>Tredje niveau</a:t>
            </a:r>
          </a:p>
          <a:p>
            <a:pPr lvl="3"/>
            <a:r>
              <a:rPr lang="da-DK" altLang="da-DK"/>
              <a:t>Fjerde niveau</a:t>
            </a:r>
          </a:p>
          <a:p>
            <a:pPr lvl="4"/>
            <a:r>
              <a:rPr lang="da-DK" altLang="da-DK"/>
              <a:t>Femte niveau</a:t>
            </a:r>
          </a:p>
        </p:txBody>
      </p:sp>
      <p:pic>
        <p:nvPicPr>
          <p:cNvPr id="1031" name="Picture 1"/>
          <p:cNvPicPr>
            <a:picLocks noChangeAspect="1"/>
          </p:cNvPicPr>
          <p:nvPr userDrawn="1"/>
        </p:nvPicPr>
        <p:blipFill>
          <a:blip r:embed="rId17" cstate="screen">
            <a:extLst>
              <a:ext uri="{28A0092B-C50C-407E-A947-70E740481C1C}">
                <a14:useLocalDpi xmlns:a14="http://schemas.microsoft.com/office/drawing/2010/main"/>
              </a:ext>
            </a:extLst>
          </a:blip>
          <a:srcRect/>
          <a:stretch>
            <a:fillRect/>
          </a:stretch>
        </p:blipFill>
        <p:spPr bwMode="auto">
          <a:xfrm>
            <a:off x="7721601" y="5810250"/>
            <a:ext cx="1431925" cy="1011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50671732"/>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Lst>
  <p:hf hdr="0" ftr="0" dt="0"/>
  <p:txStyles>
    <p:titleStyle>
      <a:lvl1pPr algn="ctr" rtl="0" eaLnBrk="0" fontAlgn="base" hangingPunct="0">
        <a:lnSpc>
          <a:spcPts val="3375"/>
        </a:lnSpc>
        <a:spcBef>
          <a:spcPct val="0"/>
        </a:spcBef>
        <a:spcAft>
          <a:spcPct val="0"/>
        </a:spcAft>
        <a:defRPr sz="3300">
          <a:solidFill>
            <a:schemeClr val="bg2"/>
          </a:solidFill>
          <a:latin typeface="Museo 300" pitchFamily="50" charset="0"/>
          <a:ea typeface="MS PGothic" panose="020B0600070205080204" pitchFamily="34" charset="-128"/>
          <a:cs typeface="+mj-cs"/>
        </a:defRPr>
      </a:lvl1pPr>
      <a:lvl2pPr algn="ctr" rtl="0" eaLnBrk="0" fontAlgn="base" hangingPunct="0">
        <a:lnSpc>
          <a:spcPts val="3375"/>
        </a:lnSpc>
        <a:spcBef>
          <a:spcPct val="0"/>
        </a:spcBef>
        <a:spcAft>
          <a:spcPct val="0"/>
        </a:spcAft>
        <a:defRPr sz="3300">
          <a:solidFill>
            <a:schemeClr val="bg2"/>
          </a:solidFill>
          <a:latin typeface="Museo 300"/>
          <a:ea typeface="MS PGothic" panose="020B0600070205080204" pitchFamily="34" charset="-128"/>
          <a:cs typeface="Arial" charset="0"/>
        </a:defRPr>
      </a:lvl2pPr>
      <a:lvl3pPr algn="ctr" rtl="0" eaLnBrk="0" fontAlgn="base" hangingPunct="0">
        <a:lnSpc>
          <a:spcPts val="3375"/>
        </a:lnSpc>
        <a:spcBef>
          <a:spcPct val="0"/>
        </a:spcBef>
        <a:spcAft>
          <a:spcPct val="0"/>
        </a:spcAft>
        <a:defRPr sz="3300">
          <a:solidFill>
            <a:schemeClr val="bg2"/>
          </a:solidFill>
          <a:latin typeface="Museo 300"/>
          <a:ea typeface="MS PGothic" panose="020B0600070205080204" pitchFamily="34" charset="-128"/>
          <a:cs typeface="Arial" charset="0"/>
        </a:defRPr>
      </a:lvl3pPr>
      <a:lvl4pPr algn="ctr" rtl="0" eaLnBrk="0" fontAlgn="base" hangingPunct="0">
        <a:lnSpc>
          <a:spcPts val="3375"/>
        </a:lnSpc>
        <a:spcBef>
          <a:spcPct val="0"/>
        </a:spcBef>
        <a:spcAft>
          <a:spcPct val="0"/>
        </a:spcAft>
        <a:defRPr sz="3300">
          <a:solidFill>
            <a:schemeClr val="bg2"/>
          </a:solidFill>
          <a:latin typeface="Museo 300"/>
          <a:ea typeface="MS PGothic" panose="020B0600070205080204" pitchFamily="34" charset="-128"/>
          <a:cs typeface="Arial" charset="0"/>
        </a:defRPr>
      </a:lvl4pPr>
      <a:lvl5pPr algn="ctr" rtl="0" eaLnBrk="0" fontAlgn="base" hangingPunct="0">
        <a:lnSpc>
          <a:spcPts val="3375"/>
        </a:lnSpc>
        <a:spcBef>
          <a:spcPct val="0"/>
        </a:spcBef>
        <a:spcAft>
          <a:spcPct val="0"/>
        </a:spcAft>
        <a:defRPr sz="3300">
          <a:solidFill>
            <a:schemeClr val="bg2"/>
          </a:solidFill>
          <a:latin typeface="Museo 300"/>
          <a:ea typeface="MS PGothic" panose="020B0600070205080204" pitchFamily="34" charset="-128"/>
          <a:cs typeface="Arial" charset="0"/>
        </a:defRPr>
      </a:lvl5pPr>
      <a:lvl6pPr marL="342900" algn="ctr" rtl="0" eaLnBrk="1" fontAlgn="base" hangingPunct="1">
        <a:spcBef>
          <a:spcPct val="0"/>
        </a:spcBef>
        <a:spcAft>
          <a:spcPct val="0"/>
        </a:spcAft>
        <a:defRPr sz="3300">
          <a:solidFill>
            <a:schemeClr val="bg2"/>
          </a:solidFill>
          <a:latin typeface="Museo Slab 100" pitchFamily="50" charset="0"/>
          <a:cs typeface="Arial" charset="0"/>
        </a:defRPr>
      </a:lvl6pPr>
      <a:lvl7pPr marL="685800" algn="ctr" rtl="0" eaLnBrk="1" fontAlgn="base" hangingPunct="1">
        <a:spcBef>
          <a:spcPct val="0"/>
        </a:spcBef>
        <a:spcAft>
          <a:spcPct val="0"/>
        </a:spcAft>
        <a:defRPr sz="3300">
          <a:solidFill>
            <a:schemeClr val="bg2"/>
          </a:solidFill>
          <a:latin typeface="Museo Slab 100" pitchFamily="50" charset="0"/>
          <a:cs typeface="Arial" charset="0"/>
        </a:defRPr>
      </a:lvl7pPr>
      <a:lvl8pPr marL="1028700" algn="ctr" rtl="0" eaLnBrk="1" fontAlgn="base" hangingPunct="1">
        <a:spcBef>
          <a:spcPct val="0"/>
        </a:spcBef>
        <a:spcAft>
          <a:spcPct val="0"/>
        </a:spcAft>
        <a:defRPr sz="3300">
          <a:solidFill>
            <a:schemeClr val="bg2"/>
          </a:solidFill>
          <a:latin typeface="Museo Slab 100" pitchFamily="50" charset="0"/>
          <a:cs typeface="Arial" charset="0"/>
        </a:defRPr>
      </a:lvl8pPr>
      <a:lvl9pPr marL="1371600" algn="ctr" rtl="0" eaLnBrk="1" fontAlgn="base" hangingPunct="1">
        <a:spcBef>
          <a:spcPct val="0"/>
        </a:spcBef>
        <a:spcAft>
          <a:spcPct val="0"/>
        </a:spcAft>
        <a:defRPr sz="3300">
          <a:solidFill>
            <a:schemeClr val="bg2"/>
          </a:solidFill>
          <a:latin typeface="Museo Slab 100" pitchFamily="50" charset="0"/>
          <a:cs typeface="Arial" charset="0"/>
        </a:defRPr>
      </a:lvl9pPr>
    </p:titleStyle>
    <p:bodyStyle>
      <a:lvl1pPr marL="257175" indent="-257175" algn="l" rtl="0" eaLnBrk="0" fontAlgn="base" hangingPunct="0">
        <a:spcBef>
          <a:spcPct val="20000"/>
        </a:spcBef>
        <a:spcAft>
          <a:spcPct val="0"/>
        </a:spcAft>
        <a:buChar char="•"/>
        <a:defRPr sz="2400">
          <a:solidFill>
            <a:schemeClr val="bg2"/>
          </a:solidFill>
          <a:latin typeface="+mn-lt"/>
          <a:ea typeface="MS PGothic" panose="020B0600070205080204" pitchFamily="34" charset="-128"/>
          <a:cs typeface="+mn-cs"/>
        </a:defRPr>
      </a:lvl1pPr>
      <a:lvl2pPr marL="557213" indent="-214313" algn="l" rtl="0" eaLnBrk="0" fontAlgn="base" hangingPunct="0">
        <a:spcBef>
          <a:spcPct val="20000"/>
        </a:spcBef>
        <a:spcAft>
          <a:spcPct val="0"/>
        </a:spcAft>
        <a:buChar char="–"/>
        <a:defRPr sz="2100">
          <a:solidFill>
            <a:schemeClr val="bg2"/>
          </a:solidFill>
          <a:latin typeface="+mn-lt"/>
          <a:ea typeface="MS PGothic" panose="020B0600070205080204" pitchFamily="34" charset="-128"/>
          <a:cs typeface="+mn-cs"/>
        </a:defRPr>
      </a:lvl2pPr>
      <a:lvl3pPr marL="857250" indent="-171450" algn="l" rtl="0" eaLnBrk="0" fontAlgn="base" hangingPunct="0">
        <a:spcBef>
          <a:spcPct val="20000"/>
        </a:spcBef>
        <a:spcAft>
          <a:spcPct val="0"/>
        </a:spcAft>
        <a:buChar char="•"/>
        <a:defRPr sz="1800">
          <a:solidFill>
            <a:schemeClr val="bg2"/>
          </a:solidFill>
          <a:latin typeface="+mn-lt"/>
          <a:ea typeface="MS PGothic" panose="020B0600070205080204" pitchFamily="34" charset="-128"/>
          <a:cs typeface="+mn-cs"/>
        </a:defRPr>
      </a:lvl3pPr>
      <a:lvl4pPr marL="1200150" indent="-171450" algn="l" rtl="0" eaLnBrk="0" fontAlgn="base" hangingPunct="0">
        <a:spcBef>
          <a:spcPct val="20000"/>
        </a:spcBef>
        <a:spcAft>
          <a:spcPct val="0"/>
        </a:spcAft>
        <a:buChar char="–"/>
        <a:defRPr sz="1500">
          <a:solidFill>
            <a:schemeClr val="bg2"/>
          </a:solidFill>
          <a:latin typeface="+mn-lt"/>
          <a:ea typeface="MS PGothic" panose="020B0600070205080204" pitchFamily="34" charset="-128"/>
          <a:cs typeface="+mn-cs"/>
        </a:defRPr>
      </a:lvl4pPr>
      <a:lvl5pPr marL="1543050" indent="-171450" algn="l" rtl="0" eaLnBrk="0" fontAlgn="base" hangingPunct="0">
        <a:spcBef>
          <a:spcPct val="20000"/>
        </a:spcBef>
        <a:spcAft>
          <a:spcPct val="0"/>
        </a:spcAft>
        <a:buChar char="»"/>
        <a:defRPr sz="1500">
          <a:solidFill>
            <a:schemeClr val="bg2"/>
          </a:solidFill>
          <a:latin typeface="+mn-lt"/>
          <a:ea typeface="MS PGothic" panose="020B0600070205080204" pitchFamily="34" charset="-128"/>
          <a:cs typeface="+mn-cs"/>
        </a:defRPr>
      </a:lvl5pPr>
      <a:lvl6pPr marL="1885950" indent="-171450" algn="l" rtl="0" eaLnBrk="1" fontAlgn="base" hangingPunct="1">
        <a:spcBef>
          <a:spcPct val="20000"/>
        </a:spcBef>
        <a:spcAft>
          <a:spcPct val="0"/>
        </a:spcAft>
        <a:buChar char="»"/>
        <a:defRPr sz="1500">
          <a:solidFill>
            <a:schemeClr val="bg2"/>
          </a:solidFill>
          <a:latin typeface="+mn-lt"/>
          <a:cs typeface="+mn-cs"/>
        </a:defRPr>
      </a:lvl6pPr>
      <a:lvl7pPr marL="2228850" indent="-171450" algn="l" rtl="0" eaLnBrk="1" fontAlgn="base" hangingPunct="1">
        <a:spcBef>
          <a:spcPct val="20000"/>
        </a:spcBef>
        <a:spcAft>
          <a:spcPct val="0"/>
        </a:spcAft>
        <a:buChar char="»"/>
        <a:defRPr sz="1500">
          <a:solidFill>
            <a:schemeClr val="bg2"/>
          </a:solidFill>
          <a:latin typeface="+mn-lt"/>
          <a:cs typeface="+mn-cs"/>
        </a:defRPr>
      </a:lvl7pPr>
      <a:lvl8pPr marL="2571750" indent="-171450" algn="l" rtl="0" eaLnBrk="1" fontAlgn="base" hangingPunct="1">
        <a:spcBef>
          <a:spcPct val="20000"/>
        </a:spcBef>
        <a:spcAft>
          <a:spcPct val="0"/>
        </a:spcAft>
        <a:buChar char="»"/>
        <a:defRPr sz="1500">
          <a:solidFill>
            <a:schemeClr val="bg2"/>
          </a:solidFill>
          <a:latin typeface="+mn-lt"/>
          <a:cs typeface="+mn-cs"/>
        </a:defRPr>
      </a:lvl8pPr>
      <a:lvl9pPr marL="2914650" indent="-171450" algn="l" rtl="0" eaLnBrk="1" fontAlgn="base" hangingPunct="1">
        <a:spcBef>
          <a:spcPct val="20000"/>
        </a:spcBef>
        <a:spcAft>
          <a:spcPct val="0"/>
        </a:spcAft>
        <a:buChar char="»"/>
        <a:defRPr sz="1500">
          <a:solidFill>
            <a:schemeClr val="bg2"/>
          </a:solidFill>
          <a:latin typeface="+mn-lt"/>
          <a:cs typeface="+mn-cs"/>
        </a:defRPr>
      </a:lvl9pPr>
    </p:bodyStyle>
    <p:otherStyle>
      <a:defPPr>
        <a:defRPr lang="da-DK"/>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21F8355-758A-4EAA-B282-43B482346F7E}"/>
              </a:ext>
            </a:extLst>
          </p:cNvPr>
          <p:cNvGraphicFramePr>
            <a:graphicFrameLocks noChangeAspect="1"/>
          </p:cNvGraphicFramePr>
          <p:nvPr userDrawn="1">
            <p:custDataLst>
              <p:tags r:id="rId41"/>
            </p:custDataLst>
            <p:extLst>
              <p:ext uri="{D42A27DB-BD31-4B8C-83A1-F6EECF244321}">
                <p14:modId xmlns:p14="http://schemas.microsoft.com/office/powerpoint/2010/main" val="2287408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2" imgW="342" imgH="337" progId="TCLayout.ActiveDocument.1">
                  <p:embed/>
                </p:oleObj>
              </mc:Choice>
              <mc:Fallback>
                <p:oleObj name="think-cell Slide" r:id="rId42" imgW="342" imgH="337" progId="TCLayout.ActiveDocument.1">
                  <p:embed/>
                  <p:pic>
                    <p:nvPicPr>
                      <p:cNvPr id="3" name="Object 2" hidden="1">
                        <a:extLst>
                          <a:ext uri="{FF2B5EF4-FFF2-40B4-BE49-F238E27FC236}">
                            <a16:creationId xmlns:a16="http://schemas.microsoft.com/office/drawing/2014/main" id="{D21F8355-758A-4EAA-B282-43B482346F7E}"/>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628649" y="764704"/>
            <a:ext cx="7904163" cy="756084"/>
          </a:xfrm>
          <a:prstGeom prst="rect">
            <a:avLst/>
          </a:prstGeom>
        </p:spPr>
        <p:txBody>
          <a:bodyPr vert="horz" lIns="0" tIns="0" rIns="0" bIns="0" rtlCol="0" anchor="ctr">
            <a:noAutofit/>
          </a:bodyPr>
          <a:lstStyle/>
          <a:p>
            <a:endParaRPr lang="da-DK" dirty="0"/>
          </a:p>
        </p:txBody>
      </p:sp>
      <p:sp>
        <p:nvSpPr>
          <p:cNvPr id="4" name="Pladsholder til dato 3"/>
          <p:cNvSpPr>
            <a:spLocks noGrp="1"/>
          </p:cNvSpPr>
          <p:nvPr>
            <p:ph type="dt" sz="half" idx="2"/>
          </p:nvPr>
        </p:nvSpPr>
        <p:spPr>
          <a:xfrm>
            <a:off x="6457950" y="6052207"/>
            <a:ext cx="2057400" cy="365125"/>
          </a:xfrm>
          <a:prstGeom prst="rect">
            <a:avLst/>
          </a:prstGeom>
        </p:spPr>
        <p:txBody>
          <a:bodyPr vert="horz" lIns="0" tIns="0" rIns="0" bIns="0" rtlCol="0" anchor="ctr">
            <a:noAutofit/>
          </a:bodyPr>
          <a:lstStyle>
            <a:lvl1pPr algn="r">
              <a:defRPr sz="900" b="1">
                <a:solidFill>
                  <a:schemeClr val="tx2"/>
                </a:solidFill>
              </a:defRPr>
            </a:lvl1pPr>
          </a:lstStyle>
          <a:p>
            <a:fld id="{6979A6E8-73DD-4533-B914-46A87207867A}" type="datetime2">
              <a:rPr lang="da-DK" smtClean="0"/>
              <a:t>1. februar 2023</a:t>
            </a:fld>
            <a:endParaRPr lang="da-DK" dirty="0"/>
          </a:p>
        </p:txBody>
      </p:sp>
      <p:sp>
        <p:nvSpPr>
          <p:cNvPr id="5" name="Pladsholder til sidefod 4"/>
          <p:cNvSpPr>
            <a:spLocks noGrp="1"/>
          </p:cNvSpPr>
          <p:nvPr>
            <p:ph type="ftr" sz="quarter" idx="3"/>
          </p:nvPr>
        </p:nvSpPr>
        <p:spPr>
          <a:xfrm>
            <a:off x="628649" y="6273316"/>
            <a:ext cx="4759559" cy="180020"/>
          </a:xfrm>
          <a:prstGeom prst="rect">
            <a:avLst/>
          </a:prstGeom>
        </p:spPr>
        <p:txBody>
          <a:bodyPr vert="horz" lIns="0" tIns="0" rIns="0" bIns="0" rtlCol="0" anchor="b">
            <a:noAutofit/>
          </a:bodyPr>
          <a:lstStyle>
            <a:lvl1pPr algn="l">
              <a:defRPr sz="900" b="0">
                <a:solidFill>
                  <a:schemeClr val="bg2"/>
                </a:solidFill>
              </a:defRPr>
            </a:lvl1pPr>
          </a:lstStyle>
          <a:p>
            <a:r>
              <a:rPr lang="da-DK"/>
              <a:t>Indsæt titel på præsentationen i "Indsæt"- "Sidehoved/Sidefod"</a:t>
            </a:r>
            <a:endParaRPr lang="da-DK" dirty="0"/>
          </a:p>
        </p:txBody>
      </p:sp>
      <p:sp>
        <p:nvSpPr>
          <p:cNvPr id="6" name="Pladsholder til slidenummer 5"/>
          <p:cNvSpPr>
            <a:spLocks noGrp="1"/>
          </p:cNvSpPr>
          <p:nvPr>
            <p:ph type="sldNum" sz="quarter" idx="4"/>
          </p:nvPr>
        </p:nvSpPr>
        <p:spPr>
          <a:xfrm>
            <a:off x="6457950" y="6356351"/>
            <a:ext cx="2057400" cy="365125"/>
          </a:xfrm>
          <a:prstGeom prst="rect">
            <a:avLst/>
          </a:prstGeom>
        </p:spPr>
        <p:txBody>
          <a:bodyPr vert="horz" lIns="0" tIns="0" rIns="0" bIns="0" rtlCol="0" anchor="ctr">
            <a:noAutofit/>
          </a:bodyPr>
          <a:lstStyle>
            <a:lvl1pPr algn="r">
              <a:defRPr sz="900">
                <a:solidFill>
                  <a:schemeClr val="bg1"/>
                </a:solidFill>
              </a:defRPr>
            </a:lvl1pPr>
          </a:lstStyle>
          <a:p>
            <a:fld id="{1C4DB2EE-0873-4EBD-BD17-6A767A2B9A33}" type="slidenum">
              <a:rPr lang="da-DK" smtClean="0"/>
              <a:pPr/>
              <a:t>‹nr.›</a:t>
            </a:fld>
            <a:endParaRPr lang="da-DK" dirty="0"/>
          </a:p>
        </p:txBody>
      </p:sp>
      <p:sp>
        <p:nvSpPr>
          <p:cNvPr id="8" name="Pladsholder til tekst 7"/>
          <p:cNvSpPr>
            <a:spLocks noGrp="1"/>
          </p:cNvSpPr>
          <p:nvPr>
            <p:ph type="body" idx="1"/>
          </p:nvPr>
        </p:nvSpPr>
        <p:spPr>
          <a:xfrm>
            <a:off x="628650" y="1628775"/>
            <a:ext cx="7886700" cy="4248497"/>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endParaRPr lang="en-GB" dirty="0"/>
          </a:p>
        </p:txBody>
      </p:sp>
    </p:spTree>
    <p:extLst>
      <p:ext uri="{BB962C8B-B14F-4D97-AF65-F5344CB8AC3E}">
        <p14:creationId xmlns:p14="http://schemas.microsoft.com/office/powerpoint/2010/main" val="189548973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6" r:id="rId23"/>
    <p:sldLayoutId id="2147483857" r:id="rId24"/>
    <p:sldLayoutId id="2147483858" r:id="rId25"/>
    <p:sldLayoutId id="2147483859" r:id="rId26"/>
    <p:sldLayoutId id="2147483860" r:id="rId27"/>
    <p:sldLayoutId id="2147483861" r:id="rId28"/>
    <p:sldLayoutId id="2147483862" r:id="rId29"/>
    <p:sldLayoutId id="2147483863" r:id="rId30"/>
    <p:sldLayoutId id="2147483864" r:id="rId31"/>
    <p:sldLayoutId id="2147483865" r:id="rId32"/>
    <p:sldLayoutId id="2147483866" r:id="rId33"/>
    <p:sldLayoutId id="2147483867" r:id="rId34"/>
    <p:sldLayoutId id="2147483868" r:id="rId35"/>
    <p:sldLayoutId id="2147483869" r:id="rId36"/>
    <p:sldLayoutId id="2147483870" r:id="rId37"/>
    <p:sldLayoutId id="2147483871" r:id="rId38"/>
  </p:sldLayoutIdLst>
  <p:hf hdr="0" ftr="0" dt="0"/>
  <p:txStyles>
    <p:title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p:titleStyle>
    <p:bodyStyle>
      <a:lvl1pPr marL="180000" indent="-180000" algn="l" defTabSz="685800" rtl="0" eaLnBrk="1" latinLnBrk="0" hangingPunct="1">
        <a:lnSpc>
          <a:spcPct val="100000"/>
        </a:lnSpc>
        <a:spcBef>
          <a:spcPts val="750"/>
        </a:spcBef>
        <a:buFont typeface="Arial" panose="020B0604020202020204" pitchFamily="34" charset="0"/>
        <a:buChar char="•"/>
        <a:defRPr sz="1800" kern="1200">
          <a:solidFill>
            <a:schemeClr val="tx1"/>
          </a:solidFill>
          <a:latin typeface="+mn-lt"/>
          <a:ea typeface="+mn-ea"/>
          <a:cs typeface="+mn-cs"/>
        </a:defRPr>
      </a:lvl1pPr>
      <a:lvl2pPr marL="36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2pPr>
      <a:lvl3pPr marL="54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3pPr>
      <a:lvl4pPr marL="72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4pPr>
      <a:lvl5pPr marL="90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a-DK"/>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2" orient="horz" pos="1026">
          <p15:clr>
            <a:srgbClr val="F26B43"/>
          </p15:clr>
        </p15:guide>
        <p15:guide id="13" pos="385">
          <p15:clr>
            <a:srgbClr val="F26B43"/>
          </p15:clr>
        </p15:guide>
        <p15:guide id="14" pos="5375">
          <p15:clr>
            <a:srgbClr val="F26B43"/>
          </p15:clr>
        </p15:guide>
        <p15:guide id="15" orient="horz" pos="370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F4C7F6-22F7-43AC-B708-FCC82EA528CC}"/>
              </a:ext>
            </a:extLst>
          </p:cNvPr>
          <p:cNvGraphicFramePr>
            <a:graphicFrameLocks noChangeAspect="1"/>
          </p:cNvGraphicFramePr>
          <p:nvPr userDrawn="1">
            <p:custDataLst>
              <p:tags r:id="rId42"/>
            </p:custDataLst>
            <p:extLst>
              <p:ext uri="{D42A27DB-BD31-4B8C-83A1-F6EECF244321}">
                <p14:modId xmlns:p14="http://schemas.microsoft.com/office/powerpoint/2010/main" val="387482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3" imgW="347" imgH="348" progId="TCLayout.ActiveDocument.1">
                  <p:embed/>
                </p:oleObj>
              </mc:Choice>
              <mc:Fallback>
                <p:oleObj name="think-cell Slide" r:id="rId43" imgW="347" imgH="348" progId="TCLayout.ActiveDocument.1">
                  <p:embed/>
                  <p:pic>
                    <p:nvPicPr>
                      <p:cNvPr id="3" name="Object 2" hidden="1">
                        <a:extLst>
                          <a:ext uri="{FF2B5EF4-FFF2-40B4-BE49-F238E27FC236}">
                            <a16:creationId xmlns:a16="http://schemas.microsoft.com/office/drawing/2014/main" id="{42F4C7F6-22F7-43AC-B708-FCC82EA528CC}"/>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628649" y="764704"/>
            <a:ext cx="7904163" cy="756084"/>
          </a:xfrm>
          <a:prstGeom prst="rect">
            <a:avLst/>
          </a:prstGeom>
        </p:spPr>
        <p:txBody>
          <a:bodyPr vert="horz" lIns="0" tIns="0" rIns="0" bIns="0" rtlCol="0" anchor="ctr">
            <a:noAutofit/>
          </a:bodyPr>
          <a:lstStyle/>
          <a:p>
            <a:endParaRPr lang="da-DK" dirty="0"/>
          </a:p>
        </p:txBody>
      </p:sp>
      <p:sp>
        <p:nvSpPr>
          <p:cNvPr id="4" name="Pladsholder til dato 3"/>
          <p:cNvSpPr>
            <a:spLocks noGrp="1"/>
          </p:cNvSpPr>
          <p:nvPr>
            <p:ph type="dt" sz="half" idx="2"/>
          </p:nvPr>
        </p:nvSpPr>
        <p:spPr>
          <a:xfrm>
            <a:off x="6457950" y="6052207"/>
            <a:ext cx="2057400" cy="365125"/>
          </a:xfrm>
          <a:prstGeom prst="rect">
            <a:avLst/>
          </a:prstGeom>
        </p:spPr>
        <p:txBody>
          <a:bodyPr vert="horz" lIns="0" tIns="0" rIns="0" bIns="0" rtlCol="0" anchor="ctr">
            <a:noAutofit/>
          </a:bodyPr>
          <a:lstStyle>
            <a:lvl1pPr algn="r">
              <a:defRPr sz="900" b="1">
                <a:solidFill>
                  <a:schemeClr val="tx2"/>
                </a:solidFill>
              </a:defRPr>
            </a:lvl1pPr>
          </a:lstStyle>
          <a:p>
            <a:fld id="{A7FD876A-936A-4DE7-9677-0236EE18B641}" type="datetime2">
              <a:rPr lang="da-DK" smtClean="0"/>
              <a:t>1. februar 2023</a:t>
            </a:fld>
            <a:endParaRPr lang="da-DK" dirty="0"/>
          </a:p>
        </p:txBody>
      </p:sp>
      <p:sp>
        <p:nvSpPr>
          <p:cNvPr id="5" name="Pladsholder til sidefod 4"/>
          <p:cNvSpPr>
            <a:spLocks noGrp="1"/>
          </p:cNvSpPr>
          <p:nvPr>
            <p:ph type="ftr" sz="quarter" idx="3"/>
          </p:nvPr>
        </p:nvSpPr>
        <p:spPr>
          <a:xfrm>
            <a:off x="628649" y="6273316"/>
            <a:ext cx="4759559" cy="180020"/>
          </a:xfrm>
          <a:prstGeom prst="rect">
            <a:avLst/>
          </a:prstGeom>
        </p:spPr>
        <p:txBody>
          <a:bodyPr vert="horz" lIns="0" tIns="0" rIns="0" bIns="0" rtlCol="0" anchor="b">
            <a:noAutofit/>
          </a:bodyPr>
          <a:lstStyle>
            <a:lvl1pPr algn="l">
              <a:defRPr sz="900" b="0">
                <a:solidFill>
                  <a:schemeClr val="bg2"/>
                </a:solidFill>
              </a:defRPr>
            </a:lvl1pPr>
          </a:lstStyle>
          <a:p>
            <a:r>
              <a:rPr lang="da-DK" dirty="0"/>
              <a:t>Gruppeforløb for hjemmeboende unge med autisme - UDKAST</a:t>
            </a:r>
          </a:p>
        </p:txBody>
      </p:sp>
      <p:sp>
        <p:nvSpPr>
          <p:cNvPr id="6" name="Pladsholder til slidenummer 5"/>
          <p:cNvSpPr>
            <a:spLocks noGrp="1"/>
          </p:cNvSpPr>
          <p:nvPr>
            <p:ph type="sldNum" sz="quarter" idx="4"/>
          </p:nvPr>
        </p:nvSpPr>
        <p:spPr>
          <a:xfrm>
            <a:off x="6457950" y="6356351"/>
            <a:ext cx="2057400" cy="365125"/>
          </a:xfrm>
          <a:prstGeom prst="rect">
            <a:avLst/>
          </a:prstGeom>
        </p:spPr>
        <p:txBody>
          <a:bodyPr vert="horz" lIns="0" tIns="0" rIns="0" bIns="0" rtlCol="0" anchor="ctr">
            <a:noAutofit/>
          </a:bodyPr>
          <a:lstStyle>
            <a:lvl1pPr algn="r">
              <a:defRPr sz="900">
                <a:solidFill>
                  <a:schemeClr val="bg1"/>
                </a:solidFill>
              </a:defRPr>
            </a:lvl1pPr>
          </a:lstStyle>
          <a:p>
            <a:fld id="{1C4DB2EE-0873-4EBD-BD17-6A767A2B9A33}" type="slidenum">
              <a:rPr lang="da-DK" smtClean="0"/>
              <a:pPr/>
              <a:t>‹nr.›</a:t>
            </a:fld>
            <a:endParaRPr lang="da-DK" dirty="0"/>
          </a:p>
        </p:txBody>
      </p:sp>
      <p:sp>
        <p:nvSpPr>
          <p:cNvPr id="8" name="Pladsholder til tekst 7"/>
          <p:cNvSpPr>
            <a:spLocks noGrp="1"/>
          </p:cNvSpPr>
          <p:nvPr>
            <p:ph type="body" idx="1"/>
          </p:nvPr>
        </p:nvSpPr>
        <p:spPr>
          <a:xfrm>
            <a:off x="628650" y="1628775"/>
            <a:ext cx="7886700" cy="4248497"/>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endParaRPr lang="en-GB" dirty="0"/>
          </a:p>
        </p:txBody>
      </p:sp>
    </p:spTree>
    <p:extLst>
      <p:ext uri="{BB962C8B-B14F-4D97-AF65-F5344CB8AC3E}">
        <p14:creationId xmlns:p14="http://schemas.microsoft.com/office/powerpoint/2010/main" val="2067222959"/>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 id="2147483896" r:id="rId24"/>
    <p:sldLayoutId id="2147483897" r:id="rId25"/>
    <p:sldLayoutId id="2147483898" r:id="rId26"/>
    <p:sldLayoutId id="2147483899" r:id="rId27"/>
    <p:sldLayoutId id="2147483900" r:id="rId28"/>
    <p:sldLayoutId id="2147483901" r:id="rId29"/>
    <p:sldLayoutId id="2147483902" r:id="rId30"/>
    <p:sldLayoutId id="2147483903" r:id="rId31"/>
    <p:sldLayoutId id="2147483904" r:id="rId32"/>
    <p:sldLayoutId id="2147483905" r:id="rId33"/>
    <p:sldLayoutId id="2147483906" r:id="rId34"/>
    <p:sldLayoutId id="2147483907" r:id="rId35"/>
    <p:sldLayoutId id="2147483908" r:id="rId36"/>
    <p:sldLayoutId id="2147483909" r:id="rId37"/>
    <p:sldLayoutId id="2147483910" r:id="rId38"/>
    <p:sldLayoutId id="2147483911" r:id="rId39"/>
  </p:sldLayoutIdLst>
  <p:hf hdr="0" dt="0"/>
  <p:txStyles>
    <p:title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p:titleStyle>
    <p:bodyStyle>
      <a:lvl1pPr marL="180000" indent="-180000" algn="l" defTabSz="685800" rtl="0" eaLnBrk="1" latinLnBrk="0" hangingPunct="1">
        <a:lnSpc>
          <a:spcPct val="100000"/>
        </a:lnSpc>
        <a:spcBef>
          <a:spcPts val="750"/>
        </a:spcBef>
        <a:buFont typeface="Arial" panose="020B0604020202020204" pitchFamily="34" charset="0"/>
        <a:buChar char="•"/>
        <a:defRPr sz="1800" kern="1200">
          <a:solidFill>
            <a:schemeClr val="tx1"/>
          </a:solidFill>
          <a:latin typeface="+mn-lt"/>
          <a:ea typeface="+mn-ea"/>
          <a:cs typeface="+mn-cs"/>
        </a:defRPr>
      </a:lvl1pPr>
      <a:lvl2pPr marL="36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2pPr>
      <a:lvl3pPr marL="54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3pPr>
      <a:lvl4pPr marL="72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4pPr>
      <a:lvl5pPr marL="90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a-DK"/>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2" orient="horz" pos="1026">
          <p15:clr>
            <a:srgbClr val="F26B43"/>
          </p15:clr>
        </p15:guide>
        <p15:guide id="13" pos="385">
          <p15:clr>
            <a:srgbClr val="F26B43"/>
          </p15:clr>
        </p15:guide>
        <p15:guide id="14" pos="5375">
          <p15:clr>
            <a:srgbClr val="F26B43"/>
          </p15:clr>
        </p15:guide>
        <p15:guide id="15" orient="horz" pos="370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F4C7F6-22F7-43AC-B708-FCC82EA528CC}"/>
              </a:ext>
            </a:extLst>
          </p:cNvPr>
          <p:cNvGraphicFramePr>
            <a:graphicFrameLocks noChangeAspect="1"/>
          </p:cNvGraphicFramePr>
          <p:nvPr userDrawn="1">
            <p:custDataLst>
              <p:tags r:id="rId42"/>
            </p:custDataLst>
            <p:extLst>
              <p:ext uri="{D42A27DB-BD31-4B8C-83A1-F6EECF244321}">
                <p14:modId xmlns:p14="http://schemas.microsoft.com/office/powerpoint/2010/main" val="4253393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3" imgW="347" imgH="348" progId="TCLayout.ActiveDocument.1">
                  <p:embed/>
                </p:oleObj>
              </mc:Choice>
              <mc:Fallback>
                <p:oleObj name="think-cell Slide" r:id="rId43" imgW="347" imgH="348" progId="TCLayout.ActiveDocument.1">
                  <p:embed/>
                  <p:pic>
                    <p:nvPicPr>
                      <p:cNvPr id="3" name="Object 2" hidden="1">
                        <a:extLst>
                          <a:ext uri="{FF2B5EF4-FFF2-40B4-BE49-F238E27FC236}">
                            <a16:creationId xmlns:a16="http://schemas.microsoft.com/office/drawing/2014/main" id="{42F4C7F6-22F7-43AC-B708-FCC82EA528CC}"/>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628649" y="764704"/>
            <a:ext cx="7904163" cy="756084"/>
          </a:xfrm>
          <a:prstGeom prst="rect">
            <a:avLst/>
          </a:prstGeom>
        </p:spPr>
        <p:txBody>
          <a:bodyPr vert="horz" lIns="0" tIns="0" rIns="0" bIns="0" rtlCol="0" anchor="ctr">
            <a:noAutofit/>
          </a:bodyPr>
          <a:lstStyle/>
          <a:p>
            <a:endParaRPr lang="da-DK" dirty="0"/>
          </a:p>
        </p:txBody>
      </p:sp>
      <p:sp>
        <p:nvSpPr>
          <p:cNvPr id="4" name="Pladsholder til dato 3"/>
          <p:cNvSpPr>
            <a:spLocks noGrp="1"/>
          </p:cNvSpPr>
          <p:nvPr>
            <p:ph type="dt" sz="half" idx="2"/>
          </p:nvPr>
        </p:nvSpPr>
        <p:spPr>
          <a:xfrm>
            <a:off x="6457950" y="6052207"/>
            <a:ext cx="2057400" cy="365125"/>
          </a:xfrm>
          <a:prstGeom prst="rect">
            <a:avLst/>
          </a:prstGeom>
        </p:spPr>
        <p:txBody>
          <a:bodyPr vert="horz" lIns="0" tIns="0" rIns="0" bIns="0" rtlCol="0" anchor="ctr">
            <a:noAutofit/>
          </a:bodyPr>
          <a:lstStyle>
            <a:lvl1pPr algn="r">
              <a:defRPr sz="900" b="1">
                <a:solidFill>
                  <a:schemeClr val="tx2"/>
                </a:solidFill>
              </a:defRPr>
            </a:lvl1pPr>
          </a:lstStyle>
          <a:p>
            <a:fld id="{A7FD876A-936A-4DE7-9677-0236EE18B641}" type="datetime2">
              <a:rPr lang="da-DK" smtClean="0"/>
              <a:t>1. februar 2023</a:t>
            </a:fld>
            <a:endParaRPr lang="da-DK" dirty="0"/>
          </a:p>
        </p:txBody>
      </p:sp>
      <p:sp>
        <p:nvSpPr>
          <p:cNvPr id="5" name="Pladsholder til sidefod 4"/>
          <p:cNvSpPr>
            <a:spLocks noGrp="1"/>
          </p:cNvSpPr>
          <p:nvPr>
            <p:ph type="ftr" sz="quarter" idx="3"/>
          </p:nvPr>
        </p:nvSpPr>
        <p:spPr>
          <a:xfrm>
            <a:off x="628649" y="6273316"/>
            <a:ext cx="4759559" cy="180020"/>
          </a:xfrm>
          <a:prstGeom prst="rect">
            <a:avLst/>
          </a:prstGeom>
        </p:spPr>
        <p:txBody>
          <a:bodyPr vert="horz" lIns="0" tIns="0" rIns="0" bIns="0" rtlCol="0" anchor="b">
            <a:noAutofit/>
          </a:bodyPr>
          <a:lstStyle>
            <a:lvl1pPr algn="l">
              <a:defRPr sz="900" b="0">
                <a:solidFill>
                  <a:schemeClr val="bg2"/>
                </a:solidFill>
              </a:defRPr>
            </a:lvl1pPr>
          </a:lstStyle>
          <a:p>
            <a:r>
              <a:rPr lang="da-DK" dirty="0"/>
              <a:t>Gruppeforløb for hjemmeboende unge med autisme - UDKAST</a:t>
            </a:r>
          </a:p>
        </p:txBody>
      </p:sp>
      <p:sp>
        <p:nvSpPr>
          <p:cNvPr id="6" name="Pladsholder til slidenummer 5"/>
          <p:cNvSpPr>
            <a:spLocks noGrp="1"/>
          </p:cNvSpPr>
          <p:nvPr>
            <p:ph type="sldNum" sz="quarter" idx="4"/>
          </p:nvPr>
        </p:nvSpPr>
        <p:spPr>
          <a:xfrm>
            <a:off x="6457950" y="6356351"/>
            <a:ext cx="2057400" cy="365125"/>
          </a:xfrm>
          <a:prstGeom prst="rect">
            <a:avLst/>
          </a:prstGeom>
        </p:spPr>
        <p:txBody>
          <a:bodyPr vert="horz" lIns="0" tIns="0" rIns="0" bIns="0" rtlCol="0" anchor="ctr">
            <a:noAutofit/>
          </a:bodyPr>
          <a:lstStyle>
            <a:lvl1pPr algn="r">
              <a:defRPr sz="900">
                <a:solidFill>
                  <a:schemeClr val="bg1"/>
                </a:solidFill>
              </a:defRPr>
            </a:lvl1pPr>
          </a:lstStyle>
          <a:p>
            <a:fld id="{1C4DB2EE-0873-4EBD-BD17-6A767A2B9A33}" type="slidenum">
              <a:rPr lang="da-DK" smtClean="0"/>
              <a:pPr/>
              <a:t>‹nr.›</a:t>
            </a:fld>
            <a:endParaRPr lang="da-DK" dirty="0"/>
          </a:p>
        </p:txBody>
      </p:sp>
      <p:sp>
        <p:nvSpPr>
          <p:cNvPr id="8" name="Pladsholder til tekst 7"/>
          <p:cNvSpPr>
            <a:spLocks noGrp="1"/>
          </p:cNvSpPr>
          <p:nvPr>
            <p:ph type="body" idx="1"/>
          </p:nvPr>
        </p:nvSpPr>
        <p:spPr>
          <a:xfrm>
            <a:off x="628650" y="1628775"/>
            <a:ext cx="7886700" cy="4248497"/>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endParaRPr lang="en-GB" dirty="0"/>
          </a:p>
        </p:txBody>
      </p:sp>
    </p:spTree>
    <p:extLst>
      <p:ext uri="{BB962C8B-B14F-4D97-AF65-F5344CB8AC3E}">
        <p14:creationId xmlns:p14="http://schemas.microsoft.com/office/powerpoint/2010/main" val="133921243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 id="2147483926" r:id="rId14"/>
    <p:sldLayoutId id="2147483927" r:id="rId15"/>
    <p:sldLayoutId id="2147483928" r:id="rId16"/>
    <p:sldLayoutId id="2147483929" r:id="rId17"/>
    <p:sldLayoutId id="2147483930" r:id="rId18"/>
    <p:sldLayoutId id="2147483931" r:id="rId19"/>
    <p:sldLayoutId id="2147483932" r:id="rId20"/>
    <p:sldLayoutId id="2147483933" r:id="rId21"/>
    <p:sldLayoutId id="2147483934" r:id="rId22"/>
    <p:sldLayoutId id="2147483935" r:id="rId23"/>
    <p:sldLayoutId id="2147483936" r:id="rId24"/>
    <p:sldLayoutId id="2147483937" r:id="rId25"/>
    <p:sldLayoutId id="2147483938" r:id="rId26"/>
    <p:sldLayoutId id="2147483939" r:id="rId27"/>
    <p:sldLayoutId id="2147483940" r:id="rId28"/>
    <p:sldLayoutId id="2147483941" r:id="rId29"/>
    <p:sldLayoutId id="2147483942" r:id="rId30"/>
    <p:sldLayoutId id="2147483943" r:id="rId31"/>
    <p:sldLayoutId id="2147483944" r:id="rId32"/>
    <p:sldLayoutId id="2147483945" r:id="rId33"/>
    <p:sldLayoutId id="2147483946" r:id="rId34"/>
    <p:sldLayoutId id="2147483947" r:id="rId35"/>
    <p:sldLayoutId id="2147483948" r:id="rId36"/>
    <p:sldLayoutId id="2147483949" r:id="rId37"/>
    <p:sldLayoutId id="2147483950" r:id="rId38"/>
    <p:sldLayoutId id="2147483951" r:id="rId39"/>
  </p:sldLayoutIdLst>
  <p:hf hdr="0" dt="0"/>
  <p:txStyles>
    <p:title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p:titleStyle>
    <p:bodyStyle>
      <a:lvl1pPr marL="180000" indent="-180000" algn="l" defTabSz="685800" rtl="0" eaLnBrk="1" latinLnBrk="0" hangingPunct="1">
        <a:lnSpc>
          <a:spcPct val="100000"/>
        </a:lnSpc>
        <a:spcBef>
          <a:spcPts val="750"/>
        </a:spcBef>
        <a:buFont typeface="Arial" panose="020B0604020202020204" pitchFamily="34" charset="0"/>
        <a:buChar char="•"/>
        <a:defRPr sz="1800" kern="1200">
          <a:solidFill>
            <a:schemeClr val="tx1"/>
          </a:solidFill>
          <a:latin typeface="+mn-lt"/>
          <a:ea typeface="+mn-ea"/>
          <a:cs typeface="+mn-cs"/>
        </a:defRPr>
      </a:lvl1pPr>
      <a:lvl2pPr marL="36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2pPr>
      <a:lvl3pPr marL="54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3pPr>
      <a:lvl4pPr marL="72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4pPr>
      <a:lvl5pPr marL="90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a-DK"/>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2" orient="horz" pos="1026">
          <p15:clr>
            <a:srgbClr val="F26B43"/>
          </p15:clr>
        </p15:guide>
        <p15:guide id="13" pos="385">
          <p15:clr>
            <a:srgbClr val="F26B43"/>
          </p15:clr>
        </p15:guide>
        <p15:guide id="14" pos="5375">
          <p15:clr>
            <a:srgbClr val="F26B43"/>
          </p15:clr>
        </p15:guide>
        <p15:guide id="15" orient="horz" pos="370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19.xml"/><Relationship Id="rId7" Type="http://schemas.openxmlformats.org/officeDocument/2006/relationships/image" Target="../media/image2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8.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27.emf"/><Relationship Id="rId4" Type="http://schemas.openxmlformats.org/officeDocument/2006/relationships/oleObject" Target="../embeddings/oleObject62.bin"/></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0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7.xml"/><Relationship Id="rId1" Type="http://schemas.openxmlformats.org/officeDocument/2006/relationships/slideLayout" Target="../slideLayouts/slideLayout28.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8.xml"/></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27.emf"/><Relationship Id="rId4" Type="http://schemas.openxmlformats.org/officeDocument/2006/relationships/oleObject" Target="../embeddings/oleObject63.bin"/></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27.emf"/><Relationship Id="rId4" Type="http://schemas.openxmlformats.org/officeDocument/2006/relationships/oleObject" Target="../embeddings/oleObject64.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22.emf"/><Relationship Id="rId5" Type="http://schemas.openxmlformats.org/officeDocument/2006/relationships/oleObject" Target="../embeddings/oleObject65.bin"/><Relationship Id="rId4" Type="http://schemas.openxmlformats.org/officeDocument/2006/relationships/notesSlide" Target="../notesSlides/notesSlide49.xml"/></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22.emf"/><Relationship Id="rId5" Type="http://schemas.openxmlformats.org/officeDocument/2006/relationships/oleObject" Target="../embeddings/oleObject66.bin"/><Relationship Id="rId4" Type="http://schemas.openxmlformats.org/officeDocument/2006/relationships/notesSlide" Target="../notesSlides/notesSlide50.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8.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27.emf"/><Relationship Id="rId5" Type="http://schemas.openxmlformats.org/officeDocument/2006/relationships/oleObject" Target="../embeddings/oleObject67.bin"/><Relationship Id="rId4" Type="http://schemas.openxmlformats.org/officeDocument/2006/relationships/notesSlide" Target="../notesSlides/notesSlide52.xml"/></Relationships>
</file>

<file path=ppt/slides/_rels/slide11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27.emf"/><Relationship Id="rId5" Type="http://schemas.openxmlformats.org/officeDocument/2006/relationships/oleObject" Target="../embeddings/oleObject68.bin"/><Relationship Id="rId4" Type="http://schemas.openxmlformats.org/officeDocument/2006/relationships/notesSlide" Target="../notesSlides/notesSlide53.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8.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27.emf"/><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image" Target="../media/image26.png"/><Relationship Id="rId4" Type="http://schemas.openxmlformats.org/officeDocument/2006/relationships/notesSlide" Target="../notesSlides/notesSlide54.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27.emf"/><Relationship Id="rId4" Type="http://schemas.openxmlformats.org/officeDocument/2006/relationships/oleObject" Target="../embeddings/oleObject70.bin"/></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27.emf"/><Relationship Id="rId4" Type="http://schemas.openxmlformats.org/officeDocument/2006/relationships/oleObject" Target="../embeddings/oleObject71.bin"/></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image" Target="../media/image22.emf"/><Relationship Id="rId5" Type="http://schemas.openxmlformats.org/officeDocument/2006/relationships/oleObject" Target="../embeddings/oleObject72.bin"/><Relationship Id="rId4" Type="http://schemas.openxmlformats.org/officeDocument/2006/relationships/notesSlide" Target="../notesSlides/notesSlide56.xml"/></Relationships>
</file>

<file path=ppt/slides/_rels/slide12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image" Target="../media/image22.emf"/><Relationship Id="rId5" Type="http://schemas.openxmlformats.org/officeDocument/2006/relationships/oleObject" Target="../embeddings/oleObject73.bin"/><Relationship Id="rId4" Type="http://schemas.openxmlformats.org/officeDocument/2006/relationships/notesSlide" Target="../notesSlides/notesSlide57.xm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notesSlide" Target="../notesSlides/notesSlide58.xml"/></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39.gif"/><Relationship Id="rId5" Type="http://schemas.openxmlformats.org/officeDocument/2006/relationships/image" Target="../media/image22.emf"/><Relationship Id="rId4" Type="http://schemas.openxmlformats.org/officeDocument/2006/relationships/oleObject" Target="../embeddings/oleObject76.bin"/></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41.svg"/><Relationship Id="rId7" Type="http://schemas.openxmlformats.org/officeDocument/2006/relationships/image" Target="../media/image45.svg"/><Relationship Id="rId2" Type="http://schemas.openxmlformats.org/officeDocument/2006/relationships/image" Target="../media/image40.png"/><Relationship Id="rId1" Type="http://schemas.openxmlformats.org/officeDocument/2006/relationships/slideLayout" Target="../slideLayouts/slideLayout28.xml"/><Relationship Id="rId6" Type="http://schemas.openxmlformats.org/officeDocument/2006/relationships/image" Target="../media/image42.png"/><Relationship Id="rId5" Type="http://schemas.openxmlformats.org/officeDocument/2006/relationships/image" Target="../media/image43.svg"/><Relationship Id="rId4" Type="http://schemas.openxmlformats.org/officeDocument/2006/relationships/image" Target="../media/image41.png"/><Relationship Id="rId9" Type="http://schemas.openxmlformats.org/officeDocument/2006/relationships/image" Target="../media/image47.sv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7.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1.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27.emf"/><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oleObject" Target="../embeddings/oleObject77.bin"/><Relationship Id="rId5" Type="http://schemas.openxmlformats.org/officeDocument/2006/relationships/image" Target="../media/image26.png"/><Relationship Id="rId4" Type="http://schemas.openxmlformats.org/officeDocument/2006/relationships/notesSlide" Target="../notesSlides/notesSlide59.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8.xml"/></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27.emf"/><Relationship Id="rId4" Type="http://schemas.openxmlformats.org/officeDocument/2006/relationships/oleObject" Target="../embeddings/oleObject78.bin"/></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27.emf"/><Relationship Id="rId4" Type="http://schemas.openxmlformats.org/officeDocument/2006/relationships/oleObject" Target="../embeddings/oleObject79.bin"/></Relationships>
</file>

<file path=ppt/slides/_rels/slide13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22.emf"/><Relationship Id="rId5" Type="http://schemas.openxmlformats.org/officeDocument/2006/relationships/oleObject" Target="../embeddings/oleObject80.bin"/><Relationship Id="rId4" Type="http://schemas.openxmlformats.org/officeDocument/2006/relationships/notesSlide" Target="../notesSlides/notesSlide61.xml"/></Relationships>
</file>

<file path=ppt/slides/_rels/slide13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27.emf"/><Relationship Id="rId4" Type="http://schemas.openxmlformats.org/officeDocument/2006/relationships/oleObject" Target="../embeddings/oleObject81.bin"/></Relationships>
</file>

<file path=ppt/slides/_rels/slide13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22.emf"/><Relationship Id="rId5" Type="http://schemas.openxmlformats.org/officeDocument/2006/relationships/oleObject" Target="../embeddings/oleObject82.bin"/><Relationship Id="rId4" Type="http://schemas.openxmlformats.org/officeDocument/2006/relationships/notesSlide" Target="../notesSlides/notesSlide62.xml"/></Relationships>
</file>

<file path=ppt/slides/_rels/slide138.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27.emf"/><Relationship Id="rId4" Type="http://schemas.openxmlformats.org/officeDocument/2006/relationships/oleObject" Target="../embeddings/oleObject83.bin"/></Relationships>
</file>

<file path=ppt/slides/_rels/slide139.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27.emf"/><Relationship Id="rId4" Type="http://schemas.openxmlformats.org/officeDocument/2006/relationships/oleObject" Target="../embeddings/oleObject84.bin"/></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140.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27.emf"/><Relationship Id="rId4" Type="http://schemas.openxmlformats.org/officeDocument/2006/relationships/oleObject" Target="../embeddings/oleObject85.bin"/></Relationships>
</file>

<file path=ppt/slides/_rels/slide141.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27.emf"/><Relationship Id="rId4" Type="http://schemas.openxmlformats.org/officeDocument/2006/relationships/oleObject" Target="../embeddings/oleObject86.bin"/></Relationships>
</file>

<file path=ppt/slides/_rels/slide14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27.emf"/><Relationship Id="rId4" Type="http://schemas.openxmlformats.org/officeDocument/2006/relationships/oleObject" Target="../embeddings/oleObject87.bin"/></Relationships>
</file>

<file path=ppt/slides/_rels/slide14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27.emf"/><Relationship Id="rId4" Type="http://schemas.openxmlformats.org/officeDocument/2006/relationships/oleObject" Target="../embeddings/oleObject88.bin"/></Relationships>
</file>

<file path=ppt/slides/_rels/slide14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27.emf"/><Relationship Id="rId4" Type="http://schemas.openxmlformats.org/officeDocument/2006/relationships/oleObject" Target="../embeddings/oleObject89.bin"/></Relationships>
</file>

<file path=ppt/slides/_rels/slide14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27.emf"/><Relationship Id="rId4" Type="http://schemas.openxmlformats.org/officeDocument/2006/relationships/oleObject" Target="../embeddings/oleObject90.bin"/></Relationships>
</file>

<file path=ppt/slides/_rels/slide14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27.emf"/><Relationship Id="rId4" Type="http://schemas.openxmlformats.org/officeDocument/2006/relationships/oleObject" Target="../embeddings/oleObject91.bin"/></Relationships>
</file>

<file path=ppt/slides/_rels/slide14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27.emf"/><Relationship Id="rId4" Type="http://schemas.openxmlformats.org/officeDocument/2006/relationships/oleObject" Target="../embeddings/oleObject92.bin"/></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27.emf"/><Relationship Id="rId4" Type="http://schemas.openxmlformats.org/officeDocument/2006/relationships/oleObject" Target="../embeddings/oleObject10.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27.e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2.emf"/><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2.emf"/><Relationship Id="rId5" Type="http://schemas.openxmlformats.org/officeDocument/2006/relationships/oleObject" Target="../embeddings/oleObject13.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7.emf"/><Relationship Id="rId5" Type="http://schemas.openxmlformats.org/officeDocument/2006/relationships/oleObject" Target="../embeddings/oleObject14.bin"/><Relationship Id="rId4"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28.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7.emf"/><Relationship Id="rId5" Type="http://schemas.openxmlformats.org/officeDocument/2006/relationships/oleObject" Target="../embeddings/oleObject15.bin"/><Relationship Id="rId4" Type="http://schemas.openxmlformats.org/officeDocument/2006/relationships/notesSlide" Target="../notesSlides/notesSlide1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29.jpe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7.emf"/><Relationship Id="rId5" Type="http://schemas.openxmlformats.org/officeDocument/2006/relationships/oleObject" Target="../embeddings/oleObject16.bin"/><Relationship Id="rId4" Type="http://schemas.openxmlformats.org/officeDocument/2006/relationships/notesSlide" Target="../notesSlides/notesSlide1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7.emf"/><Relationship Id="rId5" Type="http://schemas.openxmlformats.org/officeDocument/2006/relationships/oleObject" Target="../embeddings/oleObject17.bin"/><Relationship Id="rId4" Type="http://schemas.openxmlformats.org/officeDocument/2006/relationships/notesSlide" Target="../notesSlides/notesSlide1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26.png"/><Relationship Id="rId4" Type="http://schemas.openxmlformats.org/officeDocument/2006/relationships/notesSlide" Target="../notesSlides/notesSlide1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27.emf"/><Relationship Id="rId4" Type="http://schemas.openxmlformats.org/officeDocument/2006/relationships/oleObject" Target="../embeddings/oleObject20.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27.emf"/><Relationship Id="rId4" Type="http://schemas.openxmlformats.org/officeDocument/2006/relationships/oleObject" Target="../embeddings/oleObject21.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2.emf"/><Relationship Id="rId5" Type="http://schemas.openxmlformats.org/officeDocument/2006/relationships/oleObject" Target="../embeddings/oleObject22.bin"/><Relationship Id="rId4" Type="http://schemas.openxmlformats.org/officeDocument/2006/relationships/notesSlide" Target="../notesSlides/notesSlide20.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2.emf"/><Relationship Id="rId5" Type="http://schemas.openxmlformats.org/officeDocument/2006/relationships/oleObject" Target="../embeddings/oleObject23.bin"/><Relationship Id="rId4" Type="http://schemas.openxmlformats.org/officeDocument/2006/relationships/notesSlide" Target="../notesSlides/notesSlide2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30.pn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27.emf"/><Relationship Id="rId5" Type="http://schemas.openxmlformats.org/officeDocument/2006/relationships/oleObject" Target="../embeddings/oleObject24.bin"/><Relationship Id="rId4" Type="http://schemas.openxmlformats.org/officeDocument/2006/relationships/notesSlide" Target="../notesSlides/notesSlide23.xml"/></Relationships>
</file>

<file path=ppt/slides/_rels/slide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1.png"/><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8.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microsoft.com/office/2007/relationships/hdphoto" Target="../media/hdphoto2.wdp"/><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2.png"/><Relationship Id="rId5" Type="http://schemas.openxmlformats.org/officeDocument/2006/relationships/image" Target="../media/image22.emf"/><Relationship Id="rId4" Type="http://schemas.openxmlformats.org/officeDocument/2006/relationships/oleObject" Target="../embeddings/oleObject25.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microsoft.com/office/2007/relationships/hdphoto" Target="../media/hdphoto3.wdp"/><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3.png"/><Relationship Id="rId5" Type="http://schemas.openxmlformats.org/officeDocument/2006/relationships/image" Target="../media/image22.emf"/><Relationship Id="rId4" Type="http://schemas.openxmlformats.org/officeDocument/2006/relationships/oleObject" Target="../embeddings/oleObject26.bin"/></Relationships>
</file>

<file path=ppt/slides/_rels/slide4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4.png"/><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5.png"/><Relationship Id="rId1" Type="http://schemas.openxmlformats.org/officeDocument/2006/relationships/slideLayout" Target="../slideLayouts/slideLayout2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22.emf"/><Relationship Id="rId5" Type="http://schemas.openxmlformats.org/officeDocument/2006/relationships/oleObject" Target="../embeddings/oleObject27.bin"/><Relationship Id="rId4" Type="http://schemas.openxmlformats.org/officeDocument/2006/relationships/notesSlide" Target="../notesSlides/notesSlide24.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27.emf"/><Relationship Id="rId4" Type="http://schemas.openxmlformats.org/officeDocument/2006/relationships/oleObject" Target="../embeddings/oleObject28.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27.emf"/><Relationship Id="rId4" Type="http://schemas.openxmlformats.org/officeDocument/2006/relationships/oleObject" Target="../embeddings/oleObject29.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27.emf"/><Relationship Id="rId4" Type="http://schemas.openxmlformats.org/officeDocument/2006/relationships/oleObject" Target="../embeddings/oleObject30.bin"/></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5.xml"/><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8.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27.emf"/><Relationship Id="rId4" Type="http://schemas.openxmlformats.org/officeDocument/2006/relationships/oleObject" Target="../embeddings/oleObject31.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27.emf"/><Relationship Id="rId4" Type="http://schemas.openxmlformats.org/officeDocument/2006/relationships/oleObject" Target="../embeddings/oleObject32.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22.emf"/><Relationship Id="rId5" Type="http://schemas.openxmlformats.org/officeDocument/2006/relationships/oleObject" Target="../embeddings/oleObject33.bin"/><Relationship Id="rId4" Type="http://schemas.openxmlformats.org/officeDocument/2006/relationships/notesSlide" Target="../notesSlides/notesSlide27.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22.emf"/><Relationship Id="rId5" Type="http://schemas.openxmlformats.org/officeDocument/2006/relationships/oleObject" Target="../embeddings/oleObject34.bin"/><Relationship Id="rId4" Type="http://schemas.openxmlformats.org/officeDocument/2006/relationships/notesSlide" Target="../notesSlides/notesSlide28.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27.emf"/><Relationship Id="rId5" Type="http://schemas.openxmlformats.org/officeDocument/2006/relationships/oleObject" Target="../embeddings/oleObject35.bin"/><Relationship Id="rId4" Type="http://schemas.openxmlformats.org/officeDocument/2006/relationships/notesSlide" Target="../notesSlides/notesSlide2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27.emf"/><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image" Target="../media/image26.png"/><Relationship Id="rId4" Type="http://schemas.openxmlformats.org/officeDocument/2006/relationships/notesSlide" Target="../notesSlides/notesSlide30.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8.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27.emf"/><Relationship Id="rId4" Type="http://schemas.openxmlformats.org/officeDocument/2006/relationships/oleObject" Target="../embeddings/oleObject37.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27.emf"/><Relationship Id="rId4" Type="http://schemas.openxmlformats.org/officeDocument/2006/relationships/oleObject" Target="../embeddings/oleObject38.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22.emf"/><Relationship Id="rId5" Type="http://schemas.openxmlformats.org/officeDocument/2006/relationships/oleObject" Target="../embeddings/oleObject39.bin"/><Relationship Id="rId4" Type="http://schemas.openxmlformats.org/officeDocument/2006/relationships/notesSlide" Target="../notesSlides/notesSlide3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7.emf"/><Relationship Id="rId5" Type="http://schemas.openxmlformats.org/officeDocument/2006/relationships/oleObject" Target="../embeddings/oleObject8.bin"/><Relationship Id="rId4" Type="http://schemas.openxmlformats.org/officeDocument/2006/relationships/notesSlide" Target="../notesSlides/notesSlide3.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22.emf"/><Relationship Id="rId5" Type="http://schemas.openxmlformats.org/officeDocument/2006/relationships/oleObject" Target="../embeddings/oleObject40.bin"/><Relationship Id="rId4" Type="http://schemas.openxmlformats.org/officeDocument/2006/relationships/notesSlide" Target="../notesSlides/notesSlide3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8.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36.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22.emf"/><Relationship Id="rId5" Type="http://schemas.openxmlformats.org/officeDocument/2006/relationships/oleObject" Target="../embeddings/oleObject41.bin"/><Relationship Id="rId4" Type="http://schemas.openxmlformats.org/officeDocument/2006/relationships/notesSlide" Target="../notesSlides/notesSlide35.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22.emf"/><Relationship Id="rId5" Type="http://schemas.openxmlformats.org/officeDocument/2006/relationships/oleObject" Target="../embeddings/oleObject42.bin"/><Relationship Id="rId4" Type="http://schemas.openxmlformats.org/officeDocument/2006/relationships/notesSlide" Target="../notesSlides/notesSlide36.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27.emf"/><Relationship Id="rId5" Type="http://schemas.openxmlformats.org/officeDocument/2006/relationships/oleObject" Target="../embeddings/oleObject43.bin"/><Relationship Id="rId4" Type="http://schemas.openxmlformats.org/officeDocument/2006/relationships/notesSlide" Target="../notesSlides/notesSlide37.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27.emf"/><Relationship Id="rId4" Type="http://schemas.openxmlformats.org/officeDocument/2006/relationships/oleObject" Target="../embeddings/oleObject44.bin"/></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2.emf"/><Relationship Id="rId5" Type="http://schemas.openxmlformats.org/officeDocument/2006/relationships/oleObject" Target="../embeddings/oleObject45.bin"/><Relationship Id="rId4" Type="http://schemas.openxmlformats.org/officeDocument/2006/relationships/notesSlide" Target="../notesSlides/notesSlide38.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27.emf"/><Relationship Id="rId4" Type="http://schemas.openxmlformats.org/officeDocument/2006/relationships/oleObject" Target="../embeddings/oleObject46.bin"/></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27.emf"/><Relationship Id="rId4" Type="http://schemas.openxmlformats.org/officeDocument/2006/relationships/oleObject" Target="../embeddings/oleObject47.bin"/></Relationships>
</file>

<file path=ppt/slides/_rels/slide79.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diagramQuickStyle" Target="../diagrams/quickStyle2.xml"/><Relationship Id="rId3" Type="http://schemas.openxmlformats.org/officeDocument/2006/relationships/slideLayout" Target="../slideLayouts/slideLayout28.xml"/><Relationship Id="rId7" Type="http://schemas.openxmlformats.org/officeDocument/2006/relationships/diagramLayout" Target="../diagrams/layout1.xml"/><Relationship Id="rId12" Type="http://schemas.openxmlformats.org/officeDocument/2006/relationships/diagramLayout" Target="../diagrams/layout2.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diagramData" Target="../diagrams/data1.xml"/><Relationship Id="rId11" Type="http://schemas.openxmlformats.org/officeDocument/2006/relationships/diagramData" Target="../diagrams/data2.xml"/><Relationship Id="rId5" Type="http://schemas.openxmlformats.org/officeDocument/2006/relationships/image" Target="../media/image27.emf"/><Relationship Id="rId15" Type="http://schemas.microsoft.com/office/2007/relationships/diagramDrawing" Target="../diagrams/drawing2.xml"/><Relationship Id="rId10" Type="http://schemas.microsoft.com/office/2007/relationships/diagramDrawing" Target="../diagrams/drawing1.xml"/><Relationship Id="rId4" Type="http://schemas.openxmlformats.org/officeDocument/2006/relationships/oleObject" Target="../embeddings/oleObject48.bin"/><Relationship Id="rId9" Type="http://schemas.openxmlformats.org/officeDocument/2006/relationships/diagramColors" Target="../diagrams/colors1.xml"/><Relationship Id="rId14" Type="http://schemas.openxmlformats.org/officeDocument/2006/relationships/diagramColors" Target="../diagrams/colors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8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28.xml"/><Relationship Id="rId7" Type="http://schemas.openxmlformats.org/officeDocument/2006/relationships/hyperlink" Target="https://www.lederweb.dk/artikler/kom-fra-ulve-til-girafsprog/" TargetMode="Externa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27.emf"/><Relationship Id="rId11" Type="http://schemas.microsoft.com/office/2007/relationships/hdphoto" Target="../media/hdphoto7.wdp"/><Relationship Id="rId5" Type="http://schemas.openxmlformats.org/officeDocument/2006/relationships/oleObject" Target="../embeddings/oleObject49.bin"/><Relationship Id="rId10" Type="http://schemas.openxmlformats.org/officeDocument/2006/relationships/image" Target="../media/image38.png"/><Relationship Id="rId4" Type="http://schemas.openxmlformats.org/officeDocument/2006/relationships/notesSlide" Target="../notesSlides/notesSlide39.xml"/><Relationship Id="rId9" Type="http://schemas.microsoft.com/office/2007/relationships/hdphoto" Target="../media/hdphoto6.wdp"/></Relationships>
</file>

<file path=ppt/slides/_rels/slide8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28.xml"/><Relationship Id="rId7" Type="http://schemas.openxmlformats.org/officeDocument/2006/relationships/hyperlink" Target="https://www.lederweb.dk/artikler/kom-fra-ulve-til-girafsprog/" TargetMode="Externa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1.emf"/><Relationship Id="rId11" Type="http://schemas.microsoft.com/office/2007/relationships/hdphoto" Target="../media/hdphoto7.wdp"/><Relationship Id="rId5" Type="http://schemas.openxmlformats.org/officeDocument/2006/relationships/oleObject" Target="../embeddings/oleObject50.bin"/><Relationship Id="rId10" Type="http://schemas.openxmlformats.org/officeDocument/2006/relationships/image" Target="../media/image38.png"/><Relationship Id="rId4" Type="http://schemas.openxmlformats.org/officeDocument/2006/relationships/notesSlide" Target="../notesSlides/notesSlide40.xml"/><Relationship Id="rId9" Type="http://schemas.microsoft.com/office/2007/relationships/hdphoto" Target="../media/hdphoto6.wdp"/></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27.emf"/><Relationship Id="rId4" Type="http://schemas.openxmlformats.org/officeDocument/2006/relationships/oleObject" Target="../embeddings/oleObject51.bin"/></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27.emf"/><Relationship Id="rId4" Type="http://schemas.openxmlformats.org/officeDocument/2006/relationships/oleObject" Target="../embeddings/oleObject52.bin"/></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27.emf"/><Relationship Id="rId4" Type="http://schemas.openxmlformats.org/officeDocument/2006/relationships/oleObject" Target="../embeddings/oleObject53.bin"/></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27.emf"/><Relationship Id="rId4" Type="http://schemas.openxmlformats.org/officeDocument/2006/relationships/oleObject" Target="../embeddings/oleObject54.bin"/></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27.emf"/><Relationship Id="rId4" Type="http://schemas.openxmlformats.org/officeDocument/2006/relationships/oleObject" Target="../embeddings/oleObject55.bin"/></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image" Target="../media/image26.png"/><Relationship Id="rId4" Type="http://schemas.openxmlformats.org/officeDocument/2006/relationships/notesSlide" Target="../notesSlides/notesSlide41.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8.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27.emf"/><Relationship Id="rId4" Type="http://schemas.openxmlformats.org/officeDocument/2006/relationships/oleObject" Target="../embeddings/oleObject57.bin"/></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27.emf"/><Relationship Id="rId4" Type="http://schemas.openxmlformats.org/officeDocument/2006/relationships/oleObject" Target="../embeddings/oleObject58.bin"/></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22.emf"/><Relationship Id="rId5" Type="http://schemas.openxmlformats.org/officeDocument/2006/relationships/oleObject" Target="../embeddings/oleObject59.bin"/><Relationship Id="rId4" Type="http://schemas.openxmlformats.org/officeDocument/2006/relationships/notesSlide" Target="../notesSlides/notesSlide43.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22.emf"/><Relationship Id="rId5" Type="http://schemas.openxmlformats.org/officeDocument/2006/relationships/oleObject" Target="../embeddings/oleObject60.bin"/><Relationship Id="rId4" Type="http://schemas.openxmlformats.org/officeDocument/2006/relationships/notesSlide" Target="../notesSlides/notesSlide4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22.emf"/><Relationship Id="rId5" Type="http://schemas.openxmlformats.org/officeDocument/2006/relationships/oleObject" Target="../embeddings/oleObject61.bin"/><Relationship Id="rId4" Type="http://schemas.openxmlformats.org/officeDocument/2006/relationships/notesSlide" Target="../notesSlides/notesSlide45.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59E533-033F-4528-B64F-86164B7A0C9C}"/>
              </a:ext>
            </a:extLst>
          </p:cNvPr>
          <p:cNvGraphicFramePr>
            <a:graphicFrameLocks noChangeAspect="1"/>
          </p:cNvGraphicFramePr>
          <p:nvPr>
            <p:custDataLst>
              <p:tags r:id="rId2"/>
            </p:custDataLst>
            <p:extLst>
              <p:ext uri="{D42A27DB-BD31-4B8C-83A1-F6EECF244321}">
                <p14:modId xmlns:p14="http://schemas.microsoft.com/office/powerpoint/2010/main" val="4041186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ctrTitle"/>
          </p:nvPr>
        </p:nvSpPr>
        <p:spPr>
          <a:xfrm>
            <a:off x="3923928" y="2193528"/>
            <a:ext cx="4113076" cy="2459608"/>
          </a:xfrm>
        </p:spPr>
        <p:txBody>
          <a:bodyPr vert="horz"/>
          <a:lstStyle/>
          <a:p>
            <a:r>
              <a:rPr lang="da-DK" sz="1200" b="1" dirty="0"/>
              <a:t>Til gruppevejlederen</a:t>
            </a:r>
            <a:br>
              <a:rPr lang="da-DK" sz="1200" b="1" dirty="0"/>
            </a:br>
            <a:r>
              <a:rPr lang="da-DK" dirty="0"/>
              <a:t/>
            </a:r>
            <a:br>
              <a:rPr lang="da-DK" dirty="0"/>
            </a:br>
            <a:r>
              <a:rPr lang="da-DK" dirty="0"/>
              <a:t>Oplæg til gruppeforløb for forældre </a:t>
            </a:r>
            <a:br>
              <a:rPr lang="da-DK" dirty="0"/>
            </a:br>
            <a:r>
              <a:rPr lang="da-DK" sz="1600" dirty="0">
                <a:effectLst/>
                <a:latin typeface="Helvetica" pitchFamily="2" charset="0"/>
              </a:rPr>
              <a:t/>
            </a:r>
            <a:br>
              <a:rPr lang="da-DK" sz="1600" dirty="0">
                <a:effectLst/>
                <a:latin typeface="Helvetica" pitchFamily="2" charset="0"/>
              </a:rPr>
            </a:br>
            <a:r>
              <a:rPr lang="da-DK" sz="1600" dirty="0">
                <a:solidFill>
                  <a:srgbClr val="AA2316"/>
                </a:solidFill>
                <a:effectLst/>
                <a:latin typeface="Arial" panose="020B0604020202020204" pitchFamily="34" charset="0"/>
                <a:cs typeface="Arial" panose="020B0604020202020204" pitchFamily="34" charset="0"/>
              </a:rPr>
              <a:t>Læringsforløb for unge med autisme og deres forældre </a:t>
            </a:r>
            <a:r>
              <a:rPr lang="da-DK" sz="1600" dirty="0"/>
              <a:t/>
            </a:r>
            <a:br>
              <a:rPr lang="da-DK" sz="1600" dirty="0"/>
            </a:br>
            <a:r>
              <a:rPr lang="da-DK" sz="1600" dirty="0"/>
              <a:t/>
            </a:r>
            <a:br>
              <a:rPr lang="da-DK" sz="1600" dirty="0"/>
            </a:br>
            <a:r>
              <a:rPr lang="da-DK" sz="1600" dirty="0"/>
              <a:t/>
            </a:r>
            <a:br>
              <a:rPr lang="da-DK" sz="1600" dirty="0"/>
            </a:br>
            <a:r>
              <a:rPr lang="da-DK" sz="1400" dirty="0"/>
              <a:t>Januar 2023</a:t>
            </a:r>
          </a:p>
        </p:txBody>
      </p:sp>
      <p:sp>
        <p:nvSpPr>
          <p:cNvPr id="5" name="Pladsholder til tekst 4">
            <a:extLst>
              <a:ext uri="{FF2B5EF4-FFF2-40B4-BE49-F238E27FC236}">
                <a16:creationId xmlns:a16="http://schemas.microsoft.com/office/drawing/2014/main" id="{4AE6BDAA-DAD8-1453-A8BD-8F7468157CED}"/>
              </a:ext>
            </a:extLst>
          </p:cNvPr>
          <p:cNvSpPr>
            <a:spLocks noGrp="1"/>
          </p:cNvSpPr>
          <p:nvPr>
            <p:ph type="body" sz="quarter" idx="14"/>
          </p:nvPr>
        </p:nvSpPr>
        <p:spPr/>
        <p:txBody>
          <a:bodyPr>
            <a:normAutofit fontScale="25000" lnSpcReduction="20000"/>
          </a:bodyPr>
          <a:lstStyle/>
          <a:p>
            <a:endParaRPr lang="da-DK"/>
          </a:p>
        </p:txBody>
      </p:sp>
      <p:sp>
        <p:nvSpPr>
          <p:cNvPr id="4" name="Pladsholder til tekst 3">
            <a:extLst>
              <a:ext uri="{FF2B5EF4-FFF2-40B4-BE49-F238E27FC236}">
                <a16:creationId xmlns:a16="http://schemas.microsoft.com/office/drawing/2014/main" id="{4E545B1E-9DB0-6563-9AFA-58310FF2812E}"/>
              </a:ext>
            </a:extLst>
          </p:cNvPr>
          <p:cNvSpPr>
            <a:spLocks noGrp="1"/>
          </p:cNvSpPr>
          <p:nvPr>
            <p:ph type="body" sz="quarter" idx="13"/>
          </p:nvPr>
        </p:nvSpPr>
        <p:spPr/>
        <p:txBody>
          <a:bodyPr>
            <a:normAutofit fontScale="25000" lnSpcReduction="20000"/>
          </a:bodyPr>
          <a:lstStyle/>
          <a:p>
            <a:endParaRPr lang="da-DK"/>
          </a:p>
        </p:txBody>
      </p:sp>
      <p:sp>
        <p:nvSpPr>
          <p:cNvPr id="6" name="Pladsholder til tekst 5">
            <a:extLst>
              <a:ext uri="{FF2B5EF4-FFF2-40B4-BE49-F238E27FC236}">
                <a16:creationId xmlns:a16="http://schemas.microsoft.com/office/drawing/2014/main" id="{1FBC3A76-00EA-F594-0DF2-75ED00916923}"/>
              </a:ext>
            </a:extLst>
          </p:cNvPr>
          <p:cNvSpPr>
            <a:spLocks noGrp="1"/>
          </p:cNvSpPr>
          <p:nvPr>
            <p:ph type="body" sz="quarter" idx="16"/>
          </p:nvPr>
        </p:nvSpPr>
        <p:spPr/>
        <p:txBody>
          <a:bodyPr>
            <a:normAutofit fontScale="25000" lnSpcReduction="20000"/>
          </a:bodyPr>
          <a:lstStyle/>
          <a:p>
            <a:endParaRPr lang="da-DK"/>
          </a:p>
        </p:txBody>
      </p:sp>
      <p:pic>
        <p:nvPicPr>
          <p:cNvPr id="16" name="Billede 15">
            <a:extLst>
              <a:ext uri="{FF2B5EF4-FFF2-40B4-BE49-F238E27FC236}">
                <a16:creationId xmlns:a16="http://schemas.microsoft.com/office/drawing/2014/main" id="{2B1D30E1-6535-47BB-3F9E-D70589687C89}"/>
              </a:ext>
            </a:extLst>
          </p:cNvPr>
          <p:cNvPicPr>
            <a:picLocks noChangeAspect="1"/>
          </p:cNvPicPr>
          <p:nvPr/>
        </p:nvPicPr>
        <p:blipFill>
          <a:blip r:embed="rId7"/>
          <a:stretch>
            <a:fillRect/>
          </a:stretch>
        </p:blipFill>
        <p:spPr>
          <a:xfrm>
            <a:off x="704230" y="3084950"/>
            <a:ext cx="1419498" cy="560074"/>
          </a:xfrm>
          <a:prstGeom prst="rect">
            <a:avLst/>
          </a:prstGeom>
        </p:spPr>
      </p:pic>
      <p:pic>
        <p:nvPicPr>
          <p:cNvPr id="10" name="Billede 9">
            <a:extLst>
              <a:ext uri="{FF2B5EF4-FFF2-40B4-BE49-F238E27FC236}">
                <a16:creationId xmlns:a16="http://schemas.microsoft.com/office/drawing/2014/main" id="{C3F0A290-57EC-85D5-CEBB-59E77107CC44}"/>
              </a:ext>
            </a:extLst>
          </p:cNvPr>
          <p:cNvPicPr>
            <a:picLocks noChangeAspect="1"/>
          </p:cNvPicPr>
          <p:nvPr/>
        </p:nvPicPr>
        <p:blipFill>
          <a:blip r:embed="rId8">
            <a:alphaModFix amt="40000"/>
          </a:blip>
          <a:stretch>
            <a:fillRect/>
          </a:stretch>
        </p:blipFill>
        <p:spPr>
          <a:xfrm>
            <a:off x="5566898" y="4365104"/>
            <a:ext cx="3886200" cy="3326790"/>
          </a:xfrm>
          <a:prstGeom prst="rect">
            <a:avLst/>
          </a:prstGeom>
        </p:spPr>
      </p:pic>
      <p:sp>
        <p:nvSpPr>
          <p:cNvPr id="2" name="Tekstfelt 1">
            <a:extLst>
              <a:ext uri="{FF2B5EF4-FFF2-40B4-BE49-F238E27FC236}">
                <a16:creationId xmlns:a16="http://schemas.microsoft.com/office/drawing/2014/main" id="{4C6625EB-2478-4D49-DF71-3B319C435B12}"/>
              </a:ext>
            </a:extLst>
          </p:cNvPr>
          <p:cNvSpPr txBox="1"/>
          <p:nvPr/>
        </p:nvSpPr>
        <p:spPr>
          <a:xfrm rot="16200000">
            <a:off x="8298269" y="5974638"/>
            <a:ext cx="1296144" cy="107722"/>
          </a:xfrm>
          <a:prstGeom prst="rect">
            <a:avLst/>
          </a:prstGeom>
          <a:noFill/>
        </p:spPr>
        <p:txBody>
          <a:bodyPr wrap="square" lIns="0" tIns="0" rIns="0" bIns="0" rtlCol="0">
            <a:spAutoFit/>
          </a:bodyPr>
          <a:lstStyle/>
          <a:p>
            <a:r>
              <a:rPr lang="da-DK" sz="700" dirty="0"/>
              <a:t>ISBN: 978-87-94371-32-2</a:t>
            </a:r>
          </a:p>
        </p:txBody>
      </p:sp>
    </p:spTree>
    <p:extLst>
      <p:ext uri="{BB962C8B-B14F-4D97-AF65-F5344CB8AC3E}">
        <p14:creationId xmlns:p14="http://schemas.microsoft.com/office/powerpoint/2010/main" val="6372101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8B236-0FC0-4BCD-8B9A-3962BFB69DF6}"/>
              </a:ext>
            </a:extLst>
          </p:cNvPr>
          <p:cNvSpPr>
            <a:spLocks noGrp="1"/>
          </p:cNvSpPr>
          <p:nvPr>
            <p:ph type="title"/>
          </p:nvPr>
        </p:nvSpPr>
        <p:spPr/>
        <p:txBody>
          <a:bodyPr/>
          <a:lstStyle/>
          <a:p>
            <a:r>
              <a:rPr lang="da-DK" dirty="0"/>
              <a:t>Faste elementer og mulighed for at påvirke</a:t>
            </a:r>
          </a:p>
        </p:txBody>
      </p:sp>
      <p:sp>
        <p:nvSpPr>
          <p:cNvPr id="3" name="Content Placeholder 2">
            <a:extLst>
              <a:ext uri="{FF2B5EF4-FFF2-40B4-BE49-F238E27FC236}">
                <a16:creationId xmlns:a16="http://schemas.microsoft.com/office/drawing/2014/main" id="{0943F796-494C-4E80-BA84-45413C3D7071}"/>
              </a:ext>
            </a:extLst>
          </p:cNvPr>
          <p:cNvSpPr>
            <a:spLocks noGrp="1"/>
          </p:cNvSpPr>
          <p:nvPr>
            <p:ph idx="1"/>
          </p:nvPr>
        </p:nvSpPr>
        <p:spPr/>
        <p:txBody>
          <a:bodyPr/>
          <a:lstStyle/>
          <a:p>
            <a:r>
              <a:rPr lang="da-DK" dirty="0"/>
              <a:t>Fast struktur for forløbet, moduler og de enkelte gruppesessioner</a:t>
            </a:r>
          </a:p>
          <a:p>
            <a:r>
              <a:rPr lang="da-DK" dirty="0"/>
              <a:t>Mulighed for at justere indholdet efter jeres behov og ønsker</a:t>
            </a:r>
          </a:p>
          <a:p>
            <a:r>
              <a:rPr lang="da-DK" dirty="0"/>
              <a:t>Mulighed for at invitere eksterne oplægsholdere.</a:t>
            </a:r>
          </a:p>
        </p:txBody>
      </p:sp>
    </p:spTree>
    <p:extLst>
      <p:ext uri="{BB962C8B-B14F-4D97-AF65-F5344CB8AC3E}">
        <p14:creationId xmlns:p14="http://schemas.microsoft.com/office/powerpoint/2010/main" val="324819629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E3EFB-A468-4A39-9609-91AC3012E79C}"/>
              </a:ext>
            </a:extLst>
          </p:cNvPr>
          <p:cNvSpPr>
            <a:spLocks noGrp="1"/>
          </p:cNvSpPr>
          <p:nvPr>
            <p:ph type="title"/>
          </p:nvPr>
        </p:nvSpPr>
        <p:spPr/>
        <p:txBody>
          <a:bodyPr/>
          <a:lstStyle/>
          <a:p>
            <a:r>
              <a:rPr lang="da-DK" dirty="0"/>
              <a:t>Bolig/at flytte hjemmefra</a:t>
            </a:r>
          </a:p>
        </p:txBody>
      </p:sp>
      <p:sp>
        <p:nvSpPr>
          <p:cNvPr id="3" name="Content Placeholder 2">
            <a:extLst>
              <a:ext uri="{FF2B5EF4-FFF2-40B4-BE49-F238E27FC236}">
                <a16:creationId xmlns:a16="http://schemas.microsoft.com/office/drawing/2014/main" id="{2016D183-A421-4AF0-8F66-27CA5C2B673E}"/>
              </a:ext>
            </a:extLst>
          </p:cNvPr>
          <p:cNvSpPr>
            <a:spLocks noGrp="1"/>
          </p:cNvSpPr>
          <p:nvPr>
            <p:ph idx="1"/>
          </p:nvPr>
        </p:nvSpPr>
        <p:spPr/>
        <p:txBody>
          <a:bodyPr/>
          <a:lstStyle/>
          <a:p>
            <a:pPr marL="0" indent="0">
              <a:buNone/>
            </a:pPr>
            <a:r>
              <a:rPr lang="da-DK" dirty="0"/>
              <a:t>At flytte hjemmefra kan være forbundet med blandede følelser som spænding, glæde og forhåbninger for den unge. Der er en række forhold, man med fordel kan tale med den unge om: </a:t>
            </a:r>
          </a:p>
          <a:p>
            <a:r>
              <a:rPr lang="da-DK" b="1" dirty="0"/>
              <a:t>Hvor? </a:t>
            </a:r>
            <a:r>
              <a:rPr lang="da-DK" dirty="0"/>
              <a:t>Direkte i egen bolig, en overgang, hvor man kan øve sig i at bo alene eller et bosted eller opgangsfællesskab. </a:t>
            </a:r>
          </a:p>
          <a:p>
            <a:r>
              <a:rPr lang="da-DK" b="1" dirty="0"/>
              <a:t>Hvordan? </a:t>
            </a:r>
            <a:r>
              <a:rPr lang="da-DK" dirty="0"/>
              <a:t>Indretning af 1-værelses bolig, styr på økonomi, e-boks og </a:t>
            </a:r>
            <a:r>
              <a:rPr lang="da-DK" dirty="0" err="1"/>
              <a:t>Nem-ID</a:t>
            </a:r>
            <a:r>
              <a:rPr lang="da-DK" dirty="0"/>
              <a:t>, praktiske opgaver i hjemmet. </a:t>
            </a:r>
          </a:p>
          <a:p>
            <a:r>
              <a:rPr lang="da-DK" b="1" dirty="0"/>
              <a:t>Savn og kontakt </a:t>
            </a:r>
            <a:r>
              <a:rPr lang="da-DK" dirty="0"/>
              <a:t>: Opmærksomhed på, at kontakten bliver anderledes, når den unge flytter i egen bolig. Besøge? Ringe sammen? </a:t>
            </a:r>
          </a:p>
          <a:p>
            <a:pPr marL="0" indent="0">
              <a:buNone/>
            </a:pPr>
            <a:endParaRPr lang="da-DK" dirty="0"/>
          </a:p>
          <a:p>
            <a:endParaRPr lang="da-DK" dirty="0"/>
          </a:p>
          <a:p>
            <a:endParaRPr lang="da-DK" dirty="0"/>
          </a:p>
          <a:p>
            <a:endParaRPr lang="da-DK" dirty="0"/>
          </a:p>
        </p:txBody>
      </p:sp>
      <p:sp>
        <p:nvSpPr>
          <p:cNvPr id="5" name="Speech Bubble: Rectangle with Corners Rounded 4">
            <a:extLst>
              <a:ext uri="{FF2B5EF4-FFF2-40B4-BE49-F238E27FC236}">
                <a16:creationId xmlns:a16="http://schemas.microsoft.com/office/drawing/2014/main" id="{25B7ED63-4030-4707-860B-7DD9EC76578B}"/>
              </a:ext>
            </a:extLst>
          </p:cNvPr>
          <p:cNvSpPr/>
          <p:nvPr/>
        </p:nvSpPr>
        <p:spPr>
          <a:xfrm>
            <a:off x="5005261" y="4644392"/>
            <a:ext cx="3510089" cy="1160872"/>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ad kan I genkende?  </a:t>
            </a:r>
          </a:p>
          <a:p>
            <a:pPr marL="285750" indent="-285750">
              <a:spcAft>
                <a:spcPts val="600"/>
              </a:spcAft>
              <a:buFont typeface="Arial" panose="020B0604020202020204" pitchFamily="34" charset="0"/>
              <a:buChar char="•"/>
            </a:pPr>
            <a:r>
              <a:rPr lang="da-DK" sz="1400" i="1" dirty="0">
                <a:solidFill>
                  <a:schemeClr val="tx1"/>
                </a:solidFill>
              </a:rPr>
              <a:t>Hvordan kan man tale med og forberede sit barn på at flytte hjemmefra? </a:t>
            </a:r>
          </a:p>
        </p:txBody>
      </p:sp>
    </p:spTree>
    <p:extLst>
      <p:ext uri="{BB962C8B-B14F-4D97-AF65-F5344CB8AC3E}">
        <p14:creationId xmlns:p14="http://schemas.microsoft.com/office/powerpoint/2010/main" val="25548614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5B48EF-E0BB-42F4-A828-383C69D43C28}"/>
              </a:ext>
            </a:extLst>
          </p:cNvPr>
          <p:cNvSpPr>
            <a:spLocks noGrp="1"/>
          </p:cNvSpPr>
          <p:nvPr>
            <p:ph type="title"/>
          </p:nvPr>
        </p:nvSpPr>
        <p:spPr/>
        <p:txBody>
          <a:bodyPr/>
          <a:lstStyle/>
          <a:p>
            <a:r>
              <a:rPr lang="da-DK" dirty="0"/>
              <a:t>At blive myndig</a:t>
            </a:r>
          </a:p>
        </p:txBody>
      </p:sp>
      <p:sp>
        <p:nvSpPr>
          <p:cNvPr id="3" name="Content Placeholder 2">
            <a:extLst>
              <a:ext uri="{FF2B5EF4-FFF2-40B4-BE49-F238E27FC236}">
                <a16:creationId xmlns:a16="http://schemas.microsoft.com/office/drawing/2014/main" id="{3EB69231-1D46-4D22-B93A-81DAEB083D86}"/>
              </a:ext>
            </a:extLst>
          </p:cNvPr>
          <p:cNvSpPr>
            <a:spLocks noGrp="1"/>
          </p:cNvSpPr>
          <p:nvPr>
            <p:ph idx="1"/>
          </p:nvPr>
        </p:nvSpPr>
        <p:spPr/>
        <p:txBody>
          <a:bodyPr/>
          <a:lstStyle/>
          <a:p>
            <a:pPr marL="0" indent="0">
              <a:buNone/>
            </a:pPr>
            <a:r>
              <a:rPr lang="da-DK" dirty="0"/>
              <a:t>Der sker mange ting for den unge – og for jer som familie – når den unge fylder 18 år. </a:t>
            </a:r>
          </a:p>
          <a:p>
            <a:r>
              <a:rPr lang="da-DK" dirty="0"/>
              <a:t>Overgang fra børneforvaltning til voksenforvaltning</a:t>
            </a:r>
          </a:p>
          <a:p>
            <a:r>
              <a:rPr lang="da-DK" dirty="0"/>
              <a:t>Relation og samspil med offentlige myndigheder</a:t>
            </a:r>
          </a:p>
          <a:p>
            <a:r>
              <a:rPr lang="da-DK" dirty="0"/>
              <a:t>Ny rolle som forældre</a:t>
            </a:r>
          </a:p>
          <a:p>
            <a:r>
              <a:rPr lang="da-DK" dirty="0"/>
              <a:t>Stemmeret.</a:t>
            </a:r>
          </a:p>
          <a:p>
            <a:endParaRPr lang="da-DK" dirty="0"/>
          </a:p>
        </p:txBody>
      </p:sp>
      <p:sp>
        <p:nvSpPr>
          <p:cNvPr id="6" name="Speech Bubble: Rectangle with Corners Rounded 5">
            <a:extLst>
              <a:ext uri="{FF2B5EF4-FFF2-40B4-BE49-F238E27FC236}">
                <a16:creationId xmlns:a16="http://schemas.microsoft.com/office/drawing/2014/main" id="{48FAF396-4A8E-44DD-910C-125FB4404E33}"/>
              </a:ext>
            </a:extLst>
          </p:cNvPr>
          <p:cNvSpPr/>
          <p:nvPr/>
        </p:nvSpPr>
        <p:spPr>
          <a:xfrm>
            <a:off x="5005261" y="4149080"/>
            <a:ext cx="3510089" cy="1304888"/>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ad kan I genkende?  </a:t>
            </a:r>
          </a:p>
          <a:p>
            <a:pPr marL="285750" indent="-285750">
              <a:spcAft>
                <a:spcPts val="600"/>
              </a:spcAft>
              <a:buFont typeface="Arial" panose="020B0604020202020204" pitchFamily="34" charset="0"/>
              <a:buChar char="•"/>
            </a:pPr>
            <a:r>
              <a:rPr lang="da-DK" sz="1400" i="1" dirty="0">
                <a:solidFill>
                  <a:schemeClr val="tx1"/>
                </a:solidFill>
              </a:rPr>
              <a:t>Hvordan har I forberedt/oplevet den unges overgang ved det 18. år? </a:t>
            </a:r>
          </a:p>
        </p:txBody>
      </p:sp>
    </p:spTree>
    <p:extLst>
      <p:ext uri="{BB962C8B-B14F-4D97-AF65-F5344CB8AC3E}">
        <p14:creationId xmlns:p14="http://schemas.microsoft.com/office/powerpoint/2010/main" val="244432434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Forældrenes rolle når den unge flytter for sig selv</a:t>
            </a:r>
            <a:br>
              <a:rPr lang="da-DK" dirty="0"/>
            </a:br>
            <a:endParaRPr lang="da-DK" dirty="0"/>
          </a:p>
        </p:txBody>
      </p:sp>
      <p:sp>
        <p:nvSpPr>
          <p:cNvPr id="3" name="Pladsholder til indhold 2"/>
          <p:cNvSpPr>
            <a:spLocks noGrp="1"/>
          </p:cNvSpPr>
          <p:nvPr>
            <p:ph idx="1"/>
          </p:nvPr>
        </p:nvSpPr>
        <p:spPr/>
        <p:txBody>
          <a:bodyPr>
            <a:normAutofit/>
          </a:bodyPr>
          <a:lstStyle/>
          <a:p>
            <a:r>
              <a:rPr lang="da-DK" dirty="0"/>
              <a:t>Forældreskabet </a:t>
            </a:r>
          </a:p>
          <a:p>
            <a:pPr lvl="1"/>
            <a:r>
              <a:rPr lang="da-DK" dirty="0"/>
              <a:t>Hvilken rolle forventer jeg er mulig at tage i forhold til mit barn? </a:t>
            </a:r>
          </a:p>
          <a:p>
            <a:pPr lvl="1"/>
            <a:r>
              <a:rPr lang="da-DK" dirty="0"/>
              <a:t>Hvilke former for støtte ser jeg mig selv give? </a:t>
            </a:r>
          </a:p>
          <a:p>
            <a:pPr lvl="1"/>
            <a:r>
              <a:rPr lang="da-DK" dirty="0"/>
              <a:t>Hvor vil jeg være udfordret i at trække mig? </a:t>
            </a:r>
          </a:p>
          <a:p>
            <a:pPr lvl="1"/>
            <a:r>
              <a:rPr lang="da-DK" dirty="0"/>
              <a:t>Hvem kan jeg bruge til at støtte mig i min rolle?</a:t>
            </a:r>
          </a:p>
        </p:txBody>
      </p:sp>
    </p:spTree>
    <p:extLst>
      <p:ext uri="{BB962C8B-B14F-4D97-AF65-F5344CB8AC3E}">
        <p14:creationId xmlns:p14="http://schemas.microsoft.com/office/powerpoint/2010/main" val="410181840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1981E9-6B33-45D6-BE54-82AA848C9357}"/>
              </a:ext>
            </a:extLst>
          </p:cNvPr>
          <p:cNvGraphicFramePr>
            <a:graphicFrameLocks noChangeAspect="1"/>
          </p:cNvGraphicFramePr>
          <p:nvPr>
            <p:custDataLst>
              <p:tags r:id="rId2"/>
            </p:custDataLst>
            <p:extLst>
              <p:ext uri="{D42A27DB-BD31-4B8C-83A1-F6EECF244321}">
                <p14:modId xmlns:p14="http://schemas.microsoft.com/office/powerpoint/2010/main" val="15777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C70F09-EB44-4207-A6AD-1FE66106694F}"/>
              </a:ext>
            </a:extLst>
          </p:cNvPr>
          <p:cNvSpPr>
            <a:spLocks noGrp="1"/>
          </p:cNvSpPr>
          <p:nvPr>
            <p:ph type="title"/>
          </p:nvPr>
        </p:nvSpPr>
        <p:spPr/>
        <p:txBody>
          <a:bodyPr vert="horz"/>
          <a:lstStyle/>
          <a:p>
            <a:r>
              <a:rPr lang="da-DK" dirty="0"/>
              <a:t>Næste modul – rettigheder og muligheder for støtte</a:t>
            </a:r>
          </a:p>
        </p:txBody>
      </p:sp>
      <p:sp>
        <p:nvSpPr>
          <p:cNvPr id="3" name="Content Placeholder 2">
            <a:extLst>
              <a:ext uri="{FF2B5EF4-FFF2-40B4-BE49-F238E27FC236}">
                <a16:creationId xmlns:a16="http://schemas.microsoft.com/office/drawing/2014/main" id="{36F1F6B3-458F-4E3A-99B7-A1A2009B663D}"/>
              </a:ext>
            </a:extLst>
          </p:cNvPr>
          <p:cNvSpPr>
            <a:spLocks noGrp="1"/>
          </p:cNvSpPr>
          <p:nvPr>
            <p:ph idx="1"/>
          </p:nvPr>
        </p:nvSpPr>
        <p:spPr/>
        <p:txBody>
          <a:bodyPr/>
          <a:lstStyle/>
          <a:p>
            <a:r>
              <a:rPr lang="da-DK" dirty="0"/>
              <a:t>Overvej hvad det betyder, at den unge fylder/er fyldt 18 år og bliver/er myndig</a:t>
            </a:r>
          </a:p>
          <a:p>
            <a:r>
              <a:rPr lang="da-DK" dirty="0"/>
              <a:t>Hvad vil dette indebære for både den unges muligheder for støtte og for og jeres muligheder og vilkår?</a:t>
            </a:r>
          </a:p>
        </p:txBody>
      </p:sp>
    </p:spTree>
    <p:extLst>
      <p:ext uri="{BB962C8B-B14F-4D97-AF65-F5344CB8AC3E}">
        <p14:creationId xmlns:p14="http://schemas.microsoft.com/office/powerpoint/2010/main" val="322445538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2DDF4-5465-4D23-8456-5ED4496AE120}"/>
              </a:ext>
            </a:extLst>
          </p:cNvPr>
          <p:cNvSpPr>
            <a:spLocks noGrp="1"/>
          </p:cNvSpPr>
          <p:nvPr>
            <p:ph type="title"/>
          </p:nvPr>
        </p:nvSpPr>
        <p:spPr/>
        <p:txBody>
          <a:bodyPr/>
          <a:lstStyle/>
          <a:p>
            <a:r>
              <a:rPr lang="da-DK" dirty="0"/>
              <a:t>Hvad tager vi med os hjem</a:t>
            </a:r>
          </a:p>
        </p:txBody>
      </p:sp>
      <p:sp>
        <p:nvSpPr>
          <p:cNvPr id="3" name="Content Placeholder 2">
            <a:extLst>
              <a:ext uri="{FF2B5EF4-FFF2-40B4-BE49-F238E27FC236}">
                <a16:creationId xmlns:a16="http://schemas.microsoft.com/office/drawing/2014/main" id="{8BE087A5-0728-49A2-B32F-73E2B0420802}"/>
              </a:ext>
            </a:extLst>
          </p:cNvPr>
          <p:cNvSpPr>
            <a:spLocks noGrp="1"/>
          </p:cNvSpPr>
          <p:nvPr>
            <p:ph idx="1"/>
          </p:nvPr>
        </p:nvSpPr>
        <p:spPr/>
        <p:txBody>
          <a:bodyPr/>
          <a:lstStyle/>
          <a:p>
            <a:r>
              <a:rPr lang="da-DK" dirty="0"/>
              <a:t>Hvad har været godt i dag?</a:t>
            </a:r>
          </a:p>
          <a:p>
            <a:r>
              <a:rPr lang="da-DK" dirty="0"/>
              <a:t>Er der noget, som I har savnet i dag?</a:t>
            </a:r>
          </a:p>
          <a:p>
            <a:r>
              <a:rPr lang="da-DK" dirty="0"/>
              <a:t>Er der noget, som vi skal gøre anderledes næste gang?</a:t>
            </a:r>
          </a:p>
        </p:txBody>
      </p:sp>
      <p:sp>
        <p:nvSpPr>
          <p:cNvPr id="11" name="Speech Bubble: Rectangle with Corners Rounded 10">
            <a:extLst>
              <a:ext uri="{FF2B5EF4-FFF2-40B4-BE49-F238E27FC236}">
                <a16:creationId xmlns:a16="http://schemas.microsoft.com/office/drawing/2014/main" id="{18BDFDC3-A7F9-4926-BD1F-8C2CA4EDC8E6}"/>
              </a:ext>
            </a:extLst>
          </p:cNvPr>
          <p:cNvSpPr/>
          <p:nvPr/>
        </p:nvSpPr>
        <p:spPr>
          <a:xfrm>
            <a:off x="5166367" y="3573016"/>
            <a:ext cx="3510089" cy="1673299"/>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Udfyld logbogen med </a:t>
            </a:r>
            <a:br>
              <a:rPr lang="da-DK" sz="1400" i="1" dirty="0">
                <a:solidFill>
                  <a:schemeClr val="tx1"/>
                </a:solidFill>
              </a:rPr>
            </a:br>
            <a:r>
              <a:rPr lang="da-DK" sz="1400" i="1" dirty="0">
                <a:solidFill>
                  <a:schemeClr val="tx1"/>
                </a:solidFill>
              </a:rPr>
              <a:t>jeres refleksioner</a:t>
            </a:r>
          </a:p>
        </p:txBody>
      </p:sp>
      <p:grpSp>
        <p:nvGrpSpPr>
          <p:cNvPr id="8" name="Group 7">
            <a:extLst>
              <a:ext uri="{FF2B5EF4-FFF2-40B4-BE49-F238E27FC236}">
                <a16:creationId xmlns:a16="http://schemas.microsoft.com/office/drawing/2014/main" id="{6D68FC14-8A7D-467F-9AB8-D1511B87E95B}"/>
              </a:ext>
            </a:extLst>
          </p:cNvPr>
          <p:cNvGrpSpPr/>
          <p:nvPr/>
        </p:nvGrpSpPr>
        <p:grpSpPr>
          <a:xfrm>
            <a:off x="7758655" y="3788438"/>
            <a:ext cx="612000" cy="612000"/>
            <a:chOff x="8742468" y="3474401"/>
            <a:chExt cx="612000" cy="612000"/>
          </a:xfrm>
          <a:solidFill>
            <a:srgbClr val="C00000"/>
          </a:solidFill>
        </p:grpSpPr>
        <p:sp>
          <p:nvSpPr>
            <p:cNvPr id="9" name="Oval 8">
              <a:extLst>
                <a:ext uri="{FF2B5EF4-FFF2-40B4-BE49-F238E27FC236}">
                  <a16:creationId xmlns:a16="http://schemas.microsoft.com/office/drawing/2014/main" id="{F5D8C33D-D1DA-4128-A1E8-465D0DBAF011}"/>
                </a:ext>
              </a:extLst>
            </p:cNvPr>
            <p:cNvSpPr/>
            <p:nvPr/>
          </p:nvSpPr>
          <p:spPr bwMode="ltGray">
            <a:xfrm>
              <a:off x="8742468" y="3474401"/>
              <a:ext cx="612000" cy="612000"/>
            </a:xfrm>
            <a:prstGeom prst="ellipse">
              <a:avLst/>
            </a:prstGeom>
            <a:grpFill/>
            <a:ln w="3175" cap="flat" cmpd="sng" algn="ctr">
              <a:solidFill>
                <a:srgbClr val="DC6900"/>
              </a:solidFill>
              <a:prstDash val="solid"/>
            </a:ln>
            <a:effectLst/>
          </p:spPr>
          <p:txBody>
            <a:bodyPr rtlCol="0" anchor="ct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err="1">
                <a:ln>
                  <a:noFill/>
                </a:ln>
                <a:solidFill>
                  <a:srgbClr val="FFFFFF"/>
                </a:solidFill>
                <a:effectLst/>
                <a:uLnTx/>
                <a:uFillTx/>
                <a:latin typeface="Georgia" pitchFamily="18" charset="0"/>
                <a:ea typeface="+mn-ea"/>
                <a:cs typeface="+mn-cs"/>
              </a:endParaRPr>
            </a:p>
          </p:txBody>
        </p:sp>
        <p:sp>
          <p:nvSpPr>
            <p:cNvPr id="10" name="Freeform 4847">
              <a:extLst>
                <a:ext uri="{FF2B5EF4-FFF2-40B4-BE49-F238E27FC236}">
                  <a16:creationId xmlns:a16="http://schemas.microsoft.com/office/drawing/2014/main" id="{768BD847-845C-42D3-BEAE-CA55A16A4969}"/>
                </a:ext>
              </a:extLst>
            </p:cNvPr>
            <p:cNvSpPr>
              <a:spLocks noEditPoints="1"/>
            </p:cNvSpPr>
            <p:nvPr/>
          </p:nvSpPr>
          <p:spPr bwMode="auto">
            <a:xfrm>
              <a:off x="8894545" y="3569952"/>
              <a:ext cx="307068" cy="424047"/>
            </a:xfrm>
            <a:custGeom>
              <a:avLst/>
              <a:gdLst>
                <a:gd name="T0" fmla="*/ 252 w 252"/>
                <a:gd name="T1" fmla="*/ 332 h 348"/>
                <a:gd name="T2" fmla="*/ 242 w 252"/>
                <a:gd name="T3" fmla="*/ 346 h 348"/>
                <a:gd name="T4" fmla="*/ 16 w 252"/>
                <a:gd name="T5" fmla="*/ 348 h 348"/>
                <a:gd name="T6" fmla="*/ 2 w 252"/>
                <a:gd name="T7" fmla="*/ 338 h 348"/>
                <a:gd name="T8" fmla="*/ 0 w 252"/>
                <a:gd name="T9" fmla="*/ 32 h 348"/>
                <a:gd name="T10" fmla="*/ 10 w 252"/>
                <a:gd name="T11" fmla="*/ 16 h 348"/>
                <a:gd name="T12" fmla="*/ 90 w 252"/>
                <a:gd name="T13" fmla="*/ 16 h 348"/>
                <a:gd name="T14" fmla="*/ 86 w 252"/>
                <a:gd name="T15" fmla="*/ 30 h 348"/>
                <a:gd name="T16" fmla="*/ 16 w 252"/>
                <a:gd name="T17" fmla="*/ 332 h 348"/>
                <a:gd name="T18" fmla="*/ 168 w 252"/>
                <a:gd name="T19" fmla="*/ 34 h 348"/>
                <a:gd name="T20" fmla="*/ 164 w 252"/>
                <a:gd name="T21" fmla="*/ 26 h 348"/>
                <a:gd name="T22" fmla="*/ 236 w 252"/>
                <a:gd name="T23" fmla="*/ 16 h 348"/>
                <a:gd name="T24" fmla="*/ 248 w 252"/>
                <a:gd name="T25" fmla="*/ 20 h 348"/>
                <a:gd name="T26" fmla="*/ 252 w 252"/>
                <a:gd name="T27" fmla="*/ 32 h 348"/>
                <a:gd name="T28" fmla="*/ 36 w 252"/>
                <a:gd name="T29" fmla="*/ 312 h 348"/>
                <a:gd name="T30" fmla="*/ 36 w 252"/>
                <a:gd name="T31" fmla="*/ 94 h 348"/>
                <a:gd name="T32" fmla="*/ 216 w 252"/>
                <a:gd name="T33" fmla="*/ 94 h 348"/>
                <a:gd name="T34" fmla="*/ 132 w 252"/>
                <a:gd name="T35" fmla="*/ 186 h 348"/>
                <a:gd name="T36" fmla="*/ 122 w 252"/>
                <a:gd name="T37" fmla="*/ 184 h 348"/>
                <a:gd name="T38" fmla="*/ 74 w 252"/>
                <a:gd name="T39" fmla="*/ 206 h 348"/>
                <a:gd name="T40" fmla="*/ 68 w 252"/>
                <a:gd name="T41" fmla="*/ 204 h 348"/>
                <a:gd name="T42" fmla="*/ 60 w 252"/>
                <a:gd name="T43" fmla="*/ 206 h 348"/>
                <a:gd name="T44" fmla="*/ 58 w 252"/>
                <a:gd name="T45" fmla="*/ 218 h 348"/>
                <a:gd name="T46" fmla="*/ 78 w 252"/>
                <a:gd name="T47" fmla="*/ 238 h 348"/>
                <a:gd name="T48" fmla="*/ 86 w 252"/>
                <a:gd name="T49" fmla="*/ 242 h 348"/>
                <a:gd name="T50" fmla="*/ 132 w 252"/>
                <a:gd name="T51" fmla="*/ 200 h 348"/>
                <a:gd name="T52" fmla="*/ 134 w 252"/>
                <a:gd name="T53" fmla="*/ 192 h 348"/>
                <a:gd name="T54" fmla="*/ 132 w 252"/>
                <a:gd name="T55" fmla="*/ 186 h 348"/>
                <a:gd name="T56" fmla="*/ 128 w 252"/>
                <a:gd name="T57" fmla="*/ 122 h 348"/>
                <a:gd name="T58" fmla="*/ 118 w 252"/>
                <a:gd name="T59" fmla="*/ 124 h 348"/>
                <a:gd name="T60" fmla="*/ 74 w 252"/>
                <a:gd name="T61" fmla="*/ 144 h 348"/>
                <a:gd name="T62" fmla="*/ 64 w 252"/>
                <a:gd name="T63" fmla="*/ 142 h 348"/>
                <a:gd name="T64" fmla="*/ 58 w 252"/>
                <a:gd name="T65" fmla="*/ 148 h 348"/>
                <a:gd name="T66" fmla="*/ 60 w 252"/>
                <a:gd name="T67" fmla="*/ 158 h 348"/>
                <a:gd name="T68" fmla="*/ 82 w 252"/>
                <a:gd name="T69" fmla="*/ 180 h 348"/>
                <a:gd name="T70" fmla="*/ 90 w 252"/>
                <a:gd name="T71" fmla="*/ 180 h 348"/>
                <a:gd name="T72" fmla="*/ 132 w 252"/>
                <a:gd name="T73" fmla="*/ 138 h 348"/>
                <a:gd name="T74" fmla="*/ 134 w 252"/>
                <a:gd name="T75" fmla="*/ 126 h 348"/>
                <a:gd name="T76" fmla="*/ 36 w 252"/>
                <a:gd name="T77" fmla="*/ 64 h 348"/>
                <a:gd name="T78" fmla="*/ 40 w 252"/>
                <a:gd name="T79" fmla="*/ 54 h 348"/>
                <a:gd name="T80" fmla="*/ 78 w 252"/>
                <a:gd name="T81" fmla="*/ 48 h 348"/>
                <a:gd name="T82" fmla="*/ 94 w 252"/>
                <a:gd name="T83" fmla="*/ 42 h 348"/>
                <a:gd name="T84" fmla="*/ 100 w 252"/>
                <a:gd name="T85" fmla="*/ 26 h 348"/>
                <a:gd name="T86" fmla="*/ 116 w 252"/>
                <a:gd name="T87" fmla="*/ 2 h 348"/>
                <a:gd name="T88" fmla="*/ 136 w 252"/>
                <a:gd name="T89" fmla="*/ 2 h 348"/>
                <a:gd name="T90" fmla="*/ 152 w 252"/>
                <a:gd name="T91" fmla="*/ 26 h 348"/>
                <a:gd name="T92" fmla="*/ 158 w 252"/>
                <a:gd name="T93" fmla="*/ 42 h 348"/>
                <a:gd name="T94" fmla="*/ 200 w 252"/>
                <a:gd name="T95" fmla="*/ 48 h 348"/>
                <a:gd name="T96" fmla="*/ 212 w 252"/>
                <a:gd name="T97" fmla="*/ 54 h 348"/>
                <a:gd name="T98" fmla="*/ 216 w 252"/>
                <a:gd name="T99" fmla="*/ 78 h 348"/>
                <a:gd name="T100" fmla="*/ 36 w 252"/>
                <a:gd name="T101" fmla="*/ 82 h 348"/>
                <a:gd name="T102" fmla="*/ 36 w 252"/>
                <a:gd name="T103" fmla="*/ 64 h 348"/>
                <a:gd name="T104" fmla="*/ 116 w 252"/>
                <a:gd name="T105" fmla="*/ 30 h 348"/>
                <a:gd name="T106" fmla="*/ 126 w 252"/>
                <a:gd name="T107" fmla="*/ 38 h 348"/>
                <a:gd name="T108" fmla="*/ 134 w 252"/>
                <a:gd name="T109" fmla="*/ 34 h 348"/>
                <a:gd name="T110" fmla="*/ 136 w 252"/>
                <a:gd name="T111" fmla="*/ 26 h 348"/>
                <a:gd name="T112" fmla="*/ 130 w 252"/>
                <a:gd name="T113" fmla="*/ 16 h 348"/>
                <a:gd name="T114" fmla="*/ 122 w 252"/>
                <a:gd name="T115" fmla="*/ 16 h 348"/>
                <a:gd name="T116" fmla="*/ 116 w 252"/>
                <a:gd name="T117" fmla="*/ 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2" h="348">
                  <a:moveTo>
                    <a:pt x="252" y="32"/>
                  </a:moveTo>
                  <a:lnTo>
                    <a:pt x="252" y="332"/>
                  </a:lnTo>
                  <a:lnTo>
                    <a:pt x="252" y="332"/>
                  </a:lnTo>
                  <a:lnTo>
                    <a:pt x="250" y="338"/>
                  </a:lnTo>
                  <a:lnTo>
                    <a:pt x="248" y="344"/>
                  </a:lnTo>
                  <a:lnTo>
                    <a:pt x="242" y="346"/>
                  </a:lnTo>
                  <a:lnTo>
                    <a:pt x="236" y="348"/>
                  </a:lnTo>
                  <a:lnTo>
                    <a:pt x="16" y="348"/>
                  </a:lnTo>
                  <a:lnTo>
                    <a:pt x="16" y="348"/>
                  </a:lnTo>
                  <a:lnTo>
                    <a:pt x="10" y="346"/>
                  </a:lnTo>
                  <a:lnTo>
                    <a:pt x="4" y="344"/>
                  </a:lnTo>
                  <a:lnTo>
                    <a:pt x="2" y="338"/>
                  </a:lnTo>
                  <a:lnTo>
                    <a:pt x="0" y="332"/>
                  </a:lnTo>
                  <a:lnTo>
                    <a:pt x="0" y="32"/>
                  </a:lnTo>
                  <a:lnTo>
                    <a:pt x="0" y="32"/>
                  </a:lnTo>
                  <a:lnTo>
                    <a:pt x="2" y="26"/>
                  </a:lnTo>
                  <a:lnTo>
                    <a:pt x="4" y="20"/>
                  </a:lnTo>
                  <a:lnTo>
                    <a:pt x="10" y="16"/>
                  </a:lnTo>
                  <a:lnTo>
                    <a:pt x="16" y="16"/>
                  </a:lnTo>
                  <a:lnTo>
                    <a:pt x="90" y="16"/>
                  </a:lnTo>
                  <a:lnTo>
                    <a:pt x="90" y="16"/>
                  </a:lnTo>
                  <a:lnTo>
                    <a:pt x="88" y="26"/>
                  </a:lnTo>
                  <a:lnTo>
                    <a:pt x="88" y="26"/>
                  </a:lnTo>
                  <a:lnTo>
                    <a:pt x="86" y="30"/>
                  </a:lnTo>
                  <a:lnTo>
                    <a:pt x="84" y="34"/>
                  </a:lnTo>
                  <a:lnTo>
                    <a:pt x="16" y="34"/>
                  </a:lnTo>
                  <a:lnTo>
                    <a:pt x="16" y="332"/>
                  </a:lnTo>
                  <a:lnTo>
                    <a:pt x="236" y="332"/>
                  </a:lnTo>
                  <a:lnTo>
                    <a:pt x="236" y="34"/>
                  </a:lnTo>
                  <a:lnTo>
                    <a:pt x="168" y="34"/>
                  </a:lnTo>
                  <a:lnTo>
                    <a:pt x="168" y="34"/>
                  </a:lnTo>
                  <a:lnTo>
                    <a:pt x="166" y="30"/>
                  </a:lnTo>
                  <a:lnTo>
                    <a:pt x="164" y="26"/>
                  </a:lnTo>
                  <a:lnTo>
                    <a:pt x="164" y="26"/>
                  </a:lnTo>
                  <a:lnTo>
                    <a:pt x="162" y="16"/>
                  </a:lnTo>
                  <a:lnTo>
                    <a:pt x="236" y="16"/>
                  </a:lnTo>
                  <a:lnTo>
                    <a:pt x="236" y="16"/>
                  </a:lnTo>
                  <a:lnTo>
                    <a:pt x="242" y="16"/>
                  </a:lnTo>
                  <a:lnTo>
                    <a:pt x="248" y="20"/>
                  </a:lnTo>
                  <a:lnTo>
                    <a:pt x="250" y="26"/>
                  </a:lnTo>
                  <a:lnTo>
                    <a:pt x="252" y="32"/>
                  </a:lnTo>
                  <a:lnTo>
                    <a:pt x="252" y="32"/>
                  </a:lnTo>
                  <a:close/>
                  <a:moveTo>
                    <a:pt x="216" y="94"/>
                  </a:moveTo>
                  <a:lnTo>
                    <a:pt x="216" y="312"/>
                  </a:lnTo>
                  <a:lnTo>
                    <a:pt x="36" y="312"/>
                  </a:lnTo>
                  <a:lnTo>
                    <a:pt x="36" y="94"/>
                  </a:lnTo>
                  <a:lnTo>
                    <a:pt x="36" y="94"/>
                  </a:lnTo>
                  <a:lnTo>
                    <a:pt x="36" y="94"/>
                  </a:lnTo>
                  <a:lnTo>
                    <a:pt x="216" y="94"/>
                  </a:lnTo>
                  <a:lnTo>
                    <a:pt x="216" y="94"/>
                  </a:lnTo>
                  <a:lnTo>
                    <a:pt x="216" y="94"/>
                  </a:lnTo>
                  <a:lnTo>
                    <a:pt x="216" y="94"/>
                  </a:lnTo>
                  <a:close/>
                  <a:moveTo>
                    <a:pt x="132" y="186"/>
                  </a:moveTo>
                  <a:lnTo>
                    <a:pt x="132" y="186"/>
                  </a:lnTo>
                  <a:lnTo>
                    <a:pt x="128" y="184"/>
                  </a:lnTo>
                  <a:lnTo>
                    <a:pt x="124" y="182"/>
                  </a:lnTo>
                  <a:lnTo>
                    <a:pt x="122" y="184"/>
                  </a:lnTo>
                  <a:lnTo>
                    <a:pt x="118" y="186"/>
                  </a:lnTo>
                  <a:lnTo>
                    <a:pt x="86" y="218"/>
                  </a:lnTo>
                  <a:lnTo>
                    <a:pt x="74" y="206"/>
                  </a:lnTo>
                  <a:lnTo>
                    <a:pt x="74" y="206"/>
                  </a:lnTo>
                  <a:lnTo>
                    <a:pt x="70" y="204"/>
                  </a:lnTo>
                  <a:lnTo>
                    <a:pt x="68" y="204"/>
                  </a:lnTo>
                  <a:lnTo>
                    <a:pt x="64" y="204"/>
                  </a:lnTo>
                  <a:lnTo>
                    <a:pt x="60" y="206"/>
                  </a:lnTo>
                  <a:lnTo>
                    <a:pt x="60" y="206"/>
                  </a:lnTo>
                  <a:lnTo>
                    <a:pt x="58" y="210"/>
                  </a:lnTo>
                  <a:lnTo>
                    <a:pt x="58" y="214"/>
                  </a:lnTo>
                  <a:lnTo>
                    <a:pt x="58" y="218"/>
                  </a:lnTo>
                  <a:lnTo>
                    <a:pt x="60" y="220"/>
                  </a:lnTo>
                  <a:lnTo>
                    <a:pt x="78" y="238"/>
                  </a:lnTo>
                  <a:lnTo>
                    <a:pt x="78" y="238"/>
                  </a:lnTo>
                  <a:lnTo>
                    <a:pt x="82" y="242"/>
                  </a:lnTo>
                  <a:lnTo>
                    <a:pt x="86" y="242"/>
                  </a:lnTo>
                  <a:lnTo>
                    <a:pt x="86" y="242"/>
                  </a:lnTo>
                  <a:lnTo>
                    <a:pt x="90" y="242"/>
                  </a:lnTo>
                  <a:lnTo>
                    <a:pt x="92" y="238"/>
                  </a:lnTo>
                  <a:lnTo>
                    <a:pt x="132" y="200"/>
                  </a:lnTo>
                  <a:lnTo>
                    <a:pt x="132" y="200"/>
                  </a:lnTo>
                  <a:lnTo>
                    <a:pt x="134" y="196"/>
                  </a:lnTo>
                  <a:lnTo>
                    <a:pt x="134" y="192"/>
                  </a:lnTo>
                  <a:lnTo>
                    <a:pt x="134" y="188"/>
                  </a:lnTo>
                  <a:lnTo>
                    <a:pt x="132" y="186"/>
                  </a:lnTo>
                  <a:lnTo>
                    <a:pt x="132" y="186"/>
                  </a:lnTo>
                  <a:close/>
                  <a:moveTo>
                    <a:pt x="132" y="124"/>
                  </a:moveTo>
                  <a:lnTo>
                    <a:pt x="132" y="124"/>
                  </a:lnTo>
                  <a:lnTo>
                    <a:pt x="128" y="122"/>
                  </a:lnTo>
                  <a:lnTo>
                    <a:pt x="124" y="120"/>
                  </a:lnTo>
                  <a:lnTo>
                    <a:pt x="122" y="122"/>
                  </a:lnTo>
                  <a:lnTo>
                    <a:pt x="118" y="124"/>
                  </a:lnTo>
                  <a:lnTo>
                    <a:pt x="86" y="156"/>
                  </a:lnTo>
                  <a:lnTo>
                    <a:pt x="74" y="144"/>
                  </a:lnTo>
                  <a:lnTo>
                    <a:pt x="74" y="144"/>
                  </a:lnTo>
                  <a:lnTo>
                    <a:pt x="70" y="142"/>
                  </a:lnTo>
                  <a:lnTo>
                    <a:pt x="68" y="142"/>
                  </a:lnTo>
                  <a:lnTo>
                    <a:pt x="64" y="142"/>
                  </a:lnTo>
                  <a:lnTo>
                    <a:pt x="60" y="144"/>
                  </a:lnTo>
                  <a:lnTo>
                    <a:pt x="60" y="144"/>
                  </a:lnTo>
                  <a:lnTo>
                    <a:pt x="58" y="148"/>
                  </a:lnTo>
                  <a:lnTo>
                    <a:pt x="58" y="152"/>
                  </a:lnTo>
                  <a:lnTo>
                    <a:pt x="58" y="156"/>
                  </a:lnTo>
                  <a:lnTo>
                    <a:pt x="60" y="158"/>
                  </a:lnTo>
                  <a:lnTo>
                    <a:pt x="78" y="178"/>
                  </a:lnTo>
                  <a:lnTo>
                    <a:pt x="78" y="178"/>
                  </a:lnTo>
                  <a:lnTo>
                    <a:pt x="82" y="180"/>
                  </a:lnTo>
                  <a:lnTo>
                    <a:pt x="86" y="180"/>
                  </a:lnTo>
                  <a:lnTo>
                    <a:pt x="86" y="180"/>
                  </a:lnTo>
                  <a:lnTo>
                    <a:pt x="90" y="180"/>
                  </a:lnTo>
                  <a:lnTo>
                    <a:pt x="92" y="178"/>
                  </a:lnTo>
                  <a:lnTo>
                    <a:pt x="132" y="138"/>
                  </a:lnTo>
                  <a:lnTo>
                    <a:pt x="132" y="138"/>
                  </a:lnTo>
                  <a:lnTo>
                    <a:pt x="134" y="134"/>
                  </a:lnTo>
                  <a:lnTo>
                    <a:pt x="134" y="130"/>
                  </a:lnTo>
                  <a:lnTo>
                    <a:pt x="134" y="126"/>
                  </a:lnTo>
                  <a:lnTo>
                    <a:pt x="132" y="124"/>
                  </a:lnTo>
                  <a:lnTo>
                    <a:pt x="132" y="124"/>
                  </a:lnTo>
                  <a:close/>
                  <a:moveTo>
                    <a:pt x="36" y="64"/>
                  </a:moveTo>
                  <a:lnTo>
                    <a:pt x="36" y="64"/>
                  </a:lnTo>
                  <a:lnTo>
                    <a:pt x="36" y="58"/>
                  </a:lnTo>
                  <a:lnTo>
                    <a:pt x="40" y="54"/>
                  </a:lnTo>
                  <a:lnTo>
                    <a:pt x="46" y="50"/>
                  </a:lnTo>
                  <a:lnTo>
                    <a:pt x="52" y="48"/>
                  </a:lnTo>
                  <a:lnTo>
                    <a:pt x="78" y="48"/>
                  </a:lnTo>
                  <a:lnTo>
                    <a:pt x="78" y="48"/>
                  </a:lnTo>
                  <a:lnTo>
                    <a:pt x="86" y="46"/>
                  </a:lnTo>
                  <a:lnTo>
                    <a:pt x="94" y="42"/>
                  </a:lnTo>
                  <a:lnTo>
                    <a:pt x="98" y="36"/>
                  </a:lnTo>
                  <a:lnTo>
                    <a:pt x="100" y="26"/>
                  </a:lnTo>
                  <a:lnTo>
                    <a:pt x="100" y="26"/>
                  </a:lnTo>
                  <a:lnTo>
                    <a:pt x="102" y="16"/>
                  </a:lnTo>
                  <a:lnTo>
                    <a:pt x="108" y="8"/>
                  </a:lnTo>
                  <a:lnTo>
                    <a:pt x="116" y="2"/>
                  </a:lnTo>
                  <a:lnTo>
                    <a:pt x="126" y="0"/>
                  </a:lnTo>
                  <a:lnTo>
                    <a:pt x="126" y="0"/>
                  </a:lnTo>
                  <a:lnTo>
                    <a:pt x="136" y="2"/>
                  </a:lnTo>
                  <a:lnTo>
                    <a:pt x="144" y="8"/>
                  </a:lnTo>
                  <a:lnTo>
                    <a:pt x="150" y="16"/>
                  </a:lnTo>
                  <a:lnTo>
                    <a:pt x="152" y="26"/>
                  </a:lnTo>
                  <a:lnTo>
                    <a:pt x="152" y="26"/>
                  </a:lnTo>
                  <a:lnTo>
                    <a:pt x="154" y="36"/>
                  </a:lnTo>
                  <a:lnTo>
                    <a:pt x="158" y="42"/>
                  </a:lnTo>
                  <a:lnTo>
                    <a:pt x="166" y="46"/>
                  </a:lnTo>
                  <a:lnTo>
                    <a:pt x="174" y="48"/>
                  </a:lnTo>
                  <a:lnTo>
                    <a:pt x="200" y="48"/>
                  </a:lnTo>
                  <a:lnTo>
                    <a:pt x="200" y="48"/>
                  </a:lnTo>
                  <a:lnTo>
                    <a:pt x="206" y="50"/>
                  </a:lnTo>
                  <a:lnTo>
                    <a:pt x="212" y="54"/>
                  </a:lnTo>
                  <a:lnTo>
                    <a:pt x="216" y="58"/>
                  </a:lnTo>
                  <a:lnTo>
                    <a:pt x="216" y="64"/>
                  </a:lnTo>
                  <a:lnTo>
                    <a:pt x="216" y="78"/>
                  </a:lnTo>
                  <a:lnTo>
                    <a:pt x="216" y="78"/>
                  </a:lnTo>
                  <a:lnTo>
                    <a:pt x="216" y="82"/>
                  </a:lnTo>
                  <a:lnTo>
                    <a:pt x="36" y="82"/>
                  </a:lnTo>
                  <a:lnTo>
                    <a:pt x="36" y="82"/>
                  </a:lnTo>
                  <a:lnTo>
                    <a:pt x="36" y="78"/>
                  </a:lnTo>
                  <a:lnTo>
                    <a:pt x="36" y="64"/>
                  </a:lnTo>
                  <a:close/>
                  <a:moveTo>
                    <a:pt x="116" y="26"/>
                  </a:moveTo>
                  <a:lnTo>
                    <a:pt x="116" y="26"/>
                  </a:lnTo>
                  <a:lnTo>
                    <a:pt x="116" y="30"/>
                  </a:lnTo>
                  <a:lnTo>
                    <a:pt x="118" y="34"/>
                  </a:lnTo>
                  <a:lnTo>
                    <a:pt x="122" y="36"/>
                  </a:lnTo>
                  <a:lnTo>
                    <a:pt x="126" y="38"/>
                  </a:lnTo>
                  <a:lnTo>
                    <a:pt x="126" y="38"/>
                  </a:lnTo>
                  <a:lnTo>
                    <a:pt x="130" y="36"/>
                  </a:lnTo>
                  <a:lnTo>
                    <a:pt x="134" y="34"/>
                  </a:lnTo>
                  <a:lnTo>
                    <a:pt x="136" y="30"/>
                  </a:lnTo>
                  <a:lnTo>
                    <a:pt x="136" y="26"/>
                  </a:lnTo>
                  <a:lnTo>
                    <a:pt x="136" y="26"/>
                  </a:lnTo>
                  <a:lnTo>
                    <a:pt x="136" y="22"/>
                  </a:lnTo>
                  <a:lnTo>
                    <a:pt x="134" y="20"/>
                  </a:lnTo>
                  <a:lnTo>
                    <a:pt x="130" y="16"/>
                  </a:lnTo>
                  <a:lnTo>
                    <a:pt x="126" y="16"/>
                  </a:lnTo>
                  <a:lnTo>
                    <a:pt x="126" y="16"/>
                  </a:lnTo>
                  <a:lnTo>
                    <a:pt x="122" y="16"/>
                  </a:lnTo>
                  <a:lnTo>
                    <a:pt x="118" y="20"/>
                  </a:lnTo>
                  <a:lnTo>
                    <a:pt x="116" y="22"/>
                  </a:lnTo>
                  <a:lnTo>
                    <a:pt x="116" y="26"/>
                  </a:lnTo>
                  <a:lnTo>
                    <a:pt x="116" y="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92952528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553CD66-0339-495A-A123-C512C022586E}"/>
              </a:ext>
            </a:extLst>
          </p:cNvPr>
          <p:cNvSpPr>
            <a:spLocks noGrp="1"/>
          </p:cNvSpPr>
          <p:nvPr>
            <p:ph type="body" sz="quarter" idx="16"/>
          </p:nvPr>
        </p:nvSpPr>
        <p:spPr/>
        <p:txBody>
          <a:bodyPr>
            <a:normAutofit fontScale="25000" lnSpcReduction="20000"/>
          </a:bodyPr>
          <a:lstStyle/>
          <a:p>
            <a:endParaRPr lang="da-DK"/>
          </a:p>
        </p:txBody>
      </p:sp>
      <p:sp>
        <p:nvSpPr>
          <p:cNvPr id="3" name="Subtitle 2">
            <a:extLst>
              <a:ext uri="{FF2B5EF4-FFF2-40B4-BE49-F238E27FC236}">
                <a16:creationId xmlns:a16="http://schemas.microsoft.com/office/drawing/2014/main" id="{BA6DF436-0BA3-4F61-AAD5-032C726AF133}"/>
              </a:ext>
            </a:extLst>
          </p:cNvPr>
          <p:cNvSpPr>
            <a:spLocks noGrp="1"/>
          </p:cNvSpPr>
          <p:nvPr>
            <p:ph type="subTitle" idx="1"/>
          </p:nvPr>
        </p:nvSpPr>
        <p:spPr/>
        <p:txBody>
          <a:bodyPr>
            <a:normAutofit fontScale="70000" lnSpcReduction="20000"/>
          </a:bodyPr>
          <a:lstStyle/>
          <a:p>
            <a:r>
              <a:rPr lang="da-DK" dirty="0"/>
              <a:t>Modul 7: Rettigheder og muligheder for støtte</a:t>
            </a:r>
          </a:p>
        </p:txBody>
      </p:sp>
      <p:sp>
        <p:nvSpPr>
          <p:cNvPr id="4" name="Text Placeholder 3">
            <a:extLst>
              <a:ext uri="{FF2B5EF4-FFF2-40B4-BE49-F238E27FC236}">
                <a16:creationId xmlns:a16="http://schemas.microsoft.com/office/drawing/2014/main" id="{75E400EF-5C42-4C19-ABF1-C580CAB9E1F7}"/>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60D34872-7793-46A1-9F49-0D63061C6B83}"/>
              </a:ext>
            </a:extLst>
          </p:cNvPr>
          <p:cNvSpPr>
            <a:spLocks noGrp="1"/>
          </p:cNvSpPr>
          <p:nvPr>
            <p:ph type="body" sz="quarter" idx="13"/>
          </p:nvPr>
        </p:nvSpPr>
        <p:spPr/>
        <p:txBody>
          <a:bodyPr>
            <a:normAutofit fontScale="25000" lnSpcReduction="20000"/>
          </a:bodyPr>
          <a:lstStyle/>
          <a:p>
            <a:endParaRPr lang="da-DK"/>
          </a:p>
        </p:txBody>
      </p:sp>
    </p:spTree>
    <p:extLst>
      <p:ext uri="{BB962C8B-B14F-4D97-AF65-F5344CB8AC3E}">
        <p14:creationId xmlns:p14="http://schemas.microsoft.com/office/powerpoint/2010/main" val="103453917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7AD6F3B8-5203-D049-AF4F-B4DE19BCD9EA}"/>
              </a:ext>
            </a:extLst>
          </p:cNvPr>
          <p:cNvPicPr>
            <a:picLocks noChangeAspect="1"/>
          </p:cNvPicPr>
          <p:nvPr/>
        </p:nvPicPr>
        <p:blipFill rotWithShape="1">
          <a:blip r:embed="rId3"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p:txBody>
          <a:bodyPr/>
          <a:lstStyle/>
          <a:p>
            <a:r>
              <a:rPr lang="da-DK" dirty="0"/>
              <a:t>Modul 7: Rettigheder og muligheder for støtte</a:t>
            </a:r>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a:t>
            </a:r>
          </a:p>
          <a:p>
            <a:r>
              <a:rPr lang="da-DK" dirty="0"/>
              <a:t>At I får viden om hvilke ændringer, det medfører, at den unge bliver 18 år og dermed bliver myndig. </a:t>
            </a:r>
          </a:p>
          <a:p>
            <a:r>
              <a:rPr lang="da-DK" dirty="0"/>
              <a:t>At give jer viden om den unges muligheder for støtte efter det fyldte 18 år.</a:t>
            </a:r>
          </a:p>
        </p:txBody>
      </p:sp>
    </p:spTree>
    <p:extLst>
      <p:ext uri="{BB962C8B-B14F-4D97-AF65-F5344CB8AC3E}">
        <p14:creationId xmlns:p14="http://schemas.microsoft.com/office/powerpoint/2010/main" val="314637850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7"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1531550140"/>
              </p:ext>
            </p:extLst>
          </p:nvPr>
        </p:nvGraphicFramePr>
        <p:xfrm>
          <a:off x="628649" y="1760220"/>
          <a:ext cx="7467526" cy="370840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Velkommen og formål med dagen </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Siden sidst</a:t>
                      </a:r>
                    </a:p>
                  </a:txBody>
                  <a:tcPr/>
                </a:tc>
                <a:extLst>
                  <a:ext uri="{0D108BD9-81ED-4DB2-BD59-A6C34878D82A}">
                    <a16:rowId xmlns:a16="http://schemas.microsoft.com/office/drawing/2014/main" val="3167250481"/>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vil vi gerne have ud af modulet?</a:t>
                      </a:r>
                    </a:p>
                  </a:txBody>
                  <a:tcPr/>
                </a:tc>
                <a:extLst>
                  <a:ext uri="{0D108BD9-81ED-4DB2-BD59-A6C34878D82A}">
                    <a16:rowId xmlns:a16="http://schemas.microsoft.com/office/drawing/2014/main" val="102157098"/>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har de unge aktuelt fokus på?</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Oplæg </a:t>
                      </a:r>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Drøftelse af dagens tema</a:t>
                      </a:r>
                    </a:p>
                  </a:txBody>
                  <a:tcPr/>
                </a:tc>
                <a:extLst>
                  <a:ext uri="{0D108BD9-81ED-4DB2-BD59-A6C34878D82A}">
                    <a16:rowId xmlns:a16="http://schemas.microsoft.com/office/drawing/2014/main" val="2823113985"/>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Øvelse/omsætning til hverdagen</a:t>
                      </a:r>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vil vi fokusere på til næste gang? </a:t>
                      </a:r>
                    </a:p>
                  </a:txBody>
                  <a:tcPr/>
                </a:tc>
                <a:extLst>
                  <a:ext uri="{0D108BD9-81ED-4DB2-BD59-A6C34878D82A}">
                    <a16:rowId xmlns:a16="http://schemas.microsoft.com/office/drawing/2014/main" val="3100555660"/>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tager vi med os hjem?</a:t>
                      </a:r>
                    </a:p>
                  </a:txBody>
                  <a:tcPr/>
                </a:tc>
                <a:extLst>
                  <a:ext uri="{0D108BD9-81ED-4DB2-BD59-A6C34878D82A}">
                    <a16:rowId xmlns:a16="http://schemas.microsoft.com/office/drawing/2014/main" val="1605515868"/>
                  </a:ext>
                </a:extLst>
              </a:tr>
            </a:tbl>
          </a:graphicData>
        </a:graphic>
      </p:graphicFrame>
    </p:spTree>
    <p:extLst>
      <p:ext uri="{BB962C8B-B14F-4D97-AF65-F5344CB8AC3E}">
        <p14:creationId xmlns:p14="http://schemas.microsoft.com/office/powerpoint/2010/main" val="133184974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E2F47B-7352-4067-816A-312B537F7D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45E2F47B-7352-4067-816A-312B537F7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38865-BE55-48CB-8610-2CCD942ACAD1}"/>
              </a:ext>
            </a:extLst>
          </p:cNvPr>
          <p:cNvSpPr>
            <a:spLocks noGrp="1"/>
          </p:cNvSpPr>
          <p:nvPr>
            <p:ph type="title"/>
          </p:nvPr>
        </p:nvSpPr>
        <p:spPr/>
        <p:txBody>
          <a:bodyPr vert="horz"/>
          <a:lstStyle/>
          <a:p>
            <a:r>
              <a:rPr lang="da-DK" dirty="0"/>
              <a:t>Siden sidst – to og to</a:t>
            </a:r>
          </a:p>
        </p:txBody>
      </p:sp>
      <p:sp>
        <p:nvSpPr>
          <p:cNvPr id="3" name="Content Placeholder 2">
            <a:extLst>
              <a:ext uri="{FF2B5EF4-FFF2-40B4-BE49-F238E27FC236}">
                <a16:creationId xmlns:a16="http://schemas.microsoft.com/office/drawing/2014/main" id="{2D9E83EF-F91E-43EF-9F1D-837A2F305F83}"/>
              </a:ext>
            </a:extLst>
          </p:cNvPr>
          <p:cNvSpPr>
            <a:spLocks noGrp="1"/>
          </p:cNvSpPr>
          <p:nvPr>
            <p:ph idx="1"/>
          </p:nvPr>
        </p:nvSpPr>
        <p:spPr/>
        <p:txBody>
          <a:bodyPr/>
          <a:lstStyle/>
          <a:p>
            <a:r>
              <a:rPr lang="da-DK" dirty="0"/>
              <a:t>Hvordan er det gået siden sidst? </a:t>
            </a:r>
          </a:p>
          <a:p>
            <a:endParaRPr lang="da-DK" dirty="0"/>
          </a:p>
          <a:p>
            <a:r>
              <a:rPr lang="da-DK" dirty="0"/>
              <a:t>Hvad er det bedste, der er sket for min/den unge siden sidst? </a:t>
            </a:r>
          </a:p>
          <a:p>
            <a:endParaRPr lang="da-DK" dirty="0"/>
          </a:p>
          <a:p>
            <a:r>
              <a:rPr lang="da-DK" dirty="0"/>
              <a:t>Hvordan er det gået med den unges hjemmeøvelse?</a:t>
            </a:r>
          </a:p>
        </p:txBody>
      </p:sp>
      <p:sp>
        <p:nvSpPr>
          <p:cNvPr id="8" name="Speech Bubble: Rectangle with Corners Rounded 7">
            <a:extLst>
              <a:ext uri="{FF2B5EF4-FFF2-40B4-BE49-F238E27FC236}">
                <a16:creationId xmlns:a16="http://schemas.microsoft.com/office/drawing/2014/main" id="{97577A9F-3915-4A3E-A35F-B9AB8D96A6CF}"/>
              </a:ext>
            </a:extLst>
          </p:cNvPr>
          <p:cNvSpPr/>
          <p:nvPr/>
        </p:nvSpPr>
        <p:spPr>
          <a:xfrm>
            <a:off x="5005261" y="3717032"/>
            <a:ext cx="3510089" cy="1836103"/>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Overvej hvad det betyder, at den unge fylder/er fyldt 18 år og bliver/er myndig</a:t>
            </a:r>
          </a:p>
          <a:p>
            <a:pPr marL="285750" indent="-285750">
              <a:spcAft>
                <a:spcPts val="600"/>
              </a:spcAft>
              <a:buFont typeface="Arial" panose="020B0604020202020204" pitchFamily="34" charset="0"/>
              <a:buChar char="•"/>
            </a:pPr>
            <a:r>
              <a:rPr lang="da-DK" sz="1400" i="1" dirty="0">
                <a:solidFill>
                  <a:schemeClr val="tx1"/>
                </a:solidFill>
              </a:rPr>
              <a:t>Hvad vil dette indebære for både den unges muligheder for støtte og for og jeres muligheder og vilkår?</a:t>
            </a:r>
          </a:p>
        </p:txBody>
      </p:sp>
    </p:spTree>
    <p:extLst>
      <p:ext uri="{BB962C8B-B14F-4D97-AF65-F5344CB8AC3E}">
        <p14:creationId xmlns:p14="http://schemas.microsoft.com/office/powerpoint/2010/main" val="146713848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E2F47B-7352-4067-816A-312B537F7D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45E2F47B-7352-4067-816A-312B537F7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38865-BE55-48CB-8610-2CCD942ACAD1}"/>
              </a:ext>
            </a:extLst>
          </p:cNvPr>
          <p:cNvSpPr>
            <a:spLocks noGrp="1"/>
          </p:cNvSpPr>
          <p:nvPr>
            <p:ph type="title"/>
          </p:nvPr>
        </p:nvSpPr>
        <p:spPr/>
        <p:txBody>
          <a:bodyPr vert="horz"/>
          <a:lstStyle/>
          <a:p>
            <a:r>
              <a:rPr lang="da-DK" dirty="0"/>
              <a:t>Hvad vil vi gerne have ud af modulet?</a:t>
            </a:r>
          </a:p>
        </p:txBody>
      </p:sp>
      <p:sp>
        <p:nvSpPr>
          <p:cNvPr id="3" name="Content Placeholder 2">
            <a:extLst>
              <a:ext uri="{FF2B5EF4-FFF2-40B4-BE49-F238E27FC236}">
                <a16:creationId xmlns:a16="http://schemas.microsoft.com/office/drawing/2014/main" id="{2D9E83EF-F91E-43EF-9F1D-837A2F305F83}"/>
              </a:ext>
            </a:extLst>
          </p:cNvPr>
          <p:cNvSpPr>
            <a:spLocks noGrp="1"/>
          </p:cNvSpPr>
          <p:nvPr>
            <p:ph idx="1"/>
          </p:nvPr>
        </p:nvSpPr>
        <p:spPr/>
        <p:txBody>
          <a:bodyPr/>
          <a:lstStyle/>
          <a:p>
            <a:r>
              <a:rPr lang="da-DK" dirty="0"/>
              <a:t>Hvad vil jeg gerne have ud af dagen i dag? </a:t>
            </a:r>
          </a:p>
          <a:p>
            <a:r>
              <a:rPr lang="da-DK" dirty="0"/>
              <a:t>Hvad er vigtigt for mig at komme omkring i forhold til temaet om rettigheder og muligheder for støtte? </a:t>
            </a:r>
          </a:p>
        </p:txBody>
      </p:sp>
    </p:spTree>
    <p:extLst>
      <p:ext uri="{BB962C8B-B14F-4D97-AF65-F5344CB8AC3E}">
        <p14:creationId xmlns:p14="http://schemas.microsoft.com/office/powerpoint/2010/main" val="30258859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216A2-2896-4F05-8CF6-4D061275E805}"/>
              </a:ext>
            </a:extLst>
          </p:cNvPr>
          <p:cNvSpPr>
            <a:spLocks noGrp="1"/>
          </p:cNvSpPr>
          <p:nvPr>
            <p:ph type="title"/>
          </p:nvPr>
        </p:nvSpPr>
        <p:spPr/>
        <p:txBody>
          <a:bodyPr/>
          <a:lstStyle/>
          <a:p>
            <a:r>
              <a:rPr lang="da-DK" dirty="0"/>
              <a:t>Til næste gang</a:t>
            </a:r>
          </a:p>
        </p:txBody>
      </p:sp>
      <p:sp>
        <p:nvSpPr>
          <p:cNvPr id="3" name="Content Placeholder 2">
            <a:extLst>
              <a:ext uri="{FF2B5EF4-FFF2-40B4-BE49-F238E27FC236}">
                <a16:creationId xmlns:a16="http://schemas.microsoft.com/office/drawing/2014/main" id="{9592F8F3-9C4D-4FBD-8BDB-6F66DA51F258}"/>
              </a:ext>
            </a:extLst>
          </p:cNvPr>
          <p:cNvSpPr>
            <a:spLocks noGrp="1"/>
          </p:cNvSpPr>
          <p:nvPr>
            <p:ph idx="1"/>
          </p:nvPr>
        </p:nvSpPr>
        <p:spPr/>
        <p:txBody>
          <a:bodyPr/>
          <a:lstStyle/>
          <a:p>
            <a:r>
              <a:rPr lang="da-DK" dirty="0"/>
              <a:t>Hvilke muligheder og udfordringer oplever jeg, at mit barn har? Og hvad siger de unge selv?</a:t>
            </a:r>
          </a:p>
          <a:p>
            <a:r>
              <a:rPr lang="da-DK" dirty="0"/>
              <a:t>Hvad kan være vanskeligt ved at involvere sig på en positiv måde i den unges liv – og hvad har jeg selv gode erfaringer med?</a:t>
            </a:r>
          </a:p>
          <a:p>
            <a:r>
              <a:rPr lang="da-DK" dirty="0"/>
              <a:t>Hvad er den unges fokus og mål i læringsforløbet?</a:t>
            </a:r>
          </a:p>
          <a:p>
            <a:r>
              <a:rPr lang="da-DK" dirty="0"/>
              <a:t>Til forældre til unge under 18 år: Hvordan forbereder vi den unge på overgangen ved det 18. år?</a:t>
            </a:r>
          </a:p>
        </p:txBody>
      </p:sp>
    </p:spTree>
    <p:extLst>
      <p:ext uri="{BB962C8B-B14F-4D97-AF65-F5344CB8AC3E}">
        <p14:creationId xmlns:p14="http://schemas.microsoft.com/office/powerpoint/2010/main" val="14264041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1396581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Hvad lærer den unge?</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lstStyle/>
          <a:p>
            <a:pPr marL="0" indent="0">
              <a:spcBef>
                <a:spcPts val="0"/>
              </a:spcBef>
              <a:spcAft>
                <a:spcPts val="1200"/>
              </a:spcAft>
              <a:buNone/>
            </a:pPr>
            <a:r>
              <a:rPr lang="da-DK" b="1" dirty="0"/>
              <a:t>[Indholdet tilpasses, så det afspejler, hvad de unge lærer]</a:t>
            </a:r>
          </a:p>
          <a:p>
            <a:pPr marL="0" indent="0">
              <a:spcBef>
                <a:spcPts val="0"/>
              </a:spcBef>
              <a:spcAft>
                <a:spcPts val="1200"/>
              </a:spcAft>
              <a:buNone/>
            </a:pPr>
            <a:r>
              <a:rPr lang="da-DK" dirty="0"/>
              <a:t>På modulet ”flytte hjemmefra” lærer de unge bl.a., at:</a:t>
            </a:r>
          </a:p>
          <a:p>
            <a:pPr>
              <a:spcBef>
                <a:spcPts val="0"/>
              </a:spcBef>
              <a:spcAft>
                <a:spcPts val="1200"/>
              </a:spcAft>
            </a:pPr>
            <a:r>
              <a:rPr lang="da-DK" dirty="0"/>
              <a:t>Løse </a:t>
            </a:r>
            <a:r>
              <a:rPr lang="da-DK" b="1" dirty="0"/>
              <a:t>praktiske opgaver </a:t>
            </a:r>
            <a:r>
              <a:rPr lang="da-DK" dirty="0"/>
              <a:t>i hverdagen, som er forbundet med at bo for sig selv </a:t>
            </a:r>
          </a:p>
          <a:p>
            <a:pPr>
              <a:spcBef>
                <a:spcPts val="0"/>
              </a:spcBef>
              <a:spcAft>
                <a:spcPts val="1200"/>
              </a:spcAft>
            </a:pPr>
            <a:r>
              <a:rPr lang="da-DK" dirty="0"/>
              <a:t>Hvad der er vigtigt for den unge i forhold til at kunne klare dig selv i fremtiden </a:t>
            </a:r>
          </a:p>
          <a:p>
            <a:pPr>
              <a:spcBef>
                <a:spcPts val="0"/>
              </a:spcBef>
              <a:spcAft>
                <a:spcPts val="1200"/>
              </a:spcAft>
            </a:pPr>
            <a:r>
              <a:rPr lang="da-DK" dirty="0"/>
              <a:t>At der er forskellige </a:t>
            </a:r>
            <a:r>
              <a:rPr lang="da-DK" b="1" dirty="0"/>
              <a:t>teknikker og redskaber</a:t>
            </a:r>
            <a:r>
              <a:rPr lang="da-DK" dirty="0"/>
              <a:t>, som kan hjælpe til at strukturere opgaverne, så man husker dem og får gjort dem godt, fx apps, planer, planlægningsredskaber</a:t>
            </a:r>
          </a:p>
          <a:p>
            <a:pPr>
              <a:spcBef>
                <a:spcPts val="0"/>
              </a:spcBef>
              <a:spcAft>
                <a:spcPts val="1200"/>
              </a:spcAft>
            </a:pPr>
            <a:r>
              <a:rPr lang="da-DK" dirty="0"/>
              <a:t>At aktiviteter i hverdagen kræver </a:t>
            </a:r>
            <a:r>
              <a:rPr lang="da-DK" b="1" dirty="0"/>
              <a:t>energi </a:t>
            </a:r>
            <a:r>
              <a:rPr lang="da-DK" dirty="0"/>
              <a:t>– når man bruger energi, er det vigtigt at restituere og ”lade batteriet op igen.”</a:t>
            </a:r>
          </a:p>
        </p:txBody>
      </p:sp>
    </p:spTree>
    <p:extLst>
      <p:ext uri="{BB962C8B-B14F-4D97-AF65-F5344CB8AC3E}">
        <p14:creationId xmlns:p14="http://schemas.microsoft.com/office/powerpoint/2010/main" val="77019476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Hvad lærer den unge?</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lstStyle/>
          <a:p>
            <a:pPr marL="0" indent="0">
              <a:spcAft>
                <a:spcPts val="600"/>
              </a:spcAft>
              <a:buNone/>
            </a:pPr>
            <a:r>
              <a:rPr lang="da-DK" b="1" dirty="0"/>
              <a:t>[Her indsætter gruppevejlederen de unges hjemmeøvelse(r) fra sidste gang]</a:t>
            </a:r>
          </a:p>
          <a:p>
            <a:pPr marL="0" indent="0">
              <a:spcAft>
                <a:spcPts val="600"/>
              </a:spcAft>
              <a:buNone/>
            </a:pPr>
            <a:endParaRPr lang="da-DK" dirty="0"/>
          </a:p>
          <a:p>
            <a:pPr marL="0" indent="0">
              <a:spcBef>
                <a:spcPts val="0"/>
              </a:spcBef>
              <a:spcAft>
                <a:spcPts val="1200"/>
              </a:spcAft>
              <a:buNone/>
            </a:pPr>
            <a:endParaRPr lang="da-DK" dirty="0"/>
          </a:p>
        </p:txBody>
      </p:sp>
    </p:spTree>
    <p:extLst>
      <p:ext uri="{BB962C8B-B14F-4D97-AF65-F5344CB8AC3E}">
        <p14:creationId xmlns:p14="http://schemas.microsoft.com/office/powerpoint/2010/main" val="316488059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a:lstStyle/>
          <a:p>
            <a:r>
              <a:rPr lang="da-DK" dirty="0"/>
              <a:t>Når den unge bliver 18</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lstStyle/>
          <a:p>
            <a:r>
              <a:rPr lang="da-DK" dirty="0"/>
              <a:t>Den unge bliver myndig og er dermed selv part i sin sag</a:t>
            </a:r>
          </a:p>
          <a:p>
            <a:r>
              <a:rPr lang="da-DK" dirty="0"/>
              <a:t>Den unge får stemmeret</a:t>
            </a:r>
          </a:p>
          <a:p>
            <a:r>
              <a:rPr lang="da-DK" dirty="0"/>
              <a:t>Forældrene bliver ikke hørt og informeret som tidligere </a:t>
            </a:r>
          </a:p>
          <a:p>
            <a:r>
              <a:rPr lang="da-DK" dirty="0"/>
              <a:t>Breve m.m. sendes til den unge og ikke til forældrene</a:t>
            </a:r>
          </a:p>
          <a:p>
            <a:r>
              <a:rPr lang="da-DK" dirty="0"/>
              <a:t>Mulighederne for at få hjælp og støtte ændres</a:t>
            </a:r>
          </a:p>
          <a:p>
            <a:r>
              <a:rPr lang="da-DK" dirty="0"/>
              <a:t>Det kan være relevant at overveje egen bolig til den unge.</a:t>
            </a:r>
          </a:p>
          <a:p>
            <a:endParaRPr lang="da-DK" dirty="0"/>
          </a:p>
        </p:txBody>
      </p:sp>
    </p:spTree>
    <p:extLst>
      <p:ext uri="{BB962C8B-B14F-4D97-AF65-F5344CB8AC3E}">
        <p14:creationId xmlns:p14="http://schemas.microsoft.com/office/powerpoint/2010/main" val="319349725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9643C-58A8-4228-92A8-DBB918639242}"/>
              </a:ext>
            </a:extLst>
          </p:cNvPr>
          <p:cNvSpPr>
            <a:spLocks noGrp="1"/>
          </p:cNvSpPr>
          <p:nvPr>
            <p:ph type="title"/>
          </p:nvPr>
        </p:nvSpPr>
        <p:spPr/>
        <p:txBody>
          <a:bodyPr/>
          <a:lstStyle/>
          <a:p>
            <a:r>
              <a:rPr lang="da-DK" dirty="0"/>
              <a:t>Hvordan kan man støtte den unge i overgangen? </a:t>
            </a:r>
          </a:p>
        </p:txBody>
      </p:sp>
      <p:sp>
        <p:nvSpPr>
          <p:cNvPr id="7" name="Speech Bubble: Rectangle with Corners Rounded 6">
            <a:extLst>
              <a:ext uri="{FF2B5EF4-FFF2-40B4-BE49-F238E27FC236}">
                <a16:creationId xmlns:a16="http://schemas.microsoft.com/office/drawing/2014/main" id="{71F955C7-B0CA-499B-9ACC-5A22462223B2}"/>
              </a:ext>
            </a:extLst>
          </p:cNvPr>
          <p:cNvSpPr/>
          <p:nvPr/>
        </p:nvSpPr>
        <p:spPr>
          <a:xfrm>
            <a:off x="1619672" y="2260760"/>
            <a:ext cx="5760640" cy="2392376"/>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ordan kan man som forældre støtte den unge i overgangen ved det 18. år?</a:t>
            </a:r>
          </a:p>
          <a:p>
            <a:pPr marL="285750" indent="-285750">
              <a:spcAft>
                <a:spcPts val="600"/>
              </a:spcAft>
              <a:buFont typeface="Arial" panose="020B0604020202020204" pitchFamily="34" charset="0"/>
              <a:buChar char="•"/>
            </a:pPr>
            <a:r>
              <a:rPr lang="da-DK" sz="1400" i="1" dirty="0">
                <a:solidFill>
                  <a:schemeClr val="tx1"/>
                </a:solidFill>
              </a:rPr>
              <a:t>Hvad er særligt svært som forældre?</a:t>
            </a:r>
          </a:p>
          <a:p>
            <a:pPr marL="285750" indent="-285750">
              <a:spcAft>
                <a:spcPts val="600"/>
              </a:spcAft>
              <a:buFont typeface="Arial" panose="020B0604020202020204" pitchFamily="34" charset="0"/>
              <a:buChar char="•"/>
            </a:pPr>
            <a:r>
              <a:rPr lang="da-DK" sz="1400" i="1" dirty="0">
                <a:solidFill>
                  <a:schemeClr val="tx1"/>
                </a:solidFill>
              </a:rPr>
              <a:t>Hvad er det særligt vigtigt at vide?</a:t>
            </a:r>
          </a:p>
          <a:p>
            <a:pPr marL="285750" indent="-285750">
              <a:spcAft>
                <a:spcPts val="600"/>
              </a:spcAft>
              <a:buFont typeface="Arial" panose="020B0604020202020204" pitchFamily="34" charset="0"/>
              <a:buChar char="•"/>
            </a:pPr>
            <a:r>
              <a:rPr lang="da-DK" sz="1400" i="1" dirty="0">
                <a:solidFill>
                  <a:schemeClr val="tx1"/>
                </a:solidFill>
              </a:rPr>
              <a:t>Hvor kan man søge råd?</a:t>
            </a:r>
          </a:p>
        </p:txBody>
      </p:sp>
    </p:spTree>
    <p:extLst>
      <p:ext uri="{BB962C8B-B14F-4D97-AF65-F5344CB8AC3E}">
        <p14:creationId xmlns:p14="http://schemas.microsoft.com/office/powerpoint/2010/main" val="410215414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0C148D7-441D-4F50-B10A-86D8DE59CB06}"/>
              </a:ext>
            </a:extLst>
          </p:cNvPr>
          <p:cNvGraphicFramePr>
            <a:graphicFrameLocks noChangeAspect="1"/>
          </p:cNvGraphicFramePr>
          <p:nvPr>
            <p:custDataLst>
              <p:tags r:id="rId2"/>
            </p:custDataLst>
            <p:extLst>
              <p:ext uri="{D42A27DB-BD31-4B8C-83A1-F6EECF244321}">
                <p14:modId xmlns:p14="http://schemas.microsoft.com/office/powerpoint/2010/main" val="37923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uligheder for støtte og hjælp i kommunen</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lstStyle/>
          <a:p>
            <a:pPr marL="0" indent="0">
              <a:buNone/>
            </a:pPr>
            <a:r>
              <a:rPr lang="da-DK" b="1" dirty="0"/>
              <a:t>[Udfyldes af gruppevejleder]</a:t>
            </a:r>
          </a:p>
          <a:p>
            <a:r>
              <a:rPr lang="da-DK" b="1" dirty="0"/>
              <a:t>Bolig og bostøtte</a:t>
            </a:r>
            <a:r>
              <a:rPr lang="da-DK" dirty="0"/>
              <a:t>: XXX</a:t>
            </a:r>
          </a:p>
          <a:p>
            <a:endParaRPr lang="da-DK" dirty="0"/>
          </a:p>
          <a:p>
            <a:r>
              <a:rPr lang="da-DK" b="1" dirty="0"/>
              <a:t>Uddannelse: </a:t>
            </a:r>
            <a:r>
              <a:rPr lang="da-DK" dirty="0"/>
              <a:t>XXX</a:t>
            </a:r>
          </a:p>
          <a:p>
            <a:endParaRPr lang="da-DK" dirty="0"/>
          </a:p>
          <a:p>
            <a:r>
              <a:rPr lang="da-DK" b="1" dirty="0"/>
              <a:t>Arbejde: </a:t>
            </a:r>
            <a:r>
              <a:rPr lang="da-DK" dirty="0"/>
              <a:t>XXXX</a:t>
            </a:r>
          </a:p>
          <a:p>
            <a:endParaRPr lang="da-DK" dirty="0"/>
          </a:p>
          <a:p>
            <a:r>
              <a:rPr lang="da-DK" b="1" dirty="0"/>
              <a:t>Fællesskaber og fritid</a:t>
            </a:r>
            <a:r>
              <a:rPr lang="da-DK" dirty="0"/>
              <a:t>: XXX</a:t>
            </a:r>
          </a:p>
        </p:txBody>
      </p:sp>
    </p:spTree>
    <p:extLst>
      <p:ext uri="{BB962C8B-B14F-4D97-AF65-F5344CB8AC3E}">
        <p14:creationId xmlns:p14="http://schemas.microsoft.com/office/powerpoint/2010/main" val="350266866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0F5CF76-A338-4BA2-9670-FF7350AC84BB}"/>
              </a:ext>
            </a:extLst>
          </p:cNvPr>
          <p:cNvGraphicFramePr>
            <a:graphicFrameLocks noChangeAspect="1"/>
          </p:cNvGraphicFramePr>
          <p:nvPr>
            <p:custDataLst>
              <p:tags r:id="rId2"/>
            </p:custDataLst>
            <p:extLst>
              <p:ext uri="{D42A27DB-BD31-4B8C-83A1-F6EECF244321}">
                <p14:modId xmlns:p14="http://schemas.microsoft.com/office/powerpoint/2010/main" val="3593763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a:xfrm>
            <a:off x="548282" y="771307"/>
            <a:ext cx="8064896" cy="756084"/>
          </a:xfrm>
        </p:spPr>
        <p:txBody>
          <a:bodyPr vert="horz"/>
          <a:lstStyle/>
          <a:p>
            <a:r>
              <a:rPr lang="da-DK" sz="2800" dirty="0"/>
              <a:t>Muligheder for støtte og hjælp i lokalområdet</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a:xfrm>
            <a:off x="628649" y="1772817"/>
            <a:ext cx="7904163" cy="4104108"/>
          </a:xfrm>
        </p:spPr>
        <p:txBody>
          <a:bodyPr>
            <a:normAutofit/>
          </a:bodyPr>
          <a:lstStyle/>
          <a:p>
            <a:pPr marL="0" indent="0">
              <a:buNone/>
            </a:pPr>
            <a:r>
              <a:rPr lang="da-DK" sz="2000" b="1" dirty="0"/>
              <a:t>[Udfyldes af gruppevejleder]</a:t>
            </a:r>
          </a:p>
          <a:p>
            <a:r>
              <a:rPr lang="da-DK" sz="2000" b="1" dirty="0"/>
              <a:t>Fællesskaber og fritid</a:t>
            </a:r>
            <a:r>
              <a:rPr lang="da-DK" sz="2000" dirty="0"/>
              <a:t>: XXX</a:t>
            </a:r>
          </a:p>
          <a:p>
            <a:endParaRPr lang="da-DK" sz="2000" dirty="0"/>
          </a:p>
          <a:p>
            <a:r>
              <a:rPr lang="da-DK" sz="2000" b="1" dirty="0"/>
              <a:t>Sundhed</a:t>
            </a:r>
            <a:r>
              <a:rPr lang="da-DK" sz="2000" dirty="0"/>
              <a:t>: XXX</a:t>
            </a:r>
          </a:p>
          <a:p>
            <a:endParaRPr lang="da-DK" sz="2000" dirty="0"/>
          </a:p>
          <a:p>
            <a:r>
              <a:rPr lang="da-DK" sz="2000" dirty="0"/>
              <a:t>…..</a:t>
            </a:r>
          </a:p>
        </p:txBody>
      </p:sp>
    </p:spTree>
    <p:extLst>
      <p:ext uri="{BB962C8B-B14F-4D97-AF65-F5344CB8AC3E}">
        <p14:creationId xmlns:p14="http://schemas.microsoft.com/office/powerpoint/2010/main" val="96395218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2DDF4-5465-4D23-8456-5ED4496AE120}"/>
              </a:ext>
            </a:extLst>
          </p:cNvPr>
          <p:cNvSpPr>
            <a:spLocks noGrp="1"/>
          </p:cNvSpPr>
          <p:nvPr>
            <p:ph type="title"/>
          </p:nvPr>
        </p:nvSpPr>
        <p:spPr/>
        <p:txBody>
          <a:bodyPr/>
          <a:lstStyle/>
          <a:p>
            <a:r>
              <a:rPr lang="da-DK" dirty="0"/>
              <a:t>Hvad tager vi med os hjem</a:t>
            </a:r>
          </a:p>
        </p:txBody>
      </p:sp>
      <p:sp>
        <p:nvSpPr>
          <p:cNvPr id="3" name="Content Placeholder 2">
            <a:extLst>
              <a:ext uri="{FF2B5EF4-FFF2-40B4-BE49-F238E27FC236}">
                <a16:creationId xmlns:a16="http://schemas.microsoft.com/office/drawing/2014/main" id="{8BE087A5-0728-49A2-B32F-73E2B0420802}"/>
              </a:ext>
            </a:extLst>
          </p:cNvPr>
          <p:cNvSpPr>
            <a:spLocks noGrp="1"/>
          </p:cNvSpPr>
          <p:nvPr>
            <p:ph idx="1"/>
          </p:nvPr>
        </p:nvSpPr>
        <p:spPr/>
        <p:txBody>
          <a:bodyPr/>
          <a:lstStyle/>
          <a:p>
            <a:r>
              <a:rPr lang="da-DK" dirty="0"/>
              <a:t>Hvad har været godt i dag?</a:t>
            </a:r>
          </a:p>
          <a:p>
            <a:r>
              <a:rPr lang="da-DK" dirty="0"/>
              <a:t>Er der noget, som I har savnet i dag?</a:t>
            </a:r>
          </a:p>
          <a:p>
            <a:r>
              <a:rPr lang="da-DK" dirty="0"/>
              <a:t>Er der noget, som vi skal gøre anderledes næste gang?</a:t>
            </a:r>
          </a:p>
        </p:txBody>
      </p:sp>
      <p:sp>
        <p:nvSpPr>
          <p:cNvPr id="11" name="Speech Bubble: Rectangle with Corners Rounded 10">
            <a:extLst>
              <a:ext uri="{FF2B5EF4-FFF2-40B4-BE49-F238E27FC236}">
                <a16:creationId xmlns:a16="http://schemas.microsoft.com/office/drawing/2014/main" id="{18BDFDC3-A7F9-4926-BD1F-8C2CA4EDC8E6}"/>
              </a:ext>
            </a:extLst>
          </p:cNvPr>
          <p:cNvSpPr/>
          <p:nvPr/>
        </p:nvSpPr>
        <p:spPr>
          <a:xfrm>
            <a:off x="5166367" y="3573016"/>
            <a:ext cx="3510089" cy="1673299"/>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Udfyld logbogen med </a:t>
            </a:r>
            <a:br>
              <a:rPr lang="da-DK" sz="1400" i="1" dirty="0">
                <a:solidFill>
                  <a:schemeClr val="tx1"/>
                </a:solidFill>
              </a:rPr>
            </a:br>
            <a:r>
              <a:rPr lang="da-DK" sz="1400" i="1" dirty="0">
                <a:solidFill>
                  <a:schemeClr val="tx1"/>
                </a:solidFill>
              </a:rPr>
              <a:t>jeres refleksioner</a:t>
            </a:r>
          </a:p>
        </p:txBody>
      </p:sp>
      <p:grpSp>
        <p:nvGrpSpPr>
          <p:cNvPr id="8" name="Group 7">
            <a:extLst>
              <a:ext uri="{FF2B5EF4-FFF2-40B4-BE49-F238E27FC236}">
                <a16:creationId xmlns:a16="http://schemas.microsoft.com/office/drawing/2014/main" id="{6D68FC14-8A7D-467F-9AB8-D1511B87E95B}"/>
              </a:ext>
            </a:extLst>
          </p:cNvPr>
          <p:cNvGrpSpPr/>
          <p:nvPr/>
        </p:nvGrpSpPr>
        <p:grpSpPr>
          <a:xfrm>
            <a:off x="7758655" y="3788438"/>
            <a:ext cx="612000" cy="612000"/>
            <a:chOff x="8742468" y="3474401"/>
            <a:chExt cx="612000" cy="612000"/>
          </a:xfrm>
          <a:solidFill>
            <a:srgbClr val="C00000"/>
          </a:solidFill>
        </p:grpSpPr>
        <p:sp>
          <p:nvSpPr>
            <p:cNvPr id="9" name="Oval 8">
              <a:extLst>
                <a:ext uri="{FF2B5EF4-FFF2-40B4-BE49-F238E27FC236}">
                  <a16:creationId xmlns:a16="http://schemas.microsoft.com/office/drawing/2014/main" id="{F5D8C33D-D1DA-4128-A1E8-465D0DBAF011}"/>
                </a:ext>
              </a:extLst>
            </p:cNvPr>
            <p:cNvSpPr/>
            <p:nvPr/>
          </p:nvSpPr>
          <p:spPr bwMode="ltGray">
            <a:xfrm>
              <a:off x="8742468" y="3474401"/>
              <a:ext cx="612000" cy="612000"/>
            </a:xfrm>
            <a:prstGeom prst="ellipse">
              <a:avLst/>
            </a:prstGeom>
            <a:grpFill/>
            <a:ln w="3175" cap="flat" cmpd="sng" algn="ctr">
              <a:solidFill>
                <a:srgbClr val="DC6900"/>
              </a:solidFill>
              <a:prstDash val="solid"/>
            </a:ln>
            <a:effectLst/>
          </p:spPr>
          <p:txBody>
            <a:bodyPr rtlCol="0" anchor="ct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err="1">
                <a:ln>
                  <a:noFill/>
                </a:ln>
                <a:solidFill>
                  <a:srgbClr val="FFFFFF"/>
                </a:solidFill>
                <a:effectLst/>
                <a:uLnTx/>
                <a:uFillTx/>
                <a:latin typeface="Georgia" pitchFamily="18" charset="0"/>
                <a:ea typeface="+mn-ea"/>
                <a:cs typeface="+mn-cs"/>
              </a:endParaRPr>
            </a:p>
          </p:txBody>
        </p:sp>
        <p:sp>
          <p:nvSpPr>
            <p:cNvPr id="10" name="Freeform 4847">
              <a:extLst>
                <a:ext uri="{FF2B5EF4-FFF2-40B4-BE49-F238E27FC236}">
                  <a16:creationId xmlns:a16="http://schemas.microsoft.com/office/drawing/2014/main" id="{768BD847-845C-42D3-BEAE-CA55A16A4969}"/>
                </a:ext>
              </a:extLst>
            </p:cNvPr>
            <p:cNvSpPr>
              <a:spLocks noEditPoints="1"/>
            </p:cNvSpPr>
            <p:nvPr/>
          </p:nvSpPr>
          <p:spPr bwMode="auto">
            <a:xfrm>
              <a:off x="8894545" y="3569952"/>
              <a:ext cx="307068" cy="424047"/>
            </a:xfrm>
            <a:custGeom>
              <a:avLst/>
              <a:gdLst>
                <a:gd name="T0" fmla="*/ 252 w 252"/>
                <a:gd name="T1" fmla="*/ 332 h 348"/>
                <a:gd name="T2" fmla="*/ 242 w 252"/>
                <a:gd name="T3" fmla="*/ 346 h 348"/>
                <a:gd name="T4" fmla="*/ 16 w 252"/>
                <a:gd name="T5" fmla="*/ 348 h 348"/>
                <a:gd name="T6" fmla="*/ 2 w 252"/>
                <a:gd name="T7" fmla="*/ 338 h 348"/>
                <a:gd name="T8" fmla="*/ 0 w 252"/>
                <a:gd name="T9" fmla="*/ 32 h 348"/>
                <a:gd name="T10" fmla="*/ 10 w 252"/>
                <a:gd name="T11" fmla="*/ 16 h 348"/>
                <a:gd name="T12" fmla="*/ 90 w 252"/>
                <a:gd name="T13" fmla="*/ 16 h 348"/>
                <a:gd name="T14" fmla="*/ 86 w 252"/>
                <a:gd name="T15" fmla="*/ 30 h 348"/>
                <a:gd name="T16" fmla="*/ 16 w 252"/>
                <a:gd name="T17" fmla="*/ 332 h 348"/>
                <a:gd name="T18" fmla="*/ 168 w 252"/>
                <a:gd name="T19" fmla="*/ 34 h 348"/>
                <a:gd name="T20" fmla="*/ 164 w 252"/>
                <a:gd name="T21" fmla="*/ 26 h 348"/>
                <a:gd name="T22" fmla="*/ 236 w 252"/>
                <a:gd name="T23" fmla="*/ 16 h 348"/>
                <a:gd name="T24" fmla="*/ 248 w 252"/>
                <a:gd name="T25" fmla="*/ 20 h 348"/>
                <a:gd name="T26" fmla="*/ 252 w 252"/>
                <a:gd name="T27" fmla="*/ 32 h 348"/>
                <a:gd name="T28" fmla="*/ 36 w 252"/>
                <a:gd name="T29" fmla="*/ 312 h 348"/>
                <a:gd name="T30" fmla="*/ 36 w 252"/>
                <a:gd name="T31" fmla="*/ 94 h 348"/>
                <a:gd name="T32" fmla="*/ 216 w 252"/>
                <a:gd name="T33" fmla="*/ 94 h 348"/>
                <a:gd name="T34" fmla="*/ 132 w 252"/>
                <a:gd name="T35" fmla="*/ 186 h 348"/>
                <a:gd name="T36" fmla="*/ 122 w 252"/>
                <a:gd name="T37" fmla="*/ 184 h 348"/>
                <a:gd name="T38" fmla="*/ 74 w 252"/>
                <a:gd name="T39" fmla="*/ 206 h 348"/>
                <a:gd name="T40" fmla="*/ 68 w 252"/>
                <a:gd name="T41" fmla="*/ 204 h 348"/>
                <a:gd name="T42" fmla="*/ 60 w 252"/>
                <a:gd name="T43" fmla="*/ 206 h 348"/>
                <a:gd name="T44" fmla="*/ 58 w 252"/>
                <a:gd name="T45" fmla="*/ 218 h 348"/>
                <a:gd name="T46" fmla="*/ 78 w 252"/>
                <a:gd name="T47" fmla="*/ 238 h 348"/>
                <a:gd name="T48" fmla="*/ 86 w 252"/>
                <a:gd name="T49" fmla="*/ 242 h 348"/>
                <a:gd name="T50" fmla="*/ 132 w 252"/>
                <a:gd name="T51" fmla="*/ 200 h 348"/>
                <a:gd name="T52" fmla="*/ 134 w 252"/>
                <a:gd name="T53" fmla="*/ 192 h 348"/>
                <a:gd name="T54" fmla="*/ 132 w 252"/>
                <a:gd name="T55" fmla="*/ 186 h 348"/>
                <a:gd name="T56" fmla="*/ 128 w 252"/>
                <a:gd name="T57" fmla="*/ 122 h 348"/>
                <a:gd name="T58" fmla="*/ 118 w 252"/>
                <a:gd name="T59" fmla="*/ 124 h 348"/>
                <a:gd name="T60" fmla="*/ 74 w 252"/>
                <a:gd name="T61" fmla="*/ 144 h 348"/>
                <a:gd name="T62" fmla="*/ 64 w 252"/>
                <a:gd name="T63" fmla="*/ 142 h 348"/>
                <a:gd name="T64" fmla="*/ 58 w 252"/>
                <a:gd name="T65" fmla="*/ 148 h 348"/>
                <a:gd name="T66" fmla="*/ 60 w 252"/>
                <a:gd name="T67" fmla="*/ 158 h 348"/>
                <a:gd name="T68" fmla="*/ 82 w 252"/>
                <a:gd name="T69" fmla="*/ 180 h 348"/>
                <a:gd name="T70" fmla="*/ 90 w 252"/>
                <a:gd name="T71" fmla="*/ 180 h 348"/>
                <a:gd name="T72" fmla="*/ 132 w 252"/>
                <a:gd name="T73" fmla="*/ 138 h 348"/>
                <a:gd name="T74" fmla="*/ 134 w 252"/>
                <a:gd name="T75" fmla="*/ 126 h 348"/>
                <a:gd name="T76" fmla="*/ 36 w 252"/>
                <a:gd name="T77" fmla="*/ 64 h 348"/>
                <a:gd name="T78" fmla="*/ 40 w 252"/>
                <a:gd name="T79" fmla="*/ 54 h 348"/>
                <a:gd name="T80" fmla="*/ 78 w 252"/>
                <a:gd name="T81" fmla="*/ 48 h 348"/>
                <a:gd name="T82" fmla="*/ 94 w 252"/>
                <a:gd name="T83" fmla="*/ 42 h 348"/>
                <a:gd name="T84" fmla="*/ 100 w 252"/>
                <a:gd name="T85" fmla="*/ 26 h 348"/>
                <a:gd name="T86" fmla="*/ 116 w 252"/>
                <a:gd name="T87" fmla="*/ 2 h 348"/>
                <a:gd name="T88" fmla="*/ 136 w 252"/>
                <a:gd name="T89" fmla="*/ 2 h 348"/>
                <a:gd name="T90" fmla="*/ 152 w 252"/>
                <a:gd name="T91" fmla="*/ 26 h 348"/>
                <a:gd name="T92" fmla="*/ 158 w 252"/>
                <a:gd name="T93" fmla="*/ 42 h 348"/>
                <a:gd name="T94" fmla="*/ 200 w 252"/>
                <a:gd name="T95" fmla="*/ 48 h 348"/>
                <a:gd name="T96" fmla="*/ 212 w 252"/>
                <a:gd name="T97" fmla="*/ 54 h 348"/>
                <a:gd name="T98" fmla="*/ 216 w 252"/>
                <a:gd name="T99" fmla="*/ 78 h 348"/>
                <a:gd name="T100" fmla="*/ 36 w 252"/>
                <a:gd name="T101" fmla="*/ 82 h 348"/>
                <a:gd name="T102" fmla="*/ 36 w 252"/>
                <a:gd name="T103" fmla="*/ 64 h 348"/>
                <a:gd name="T104" fmla="*/ 116 w 252"/>
                <a:gd name="T105" fmla="*/ 30 h 348"/>
                <a:gd name="T106" fmla="*/ 126 w 252"/>
                <a:gd name="T107" fmla="*/ 38 h 348"/>
                <a:gd name="T108" fmla="*/ 134 w 252"/>
                <a:gd name="T109" fmla="*/ 34 h 348"/>
                <a:gd name="T110" fmla="*/ 136 w 252"/>
                <a:gd name="T111" fmla="*/ 26 h 348"/>
                <a:gd name="T112" fmla="*/ 130 w 252"/>
                <a:gd name="T113" fmla="*/ 16 h 348"/>
                <a:gd name="T114" fmla="*/ 122 w 252"/>
                <a:gd name="T115" fmla="*/ 16 h 348"/>
                <a:gd name="T116" fmla="*/ 116 w 252"/>
                <a:gd name="T117" fmla="*/ 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2" h="348">
                  <a:moveTo>
                    <a:pt x="252" y="32"/>
                  </a:moveTo>
                  <a:lnTo>
                    <a:pt x="252" y="332"/>
                  </a:lnTo>
                  <a:lnTo>
                    <a:pt x="252" y="332"/>
                  </a:lnTo>
                  <a:lnTo>
                    <a:pt x="250" y="338"/>
                  </a:lnTo>
                  <a:lnTo>
                    <a:pt x="248" y="344"/>
                  </a:lnTo>
                  <a:lnTo>
                    <a:pt x="242" y="346"/>
                  </a:lnTo>
                  <a:lnTo>
                    <a:pt x="236" y="348"/>
                  </a:lnTo>
                  <a:lnTo>
                    <a:pt x="16" y="348"/>
                  </a:lnTo>
                  <a:lnTo>
                    <a:pt x="16" y="348"/>
                  </a:lnTo>
                  <a:lnTo>
                    <a:pt x="10" y="346"/>
                  </a:lnTo>
                  <a:lnTo>
                    <a:pt x="4" y="344"/>
                  </a:lnTo>
                  <a:lnTo>
                    <a:pt x="2" y="338"/>
                  </a:lnTo>
                  <a:lnTo>
                    <a:pt x="0" y="332"/>
                  </a:lnTo>
                  <a:lnTo>
                    <a:pt x="0" y="32"/>
                  </a:lnTo>
                  <a:lnTo>
                    <a:pt x="0" y="32"/>
                  </a:lnTo>
                  <a:lnTo>
                    <a:pt x="2" y="26"/>
                  </a:lnTo>
                  <a:lnTo>
                    <a:pt x="4" y="20"/>
                  </a:lnTo>
                  <a:lnTo>
                    <a:pt x="10" y="16"/>
                  </a:lnTo>
                  <a:lnTo>
                    <a:pt x="16" y="16"/>
                  </a:lnTo>
                  <a:lnTo>
                    <a:pt x="90" y="16"/>
                  </a:lnTo>
                  <a:lnTo>
                    <a:pt x="90" y="16"/>
                  </a:lnTo>
                  <a:lnTo>
                    <a:pt x="88" y="26"/>
                  </a:lnTo>
                  <a:lnTo>
                    <a:pt x="88" y="26"/>
                  </a:lnTo>
                  <a:lnTo>
                    <a:pt x="86" y="30"/>
                  </a:lnTo>
                  <a:lnTo>
                    <a:pt x="84" y="34"/>
                  </a:lnTo>
                  <a:lnTo>
                    <a:pt x="16" y="34"/>
                  </a:lnTo>
                  <a:lnTo>
                    <a:pt x="16" y="332"/>
                  </a:lnTo>
                  <a:lnTo>
                    <a:pt x="236" y="332"/>
                  </a:lnTo>
                  <a:lnTo>
                    <a:pt x="236" y="34"/>
                  </a:lnTo>
                  <a:lnTo>
                    <a:pt x="168" y="34"/>
                  </a:lnTo>
                  <a:lnTo>
                    <a:pt x="168" y="34"/>
                  </a:lnTo>
                  <a:lnTo>
                    <a:pt x="166" y="30"/>
                  </a:lnTo>
                  <a:lnTo>
                    <a:pt x="164" y="26"/>
                  </a:lnTo>
                  <a:lnTo>
                    <a:pt x="164" y="26"/>
                  </a:lnTo>
                  <a:lnTo>
                    <a:pt x="162" y="16"/>
                  </a:lnTo>
                  <a:lnTo>
                    <a:pt x="236" y="16"/>
                  </a:lnTo>
                  <a:lnTo>
                    <a:pt x="236" y="16"/>
                  </a:lnTo>
                  <a:lnTo>
                    <a:pt x="242" y="16"/>
                  </a:lnTo>
                  <a:lnTo>
                    <a:pt x="248" y="20"/>
                  </a:lnTo>
                  <a:lnTo>
                    <a:pt x="250" y="26"/>
                  </a:lnTo>
                  <a:lnTo>
                    <a:pt x="252" y="32"/>
                  </a:lnTo>
                  <a:lnTo>
                    <a:pt x="252" y="32"/>
                  </a:lnTo>
                  <a:close/>
                  <a:moveTo>
                    <a:pt x="216" y="94"/>
                  </a:moveTo>
                  <a:lnTo>
                    <a:pt x="216" y="312"/>
                  </a:lnTo>
                  <a:lnTo>
                    <a:pt x="36" y="312"/>
                  </a:lnTo>
                  <a:lnTo>
                    <a:pt x="36" y="94"/>
                  </a:lnTo>
                  <a:lnTo>
                    <a:pt x="36" y="94"/>
                  </a:lnTo>
                  <a:lnTo>
                    <a:pt x="36" y="94"/>
                  </a:lnTo>
                  <a:lnTo>
                    <a:pt x="216" y="94"/>
                  </a:lnTo>
                  <a:lnTo>
                    <a:pt x="216" y="94"/>
                  </a:lnTo>
                  <a:lnTo>
                    <a:pt x="216" y="94"/>
                  </a:lnTo>
                  <a:lnTo>
                    <a:pt x="216" y="94"/>
                  </a:lnTo>
                  <a:close/>
                  <a:moveTo>
                    <a:pt x="132" y="186"/>
                  </a:moveTo>
                  <a:lnTo>
                    <a:pt x="132" y="186"/>
                  </a:lnTo>
                  <a:lnTo>
                    <a:pt x="128" y="184"/>
                  </a:lnTo>
                  <a:lnTo>
                    <a:pt x="124" y="182"/>
                  </a:lnTo>
                  <a:lnTo>
                    <a:pt x="122" y="184"/>
                  </a:lnTo>
                  <a:lnTo>
                    <a:pt x="118" y="186"/>
                  </a:lnTo>
                  <a:lnTo>
                    <a:pt x="86" y="218"/>
                  </a:lnTo>
                  <a:lnTo>
                    <a:pt x="74" y="206"/>
                  </a:lnTo>
                  <a:lnTo>
                    <a:pt x="74" y="206"/>
                  </a:lnTo>
                  <a:lnTo>
                    <a:pt x="70" y="204"/>
                  </a:lnTo>
                  <a:lnTo>
                    <a:pt x="68" y="204"/>
                  </a:lnTo>
                  <a:lnTo>
                    <a:pt x="64" y="204"/>
                  </a:lnTo>
                  <a:lnTo>
                    <a:pt x="60" y="206"/>
                  </a:lnTo>
                  <a:lnTo>
                    <a:pt x="60" y="206"/>
                  </a:lnTo>
                  <a:lnTo>
                    <a:pt x="58" y="210"/>
                  </a:lnTo>
                  <a:lnTo>
                    <a:pt x="58" y="214"/>
                  </a:lnTo>
                  <a:lnTo>
                    <a:pt x="58" y="218"/>
                  </a:lnTo>
                  <a:lnTo>
                    <a:pt x="60" y="220"/>
                  </a:lnTo>
                  <a:lnTo>
                    <a:pt x="78" y="238"/>
                  </a:lnTo>
                  <a:lnTo>
                    <a:pt x="78" y="238"/>
                  </a:lnTo>
                  <a:lnTo>
                    <a:pt x="82" y="242"/>
                  </a:lnTo>
                  <a:lnTo>
                    <a:pt x="86" y="242"/>
                  </a:lnTo>
                  <a:lnTo>
                    <a:pt x="86" y="242"/>
                  </a:lnTo>
                  <a:lnTo>
                    <a:pt x="90" y="242"/>
                  </a:lnTo>
                  <a:lnTo>
                    <a:pt x="92" y="238"/>
                  </a:lnTo>
                  <a:lnTo>
                    <a:pt x="132" y="200"/>
                  </a:lnTo>
                  <a:lnTo>
                    <a:pt x="132" y="200"/>
                  </a:lnTo>
                  <a:lnTo>
                    <a:pt x="134" y="196"/>
                  </a:lnTo>
                  <a:lnTo>
                    <a:pt x="134" y="192"/>
                  </a:lnTo>
                  <a:lnTo>
                    <a:pt x="134" y="188"/>
                  </a:lnTo>
                  <a:lnTo>
                    <a:pt x="132" y="186"/>
                  </a:lnTo>
                  <a:lnTo>
                    <a:pt x="132" y="186"/>
                  </a:lnTo>
                  <a:close/>
                  <a:moveTo>
                    <a:pt x="132" y="124"/>
                  </a:moveTo>
                  <a:lnTo>
                    <a:pt x="132" y="124"/>
                  </a:lnTo>
                  <a:lnTo>
                    <a:pt x="128" y="122"/>
                  </a:lnTo>
                  <a:lnTo>
                    <a:pt x="124" y="120"/>
                  </a:lnTo>
                  <a:lnTo>
                    <a:pt x="122" y="122"/>
                  </a:lnTo>
                  <a:lnTo>
                    <a:pt x="118" y="124"/>
                  </a:lnTo>
                  <a:lnTo>
                    <a:pt x="86" y="156"/>
                  </a:lnTo>
                  <a:lnTo>
                    <a:pt x="74" y="144"/>
                  </a:lnTo>
                  <a:lnTo>
                    <a:pt x="74" y="144"/>
                  </a:lnTo>
                  <a:lnTo>
                    <a:pt x="70" y="142"/>
                  </a:lnTo>
                  <a:lnTo>
                    <a:pt x="68" y="142"/>
                  </a:lnTo>
                  <a:lnTo>
                    <a:pt x="64" y="142"/>
                  </a:lnTo>
                  <a:lnTo>
                    <a:pt x="60" y="144"/>
                  </a:lnTo>
                  <a:lnTo>
                    <a:pt x="60" y="144"/>
                  </a:lnTo>
                  <a:lnTo>
                    <a:pt x="58" y="148"/>
                  </a:lnTo>
                  <a:lnTo>
                    <a:pt x="58" y="152"/>
                  </a:lnTo>
                  <a:lnTo>
                    <a:pt x="58" y="156"/>
                  </a:lnTo>
                  <a:lnTo>
                    <a:pt x="60" y="158"/>
                  </a:lnTo>
                  <a:lnTo>
                    <a:pt x="78" y="178"/>
                  </a:lnTo>
                  <a:lnTo>
                    <a:pt x="78" y="178"/>
                  </a:lnTo>
                  <a:lnTo>
                    <a:pt x="82" y="180"/>
                  </a:lnTo>
                  <a:lnTo>
                    <a:pt x="86" y="180"/>
                  </a:lnTo>
                  <a:lnTo>
                    <a:pt x="86" y="180"/>
                  </a:lnTo>
                  <a:lnTo>
                    <a:pt x="90" y="180"/>
                  </a:lnTo>
                  <a:lnTo>
                    <a:pt x="92" y="178"/>
                  </a:lnTo>
                  <a:lnTo>
                    <a:pt x="132" y="138"/>
                  </a:lnTo>
                  <a:lnTo>
                    <a:pt x="132" y="138"/>
                  </a:lnTo>
                  <a:lnTo>
                    <a:pt x="134" y="134"/>
                  </a:lnTo>
                  <a:lnTo>
                    <a:pt x="134" y="130"/>
                  </a:lnTo>
                  <a:lnTo>
                    <a:pt x="134" y="126"/>
                  </a:lnTo>
                  <a:lnTo>
                    <a:pt x="132" y="124"/>
                  </a:lnTo>
                  <a:lnTo>
                    <a:pt x="132" y="124"/>
                  </a:lnTo>
                  <a:close/>
                  <a:moveTo>
                    <a:pt x="36" y="64"/>
                  </a:moveTo>
                  <a:lnTo>
                    <a:pt x="36" y="64"/>
                  </a:lnTo>
                  <a:lnTo>
                    <a:pt x="36" y="58"/>
                  </a:lnTo>
                  <a:lnTo>
                    <a:pt x="40" y="54"/>
                  </a:lnTo>
                  <a:lnTo>
                    <a:pt x="46" y="50"/>
                  </a:lnTo>
                  <a:lnTo>
                    <a:pt x="52" y="48"/>
                  </a:lnTo>
                  <a:lnTo>
                    <a:pt x="78" y="48"/>
                  </a:lnTo>
                  <a:lnTo>
                    <a:pt x="78" y="48"/>
                  </a:lnTo>
                  <a:lnTo>
                    <a:pt x="86" y="46"/>
                  </a:lnTo>
                  <a:lnTo>
                    <a:pt x="94" y="42"/>
                  </a:lnTo>
                  <a:lnTo>
                    <a:pt x="98" y="36"/>
                  </a:lnTo>
                  <a:lnTo>
                    <a:pt x="100" y="26"/>
                  </a:lnTo>
                  <a:lnTo>
                    <a:pt x="100" y="26"/>
                  </a:lnTo>
                  <a:lnTo>
                    <a:pt x="102" y="16"/>
                  </a:lnTo>
                  <a:lnTo>
                    <a:pt x="108" y="8"/>
                  </a:lnTo>
                  <a:lnTo>
                    <a:pt x="116" y="2"/>
                  </a:lnTo>
                  <a:lnTo>
                    <a:pt x="126" y="0"/>
                  </a:lnTo>
                  <a:lnTo>
                    <a:pt x="126" y="0"/>
                  </a:lnTo>
                  <a:lnTo>
                    <a:pt x="136" y="2"/>
                  </a:lnTo>
                  <a:lnTo>
                    <a:pt x="144" y="8"/>
                  </a:lnTo>
                  <a:lnTo>
                    <a:pt x="150" y="16"/>
                  </a:lnTo>
                  <a:lnTo>
                    <a:pt x="152" y="26"/>
                  </a:lnTo>
                  <a:lnTo>
                    <a:pt x="152" y="26"/>
                  </a:lnTo>
                  <a:lnTo>
                    <a:pt x="154" y="36"/>
                  </a:lnTo>
                  <a:lnTo>
                    <a:pt x="158" y="42"/>
                  </a:lnTo>
                  <a:lnTo>
                    <a:pt x="166" y="46"/>
                  </a:lnTo>
                  <a:lnTo>
                    <a:pt x="174" y="48"/>
                  </a:lnTo>
                  <a:lnTo>
                    <a:pt x="200" y="48"/>
                  </a:lnTo>
                  <a:lnTo>
                    <a:pt x="200" y="48"/>
                  </a:lnTo>
                  <a:lnTo>
                    <a:pt x="206" y="50"/>
                  </a:lnTo>
                  <a:lnTo>
                    <a:pt x="212" y="54"/>
                  </a:lnTo>
                  <a:lnTo>
                    <a:pt x="216" y="58"/>
                  </a:lnTo>
                  <a:lnTo>
                    <a:pt x="216" y="64"/>
                  </a:lnTo>
                  <a:lnTo>
                    <a:pt x="216" y="78"/>
                  </a:lnTo>
                  <a:lnTo>
                    <a:pt x="216" y="78"/>
                  </a:lnTo>
                  <a:lnTo>
                    <a:pt x="216" y="82"/>
                  </a:lnTo>
                  <a:lnTo>
                    <a:pt x="36" y="82"/>
                  </a:lnTo>
                  <a:lnTo>
                    <a:pt x="36" y="82"/>
                  </a:lnTo>
                  <a:lnTo>
                    <a:pt x="36" y="78"/>
                  </a:lnTo>
                  <a:lnTo>
                    <a:pt x="36" y="64"/>
                  </a:lnTo>
                  <a:close/>
                  <a:moveTo>
                    <a:pt x="116" y="26"/>
                  </a:moveTo>
                  <a:lnTo>
                    <a:pt x="116" y="26"/>
                  </a:lnTo>
                  <a:lnTo>
                    <a:pt x="116" y="30"/>
                  </a:lnTo>
                  <a:lnTo>
                    <a:pt x="118" y="34"/>
                  </a:lnTo>
                  <a:lnTo>
                    <a:pt x="122" y="36"/>
                  </a:lnTo>
                  <a:lnTo>
                    <a:pt x="126" y="38"/>
                  </a:lnTo>
                  <a:lnTo>
                    <a:pt x="126" y="38"/>
                  </a:lnTo>
                  <a:lnTo>
                    <a:pt x="130" y="36"/>
                  </a:lnTo>
                  <a:lnTo>
                    <a:pt x="134" y="34"/>
                  </a:lnTo>
                  <a:lnTo>
                    <a:pt x="136" y="30"/>
                  </a:lnTo>
                  <a:lnTo>
                    <a:pt x="136" y="26"/>
                  </a:lnTo>
                  <a:lnTo>
                    <a:pt x="136" y="26"/>
                  </a:lnTo>
                  <a:lnTo>
                    <a:pt x="136" y="22"/>
                  </a:lnTo>
                  <a:lnTo>
                    <a:pt x="134" y="20"/>
                  </a:lnTo>
                  <a:lnTo>
                    <a:pt x="130" y="16"/>
                  </a:lnTo>
                  <a:lnTo>
                    <a:pt x="126" y="16"/>
                  </a:lnTo>
                  <a:lnTo>
                    <a:pt x="126" y="16"/>
                  </a:lnTo>
                  <a:lnTo>
                    <a:pt x="122" y="16"/>
                  </a:lnTo>
                  <a:lnTo>
                    <a:pt x="118" y="20"/>
                  </a:lnTo>
                  <a:lnTo>
                    <a:pt x="116" y="22"/>
                  </a:lnTo>
                  <a:lnTo>
                    <a:pt x="116" y="26"/>
                  </a:lnTo>
                  <a:lnTo>
                    <a:pt x="116" y="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246330602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11E42F-D1D9-4207-A902-4CE8F88FCF91}"/>
              </a:ext>
            </a:extLst>
          </p:cNvPr>
          <p:cNvSpPr>
            <a:spLocks noGrp="1"/>
          </p:cNvSpPr>
          <p:nvPr>
            <p:ph type="body" sz="quarter" idx="16"/>
          </p:nvPr>
        </p:nvSpPr>
        <p:spPr/>
        <p:txBody>
          <a:bodyPr>
            <a:normAutofit fontScale="25000" lnSpcReduction="20000"/>
          </a:bodyPr>
          <a:lstStyle/>
          <a:p>
            <a:endParaRPr lang="da-DK"/>
          </a:p>
        </p:txBody>
      </p:sp>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p:txBody>
          <a:bodyPr>
            <a:normAutofit/>
          </a:bodyPr>
          <a:lstStyle/>
          <a:p>
            <a:r>
              <a:rPr lang="da-DK" dirty="0"/>
              <a:t>Modul 8: Afslutning</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spTree>
    <p:extLst>
      <p:ext uri="{BB962C8B-B14F-4D97-AF65-F5344CB8AC3E}">
        <p14:creationId xmlns:p14="http://schemas.microsoft.com/office/powerpoint/2010/main" val="32010524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F658DE73-29E5-2876-2B6C-F66D0E4F6189}"/>
              </a:ext>
            </a:extLst>
          </p:cNvPr>
          <p:cNvPicPr>
            <a:picLocks noChangeAspect="1"/>
          </p:cNvPicPr>
          <p:nvPr/>
        </p:nvPicPr>
        <p:blipFill rotWithShape="1">
          <a:blip r:embed="rId5"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8" name="Object 7" hidden="1">
            <a:extLst>
              <a:ext uri="{FF2B5EF4-FFF2-40B4-BE49-F238E27FC236}">
                <a16:creationId xmlns:a16="http://schemas.microsoft.com/office/drawing/2014/main" id="{0A750D34-680C-4AB2-A5DD-3B0FDAEC7640}"/>
              </a:ext>
            </a:extLst>
          </p:cNvPr>
          <p:cNvGraphicFramePr>
            <a:graphicFrameLocks noChangeAspect="1"/>
          </p:cNvGraphicFramePr>
          <p:nvPr>
            <p:custDataLst>
              <p:tags r:id="rId2"/>
            </p:custDataLst>
            <p:extLst>
              <p:ext uri="{D42A27DB-BD31-4B8C-83A1-F6EECF244321}">
                <p14:modId xmlns:p14="http://schemas.microsoft.com/office/powerpoint/2010/main" val="79634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p:txBody>
          <a:bodyPr vert="horz"/>
          <a:lstStyle/>
          <a:p>
            <a:r>
              <a:rPr lang="da-DK" dirty="0"/>
              <a:t>Modul 8: Afslutning</a:t>
            </a:r>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 at:</a:t>
            </a:r>
          </a:p>
          <a:p>
            <a:r>
              <a:rPr lang="da-DK" dirty="0"/>
              <a:t>Samle op på forløbet og deltagernes udbytte af forløbet</a:t>
            </a:r>
          </a:p>
          <a:p>
            <a:r>
              <a:rPr lang="da-DK" dirty="0"/>
              <a:t>Drøfte hvordan deltagerne kommer videre efter forløbet</a:t>
            </a:r>
          </a:p>
          <a:p>
            <a:r>
              <a:rPr lang="da-DK" dirty="0"/>
              <a:t>Drøfte hvordan deltagerne kan anvende den viden og de redskaber, de har fået gennem forløbet til at understøtte deres barn.</a:t>
            </a:r>
          </a:p>
        </p:txBody>
      </p:sp>
    </p:spTree>
    <p:extLst>
      <p:ext uri="{BB962C8B-B14F-4D97-AF65-F5344CB8AC3E}">
        <p14:creationId xmlns:p14="http://schemas.microsoft.com/office/powerpoint/2010/main" val="333967433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7"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4109839035"/>
              </p:ext>
            </p:extLst>
          </p:nvPr>
        </p:nvGraphicFramePr>
        <p:xfrm>
          <a:off x="628649" y="1819632"/>
          <a:ext cx="7467526" cy="333756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Velkommen og formål med dagen </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Siden sidst</a:t>
                      </a:r>
                    </a:p>
                  </a:txBody>
                  <a:tcPr/>
                </a:tc>
                <a:extLst>
                  <a:ext uri="{0D108BD9-81ED-4DB2-BD59-A6C34878D82A}">
                    <a16:rowId xmlns:a16="http://schemas.microsoft.com/office/drawing/2014/main" val="3167250481"/>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vil vi gerne have ud af modulet?</a:t>
                      </a:r>
                    </a:p>
                  </a:txBody>
                  <a:tcPr/>
                </a:tc>
                <a:extLst>
                  <a:ext uri="{0D108BD9-81ED-4DB2-BD59-A6C34878D82A}">
                    <a16:rowId xmlns:a16="http://schemas.microsoft.com/office/drawing/2014/main" val="102157098"/>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har de unge aktuelt fokus på?</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Oplæg </a:t>
                      </a:r>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Drøftelse af dagens tema</a:t>
                      </a:r>
                    </a:p>
                  </a:txBody>
                  <a:tcPr/>
                </a:tc>
                <a:extLst>
                  <a:ext uri="{0D108BD9-81ED-4DB2-BD59-A6C34878D82A}">
                    <a16:rowId xmlns:a16="http://schemas.microsoft.com/office/drawing/2014/main" val="2823113985"/>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Øvelse/omsætning til hverdagen</a:t>
                      </a:r>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tager vi med os hjem?</a:t>
                      </a:r>
                    </a:p>
                  </a:txBody>
                  <a:tcPr/>
                </a:tc>
                <a:extLst>
                  <a:ext uri="{0D108BD9-81ED-4DB2-BD59-A6C34878D82A}">
                    <a16:rowId xmlns:a16="http://schemas.microsoft.com/office/drawing/2014/main" val="1764877723"/>
                  </a:ext>
                </a:extLst>
              </a:tr>
            </a:tbl>
          </a:graphicData>
        </a:graphic>
      </p:graphicFrame>
    </p:spTree>
    <p:extLst>
      <p:ext uri="{BB962C8B-B14F-4D97-AF65-F5344CB8AC3E}">
        <p14:creationId xmlns:p14="http://schemas.microsoft.com/office/powerpoint/2010/main" val="27850103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2DDF4-5465-4D23-8456-5ED4496AE120}"/>
              </a:ext>
            </a:extLst>
          </p:cNvPr>
          <p:cNvSpPr>
            <a:spLocks noGrp="1"/>
          </p:cNvSpPr>
          <p:nvPr>
            <p:ph type="title"/>
          </p:nvPr>
        </p:nvSpPr>
        <p:spPr/>
        <p:txBody>
          <a:bodyPr/>
          <a:lstStyle/>
          <a:p>
            <a:r>
              <a:rPr lang="da-DK" dirty="0"/>
              <a:t>Hvad tager vi med os hjem</a:t>
            </a:r>
          </a:p>
        </p:txBody>
      </p:sp>
      <p:sp>
        <p:nvSpPr>
          <p:cNvPr id="3" name="Content Placeholder 2">
            <a:extLst>
              <a:ext uri="{FF2B5EF4-FFF2-40B4-BE49-F238E27FC236}">
                <a16:creationId xmlns:a16="http://schemas.microsoft.com/office/drawing/2014/main" id="{8BE087A5-0728-49A2-B32F-73E2B0420802}"/>
              </a:ext>
            </a:extLst>
          </p:cNvPr>
          <p:cNvSpPr>
            <a:spLocks noGrp="1"/>
          </p:cNvSpPr>
          <p:nvPr>
            <p:ph idx="1"/>
          </p:nvPr>
        </p:nvSpPr>
        <p:spPr/>
        <p:txBody>
          <a:bodyPr/>
          <a:lstStyle/>
          <a:p>
            <a:r>
              <a:rPr lang="da-DK" dirty="0"/>
              <a:t>Hvad har været godt i dag?</a:t>
            </a:r>
          </a:p>
          <a:p>
            <a:r>
              <a:rPr lang="da-DK" dirty="0"/>
              <a:t>Er der noget, som I har savnet i dag?</a:t>
            </a:r>
          </a:p>
          <a:p>
            <a:r>
              <a:rPr lang="da-DK" dirty="0"/>
              <a:t>Er der noget, som vi skal gøre anderledes næste gang?</a:t>
            </a:r>
          </a:p>
        </p:txBody>
      </p:sp>
      <p:sp>
        <p:nvSpPr>
          <p:cNvPr id="11" name="Speech Bubble: Rectangle with Corners Rounded 10">
            <a:extLst>
              <a:ext uri="{FF2B5EF4-FFF2-40B4-BE49-F238E27FC236}">
                <a16:creationId xmlns:a16="http://schemas.microsoft.com/office/drawing/2014/main" id="{18BDFDC3-A7F9-4926-BD1F-8C2CA4EDC8E6}"/>
              </a:ext>
            </a:extLst>
          </p:cNvPr>
          <p:cNvSpPr/>
          <p:nvPr/>
        </p:nvSpPr>
        <p:spPr>
          <a:xfrm>
            <a:off x="5148064" y="3580969"/>
            <a:ext cx="3510089" cy="1673299"/>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Udfyld logbogen med </a:t>
            </a:r>
            <a:br>
              <a:rPr lang="da-DK" sz="1400" i="1" dirty="0">
                <a:solidFill>
                  <a:schemeClr val="tx1"/>
                </a:solidFill>
              </a:rPr>
            </a:br>
            <a:r>
              <a:rPr lang="da-DK" sz="1400" i="1" dirty="0">
                <a:solidFill>
                  <a:schemeClr val="tx1"/>
                </a:solidFill>
              </a:rPr>
              <a:t>jeres refleksioner</a:t>
            </a:r>
          </a:p>
        </p:txBody>
      </p:sp>
      <p:grpSp>
        <p:nvGrpSpPr>
          <p:cNvPr id="8" name="Group 7">
            <a:extLst>
              <a:ext uri="{FF2B5EF4-FFF2-40B4-BE49-F238E27FC236}">
                <a16:creationId xmlns:a16="http://schemas.microsoft.com/office/drawing/2014/main" id="{6D68FC14-8A7D-467F-9AB8-D1511B87E95B}"/>
              </a:ext>
            </a:extLst>
          </p:cNvPr>
          <p:cNvGrpSpPr/>
          <p:nvPr/>
        </p:nvGrpSpPr>
        <p:grpSpPr>
          <a:xfrm>
            <a:off x="7740352" y="3796391"/>
            <a:ext cx="612000" cy="612000"/>
            <a:chOff x="8742468" y="3474401"/>
            <a:chExt cx="612000" cy="612000"/>
          </a:xfrm>
          <a:solidFill>
            <a:srgbClr val="C00000"/>
          </a:solidFill>
        </p:grpSpPr>
        <p:sp>
          <p:nvSpPr>
            <p:cNvPr id="9" name="Oval 8">
              <a:extLst>
                <a:ext uri="{FF2B5EF4-FFF2-40B4-BE49-F238E27FC236}">
                  <a16:creationId xmlns:a16="http://schemas.microsoft.com/office/drawing/2014/main" id="{F5D8C33D-D1DA-4128-A1E8-465D0DBAF011}"/>
                </a:ext>
              </a:extLst>
            </p:cNvPr>
            <p:cNvSpPr/>
            <p:nvPr/>
          </p:nvSpPr>
          <p:spPr bwMode="ltGray">
            <a:xfrm>
              <a:off x="8742468" y="3474401"/>
              <a:ext cx="612000" cy="612000"/>
            </a:xfrm>
            <a:prstGeom prst="ellipse">
              <a:avLst/>
            </a:prstGeom>
            <a:grpFill/>
            <a:ln w="3175" cap="flat" cmpd="sng" algn="ctr">
              <a:solidFill>
                <a:srgbClr val="DC6900"/>
              </a:solidFill>
              <a:prstDash val="solid"/>
            </a:ln>
            <a:effectLst/>
          </p:spPr>
          <p:txBody>
            <a:bodyPr rtlCol="0" anchor="ct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err="1">
                <a:ln>
                  <a:noFill/>
                </a:ln>
                <a:solidFill>
                  <a:srgbClr val="FFFFFF"/>
                </a:solidFill>
                <a:effectLst/>
                <a:uLnTx/>
                <a:uFillTx/>
                <a:latin typeface="Georgia" pitchFamily="18" charset="0"/>
                <a:ea typeface="+mn-ea"/>
                <a:cs typeface="+mn-cs"/>
              </a:endParaRPr>
            </a:p>
          </p:txBody>
        </p:sp>
        <p:sp>
          <p:nvSpPr>
            <p:cNvPr id="10" name="Freeform 4847">
              <a:extLst>
                <a:ext uri="{FF2B5EF4-FFF2-40B4-BE49-F238E27FC236}">
                  <a16:creationId xmlns:a16="http://schemas.microsoft.com/office/drawing/2014/main" id="{768BD847-845C-42D3-BEAE-CA55A16A4969}"/>
                </a:ext>
              </a:extLst>
            </p:cNvPr>
            <p:cNvSpPr>
              <a:spLocks noEditPoints="1"/>
            </p:cNvSpPr>
            <p:nvPr/>
          </p:nvSpPr>
          <p:spPr bwMode="auto">
            <a:xfrm>
              <a:off x="8894545" y="3569952"/>
              <a:ext cx="307068" cy="424047"/>
            </a:xfrm>
            <a:custGeom>
              <a:avLst/>
              <a:gdLst>
                <a:gd name="T0" fmla="*/ 252 w 252"/>
                <a:gd name="T1" fmla="*/ 332 h 348"/>
                <a:gd name="T2" fmla="*/ 242 w 252"/>
                <a:gd name="T3" fmla="*/ 346 h 348"/>
                <a:gd name="T4" fmla="*/ 16 w 252"/>
                <a:gd name="T5" fmla="*/ 348 h 348"/>
                <a:gd name="T6" fmla="*/ 2 w 252"/>
                <a:gd name="T7" fmla="*/ 338 h 348"/>
                <a:gd name="T8" fmla="*/ 0 w 252"/>
                <a:gd name="T9" fmla="*/ 32 h 348"/>
                <a:gd name="T10" fmla="*/ 10 w 252"/>
                <a:gd name="T11" fmla="*/ 16 h 348"/>
                <a:gd name="T12" fmla="*/ 90 w 252"/>
                <a:gd name="T13" fmla="*/ 16 h 348"/>
                <a:gd name="T14" fmla="*/ 86 w 252"/>
                <a:gd name="T15" fmla="*/ 30 h 348"/>
                <a:gd name="T16" fmla="*/ 16 w 252"/>
                <a:gd name="T17" fmla="*/ 332 h 348"/>
                <a:gd name="T18" fmla="*/ 168 w 252"/>
                <a:gd name="T19" fmla="*/ 34 h 348"/>
                <a:gd name="T20" fmla="*/ 164 w 252"/>
                <a:gd name="T21" fmla="*/ 26 h 348"/>
                <a:gd name="T22" fmla="*/ 236 w 252"/>
                <a:gd name="T23" fmla="*/ 16 h 348"/>
                <a:gd name="T24" fmla="*/ 248 w 252"/>
                <a:gd name="T25" fmla="*/ 20 h 348"/>
                <a:gd name="T26" fmla="*/ 252 w 252"/>
                <a:gd name="T27" fmla="*/ 32 h 348"/>
                <a:gd name="T28" fmla="*/ 36 w 252"/>
                <a:gd name="T29" fmla="*/ 312 h 348"/>
                <a:gd name="T30" fmla="*/ 36 w 252"/>
                <a:gd name="T31" fmla="*/ 94 h 348"/>
                <a:gd name="T32" fmla="*/ 216 w 252"/>
                <a:gd name="T33" fmla="*/ 94 h 348"/>
                <a:gd name="T34" fmla="*/ 132 w 252"/>
                <a:gd name="T35" fmla="*/ 186 h 348"/>
                <a:gd name="T36" fmla="*/ 122 w 252"/>
                <a:gd name="T37" fmla="*/ 184 h 348"/>
                <a:gd name="T38" fmla="*/ 74 w 252"/>
                <a:gd name="T39" fmla="*/ 206 h 348"/>
                <a:gd name="T40" fmla="*/ 68 w 252"/>
                <a:gd name="T41" fmla="*/ 204 h 348"/>
                <a:gd name="T42" fmla="*/ 60 w 252"/>
                <a:gd name="T43" fmla="*/ 206 h 348"/>
                <a:gd name="T44" fmla="*/ 58 w 252"/>
                <a:gd name="T45" fmla="*/ 218 h 348"/>
                <a:gd name="T46" fmla="*/ 78 w 252"/>
                <a:gd name="T47" fmla="*/ 238 h 348"/>
                <a:gd name="T48" fmla="*/ 86 w 252"/>
                <a:gd name="T49" fmla="*/ 242 h 348"/>
                <a:gd name="T50" fmla="*/ 132 w 252"/>
                <a:gd name="T51" fmla="*/ 200 h 348"/>
                <a:gd name="T52" fmla="*/ 134 w 252"/>
                <a:gd name="T53" fmla="*/ 192 h 348"/>
                <a:gd name="T54" fmla="*/ 132 w 252"/>
                <a:gd name="T55" fmla="*/ 186 h 348"/>
                <a:gd name="T56" fmla="*/ 128 w 252"/>
                <a:gd name="T57" fmla="*/ 122 h 348"/>
                <a:gd name="T58" fmla="*/ 118 w 252"/>
                <a:gd name="T59" fmla="*/ 124 h 348"/>
                <a:gd name="T60" fmla="*/ 74 w 252"/>
                <a:gd name="T61" fmla="*/ 144 h 348"/>
                <a:gd name="T62" fmla="*/ 64 w 252"/>
                <a:gd name="T63" fmla="*/ 142 h 348"/>
                <a:gd name="T64" fmla="*/ 58 w 252"/>
                <a:gd name="T65" fmla="*/ 148 h 348"/>
                <a:gd name="T66" fmla="*/ 60 w 252"/>
                <a:gd name="T67" fmla="*/ 158 h 348"/>
                <a:gd name="T68" fmla="*/ 82 w 252"/>
                <a:gd name="T69" fmla="*/ 180 h 348"/>
                <a:gd name="T70" fmla="*/ 90 w 252"/>
                <a:gd name="T71" fmla="*/ 180 h 348"/>
                <a:gd name="T72" fmla="*/ 132 w 252"/>
                <a:gd name="T73" fmla="*/ 138 h 348"/>
                <a:gd name="T74" fmla="*/ 134 w 252"/>
                <a:gd name="T75" fmla="*/ 126 h 348"/>
                <a:gd name="T76" fmla="*/ 36 w 252"/>
                <a:gd name="T77" fmla="*/ 64 h 348"/>
                <a:gd name="T78" fmla="*/ 40 w 252"/>
                <a:gd name="T79" fmla="*/ 54 h 348"/>
                <a:gd name="T80" fmla="*/ 78 w 252"/>
                <a:gd name="T81" fmla="*/ 48 h 348"/>
                <a:gd name="T82" fmla="*/ 94 w 252"/>
                <a:gd name="T83" fmla="*/ 42 h 348"/>
                <a:gd name="T84" fmla="*/ 100 w 252"/>
                <a:gd name="T85" fmla="*/ 26 h 348"/>
                <a:gd name="T86" fmla="*/ 116 w 252"/>
                <a:gd name="T87" fmla="*/ 2 h 348"/>
                <a:gd name="T88" fmla="*/ 136 w 252"/>
                <a:gd name="T89" fmla="*/ 2 h 348"/>
                <a:gd name="T90" fmla="*/ 152 w 252"/>
                <a:gd name="T91" fmla="*/ 26 h 348"/>
                <a:gd name="T92" fmla="*/ 158 w 252"/>
                <a:gd name="T93" fmla="*/ 42 h 348"/>
                <a:gd name="T94" fmla="*/ 200 w 252"/>
                <a:gd name="T95" fmla="*/ 48 h 348"/>
                <a:gd name="T96" fmla="*/ 212 w 252"/>
                <a:gd name="T97" fmla="*/ 54 h 348"/>
                <a:gd name="T98" fmla="*/ 216 w 252"/>
                <a:gd name="T99" fmla="*/ 78 h 348"/>
                <a:gd name="T100" fmla="*/ 36 w 252"/>
                <a:gd name="T101" fmla="*/ 82 h 348"/>
                <a:gd name="T102" fmla="*/ 36 w 252"/>
                <a:gd name="T103" fmla="*/ 64 h 348"/>
                <a:gd name="T104" fmla="*/ 116 w 252"/>
                <a:gd name="T105" fmla="*/ 30 h 348"/>
                <a:gd name="T106" fmla="*/ 126 w 252"/>
                <a:gd name="T107" fmla="*/ 38 h 348"/>
                <a:gd name="T108" fmla="*/ 134 w 252"/>
                <a:gd name="T109" fmla="*/ 34 h 348"/>
                <a:gd name="T110" fmla="*/ 136 w 252"/>
                <a:gd name="T111" fmla="*/ 26 h 348"/>
                <a:gd name="T112" fmla="*/ 130 w 252"/>
                <a:gd name="T113" fmla="*/ 16 h 348"/>
                <a:gd name="T114" fmla="*/ 122 w 252"/>
                <a:gd name="T115" fmla="*/ 16 h 348"/>
                <a:gd name="T116" fmla="*/ 116 w 252"/>
                <a:gd name="T117" fmla="*/ 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2" h="348">
                  <a:moveTo>
                    <a:pt x="252" y="32"/>
                  </a:moveTo>
                  <a:lnTo>
                    <a:pt x="252" y="332"/>
                  </a:lnTo>
                  <a:lnTo>
                    <a:pt x="252" y="332"/>
                  </a:lnTo>
                  <a:lnTo>
                    <a:pt x="250" y="338"/>
                  </a:lnTo>
                  <a:lnTo>
                    <a:pt x="248" y="344"/>
                  </a:lnTo>
                  <a:lnTo>
                    <a:pt x="242" y="346"/>
                  </a:lnTo>
                  <a:lnTo>
                    <a:pt x="236" y="348"/>
                  </a:lnTo>
                  <a:lnTo>
                    <a:pt x="16" y="348"/>
                  </a:lnTo>
                  <a:lnTo>
                    <a:pt x="16" y="348"/>
                  </a:lnTo>
                  <a:lnTo>
                    <a:pt x="10" y="346"/>
                  </a:lnTo>
                  <a:lnTo>
                    <a:pt x="4" y="344"/>
                  </a:lnTo>
                  <a:lnTo>
                    <a:pt x="2" y="338"/>
                  </a:lnTo>
                  <a:lnTo>
                    <a:pt x="0" y="332"/>
                  </a:lnTo>
                  <a:lnTo>
                    <a:pt x="0" y="32"/>
                  </a:lnTo>
                  <a:lnTo>
                    <a:pt x="0" y="32"/>
                  </a:lnTo>
                  <a:lnTo>
                    <a:pt x="2" y="26"/>
                  </a:lnTo>
                  <a:lnTo>
                    <a:pt x="4" y="20"/>
                  </a:lnTo>
                  <a:lnTo>
                    <a:pt x="10" y="16"/>
                  </a:lnTo>
                  <a:lnTo>
                    <a:pt x="16" y="16"/>
                  </a:lnTo>
                  <a:lnTo>
                    <a:pt x="90" y="16"/>
                  </a:lnTo>
                  <a:lnTo>
                    <a:pt x="90" y="16"/>
                  </a:lnTo>
                  <a:lnTo>
                    <a:pt x="88" y="26"/>
                  </a:lnTo>
                  <a:lnTo>
                    <a:pt x="88" y="26"/>
                  </a:lnTo>
                  <a:lnTo>
                    <a:pt x="86" y="30"/>
                  </a:lnTo>
                  <a:lnTo>
                    <a:pt x="84" y="34"/>
                  </a:lnTo>
                  <a:lnTo>
                    <a:pt x="16" y="34"/>
                  </a:lnTo>
                  <a:lnTo>
                    <a:pt x="16" y="332"/>
                  </a:lnTo>
                  <a:lnTo>
                    <a:pt x="236" y="332"/>
                  </a:lnTo>
                  <a:lnTo>
                    <a:pt x="236" y="34"/>
                  </a:lnTo>
                  <a:lnTo>
                    <a:pt x="168" y="34"/>
                  </a:lnTo>
                  <a:lnTo>
                    <a:pt x="168" y="34"/>
                  </a:lnTo>
                  <a:lnTo>
                    <a:pt x="166" y="30"/>
                  </a:lnTo>
                  <a:lnTo>
                    <a:pt x="164" y="26"/>
                  </a:lnTo>
                  <a:lnTo>
                    <a:pt x="164" y="26"/>
                  </a:lnTo>
                  <a:lnTo>
                    <a:pt x="162" y="16"/>
                  </a:lnTo>
                  <a:lnTo>
                    <a:pt x="236" y="16"/>
                  </a:lnTo>
                  <a:lnTo>
                    <a:pt x="236" y="16"/>
                  </a:lnTo>
                  <a:lnTo>
                    <a:pt x="242" y="16"/>
                  </a:lnTo>
                  <a:lnTo>
                    <a:pt x="248" y="20"/>
                  </a:lnTo>
                  <a:lnTo>
                    <a:pt x="250" y="26"/>
                  </a:lnTo>
                  <a:lnTo>
                    <a:pt x="252" y="32"/>
                  </a:lnTo>
                  <a:lnTo>
                    <a:pt x="252" y="32"/>
                  </a:lnTo>
                  <a:close/>
                  <a:moveTo>
                    <a:pt x="216" y="94"/>
                  </a:moveTo>
                  <a:lnTo>
                    <a:pt x="216" y="312"/>
                  </a:lnTo>
                  <a:lnTo>
                    <a:pt x="36" y="312"/>
                  </a:lnTo>
                  <a:lnTo>
                    <a:pt x="36" y="94"/>
                  </a:lnTo>
                  <a:lnTo>
                    <a:pt x="36" y="94"/>
                  </a:lnTo>
                  <a:lnTo>
                    <a:pt x="36" y="94"/>
                  </a:lnTo>
                  <a:lnTo>
                    <a:pt x="216" y="94"/>
                  </a:lnTo>
                  <a:lnTo>
                    <a:pt x="216" y="94"/>
                  </a:lnTo>
                  <a:lnTo>
                    <a:pt x="216" y="94"/>
                  </a:lnTo>
                  <a:lnTo>
                    <a:pt x="216" y="94"/>
                  </a:lnTo>
                  <a:close/>
                  <a:moveTo>
                    <a:pt x="132" y="186"/>
                  </a:moveTo>
                  <a:lnTo>
                    <a:pt x="132" y="186"/>
                  </a:lnTo>
                  <a:lnTo>
                    <a:pt x="128" y="184"/>
                  </a:lnTo>
                  <a:lnTo>
                    <a:pt x="124" y="182"/>
                  </a:lnTo>
                  <a:lnTo>
                    <a:pt x="122" y="184"/>
                  </a:lnTo>
                  <a:lnTo>
                    <a:pt x="118" y="186"/>
                  </a:lnTo>
                  <a:lnTo>
                    <a:pt x="86" y="218"/>
                  </a:lnTo>
                  <a:lnTo>
                    <a:pt x="74" y="206"/>
                  </a:lnTo>
                  <a:lnTo>
                    <a:pt x="74" y="206"/>
                  </a:lnTo>
                  <a:lnTo>
                    <a:pt x="70" y="204"/>
                  </a:lnTo>
                  <a:lnTo>
                    <a:pt x="68" y="204"/>
                  </a:lnTo>
                  <a:lnTo>
                    <a:pt x="64" y="204"/>
                  </a:lnTo>
                  <a:lnTo>
                    <a:pt x="60" y="206"/>
                  </a:lnTo>
                  <a:lnTo>
                    <a:pt x="60" y="206"/>
                  </a:lnTo>
                  <a:lnTo>
                    <a:pt x="58" y="210"/>
                  </a:lnTo>
                  <a:lnTo>
                    <a:pt x="58" y="214"/>
                  </a:lnTo>
                  <a:lnTo>
                    <a:pt x="58" y="218"/>
                  </a:lnTo>
                  <a:lnTo>
                    <a:pt x="60" y="220"/>
                  </a:lnTo>
                  <a:lnTo>
                    <a:pt x="78" y="238"/>
                  </a:lnTo>
                  <a:lnTo>
                    <a:pt x="78" y="238"/>
                  </a:lnTo>
                  <a:lnTo>
                    <a:pt x="82" y="242"/>
                  </a:lnTo>
                  <a:lnTo>
                    <a:pt x="86" y="242"/>
                  </a:lnTo>
                  <a:lnTo>
                    <a:pt x="86" y="242"/>
                  </a:lnTo>
                  <a:lnTo>
                    <a:pt x="90" y="242"/>
                  </a:lnTo>
                  <a:lnTo>
                    <a:pt x="92" y="238"/>
                  </a:lnTo>
                  <a:lnTo>
                    <a:pt x="132" y="200"/>
                  </a:lnTo>
                  <a:lnTo>
                    <a:pt x="132" y="200"/>
                  </a:lnTo>
                  <a:lnTo>
                    <a:pt x="134" y="196"/>
                  </a:lnTo>
                  <a:lnTo>
                    <a:pt x="134" y="192"/>
                  </a:lnTo>
                  <a:lnTo>
                    <a:pt x="134" y="188"/>
                  </a:lnTo>
                  <a:lnTo>
                    <a:pt x="132" y="186"/>
                  </a:lnTo>
                  <a:lnTo>
                    <a:pt x="132" y="186"/>
                  </a:lnTo>
                  <a:close/>
                  <a:moveTo>
                    <a:pt x="132" y="124"/>
                  </a:moveTo>
                  <a:lnTo>
                    <a:pt x="132" y="124"/>
                  </a:lnTo>
                  <a:lnTo>
                    <a:pt x="128" y="122"/>
                  </a:lnTo>
                  <a:lnTo>
                    <a:pt x="124" y="120"/>
                  </a:lnTo>
                  <a:lnTo>
                    <a:pt x="122" y="122"/>
                  </a:lnTo>
                  <a:lnTo>
                    <a:pt x="118" y="124"/>
                  </a:lnTo>
                  <a:lnTo>
                    <a:pt x="86" y="156"/>
                  </a:lnTo>
                  <a:lnTo>
                    <a:pt x="74" y="144"/>
                  </a:lnTo>
                  <a:lnTo>
                    <a:pt x="74" y="144"/>
                  </a:lnTo>
                  <a:lnTo>
                    <a:pt x="70" y="142"/>
                  </a:lnTo>
                  <a:lnTo>
                    <a:pt x="68" y="142"/>
                  </a:lnTo>
                  <a:lnTo>
                    <a:pt x="64" y="142"/>
                  </a:lnTo>
                  <a:lnTo>
                    <a:pt x="60" y="144"/>
                  </a:lnTo>
                  <a:lnTo>
                    <a:pt x="60" y="144"/>
                  </a:lnTo>
                  <a:lnTo>
                    <a:pt x="58" y="148"/>
                  </a:lnTo>
                  <a:lnTo>
                    <a:pt x="58" y="152"/>
                  </a:lnTo>
                  <a:lnTo>
                    <a:pt x="58" y="156"/>
                  </a:lnTo>
                  <a:lnTo>
                    <a:pt x="60" y="158"/>
                  </a:lnTo>
                  <a:lnTo>
                    <a:pt x="78" y="178"/>
                  </a:lnTo>
                  <a:lnTo>
                    <a:pt x="78" y="178"/>
                  </a:lnTo>
                  <a:lnTo>
                    <a:pt x="82" y="180"/>
                  </a:lnTo>
                  <a:lnTo>
                    <a:pt x="86" y="180"/>
                  </a:lnTo>
                  <a:lnTo>
                    <a:pt x="86" y="180"/>
                  </a:lnTo>
                  <a:lnTo>
                    <a:pt x="90" y="180"/>
                  </a:lnTo>
                  <a:lnTo>
                    <a:pt x="92" y="178"/>
                  </a:lnTo>
                  <a:lnTo>
                    <a:pt x="132" y="138"/>
                  </a:lnTo>
                  <a:lnTo>
                    <a:pt x="132" y="138"/>
                  </a:lnTo>
                  <a:lnTo>
                    <a:pt x="134" y="134"/>
                  </a:lnTo>
                  <a:lnTo>
                    <a:pt x="134" y="130"/>
                  </a:lnTo>
                  <a:lnTo>
                    <a:pt x="134" y="126"/>
                  </a:lnTo>
                  <a:lnTo>
                    <a:pt x="132" y="124"/>
                  </a:lnTo>
                  <a:lnTo>
                    <a:pt x="132" y="124"/>
                  </a:lnTo>
                  <a:close/>
                  <a:moveTo>
                    <a:pt x="36" y="64"/>
                  </a:moveTo>
                  <a:lnTo>
                    <a:pt x="36" y="64"/>
                  </a:lnTo>
                  <a:lnTo>
                    <a:pt x="36" y="58"/>
                  </a:lnTo>
                  <a:lnTo>
                    <a:pt x="40" y="54"/>
                  </a:lnTo>
                  <a:lnTo>
                    <a:pt x="46" y="50"/>
                  </a:lnTo>
                  <a:lnTo>
                    <a:pt x="52" y="48"/>
                  </a:lnTo>
                  <a:lnTo>
                    <a:pt x="78" y="48"/>
                  </a:lnTo>
                  <a:lnTo>
                    <a:pt x="78" y="48"/>
                  </a:lnTo>
                  <a:lnTo>
                    <a:pt x="86" y="46"/>
                  </a:lnTo>
                  <a:lnTo>
                    <a:pt x="94" y="42"/>
                  </a:lnTo>
                  <a:lnTo>
                    <a:pt x="98" y="36"/>
                  </a:lnTo>
                  <a:lnTo>
                    <a:pt x="100" y="26"/>
                  </a:lnTo>
                  <a:lnTo>
                    <a:pt x="100" y="26"/>
                  </a:lnTo>
                  <a:lnTo>
                    <a:pt x="102" y="16"/>
                  </a:lnTo>
                  <a:lnTo>
                    <a:pt x="108" y="8"/>
                  </a:lnTo>
                  <a:lnTo>
                    <a:pt x="116" y="2"/>
                  </a:lnTo>
                  <a:lnTo>
                    <a:pt x="126" y="0"/>
                  </a:lnTo>
                  <a:lnTo>
                    <a:pt x="126" y="0"/>
                  </a:lnTo>
                  <a:lnTo>
                    <a:pt x="136" y="2"/>
                  </a:lnTo>
                  <a:lnTo>
                    <a:pt x="144" y="8"/>
                  </a:lnTo>
                  <a:lnTo>
                    <a:pt x="150" y="16"/>
                  </a:lnTo>
                  <a:lnTo>
                    <a:pt x="152" y="26"/>
                  </a:lnTo>
                  <a:lnTo>
                    <a:pt x="152" y="26"/>
                  </a:lnTo>
                  <a:lnTo>
                    <a:pt x="154" y="36"/>
                  </a:lnTo>
                  <a:lnTo>
                    <a:pt x="158" y="42"/>
                  </a:lnTo>
                  <a:lnTo>
                    <a:pt x="166" y="46"/>
                  </a:lnTo>
                  <a:lnTo>
                    <a:pt x="174" y="48"/>
                  </a:lnTo>
                  <a:lnTo>
                    <a:pt x="200" y="48"/>
                  </a:lnTo>
                  <a:lnTo>
                    <a:pt x="200" y="48"/>
                  </a:lnTo>
                  <a:lnTo>
                    <a:pt x="206" y="50"/>
                  </a:lnTo>
                  <a:lnTo>
                    <a:pt x="212" y="54"/>
                  </a:lnTo>
                  <a:lnTo>
                    <a:pt x="216" y="58"/>
                  </a:lnTo>
                  <a:lnTo>
                    <a:pt x="216" y="64"/>
                  </a:lnTo>
                  <a:lnTo>
                    <a:pt x="216" y="78"/>
                  </a:lnTo>
                  <a:lnTo>
                    <a:pt x="216" y="78"/>
                  </a:lnTo>
                  <a:lnTo>
                    <a:pt x="216" y="82"/>
                  </a:lnTo>
                  <a:lnTo>
                    <a:pt x="36" y="82"/>
                  </a:lnTo>
                  <a:lnTo>
                    <a:pt x="36" y="82"/>
                  </a:lnTo>
                  <a:lnTo>
                    <a:pt x="36" y="78"/>
                  </a:lnTo>
                  <a:lnTo>
                    <a:pt x="36" y="64"/>
                  </a:lnTo>
                  <a:close/>
                  <a:moveTo>
                    <a:pt x="116" y="26"/>
                  </a:moveTo>
                  <a:lnTo>
                    <a:pt x="116" y="26"/>
                  </a:lnTo>
                  <a:lnTo>
                    <a:pt x="116" y="30"/>
                  </a:lnTo>
                  <a:lnTo>
                    <a:pt x="118" y="34"/>
                  </a:lnTo>
                  <a:lnTo>
                    <a:pt x="122" y="36"/>
                  </a:lnTo>
                  <a:lnTo>
                    <a:pt x="126" y="38"/>
                  </a:lnTo>
                  <a:lnTo>
                    <a:pt x="126" y="38"/>
                  </a:lnTo>
                  <a:lnTo>
                    <a:pt x="130" y="36"/>
                  </a:lnTo>
                  <a:lnTo>
                    <a:pt x="134" y="34"/>
                  </a:lnTo>
                  <a:lnTo>
                    <a:pt x="136" y="30"/>
                  </a:lnTo>
                  <a:lnTo>
                    <a:pt x="136" y="26"/>
                  </a:lnTo>
                  <a:lnTo>
                    <a:pt x="136" y="26"/>
                  </a:lnTo>
                  <a:lnTo>
                    <a:pt x="136" y="22"/>
                  </a:lnTo>
                  <a:lnTo>
                    <a:pt x="134" y="20"/>
                  </a:lnTo>
                  <a:lnTo>
                    <a:pt x="130" y="16"/>
                  </a:lnTo>
                  <a:lnTo>
                    <a:pt x="126" y="16"/>
                  </a:lnTo>
                  <a:lnTo>
                    <a:pt x="126" y="16"/>
                  </a:lnTo>
                  <a:lnTo>
                    <a:pt x="122" y="16"/>
                  </a:lnTo>
                  <a:lnTo>
                    <a:pt x="118" y="20"/>
                  </a:lnTo>
                  <a:lnTo>
                    <a:pt x="116" y="22"/>
                  </a:lnTo>
                  <a:lnTo>
                    <a:pt x="116" y="26"/>
                  </a:lnTo>
                  <a:lnTo>
                    <a:pt x="116" y="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390911297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E2F47B-7352-4067-816A-312B537F7D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45E2F47B-7352-4067-816A-312B537F7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38865-BE55-48CB-8610-2CCD942ACAD1}"/>
              </a:ext>
            </a:extLst>
          </p:cNvPr>
          <p:cNvSpPr>
            <a:spLocks noGrp="1"/>
          </p:cNvSpPr>
          <p:nvPr>
            <p:ph type="title"/>
          </p:nvPr>
        </p:nvSpPr>
        <p:spPr/>
        <p:txBody>
          <a:bodyPr vert="horz"/>
          <a:lstStyle/>
          <a:p>
            <a:r>
              <a:rPr lang="da-DK" dirty="0"/>
              <a:t>Siden sidst – to og to</a:t>
            </a:r>
          </a:p>
        </p:txBody>
      </p:sp>
      <p:sp>
        <p:nvSpPr>
          <p:cNvPr id="3" name="Content Placeholder 2">
            <a:extLst>
              <a:ext uri="{FF2B5EF4-FFF2-40B4-BE49-F238E27FC236}">
                <a16:creationId xmlns:a16="http://schemas.microsoft.com/office/drawing/2014/main" id="{2D9E83EF-F91E-43EF-9F1D-837A2F305F83}"/>
              </a:ext>
            </a:extLst>
          </p:cNvPr>
          <p:cNvSpPr>
            <a:spLocks noGrp="1"/>
          </p:cNvSpPr>
          <p:nvPr>
            <p:ph idx="1"/>
          </p:nvPr>
        </p:nvSpPr>
        <p:spPr/>
        <p:txBody>
          <a:bodyPr/>
          <a:lstStyle/>
          <a:p>
            <a:pPr>
              <a:spcAft>
                <a:spcPts val="1200"/>
              </a:spcAft>
            </a:pPr>
            <a:r>
              <a:rPr lang="da-DK" dirty="0"/>
              <a:t>Hvordan er det gået siden sidst? Her kan man tage de refleksionsspørgsmål op, som forældrene har overvejet siden sidst.</a:t>
            </a:r>
          </a:p>
          <a:p>
            <a:pPr>
              <a:spcAft>
                <a:spcPts val="1200"/>
              </a:spcAft>
            </a:pPr>
            <a:r>
              <a:rPr lang="da-DK" dirty="0"/>
              <a:t>Hvad er det bedste, der er sket for min/den unge siden sidst? </a:t>
            </a:r>
          </a:p>
          <a:p>
            <a:pPr>
              <a:spcAft>
                <a:spcPts val="1200"/>
              </a:spcAft>
            </a:pPr>
            <a:r>
              <a:rPr lang="da-DK" dirty="0"/>
              <a:t>Hvordan er det gået med den unges hjemmeøvelse?</a:t>
            </a:r>
          </a:p>
        </p:txBody>
      </p:sp>
    </p:spTree>
    <p:extLst>
      <p:ext uri="{BB962C8B-B14F-4D97-AF65-F5344CB8AC3E}">
        <p14:creationId xmlns:p14="http://schemas.microsoft.com/office/powerpoint/2010/main" val="16725835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E2F47B-7352-4067-816A-312B537F7D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45E2F47B-7352-4067-816A-312B537F7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38865-BE55-48CB-8610-2CCD942ACAD1}"/>
              </a:ext>
            </a:extLst>
          </p:cNvPr>
          <p:cNvSpPr>
            <a:spLocks noGrp="1"/>
          </p:cNvSpPr>
          <p:nvPr>
            <p:ph type="title"/>
          </p:nvPr>
        </p:nvSpPr>
        <p:spPr/>
        <p:txBody>
          <a:bodyPr vert="horz"/>
          <a:lstStyle/>
          <a:p>
            <a:r>
              <a:rPr lang="da-DK" dirty="0"/>
              <a:t>Hvad vil vi gerne have ud af modulet?</a:t>
            </a:r>
          </a:p>
        </p:txBody>
      </p:sp>
      <p:sp>
        <p:nvSpPr>
          <p:cNvPr id="3" name="Content Placeholder 2">
            <a:extLst>
              <a:ext uri="{FF2B5EF4-FFF2-40B4-BE49-F238E27FC236}">
                <a16:creationId xmlns:a16="http://schemas.microsoft.com/office/drawing/2014/main" id="{2D9E83EF-F91E-43EF-9F1D-837A2F305F83}"/>
              </a:ext>
            </a:extLst>
          </p:cNvPr>
          <p:cNvSpPr>
            <a:spLocks noGrp="1"/>
          </p:cNvSpPr>
          <p:nvPr>
            <p:ph idx="1"/>
          </p:nvPr>
        </p:nvSpPr>
        <p:spPr/>
        <p:txBody>
          <a:bodyPr/>
          <a:lstStyle/>
          <a:p>
            <a:r>
              <a:rPr lang="da-DK" dirty="0"/>
              <a:t>Hvad vil jeg gerne have ud af dagen i dag? </a:t>
            </a:r>
          </a:p>
          <a:p>
            <a:r>
              <a:rPr lang="da-DK" dirty="0"/>
              <a:t>Hvad er vigtigt for mig at komme omkring på afslutningsmodulet?</a:t>
            </a:r>
          </a:p>
        </p:txBody>
      </p:sp>
    </p:spTree>
    <p:extLst>
      <p:ext uri="{BB962C8B-B14F-4D97-AF65-F5344CB8AC3E}">
        <p14:creationId xmlns:p14="http://schemas.microsoft.com/office/powerpoint/2010/main" val="35850604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225149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Hvad har de unge aktuelt fokus på?</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lstStyle/>
          <a:p>
            <a:pPr marL="0" indent="0">
              <a:spcBef>
                <a:spcPts val="0"/>
              </a:spcBef>
              <a:spcAft>
                <a:spcPts val="1200"/>
              </a:spcAft>
              <a:buNone/>
            </a:pPr>
            <a:r>
              <a:rPr lang="da-DK" b="1" dirty="0"/>
              <a:t>[Indholdet tilpasses, så det afspejler indholdet i de unges session]</a:t>
            </a:r>
          </a:p>
          <a:p>
            <a:pPr marL="0" indent="0">
              <a:buNone/>
            </a:pPr>
            <a:r>
              <a:rPr lang="da-DK" dirty="0"/>
              <a:t>På modulet ”afslutning”:</a:t>
            </a:r>
          </a:p>
          <a:p>
            <a:r>
              <a:rPr lang="da-DK" dirty="0"/>
              <a:t>Får de unge en kort opsamling på forløbet og reflekterer over, hvad der har været særligt brugbart, og hvad der skulle have været mere af</a:t>
            </a:r>
          </a:p>
          <a:p>
            <a:r>
              <a:rPr lang="da-DK" dirty="0"/>
              <a:t>Forholder de unge sig til, hvordan de kan bruge forløbet fremover</a:t>
            </a:r>
          </a:p>
          <a:p>
            <a:r>
              <a:rPr lang="da-DK" dirty="0"/>
              <a:t>Overvejer de unge, hvad de vil arbejde videre med frem mod </a:t>
            </a:r>
            <a:r>
              <a:rPr lang="da-DK" dirty="0" err="1"/>
              <a:t>boostermodulet</a:t>
            </a:r>
            <a:r>
              <a:rPr lang="da-DK" dirty="0"/>
              <a:t>, og hvad de kan bruge fra forløbet</a:t>
            </a:r>
          </a:p>
          <a:p>
            <a:r>
              <a:rPr lang="da-DK" dirty="0"/>
              <a:t>Får de unge et diplom for at have gennemført forløbet.</a:t>
            </a:r>
            <a:endParaRPr lang="da-DK" i="0" dirty="0"/>
          </a:p>
        </p:txBody>
      </p:sp>
    </p:spTree>
    <p:extLst>
      <p:ext uri="{BB962C8B-B14F-4D97-AF65-F5344CB8AC3E}">
        <p14:creationId xmlns:p14="http://schemas.microsoft.com/office/powerpoint/2010/main" val="310374822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4"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Hvad har de unge aktuelt fokus på?</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lstStyle/>
          <a:p>
            <a:pPr marL="0" indent="0">
              <a:buNone/>
            </a:pPr>
            <a:r>
              <a:rPr lang="da-DK" b="1" dirty="0"/>
              <a:t>[Her indsætter gruppevejlederen de unges hjemmeøvelse(r) fra sidste gang]</a:t>
            </a:r>
          </a:p>
        </p:txBody>
      </p:sp>
    </p:spTree>
    <p:extLst>
      <p:ext uri="{BB962C8B-B14F-4D97-AF65-F5344CB8AC3E}">
        <p14:creationId xmlns:p14="http://schemas.microsoft.com/office/powerpoint/2010/main" val="9232959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92F166-86C8-44FA-8682-8E2004DBC367}"/>
              </a:ext>
            </a:extLst>
          </p:cNvPr>
          <p:cNvGraphicFramePr>
            <a:graphicFrameLocks noChangeAspect="1"/>
          </p:cNvGraphicFramePr>
          <p:nvPr>
            <p:custDataLst>
              <p:tags r:id="rId2"/>
            </p:custDataLst>
            <p:extLst>
              <p:ext uri="{D42A27DB-BD31-4B8C-83A1-F6EECF244321}">
                <p14:modId xmlns:p14="http://schemas.microsoft.com/office/powerpoint/2010/main" val="2892932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7992F166-86C8-44FA-8682-8E2004DBC3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3CBF83-FFF7-4CF2-B202-1FAF19023981}"/>
              </a:ext>
            </a:extLst>
          </p:cNvPr>
          <p:cNvSpPr>
            <a:spLocks noGrp="1"/>
          </p:cNvSpPr>
          <p:nvPr>
            <p:ph type="title"/>
          </p:nvPr>
        </p:nvSpPr>
        <p:spPr/>
        <p:txBody>
          <a:bodyPr vert="horz"/>
          <a:lstStyle/>
          <a:p>
            <a:r>
              <a:rPr lang="da-DK" dirty="0">
                <a:cs typeface="Arial"/>
              </a:rPr>
              <a:t>Modulerne i gruppeforløbet</a:t>
            </a:r>
          </a:p>
        </p:txBody>
      </p:sp>
      <p:sp>
        <p:nvSpPr>
          <p:cNvPr id="3" name="Content Placeholder 2">
            <a:extLst>
              <a:ext uri="{FF2B5EF4-FFF2-40B4-BE49-F238E27FC236}">
                <a16:creationId xmlns:a16="http://schemas.microsoft.com/office/drawing/2014/main" id="{788D8FF6-8AF9-49CD-8327-32856E10A23B}"/>
              </a:ext>
            </a:extLst>
          </p:cNvPr>
          <p:cNvSpPr>
            <a:spLocks noGrp="1"/>
          </p:cNvSpPr>
          <p:nvPr>
            <p:ph idx="1"/>
          </p:nvPr>
        </p:nvSpPr>
        <p:spPr>
          <a:xfrm>
            <a:off x="664113" y="1628800"/>
            <a:ext cx="4896544" cy="4248497"/>
          </a:xfrm>
        </p:spPr>
        <p:txBody>
          <a:bodyPr vert="horz" lIns="91440" tIns="45720" rIns="91440" bIns="45720" rtlCol="0" anchor="t">
            <a:noAutofit/>
          </a:bodyPr>
          <a:lstStyle/>
          <a:p>
            <a:pPr marL="342900" indent="-342900">
              <a:lnSpc>
                <a:spcPct val="150000"/>
              </a:lnSpc>
              <a:buAutoNum type="arabicPeriod"/>
            </a:pPr>
            <a:r>
              <a:rPr lang="da-DK" dirty="0">
                <a:ea typeface="+mn-lt"/>
                <a:cs typeface="+mn-lt"/>
              </a:rPr>
              <a:t>Velkommen</a:t>
            </a:r>
          </a:p>
          <a:p>
            <a:pPr marL="342900" indent="-342900">
              <a:lnSpc>
                <a:spcPct val="150000"/>
              </a:lnSpc>
              <a:buAutoNum type="arabicPeriod"/>
            </a:pPr>
            <a:r>
              <a:rPr lang="da-DK" dirty="0">
                <a:ea typeface="+mn-lt"/>
                <a:cs typeface="+mn-lt"/>
              </a:rPr>
              <a:t>Udviklingsprofil </a:t>
            </a:r>
          </a:p>
          <a:p>
            <a:pPr marL="342900" indent="-342900">
              <a:lnSpc>
                <a:spcPct val="150000"/>
              </a:lnSpc>
              <a:buAutoNum type="arabicPeriod"/>
            </a:pPr>
            <a:r>
              <a:rPr lang="da-DK" dirty="0">
                <a:ea typeface="+mn-lt"/>
                <a:cs typeface="+mn-lt"/>
              </a:rPr>
              <a:t>Andre følger af autisme</a:t>
            </a:r>
          </a:p>
          <a:p>
            <a:pPr marL="342900" indent="-342900">
              <a:lnSpc>
                <a:spcPct val="150000"/>
              </a:lnSpc>
              <a:buAutoNum type="arabicPeriod"/>
            </a:pPr>
            <a:r>
              <a:rPr lang="da-DK" dirty="0">
                <a:ea typeface="+mn-lt"/>
                <a:cs typeface="+mn-lt"/>
              </a:rPr>
              <a:t>Anerkendende tilgang</a:t>
            </a:r>
          </a:p>
          <a:p>
            <a:pPr marL="342900" indent="-342900">
              <a:lnSpc>
                <a:spcPct val="150000"/>
              </a:lnSpc>
              <a:buAutoNum type="arabicPeriod"/>
            </a:pPr>
            <a:r>
              <a:rPr lang="da-DK" dirty="0">
                <a:ea typeface="+mn-lt"/>
                <a:cs typeface="+mn-lt"/>
              </a:rPr>
              <a:t>Konflikthåndtering</a:t>
            </a:r>
          </a:p>
          <a:p>
            <a:pPr marL="342900" indent="-342900">
              <a:lnSpc>
                <a:spcPct val="150000"/>
              </a:lnSpc>
              <a:buAutoNum type="arabicPeriod"/>
            </a:pPr>
            <a:r>
              <a:rPr lang="da-DK" dirty="0">
                <a:ea typeface="+mn-lt"/>
                <a:cs typeface="+mn-lt"/>
              </a:rPr>
              <a:t>De unges deltagelse i fællesskaber</a:t>
            </a:r>
          </a:p>
          <a:p>
            <a:pPr marL="342900" indent="-342900">
              <a:lnSpc>
                <a:spcPct val="150000"/>
              </a:lnSpc>
              <a:buAutoNum type="arabicPeriod"/>
            </a:pPr>
            <a:r>
              <a:rPr lang="da-DK" dirty="0">
                <a:ea typeface="+mn-lt"/>
                <a:cs typeface="+mn-lt"/>
              </a:rPr>
              <a:t>Rettigheder og muligheder for støtte</a:t>
            </a:r>
          </a:p>
          <a:p>
            <a:pPr marL="342900" indent="-342900">
              <a:lnSpc>
                <a:spcPct val="150000"/>
              </a:lnSpc>
              <a:buAutoNum type="arabicPeriod"/>
            </a:pPr>
            <a:r>
              <a:rPr lang="da-DK" dirty="0">
                <a:ea typeface="+mn-lt"/>
                <a:cs typeface="+mn-lt"/>
              </a:rPr>
              <a:t>Afrunding</a:t>
            </a:r>
          </a:p>
        </p:txBody>
      </p:sp>
    </p:spTree>
    <p:extLst>
      <p:ext uri="{BB962C8B-B14F-4D97-AF65-F5344CB8AC3E}">
        <p14:creationId xmlns:p14="http://schemas.microsoft.com/office/powerpoint/2010/main" val="361891243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92F166-86C8-44FA-8682-8E2004DBC367}"/>
              </a:ext>
            </a:extLst>
          </p:cNvPr>
          <p:cNvGraphicFramePr>
            <a:graphicFrameLocks noChangeAspect="1"/>
          </p:cNvGraphicFramePr>
          <p:nvPr>
            <p:custDataLst>
              <p:tags r:id="rId2"/>
            </p:custDataLst>
            <p:extLst>
              <p:ext uri="{D42A27DB-BD31-4B8C-83A1-F6EECF244321}">
                <p14:modId xmlns:p14="http://schemas.microsoft.com/office/powerpoint/2010/main" val="102044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7992F166-86C8-44FA-8682-8E2004DBC3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3CBF83-FFF7-4CF2-B202-1FAF19023981}"/>
              </a:ext>
            </a:extLst>
          </p:cNvPr>
          <p:cNvSpPr>
            <a:spLocks noGrp="1"/>
          </p:cNvSpPr>
          <p:nvPr>
            <p:ph type="title"/>
          </p:nvPr>
        </p:nvSpPr>
        <p:spPr>
          <a:xfrm>
            <a:off x="628649" y="404664"/>
            <a:ext cx="7904163" cy="756084"/>
          </a:xfrm>
        </p:spPr>
        <p:txBody>
          <a:bodyPr vert="horz"/>
          <a:lstStyle/>
          <a:p>
            <a:r>
              <a:rPr lang="da-DK" dirty="0">
                <a:cs typeface="Arial"/>
              </a:rPr>
              <a:t>Drøftelse af læringen fra forløbet</a:t>
            </a:r>
          </a:p>
        </p:txBody>
      </p:sp>
      <p:sp>
        <p:nvSpPr>
          <p:cNvPr id="3" name="Content Placeholder 2">
            <a:extLst>
              <a:ext uri="{FF2B5EF4-FFF2-40B4-BE49-F238E27FC236}">
                <a16:creationId xmlns:a16="http://schemas.microsoft.com/office/drawing/2014/main" id="{788D8FF6-8AF9-49CD-8327-32856E10A23B}"/>
              </a:ext>
            </a:extLst>
          </p:cNvPr>
          <p:cNvSpPr>
            <a:spLocks noGrp="1"/>
          </p:cNvSpPr>
          <p:nvPr>
            <p:ph idx="1"/>
          </p:nvPr>
        </p:nvSpPr>
        <p:spPr>
          <a:xfrm>
            <a:off x="597451" y="1340768"/>
            <a:ext cx="8084351" cy="4801809"/>
          </a:xfrm>
        </p:spPr>
        <p:txBody>
          <a:bodyPr vert="horz" lIns="91440" tIns="45720" rIns="91440" bIns="45720" rtlCol="0" anchor="t">
            <a:noAutofit/>
          </a:bodyPr>
          <a:lstStyle/>
          <a:p>
            <a:pPr marL="0" indent="0">
              <a:spcBef>
                <a:spcPts val="0"/>
              </a:spcBef>
              <a:buNone/>
            </a:pPr>
            <a:r>
              <a:rPr lang="da-DK" sz="1750" dirty="0">
                <a:ea typeface="+mn-lt"/>
                <a:cs typeface="+mn-lt"/>
              </a:rPr>
              <a:t>Udviklingsprofil </a:t>
            </a:r>
          </a:p>
          <a:p>
            <a:pPr>
              <a:spcBef>
                <a:spcPts val="0"/>
              </a:spcBef>
              <a:spcAft>
                <a:spcPts val="1200"/>
              </a:spcAft>
            </a:pPr>
            <a:r>
              <a:rPr lang="da-DK" sz="1500" dirty="0">
                <a:ea typeface="+mn-lt"/>
                <a:cs typeface="+mn-lt"/>
              </a:rPr>
              <a:t>Hvad har I lært om jeres barns ressourcer og udfordringer, som I særligt vil tage med videre?</a:t>
            </a:r>
          </a:p>
          <a:p>
            <a:pPr marL="0" indent="0">
              <a:spcBef>
                <a:spcPts val="0"/>
              </a:spcBef>
              <a:buNone/>
            </a:pPr>
            <a:r>
              <a:rPr lang="da-DK" sz="1750" dirty="0">
                <a:ea typeface="+mn-lt"/>
                <a:cs typeface="+mn-lt"/>
              </a:rPr>
              <a:t>Andre følger af autisme</a:t>
            </a:r>
          </a:p>
          <a:p>
            <a:pPr>
              <a:spcBef>
                <a:spcPts val="0"/>
              </a:spcBef>
              <a:spcAft>
                <a:spcPts val="1200"/>
              </a:spcAft>
            </a:pPr>
            <a:r>
              <a:rPr lang="da-DK" sz="1500" dirty="0">
                <a:ea typeface="+mn-lt"/>
                <a:cs typeface="+mn-lt"/>
              </a:rPr>
              <a:t>Hvilke andre følger af autisme vil I fremadrettet være opmærksomme på?</a:t>
            </a:r>
          </a:p>
          <a:p>
            <a:pPr marL="0" indent="0">
              <a:spcBef>
                <a:spcPts val="0"/>
              </a:spcBef>
              <a:buNone/>
            </a:pPr>
            <a:r>
              <a:rPr lang="da-DK" sz="1750" dirty="0">
                <a:ea typeface="+mn-lt"/>
                <a:cs typeface="+mn-lt"/>
              </a:rPr>
              <a:t>Anerkendende tilgang</a:t>
            </a:r>
          </a:p>
          <a:p>
            <a:pPr>
              <a:spcBef>
                <a:spcPts val="0"/>
              </a:spcBef>
              <a:spcAft>
                <a:spcPts val="1200"/>
              </a:spcAft>
            </a:pPr>
            <a:r>
              <a:rPr lang="da-DK" sz="1500" dirty="0">
                <a:ea typeface="+mn-lt"/>
                <a:cs typeface="+mn-lt"/>
              </a:rPr>
              <a:t>Hvordan vil I fremadrettet støtte den unges håb, motivation og tro på sig selv?</a:t>
            </a:r>
          </a:p>
          <a:p>
            <a:pPr marL="0" indent="0">
              <a:spcBef>
                <a:spcPts val="0"/>
              </a:spcBef>
              <a:buNone/>
            </a:pPr>
            <a:r>
              <a:rPr lang="da-DK" sz="1750" dirty="0">
                <a:ea typeface="+mn-lt"/>
                <a:cs typeface="+mn-lt"/>
              </a:rPr>
              <a:t>Konflikthåndtering</a:t>
            </a:r>
          </a:p>
          <a:p>
            <a:pPr>
              <a:spcBef>
                <a:spcPts val="0"/>
              </a:spcBef>
              <a:spcAft>
                <a:spcPts val="1200"/>
              </a:spcAft>
            </a:pPr>
            <a:r>
              <a:rPr lang="da-DK" sz="1500" dirty="0">
                <a:ea typeface="+mn-lt"/>
                <a:cs typeface="+mn-lt"/>
              </a:rPr>
              <a:t>Hvad har I lært ift. de konflikter jeres barn er I? Og hvordan vil I gribe konflikter mellem jer og jeres barn an i fremtiden?</a:t>
            </a:r>
          </a:p>
          <a:p>
            <a:pPr marL="0" indent="0">
              <a:spcBef>
                <a:spcPts val="0"/>
              </a:spcBef>
              <a:buNone/>
            </a:pPr>
            <a:r>
              <a:rPr lang="da-DK" sz="1750" dirty="0">
                <a:ea typeface="+mn-lt"/>
                <a:cs typeface="+mn-lt"/>
              </a:rPr>
              <a:t>De unges deltagelse i fællesskaber</a:t>
            </a:r>
          </a:p>
          <a:p>
            <a:pPr>
              <a:spcBef>
                <a:spcPts val="0"/>
              </a:spcBef>
              <a:spcAft>
                <a:spcPts val="1200"/>
              </a:spcAft>
            </a:pPr>
            <a:r>
              <a:rPr lang="da-DK" sz="1500" dirty="0">
                <a:ea typeface="+mn-lt"/>
                <a:cs typeface="+mn-lt"/>
              </a:rPr>
              <a:t>Hvordan vil I fremadrettet understøtte, at den unge deltager i fællesskaber?</a:t>
            </a:r>
          </a:p>
          <a:p>
            <a:pPr marL="0" indent="0">
              <a:spcAft>
                <a:spcPts val="600"/>
              </a:spcAft>
              <a:buNone/>
            </a:pPr>
            <a:r>
              <a:rPr lang="da-DK" sz="1750" dirty="0">
                <a:ea typeface="+mn-lt"/>
                <a:cs typeface="+mn-lt"/>
              </a:rPr>
              <a:t>Rettigheder og muligheder for støtte</a:t>
            </a:r>
          </a:p>
          <a:p>
            <a:pPr>
              <a:spcBef>
                <a:spcPts val="0"/>
              </a:spcBef>
              <a:spcAft>
                <a:spcPts val="1200"/>
              </a:spcAft>
            </a:pPr>
            <a:r>
              <a:rPr lang="da-DK" sz="1500" dirty="0">
                <a:ea typeface="+mn-lt"/>
                <a:cs typeface="+mn-lt"/>
              </a:rPr>
              <a:t>Hvordan understøtter jeg bedst den unges overgang til voksenlivet, herunder at flytte hjemmefra?</a:t>
            </a:r>
          </a:p>
        </p:txBody>
      </p:sp>
    </p:spTree>
    <p:extLst>
      <p:ext uri="{BB962C8B-B14F-4D97-AF65-F5344CB8AC3E}">
        <p14:creationId xmlns:p14="http://schemas.microsoft.com/office/powerpoint/2010/main" val="209920591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7356AE-23EC-45FF-B3A3-958464B5A620}"/>
              </a:ext>
            </a:extLst>
          </p:cNvPr>
          <p:cNvSpPr>
            <a:spLocks noGrp="1"/>
          </p:cNvSpPr>
          <p:nvPr>
            <p:ph type="title"/>
          </p:nvPr>
        </p:nvSpPr>
        <p:spPr/>
        <p:txBody>
          <a:bodyPr/>
          <a:lstStyle/>
          <a:p>
            <a:r>
              <a:rPr lang="da-DK" dirty="0"/>
              <a:t>Feedback på temaer og indhold</a:t>
            </a:r>
          </a:p>
        </p:txBody>
      </p:sp>
      <p:sp>
        <p:nvSpPr>
          <p:cNvPr id="3" name="Pladsholder til indhold 2">
            <a:extLst>
              <a:ext uri="{FF2B5EF4-FFF2-40B4-BE49-F238E27FC236}">
                <a16:creationId xmlns:a16="http://schemas.microsoft.com/office/drawing/2014/main" id="{3D7BEAE4-066D-4050-AD6D-FC79E2082246}"/>
              </a:ext>
            </a:extLst>
          </p:cNvPr>
          <p:cNvSpPr>
            <a:spLocks noGrp="1"/>
          </p:cNvSpPr>
          <p:nvPr>
            <p:ph idx="1"/>
          </p:nvPr>
        </p:nvSpPr>
        <p:spPr>
          <a:xfrm>
            <a:off x="628649" y="1700808"/>
            <a:ext cx="6823671" cy="4104456"/>
          </a:xfrm>
        </p:spPr>
        <p:txBody>
          <a:bodyPr vert="horz" lIns="91440" tIns="45720" rIns="91440" bIns="45720" rtlCol="0" anchor="t">
            <a:normAutofit/>
          </a:bodyPr>
          <a:lstStyle/>
          <a:p>
            <a:pPr marL="0" indent="0">
              <a:buNone/>
            </a:pPr>
            <a:r>
              <a:rPr lang="da-DK" b="1" dirty="0">
                <a:ea typeface="+mn-lt"/>
                <a:cs typeface="+mn-lt"/>
              </a:rPr>
              <a:t>De forskellige temaers relevans: </a:t>
            </a:r>
            <a:endParaRPr lang="da-DK" dirty="0">
              <a:cs typeface="Arial" panose="020B0604020202020204"/>
            </a:endParaRPr>
          </a:p>
          <a:p>
            <a:pPr marL="179705" indent="-179705"/>
            <a:r>
              <a:rPr lang="da-DK" dirty="0">
                <a:ea typeface="+mn-lt"/>
                <a:cs typeface="+mn-lt"/>
              </a:rPr>
              <a:t>Var der nogle temaer, som var særligt relevante?</a:t>
            </a:r>
          </a:p>
          <a:p>
            <a:pPr marL="179705" indent="-179705"/>
            <a:r>
              <a:rPr lang="da-DK" dirty="0">
                <a:ea typeface="+mn-lt"/>
                <a:cs typeface="+mn-lt"/>
              </a:rPr>
              <a:t>Noget der skulle have været mere af?</a:t>
            </a:r>
            <a:endParaRPr lang="da-DK" dirty="0"/>
          </a:p>
          <a:p>
            <a:pPr marL="179705" indent="-179705"/>
            <a:r>
              <a:rPr lang="da-DK" dirty="0">
                <a:ea typeface="+mn-lt"/>
                <a:cs typeface="+mn-lt"/>
              </a:rPr>
              <a:t>Noget der skulle have været mindre af?</a:t>
            </a:r>
          </a:p>
          <a:p>
            <a:pPr marL="179705" indent="-179705"/>
            <a:r>
              <a:rPr lang="da-DK" dirty="0">
                <a:ea typeface="+mn-lt"/>
                <a:cs typeface="+mn-lt"/>
              </a:rPr>
              <a:t>Hvad tager I med videre?</a:t>
            </a:r>
          </a:p>
          <a:p>
            <a:pPr marL="179705" indent="-179705"/>
            <a:r>
              <a:rPr lang="da-DK" dirty="0">
                <a:ea typeface="+mn-lt"/>
                <a:cs typeface="+mn-lt"/>
              </a:rPr>
              <a:t>Hvordan har I kunne anvende forløbet ift. den unge?</a:t>
            </a:r>
            <a:endParaRPr lang="da-DK" dirty="0"/>
          </a:p>
          <a:p>
            <a:pPr marL="179705" indent="-179705"/>
            <a:endParaRPr lang="da-DK" dirty="0">
              <a:cs typeface="Arial"/>
            </a:endParaRPr>
          </a:p>
          <a:p>
            <a:pPr marL="0" indent="0">
              <a:buNone/>
            </a:pPr>
            <a:endParaRPr lang="da-DK" dirty="0">
              <a:cs typeface="Arial"/>
            </a:endParaRPr>
          </a:p>
          <a:p>
            <a:pPr marL="0" indent="0">
              <a:buNone/>
            </a:pPr>
            <a:r>
              <a:rPr lang="da-DK" b="1" dirty="0">
                <a:ea typeface="+mn-lt"/>
                <a:cs typeface="+mn-lt"/>
              </a:rPr>
              <a:t>Vil du anbefale forløbet til andre? </a:t>
            </a:r>
            <a:endParaRPr lang="da-DK" dirty="0">
              <a:cs typeface="Arial"/>
            </a:endParaRPr>
          </a:p>
        </p:txBody>
      </p:sp>
    </p:spTree>
    <p:extLst>
      <p:ext uri="{BB962C8B-B14F-4D97-AF65-F5344CB8AC3E}">
        <p14:creationId xmlns:p14="http://schemas.microsoft.com/office/powerpoint/2010/main" val="157229687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9BD712-4B80-4104-A140-DF4BA84040AC}"/>
              </a:ext>
            </a:extLst>
          </p:cNvPr>
          <p:cNvGraphicFramePr>
            <a:graphicFrameLocks noChangeAspect="1"/>
          </p:cNvGraphicFramePr>
          <p:nvPr>
            <p:custDataLst>
              <p:tags r:id="rId2"/>
            </p:custDataLst>
            <p:extLst>
              <p:ext uri="{D42A27DB-BD31-4B8C-83A1-F6EECF244321}">
                <p14:modId xmlns:p14="http://schemas.microsoft.com/office/powerpoint/2010/main" val="3887486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179BD712-4B80-4104-A140-DF4BA84040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A6BDAB-D57D-48DA-B361-A4920AE2CCB5}"/>
              </a:ext>
            </a:extLst>
          </p:cNvPr>
          <p:cNvSpPr>
            <a:spLocks noGrp="1"/>
          </p:cNvSpPr>
          <p:nvPr>
            <p:ph type="title"/>
          </p:nvPr>
        </p:nvSpPr>
        <p:spPr/>
        <p:txBody>
          <a:bodyPr vert="horz"/>
          <a:lstStyle/>
          <a:p>
            <a:r>
              <a:rPr lang="da-DK" dirty="0"/>
              <a:t>Det videre arbejde</a:t>
            </a:r>
          </a:p>
        </p:txBody>
      </p:sp>
      <p:pic>
        <p:nvPicPr>
          <p:cNvPr id="9" name="Billede 8" descr="Et billede, der indeholder tekst, konvolut, visitkort&#10;&#10;Automatisk genereret beskrivelse">
            <a:extLst>
              <a:ext uri="{FF2B5EF4-FFF2-40B4-BE49-F238E27FC236}">
                <a16:creationId xmlns:a16="http://schemas.microsoft.com/office/drawing/2014/main" id="{C663856D-7054-49CA-9B0C-2473EF98AC2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9453" r="14326" b="4352"/>
          <a:stretch/>
        </p:blipFill>
        <p:spPr>
          <a:xfrm>
            <a:off x="1259632" y="1321128"/>
            <a:ext cx="5400600" cy="4786072"/>
          </a:xfrm>
          <a:prstGeom prst="rect">
            <a:avLst/>
          </a:prstGeom>
        </p:spPr>
      </p:pic>
      <p:sp>
        <p:nvSpPr>
          <p:cNvPr id="10" name="Tekstfelt 9">
            <a:extLst>
              <a:ext uri="{FF2B5EF4-FFF2-40B4-BE49-F238E27FC236}">
                <a16:creationId xmlns:a16="http://schemas.microsoft.com/office/drawing/2014/main" id="{3381FE43-1828-4E9B-8811-A681084EBCE9}"/>
              </a:ext>
            </a:extLst>
          </p:cNvPr>
          <p:cNvSpPr txBox="1"/>
          <p:nvPr/>
        </p:nvSpPr>
        <p:spPr>
          <a:xfrm rot="20994117">
            <a:off x="1870456" y="2490671"/>
            <a:ext cx="3382336" cy="215443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prstClr val="black"/>
                </a:solidFill>
                <a:effectLst/>
                <a:uLnTx/>
                <a:uFillTx/>
                <a:latin typeface="Bradley Hand ITC" panose="03070402050302030203" pitchFamily="66" charset="0"/>
                <a:ea typeface="+mn-ea"/>
                <a:cs typeface="+mn-cs"/>
              </a:rPr>
              <a:t>Hvad vil du arbejde videre m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2000" b="1" dirty="0">
              <a:solidFill>
                <a:prstClr val="black"/>
              </a:solidFill>
              <a:latin typeface="Bradley Hand ITC" panose="03070402050302030203" pitchFamily="66"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2000" b="1" dirty="0">
                <a:solidFill>
                  <a:prstClr val="black"/>
                </a:solidFill>
                <a:latin typeface="Bradley Hand ITC" panose="03070402050302030203" pitchFamily="66" charset="0"/>
              </a:rPr>
              <a:t>Hvad kan du bruge fra forløbet</a:t>
            </a:r>
            <a:br>
              <a:rPr lang="da-DK" sz="2000" b="1" dirty="0">
                <a:solidFill>
                  <a:prstClr val="black"/>
                </a:solidFill>
                <a:latin typeface="Bradley Hand ITC" panose="03070402050302030203" pitchFamily="66" charset="0"/>
              </a:rPr>
            </a:br>
            <a:r>
              <a:rPr lang="da-DK" sz="2000" b="1" dirty="0">
                <a:solidFill>
                  <a:prstClr val="black"/>
                </a:solidFill>
                <a:latin typeface="Bradley Hand ITC" panose="03070402050302030203" pitchFamily="66" charset="0"/>
              </a:rPr>
              <a:t>og hvord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000" b="1" i="0" u="none" strike="noStrike" kern="1200" cap="none" spc="0" normalizeH="0" baseline="0" noProof="0" dirty="0">
              <a:ln>
                <a:noFill/>
              </a:ln>
              <a:solidFill>
                <a:prstClr val="black"/>
              </a:solidFill>
              <a:effectLst/>
              <a:uLnTx/>
              <a:uFillTx/>
              <a:latin typeface="Bradley Hand ITC" panose="03070402050302030203" pitchFamily="66"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2000" b="1" dirty="0">
                <a:solidFill>
                  <a:prstClr val="black"/>
                </a:solidFill>
                <a:latin typeface="Bradley Hand ITC" panose="03070402050302030203" pitchFamily="66" charset="0"/>
              </a:rPr>
              <a:t>Hvad skal du særligt være</a:t>
            </a:r>
            <a:br>
              <a:rPr lang="da-DK" sz="2000" b="1" dirty="0">
                <a:solidFill>
                  <a:prstClr val="black"/>
                </a:solidFill>
                <a:latin typeface="Bradley Hand ITC" panose="03070402050302030203" pitchFamily="66" charset="0"/>
              </a:rPr>
            </a:br>
            <a:r>
              <a:rPr lang="da-DK" sz="2000" b="1" dirty="0">
                <a:solidFill>
                  <a:prstClr val="black"/>
                </a:solidFill>
                <a:latin typeface="Bradley Hand ITC" panose="03070402050302030203" pitchFamily="66" charset="0"/>
              </a:rPr>
              <a:t>opmærksom på ift. den unge?</a:t>
            </a:r>
            <a:endParaRPr kumimoji="0" lang="da-DK" sz="2000" b="1" i="0" u="none" strike="noStrike" kern="1200" cap="none" spc="0" normalizeH="0" baseline="0" noProof="0" dirty="0">
              <a:ln>
                <a:noFill/>
              </a:ln>
              <a:solidFill>
                <a:prstClr val="black"/>
              </a:solidFill>
              <a:effectLst/>
              <a:uLnTx/>
              <a:uFillTx/>
              <a:latin typeface="Bradley Hand ITC" panose="03070402050302030203" pitchFamily="66" charset="0"/>
              <a:ea typeface="+mn-ea"/>
              <a:cs typeface="+mn-cs"/>
            </a:endParaRPr>
          </a:p>
        </p:txBody>
      </p:sp>
    </p:spTree>
    <p:extLst>
      <p:ext uri="{BB962C8B-B14F-4D97-AF65-F5344CB8AC3E}">
        <p14:creationId xmlns:p14="http://schemas.microsoft.com/office/powerpoint/2010/main" val="3937673037"/>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2DDF4-5465-4D23-8456-5ED4496AE120}"/>
              </a:ext>
            </a:extLst>
          </p:cNvPr>
          <p:cNvSpPr>
            <a:spLocks noGrp="1"/>
          </p:cNvSpPr>
          <p:nvPr>
            <p:ph type="title"/>
          </p:nvPr>
        </p:nvSpPr>
        <p:spPr/>
        <p:txBody>
          <a:bodyPr/>
          <a:lstStyle/>
          <a:p>
            <a:r>
              <a:rPr lang="da-DK" dirty="0"/>
              <a:t>Hvad tager vi med os hjem</a:t>
            </a:r>
          </a:p>
        </p:txBody>
      </p:sp>
      <p:sp>
        <p:nvSpPr>
          <p:cNvPr id="3" name="Content Placeholder 2">
            <a:extLst>
              <a:ext uri="{FF2B5EF4-FFF2-40B4-BE49-F238E27FC236}">
                <a16:creationId xmlns:a16="http://schemas.microsoft.com/office/drawing/2014/main" id="{8BE087A5-0728-49A2-B32F-73E2B0420802}"/>
              </a:ext>
            </a:extLst>
          </p:cNvPr>
          <p:cNvSpPr>
            <a:spLocks noGrp="1"/>
          </p:cNvSpPr>
          <p:nvPr>
            <p:ph idx="1"/>
          </p:nvPr>
        </p:nvSpPr>
        <p:spPr/>
        <p:txBody>
          <a:bodyPr/>
          <a:lstStyle/>
          <a:p>
            <a:r>
              <a:rPr lang="da-DK" dirty="0"/>
              <a:t>Hvad har været godt i dag?</a:t>
            </a:r>
          </a:p>
          <a:p>
            <a:r>
              <a:rPr lang="da-DK" dirty="0"/>
              <a:t>Er der noget, som I har savnet i dag?</a:t>
            </a:r>
          </a:p>
          <a:p>
            <a:r>
              <a:rPr lang="da-DK" dirty="0"/>
              <a:t>Er der noget, som vi skal gøre anderledes næste gang?</a:t>
            </a:r>
          </a:p>
        </p:txBody>
      </p:sp>
      <p:sp>
        <p:nvSpPr>
          <p:cNvPr id="11" name="Speech Bubble: Rectangle with Corners Rounded 10">
            <a:extLst>
              <a:ext uri="{FF2B5EF4-FFF2-40B4-BE49-F238E27FC236}">
                <a16:creationId xmlns:a16="http://schemas.microsoft.com/office/drawing/2014/main" id="{18BDFDC3-A7F9-4926-BD1F-8C2CA4EDC8E6}"/>
              </a:ext>
            </a:extLst>
          </p:cNvPr>
          <p:cNvSpPr/>
          <p:nvPr/>
        </p:nvSpPr>
        <p:spPr>
          <a:xfrm>
            <a:off x="5166367" y="3573016"/>
            <a:ext cx="3510089" cy="1673299"/>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Udfyld logbogen med </a:t>
            </a:r>
            <a:br>
              <a:rPr lang="da-DK" sz="1400" i="1" dirty="0">
                <a:solidFill>
                  <a:schemeClr val="tx1"/>
                </a:solidFill>
              </a:rPr>
            </a:br>
            <a:r>
              <a:rPr lang="da-DK" sz="1400" i="1" dirty="0">
                <a:solidFill>
                  <a:schemeClr val="tx1"/>
                </a:solidFill>
              </a:rPr>
              <a:t>jeres refleksioner</a:t>
            </a:r>
          </a:p>
        </p:txBody>
      </p:sp>
      <p:grpSp>
        <p:nvGrpSpPr>
          <p:cNvPr id="8" name="Group 7">
            <a:extLst>
              <a:ext uri="{FF2B5EF4-FFF2-40B4-BE49-F238E27FC236}">
                <a16:creationId xmlns:a16="http://schemas.microsoft.com/office/drawing/2014/main" id="{6D68FC14-8A7D-467F-9AB8-D1511B87E95B}"/>
              </a:ext>
            </a:extLst>
          </p:cNvPr>
          <p:cNvGrpSpPr/>
          <p:nvPr/>
        </p:nvGrpSpPr>
        <p:grpSpPr>
          <a:xfrm>
            <a:off x="7758655" y="3788438"/>
            <a:ext cx="612000" cy="612000"/>
            <a:chOff x="8742468" y="3474401"/>
            <a:chExt cx="612000" cy="612000"/>
          </a:xfrm>
          <a:solidFill>
            <a:srgbClr val="C00000"/>
          </a:solidFill>
        </p:grpSpPr>
        <p:sp>
          <p:nvSpPr>
            <p:cNvPr id="9" name="Oval 8">
              <a:extLst>
                <a:ext uri="{FF2B5EF4-FFF2-40B4-BE49-F238E27FC236}">
                  <a16:creationId xmlns:a16="http://schemas.microsoft.com/office/drawing/2014/main" id="{F5D8C33D-D1DA-4128-A1E8-465D0DBAF011}"/>
                </a:ext>
              </a:extLst>
            </p:cNvPr>
            <p:cNvSpPr/>
            <p:nvPr/>
          </p:nvSpPr>
          <p:spPr bwMode="ltGray">
            <a:xfrm>
              <a:off x="8742468" y="3474401"/>
              <a:ext cx="612000" cy="612000"/>
            </a:xfrm>
            <a:prstGeom prst="ellipse">
              <a:avLst/>
            </a:prstGeom>
            <a:grpFill/>
            <a:ln w="3175" cap="flat" cmpd="sng" algn="ctr">
              <a:solidFill>
                <a:srgbClr val="DC6900"/>
              </a:solidFill>
              <a:prstDash val="solid"/>
            </a:ln>
            <a:effectLst/>
          </p:spPr>
          <p:txBody>
            <a:bodyPr rtlCol="0" anchor="ct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err="1">
                <a:ln>
                  <a:noFill/>
                </a:ln>
                <a:solidFill>
                  <a:srgbClr val="FFFFFF"/>
                </a:solidFill>
                <a:effectLst/>
                <a:uLnTx/>
                <a:uFillTx/>
                <a:latin typeface="Georgia" pitchFamily="18" charset="0"/>
                <a:ea typeface="+mn-ea"/>
                <a:cs typeface="+mn-cs"/>
              </a:endParaRPr>
            </a:p>
          </p:txBody>
        </p:sp>
        <p:sp>
          <p:nvSpPr>
            <p:cNvPr id="10" name="Freeform 4847">
              <a:extLst>
                <a:ext uri="{FF2B5EF4-FFF2-40B4-BE49-F238E27FC236}">
                  <a16:creationId xmlns:a16="http://schemas.microsoft.com/office/drawing/2014/main" id="{768BD847-845C-42D3-BEAE-CA55A16A4969}"/>
                </a:ext>
              </a:extLst>
            </p:cNvPr>
            <p:cNvSpPr>
              <a:spLocks noEditPoints="1"/>
            </p:cNvSpPr>
            <p:nvPr/>
          </p:nvSpPr>
          <p:spPr bwMode="auto">
            <a:xfrm>
              <a:off x="8894545" y="3569952"/>
              <a:ext cx="307068" cy="424047"/>
            </a:xfrm>
            <a:custGeom>
              <a:avLst/>
              <a:gdLst>
                <a:gd name="T0" fmla="*/ 252 w 252"/>
                <a:gd name="T1" fmla="*/ 332 h 348"/>
                <a:gd name="T2" fmla="*/ 242 w 252"/>
                <a:gd name="T3" fmla="*/ 346 h 348"/>
                <a:gd name="T4" fmla="*/ 16 w 252"/>
                <a:gd name="T5" fmla="*/ 348 h 348"/>
                <a:gd name="T6" fmla="*/ 2 w 252"/>
                <a:gd name="T7" fmla="*/ 338 h 348"/>
                <a:gd name="T8" fmla="*/ 0 w 252"/>
                <a:gd name="T9" fmla="*/ 32 h 348"/>
                <a:gd name="T10" fmla="*/ 10 w 252"/>
                <a:gd name="T11" fmla="*/ 16 h 348"/>
                <a:gd name="T12" fmla="*/ 90 w 252"/>
                <a:gd name="T13" fmla="*/ 16 h 348"/>
                <a:gd name="T14" fmla="*/ 86 w 252"/>
                <a:gd name="T15" fmla="*/ 30 h 348"/>
                <a:gd name="T16" fmla="*/ 16 w 252"/>
                <a:gd name="T17" fmla="*/ 332 h 348"/>
                <a:gd name="T18" fmla="*/ 168 w 252"/>
                <a:gd name="T19" fmla="*/ 34 h 348"/>
                <a:gd name="T20" fmla="*/ 164 w 252"/>
                <a:gd name="T21" fmla="*/ 26 h 348"/>
                <a:gd name="T22" fmla="*/ 236 w 252"/>
                <a:gd name="T23" fmla="*/ 16 h 348"/>
                <a:gd name="T24" fmla="*/ 248 w 252"/>
                <a:gd name="T25" fmla="*/ 20 h 348"/>
                <a:gd name="T26" fmla="*/ 252 w 252"/>
                <a:gd name="T27" fmla="*/ 32 h 348"/>
                <a:gd name="T28" fmla="*/ 36 w 252"/>
                <a:gd name="T29" fmla="*/ 312 h 348"/>
                <a:gd name="T30" fmla="*/ 36 w 252"/>
                <a:gd name="T31" fmla="*/ 94 h 348"/>
                <a:gd name="T32" fmla="*/ 216 w 252"/>
                <a:gd name="T33" fmla="*/ 94 h 348"/>
                <a:gd name="T34" fmla="*/ 132 w 252"/>
                <a:gd name="T35" fmla="*/ 186 h 348"/>
                <a:gd name="T36" fmla="*/ 122 w 252"/>
                <a:gd name="T37" fmla="*/ 184 h 348"/>
                <a:gd name="T38" fmla="*/ 74 w 252"/>
                <a:gd name="T39" fmla="*/ 206 h 348"/>
                <a:gd name="T40" fmla="*/ 68 w 252"/>
                <a:gd name="T41" fmla="*/ 204 h 348"/>
                <a:gd name="T42" fmla="*/ 60 w 252"/>
                <a:gd name="T43" fmla="*/ 206 h 348"/>
                <a:gd name="T44" fmla="*/ 58 w 252"/>
                <a:gd name="T45" fmla="*/ 218 h 348"/>
                <a:gd name="T46" fmla="*/ 78 w 252"/>
                <a:gd name="T47" fmla="*/ 238 h 348"/>
                <a:gd name="T48" fmla="*/ 86 w 252"/>
                <a:gd name="T49" fmla="*/ 242 h 348"/>
                <a:gd name="T50" fmla="*/ 132 w 252"/>
                <a:gd name="T51" fmla="*/ 200 h 348"/>
                <a:gd name="T52" fmla="*/ 134 w 252"/>
                <a:gd name="T53" fmla="*/ 192 h 348"/>
                <a:gd name="T54" fmla="*/ 132 w 252"/>
                <a:gd name="T55" fmla="*/ 186 h 348"/>
                <a:gd name="T56" fmla="*/ 128 w 252"/>
                <a:gd name="T57" fmla="*/ 122 h 348"/>
                <a:gd name="T58" fmla="*/ 118 w 252"/>
                <a:gd name="T59" fmla="*/ 124 h 348"/>
                <a:gd name="T60" fmla="*/ 74 w 252"/>
                <a:gd name="T61" fmla="*/ 144 h 348"/>
                <a:gd name="T62" fmla="*/ 64 w 252"/>
                <a:gd name="T63" fmla="*/ 142 h 348"/>
                <a:gd name="T64" fmla="*/ 58 w 252"/>
                <a:gd name="T65" fmla="*/ 148 h 348"/>
                <a:gd name="T66" fmla="*/ 60 w 252"/>
                <a:gd name="T67" fmla="*/ 158 h 348"/>
                <a:gd name="T68" fmla="*/ 82 w 252"/>
                <a:gd name="T69" fmla="*/ 180 h 348"/>
                <a:gd name="T70" fmla="*/ 90 w 252"/>
                <a:gd name="T71" fmla="*/ 180 h 348"/>
                <a:gd name="T72" fmla="*/ 132 w 252"/>
                <a:gd name="T73" fmla="*/ 138 h 348"/>
                <a:gd name="T74" fmla="*/ 134 w 252"/>
                <a:gd name="T75" fmla="*/ 126 h 348"/>
                <a:gd name="T76" fmla="*/ 36 w 252"/>
                <a:gd name="T77" fmla="*/ 64 h 348"/>
                <a:gd name="T78" fmla="*/ 40 w 252"/>
                <a:gd name="T79" fmla="*/ 54 h 348"/>
                <a:gd name="T80" fmla="*/ 78 w 252"/>
                <a:gd name="T81" fmla="*/ 48 h 348"/>
                <a:gd name="T82" fmla="*/ 94 w 252"/>
                <a:gd name="T83" fmla="*/ 42 h 348"/>
                <a:gd name="T84" fmla="*/ 100 w 252"/>
                <a:gd name="T85" fmla="*/ 26 h 348"/>
                <a:gd name="T86" fmla="*/ 116 w 252"/>
                <a:gd name="T87" fmla="*/ 2 h 348"/>
                <a:gd name="T88" fmla="*/ 136 w 252"/>
                <a:gd name="T89" fmla="*/ 2 h 348"/>
                <a:gd name="T90" fmla="*/ 152 w 252"/>
                <a:gd name="T91" fmla="*/ 26 h 348"/>
                <a:gd name="T92" fmla="*/ 158 w 252"/>
                <a:gd name="T93" fmla="*/ 42 h 348"/>
                <a:gd name="T94" fmla="*/ 200 w 252"/>
                <a:gd name="T95" fmla="*/ 48 h 348"/>
                <a:gd name="T96" fmla="*/ 212 w 252"/>
                <a:gd name="T97" fmla="*/ 54 h 348"/>
                <a:gd name="T98" fmla="*/ 216 w 252"/>
                <a:gd name="T99" fmla="*/ 78 h 348"/>
                <a:gd name="T100" fmla="*/ 36 w 252"/>
                <a:gd name="T101" fmla="*/ 82 h 348"/>
                <a:gd name="T102" fmla="*/ 36 w 252"/>
                <a:gd name="T103" fmla="*/ 64 h 348"/>
                <a:gd name="T104" fmla="*/ 116 w 252"/>
                <a:gd name="T105" fmla="*/ 30 h 348"/>
                <a:gd name="T106" fmla="*/ 126 w 252"/>
                <a:gd name="T107" fmla="*/ 38 h 348"/>
                <a:gd name="T108" fmla="*/ 134 w 252"/>
                <a:gd name="T109" fmla="*/ 34 h 348"/>
                <a:gd name="T110" fmla="*/ 136 w 252"/>
                <a:gd name="T111" fmla="*/ 26 h 348"/>
                <a:gd name="T112" fmla="*/ 130 w 252"/>
                <a:gd name="T113" fmla="*/ 16 h 348"/>
                <a:gd name="T114" fmla="*/ 122 w 252"/>
                <a:gd name="T115" fmla="*/ 16 h 348"/>
                <a:gd name="T116" fmla="*/ 116 w 252"/>
                <a:gd name="T117" fmla="*/ 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2" h="348">
                  <a:moveTo>
                    <a:pt x="252" y="32"/>
                  </a:moveTo>
                  <a:lnTo>
                    <a:pt x="252" y="332"/>
                  </a:lnTo>
                  <a:lnTo>
                    <a:pt x="252" y="332"/>
                  </a:lnTo>
                  <a:lnTo>
                    <a:pt x="250" y="338"/>
                  </a:lnTo>
                  <a:lnTo>
                    <a:pt x="248" y="344"/>
                  </a:lnTo>
                  <a:lnTo>
                    <a:pt x="242" y="346"/>
                  </a:lnTo>
                  <a:lnTo>
                    <a:pt x="236" y="348"/>
                  </a:lnTo>
                  <a:lnTo>
                    <a:pt x="16" y="348"/>
                  </a:lnTo>
                  <a:lnTo>
                    <a:pt x="16" y="348"/>
                  </a:lnTo>
                  <a:lnTo>
                    <a:pt x="10" y="346"/>
                  </a:lnTo>
                  <a:lnTo>
                    <a:pt x="4" y="344"/>
                  </a:lnTo>
                  <a:lnTo>
                    <a:pt x="2" y="338"/>
                  </a:lnTo>
                  <a:lnTo>
                    <a:pt x="0" y="332"/>
                  </a:lnTo>
                  <a:lnTo>
                    <a:pt x="0" y="32"/>
                  </a:lnTo>
                  <a:lnTo>
                    <a:pt x="0" y="32"/>
                  </a:lnTo>
                  <a:lnTo>
                    <a:pt x="2" y="26"/>
                  </a:lnTo>
                  <a:lnTo>
                    <a:pt x="4" y="20"/>
                  </a:lnTo>
                  <a:lnTo>
                    <a:pt x="10" y="16"/>
                  </a:lnTo>
                  <a:lnTo>
                    <a:pt x="16" y="16"/>
                  </a:lnTo>
                  <a:lnTo>
                    <a:pt x="90" y="16"/>
                  </a:lnTo>
                  <a:lnTo>
                    <a:pt x="90" y="16"/>
                  </a:lnTo>
                  <a:lnTo>
                    <a:pt x="88" y="26"/>
                  </a:lnTo>
                  <a:lnTo>
                    <a:pt x="88" y="26"/>
                  </a:lnTo>
                  <a:lnTo>
                    <a:pt x="86" y="30"/>
                  </a:lnTo>
                  <a:lnTo>
                    <a:pt x="84" y="34"/>
                  </a:lnTo>
                  <a:lnTo>
                    <a:pt x="16" y="34"/>
                  </a:lnTo>
                  <a:lnTo>
                    <a:pt x="16" y="332"/>
                  </a:lnTo>
                  <a:lnTo>
                    <a:pt x="236" y="332"/>
                  </a:lnTo>
                  <a:lnTo>
                    <a:pt x="236" y="34"/>
                  </a:lnTo>
                  <a:lnTo>
                    <a:pt x="168" y="34"/>
                  </a:lnTo>
                  <a:lnTo>
                    <a:pt x="168" y="34"/>
                  </a:lnTo>
                  <a:lnTo>
                    <a:pt x="166" y="30"/>
                  </a:lnTo>
                  <a:lnTo>
                    <a:pt x="164" y="26"/>
                  </a:lnTo>
                  <a:lnTo>
                    <a:pt x="164" y="26"/>
                  </a:lnTo>
                  <a:lnTo>
                    <a:pt x="162" y="16"/>
                  </a:lnTo>
                  <a:lnTo>
                    <a:pt x="236" y="16"/>
                  </a:lnTo>
                  <a:lnTo>
                    <a:pt x="236" y="16"/>
                  </a:lnTo>
                  <a:lnTo>
                    <a:pt x="242" y="16"/>
                  </a:lnTo>
                  <a:lnTo>
                    <a:pt x="248" y="20"/>
                  </a:lnTo>
                  <a:lnTo>
                    <a:pt x="250" y="26"/>
                  </a:lnTo>
                  <a:lnTo>
                    <a:pt x="252" y="32"/>
                  </a:lnTo>
                  <a:lnTo>
                    <a:pt x="252" y="32"/>
                  </a:lnTo>
                  <a:close/>
                  <a:moveTo>
                    <a:pt x="216" y="94"/>
                  </a:moveTo>
                  <a:lnTo>
                    <a:pt x="216" y="312"/>
                  </a:lnTo>
                  <a:lnTo>
                    <a:pt x="36" y="312"/>
                  </a:lnTo>
                  <a:lnTo>
                    <a:pt x="36" y="94"/>
                  </a:lnTo>
                  <a:lnTo>
                    <a:pt x="36" y="94"/>
                  </a:lnTo>
                  <a:lnTo>
                    <a:pt x="36" y="94"/>
                  </a:lnTo>
                  <a:lnTo>
                    <a:pt x="216" y="94"/>
                  </a:lnTo>
                  <a:lnTo>
                    <a:pt x="216" y="94"/>
                  </a:lnTo>
                  <a:lnTo>
                    <a:pt x="216" y="94"/>
                  </a:lnTo>
                  <a:lnTo>
                    <a:pt x="216" y="94"/>
                  </a:lnTo>
                  <a:close/>
                  <a:moveTo>
                    <a:pt x="132" y="186"/>
                  </a:moveTo>
                  <a:lnTo>
                    <a:pt x="132" y="186"/>
                  </a:lnTo>
                  <a:lnTo>
                    <a:pt x="128" y="184"/>
                  </a:lnTo>
                  <a:lnTo>
                    <a:pt x="124" y="182"/>
                  </a:lnTo>
                  <a:lnTo>
                    <a:pt x="122" y="184"/>
                  </a:lnTo>
                  <a:lnTo>
                    <a:pt x="118" y="186"/>
                  </a:lnTo>
                  <a:lnTo>
                    <a:pt x="86" y="218"/>
                  </a:lnTo>
                  <a:lnTo>
                    <a:pt x="74" y="206"/>
                  </a:lnTo>
                  <a:lnTo>
                    <a:pt x="74" y="206"/>
                  </a:lnTo>
                  <a:lnTo>
                    <a:pt x="70" y="204"/>
                  </a:lnTo>
                  <a:lnTo>
                    <a:pt x="68" y="204"/>
                  </a:lnTo>
                  <a:lnTo>
                    <a:pt x="64" y="204"/>
                  </a:lnTo>
                  <a:lnTo>
                    <a:pt x="60" y="206"/>
                  </a:lnTo>
                  <a:lnTo>
                    <a:pt x="60" y="206"/>
                  </a:lnTo>
                  <a:lnTo>
                    <a:pt x="58" y="210"/>
                  </a:lnTo>
                  <a:lnTo>
                    <a:pt x="58" y="214"/>
                  </a:lnTo>
                  <a:lnTo>
                    <a:pt x="58" y="218"/>
                  </a:lnTo>
                  <a:lnTo>
                    <a:pt x="60" y="220"/>
                  </a:lnTo>
                  <a:lnTo>
                    <a:pt x="78" y="238"/>
                  </a:lnTo>
                  <a:lnTo>
                    <a:pt x="78" y="238"/>
                  </a:lnTo>
                  <a:lnTo>
                    <a:pt x="82" y="242"/>
                  </a:lnTo>
                  <a:lnTo>
                    <a:pt x="86" y="242"/>
                  </a:lnTo>
                  <a:lnTo>
                    <a:pt x="86" y="242"/>
                  </a:lnTo>
                  <a:lnTo>
                    <a:pt x="90" y="242"/>
                  </a:lnTo>
                  <a:lnTo>
                    <a:pt x="92" y="238"/>
                  </a:lnTo>
                  <a:lnTo>
                    <a:pt x="132" y="200"/>
                  </a:lnTo>
                  <a:lnTo>
                    <a:pt x="132" y="200"/>
                  </a:lnTo>
                  <a:lnTo>
                    <a:pt x="134" y="196"/>
                  </a:lnTo>
                  <a:lnTo>
                    <a:pt x="134" y="192"/>
                  </a:lnTo>
                  <a:lnTo>
                    <a:pt x="134" y="188"/>
                  </a:lnTo>
                  <a:lnTo>
                    <a:pt x="132" y="186"/>
                  </a:lnTo>
                  <a:lnTo>
                    <a:pt x="132" y="186"/>
                  </a:lnTo>
                  <a:close/>
                  <a:moveTo>
                    <a:pt x="132" y="124"/>
                  </a:moveTo>
                  <a:lnTo>
                    <a:pt x="132" y="124"/>
                  </a:lnTo>
                  <a:lnTo>
                    <a:pt x="128" y="122"/>
                  </a:lnTo>
                  <a:lnTo>
                    <a:pt x="124" y="120"/>
                  </a:lnTo>
                  <a:lnTo>
                    <a:pt x="122" y="122"/>
                  </a:lnTo>
                  <a:lnTo>
                    <a:pt x="118" y="124"/>
                  </a:lnTo>
                  <a:lnTo>
                    <a:pt x="86" y="156"/>
                  </a:lnTo>
                  <a:lnTo>
                    <a:pt x="74" y="144"/>
                  </a:lnTo>
                  <a:lnTo>
                    <a:pt x="74" y="144"/>
                  </a:lnTo>
                  <a:lnTo>
                    <a:pt x="70" y="142"/>
                  </a:lnTo>
                  <a:lnTo>
                    <a:pt x="68" y="142"/>
                  </a:lnTo>
                  <a:lnTo>
                    <a:pt x="64" y="142"/>
                  </a:lnTo>
                  <a:lnTo>
                    <a:pt x="60" y="144"/>
                  </a:lnTo>
                  <a:lnTo>
                    <a:pt x="60" y="144"/>
                  </a:lnTo>
                  <a:lnTo>
                    <a:pt x="58" y="148"/>
                  </a:lnTo>
                  <a:lnTo>
                    <a:pt x="58" y="152"/>
                  </a:lnTo>
                  <a:lnTo>
                    <a:pt x="58" y="156"/>
                  </a:lnTo>
                  <a:lnTo>
                    <a:pt x="60" y="158"/>
                  </a:lnTo>
                  <a:lnTo>
                    <a:pt x="78" y="178"/>
                  </a:lnTo>
                  <a:lnTo>
                    <a:pt x="78" y="178"/>
                  </a:lnTo>
                  <a:lnTo>
                    <a:pt x="82" y="180"/>
                  </a:lnTo>
                  <a:lnTo>
                    <a:pt x="86" y="180"/>
                  </a:lnTo>
                  <a:lnTo>
                    <a:pt x="86" y="180"/>
                  </a:lnTo>
                  <a:lnTo>
                    <a:pt x="90" y="180"/>
                  </a:lnTo>
                  <a:lnTo>
                    <a:pt x="92" y="178"/>
                  </a:lnTo>
                  <a:lnTo>
                    <a:pt x="132" y="138"/>
                  </a:lnTo>
                  <a:lnTo>
                    <a:pt x="132" y="138"/>
                  </a:lnTo>
                  <a:lnTo>
                    <a:pt x="134" y="134"/>
                  </a:lnTo>
                  <a:lnTo>
                    <a:pt x="134" y="130"/>
                  </a:lnTo>
                  <a:lnTo>
                    <a:pt x="134" y="126"/>
                  </a:lnTo>
                  <a:lnTo>
                    <a:pt x="132" y="124"/>
                  </a:lnTo>
                  <a:lnTo>
                    <a:pt x="132" y="124"/>
                  </a:lnTo>
                  <a:close/>
                  <a:moveTo>
                    <a:pt x="36" y="64"/>
                  </a:moveTo>
                  <a:lnTo>
                    <a:pt x="36" y="64"/>
                  </a:lnTo>
                  <a:lnTo>
                    <a:pt x="36" y="58"/>
                  </a:lnTo>
                  <a:lnTo>
                    <a:pt x="40" y="54"/>
                  </a:lnTo>
                  <a:lnTo>
                    <a:pt x="46" y="50"/>
                  </a:lnTo>
                  <a:lnTo>
                    <a:pt x="52" y="48"/>
                  </a:lnTo>
                  <a:lnTo>
                    <a:pt x="78" y="48"/>
                  </a:lnTo>
                  <a:lnTo>
                    <a:pt x="78" y="48"/>
                  </a:lnTo>
                  <a:lnTo>
                    <a:pt x="86" y="46"/>
                  </a:lnTo>
                  <a:lnTo>
                    <a:pt x="94" y="42"/>
                  </a:lnTo>
                  <a:lnTo>
                    <a:pt x="98" y="36"/>
                  </a:lnTo>
                  <a:lnTo>
                    <a:pt x="100" y="26"/>
                  </a:lnTo>
                  <a:lnTo>
                    <a:pt x="100" y="26"/>
                  </a:lnTo>
                  <a:lnTo>
                    <a:pt x="102" y="16"/>
                  </a:lnTo>
                  <a:lnTo>
                    <a:pt x="108" y="8"/>
                  </a:lnTo>
                  <a:lnTo>
                    <a:pt x="116" y="2"/>
                  </a:lnTo>
                  <a:lnTo>
                    <a:pt x="126" y="0"/>
                  </a:lnTo>
                  <a:lnTo>
                    <a:pt x="126" y="0"/>
                  </a:lnTo>
                  <a:lnTo>
                    <a:pt x="136" y="2"/>
                  </a:lnTo>
                  <a:lnTo>
                    <a:pt x="144" y="8"/>
                  </a:lnTo>
                  <a:lnTo>
                    <a:pt x="150" y="16"/>
                  </a:lnTo>
                  <a:lnTo>
                    <a:pt x="152" y="26"/>
                  </a:lnTo>
                  <a:lnTo>
                    <a:pt x="152" y="26"/>
                  </a:lnTo>
                  <a:lnTo>
                    <a:pt x="154" y="36"/>
                  </a:lnTo>
                  <a:lnTo>
                    <a:pt x="158" y="42"/>
                  </a:lnTo>
                  <a:lnTo>
                    <a:pt x="166" y="46"/>
                  </a:lnTo>
                  <a:lnTo>
                    <a:pt x="174" y="48"/>
                  </a:lnTo>
                  <a:lnTo>
                    <a:pt x="200" y="48"/>
                  </a:lnTo>
                  <a:lnTo>
                    <a:pt x="200" y="48"/>
                  </a:lnTo>
                  <a:lnTo>
                    <a:pt x="206" y="50"/>
                  </a:lnTo>
                  <a:lnTo>
                    <a:pt x="212" y="54"/>
                  </a:lnTo>
                  <a:lnTo>
                    <a:pt x="216" y="58"/>
                  </a:lnTo>
                  <a:lnTo>
                    <a:pt x="216" y="64"/>
                  </a:lnTo>
                  <a:lnTo>
                    <a:pt x="216" y="78"/>
                  </a:lnTo>
                  <a:lnTo>
                    <a:pt x="216" y="78"/>
                  </a:lnTo>
                  <a:lnTo>
                    <a:pt x="216" y="82"/>
                  </a:lnTo>
                  <a:lnTo>
                    <a:pt x="36" y="82"/>
                  </a:lnTo>
                  <a:lnTo>
                    <a:pt x="36" y="82"/>
                  </a:lnTo>
                  <a:lnTo>
                    <a:pt x="36" y="78"/>
                  </a:lnTo>
                  <a:lnTo>
                    <a:pt x="36" y="64"/>
                  </a:lnTo>
                  <a:close/>
                  <a:moveTo>
                    <a:pt x="116" y="26"/>
                  </a:moveTo>
                  <a:lnTo>
                    <a:pt x="116" y="26"/>
                  </a:lnTo>
                  <a:lnTo>
                    <a:pt x="116" y="30"/>
                  </a:lnTo>
                  <a:lnTo>
                    <a:pt x="118" y="34"/>
                  </a:lnTo>
                  <a:lnTo>
                    <a:pt x="122" y="36"/>
                  </a:lnTo>
                  <a:lnTo>
                    <a:pt x="126" y="38"/>
                  </a:lnTo>
                  <a:lnTo>
                    <a:pt x="126" y="38"/>
                  </a:lnTo>
                  <a:lnTo>
                    <a:pt x="130" y="36"/>
                  </a:lnTo>
                  <a:lnTo>
                    <a:pt x="134" y="34"/>
                  </a:lnTo>
                  <a:lnTo>
                    <a:pt x="136" y="30"/>
                  </a:lnTo>
                  <a:lnTo>
                    <a:pt x="136" y="26"/>
                  </a:lnTo>
                  <a:lnTo>
                    <a:pt x="136" y="26"/>
                  </a:lnTo>
                  <a:lnTo>
                    <a:pt x="136" y="22"/>
                  </a:lnTo>
                  <a:lnTo>
                    <a:pt x="134" y="20"/>
                  </a:lnTo>
                  <a:lnTo>
                    <a:pt x="130" y="16"/>
                  </a:lnTo>
                  <a:lnTo>
                    <a:pt x="126" y="16"/>
                  </a:lnTo>
                  <a:lnTo>
                    <a:pt x="126" y="16"/>
                  </a:lnTo>
                  <a:lnTo>
                    <a:pt x="122" y="16"/>
                  </a:lnTo>
                  <a:lnTo>
                    <a:pt x="118" y="20"/>
                  </a:lnTo>
                  <a:lnTo>
                    <a:pt x="116" y="22"/>
                  </a:lnTo>
                  <a:lnTo>
                    <a:pt x="116" y="26"/>
                  </a:lnTo>
                  <a:lnTo>
                    <a:pt x="116" y="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159092785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500D7C-1E23-4279-933F-382F81580FBB}"/>
              </a:ext>
            </a:extLst>
          </p:cNvPr>
          <p:cNvSpPr>
            <a:spLocks noGrp="1"/>
          </p:cNvSpPr>
          <p:nvPr>
            <p:ph idx="1"/>
          </p:nvPr>
        </p:nvSpPr>
        <p:spPr>
          <a:xfrm>
            <a:off x="1691680" y="2702926"/>
            <a:ext cx="5760640" cy="576680"/>
          </a:xfrm>
        </p:spPr>
        <p:txBody>
          <a:bodyPr>
            <a:noAutofit/>
          </a:bodyPr>
          <a:lstStyle/>
          <a:p>
            <a:pPr marL="0" indent="0">
              <a:buNone/>
            </a:pPr>
            <a:r>
              <a:rPr lang="da-DK" b="1" dirty="0"/>
              <a:t>I har afsluttet gruppeforløbet, tak for samarbejdet! </a:t>
            </a:r>
          </a:p>
          <a:p>
            <a:pPr marL="0" indent="0">
              <a:buNone/>
            </a:pPr>
            <a:endParaRPr lang="da-DK" dirty="0"/>
          </a:p>
        </p:txBody>
      </p:sp>
      <p:pic>
        <p:nvPicPr>
          <p:cNvPr id="13" name="Graphic 12" descr="Confetti ball">
            <a:extLst>
              <a:ext uri="{FF2B5EF4-FFF2-40B4-BE49-F238E27FC236}">
                <a16:creationId xmlns:a16="http://schemas.microsoft.com/office/drawing/2014/main" id="{AE10A869-AEA8-493B-A82E-CAFAB2C0F72E}"/>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5967944" y="426368"/>
            <a:ext cx="914400" cy="914400"/>
          </a:xfrm>
          <a:prstGeom prst="rect">
            <a:avLst/>
          </a:prstGeom>
        </p:spPr>
      </p:pic>
      <p:pic>
        <p:nvPicPr>
          <p:cNvPr id="17" name="Graphic 16" descr="Shooting star">
            <a:extLst>
              <a:ext uri="{FF2B5EF4-FFF2-40B4-BE49-F238E27FC236}">
                <a16:creationId xmlns:a16="http://schemas.microsoft.com/office/drawing/2014/main" id="{B9DD9A3A-75D6-4DEA-90DE-E164052EBB5E}"/>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6902402" y="426368"/>
            <a:ext cx="914400" cy="914400"/>
          </a:xfrm>
          <a:prstGeom prst="rect">
            <a:avLst/>
          </a:prstGeom>
        </p:spPr>
      </p:pic>
      <p:pic>
        <p:nvPicPr>
          <p:cNvPr id="19" name="Graphic 18" descr="Balloons">
            <a:extLst>
              <a:ext uri="{FF2B5EF4-FFF2-40B4-BE49-F238E27FC236}">
                <a16:creationId xmlns:a16="http://schemas.microsoft.com/office/drawing/2014/main" id="{08420FA7-ED4D-479E-A79B-F5FD0646FB6C}"/>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1455582" y="426368"/>
            <a:ext cx="914400" cy="914400"/>
          </a:xfrm>
          <a:prstGeom prst="rect">
            <a:avLst/>
          </a:prstGeom>
        </p:spPr>
      </p:pic>
      <p:pic>
        <p:nvPicPr>
          <p:cNvPr id="22" name="Graphic 21" descr="Confetti ball">
            <a:extLst>
              <a:ext uri="{FF2B5EF4-FFF2-40B4-BE49-F238E27FC236}">
                <a16:creationId xmlns:a16="http://schemas.microsoft.com/office/drawing/2014/main" id="{0FBC9215-D3E1-4193-AC6C-3607EF9CBAC4}"/>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4123529" y="426368"/>
            <a:ext cx="914400" cy="914400"/>
          </a:xfrm>
          <a:prstGeom prst="rect">
            <a:avLst/>
          </a:prstGeom>
        </p:spPr>
      </p:pic>
      <p:pic>
        <p:nvPicPr>
          <p:cNvPr id="23" name="Graphic 22" descr="Confetti ball">
            <a:extLst>
              <a:ext uri="{FF2B5EF4-FFF2-40B4-BE49-F238E27FC236}">
                <a16:creationId xmlns:a16="http://schemas.microsoft.com/office/drawing/2014/main" id="{DCA15918-6225-4B30-9DDE-84994BFBD19B}"/>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2377789" y="426368"/>
            <a:ext cx="914400" cy="914400"/>
          </a:xfrm>
          <a:prstGeom prst="rect">
            <a:avLst/>
          </a:prstGeom>
        </p:spPr>
      </p:pic>
      <p:pic>
        <p:nvPicPr>
          <p:cNvPr id="24" name="Graphic 23" descr="Confetti ball">
            <a:extLst>
              <a:ext uri="{FF2B5EF4-FFF2-40B4-BE49-F238E27FC236}">
                <a16:creationId xmlns:a16="http://schemas.microsoft.com/office/drawing/2014/main" id="{1D21DDEC-6E6F-410F-AA20-CCA4C7F735F1}"/>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417240" y="426368"/>
            <a:ext cx="914400" cy="914400"/>
          </a:xfrm>
          <a:prstGeom prst="rect">
            <a:avLst/>
          </a:prstGeom>
        </p:spPr>
      </p:pic>
      <p:pic>
        <p:nvPicPr>
          <p:cNvPr id="25" name="Graphic 24" descr="Confetti ball">
            <a:extLst>
              <a:ext uri="{FF2B5EF4-FFF2-40B4-BE49-F238E27FC236}">
                <a16:creationId xmlns:a16="http://schemas.microsoft.com/office/drawing/2014/main" id="{C3C3E2F8-231C-4345-AED0-861DCB89DD38}"/>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7956376" y="426368"/>
            <a:ext cx="914400" cy="914400"/>
          </a:xfrm>
          <a:prstGeom prst="rect">
            <a:avLst/>
          </a:prstGeom>
        </p:spPr>
      </p:pic>
      <p:pic>
        <p:nvPicPr>
          <p:cNvPr id="26" name="Graphic 25" descr="Shooting star">
            <a:extLst>
              <a:ext uri="{FF2B5EF4-FFF2-40B4-BE49-F238E27FC236}">
                <a16:creationId xmlns:a16="http://schemas.microsoft.com/office/drawing/2014/main" id="{E6930458-7323-46B6-B3D1-6C0DA81EE33D}"/>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231559" y="426368"/>
            <a:ext cx="914400" cy="914400"/>
          </a:xfrm>
          <a:prstGeom prst="rect">
            <a:avLst/>
          </a:prstGeom>
        </p:spPr>
      </p:pic>
      <p:pic>
        <p:nvPicPr>
          <p:cNvPr id="27" name="Graphic 26" descr="Balloons">
            <a:extLst>
              <a:ext uri="{FF2B5EF4-FFF2-40B4-BE49-F238E27FC236}">
                <a16:creationId xmlns:a16="http://schemas.microsoft.com/office/drawing/2014/main" id="{09F3735D-7B92-425A-9E02-9EE2EF0C0A6F}"/>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049075" y="426368"/>
            <a:ext cx="914400" cy="914400"/>
          </a:xfrm>
          <a:prstGeom prst="rect">
            <a:avLst/>
          </a:prstGeom>
        </p:spPr>
      </p:pic>
      <p:pic>
        <p:nvPicPr>
          <p:cNvPr id="38" name="Graphic 37" descr="Confetti ball">
            <a:extLst>
              <a:ext uri="{FF2B5EF4-FFF2-40B4-BE49-F238E27FC236}">
                <a16:creationId xmlns:a16="http://schemas.microsoft.com/office/drawing/2014/main" id="{10E125C7-2206-463E-B23C-8F3630CDE865}"/>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5975751" y="4609982"/>
            <a:ext cx="914400" cy="914400"/>
          </a:xfrm>
          <a:prstGeom prst="rect">
            <a:avLst/>
          </a:prstGeom>
        </p:spPr>
      </p:pic>
      <p:pic>
        <p:nvPicPr>
          <p:cNvPr id="39" name="Graphic 38" descr="Shooting star">
            <a:extLst>
              <a:ext uri="{FF2B5EF4-FFF2-40B4-BE49-F238E27FC236}">
                <a16:creationId xmlns:a16="http://schemas.microsoft.com/office/drawing/2014/main" id="{D622DFC4-7979-436B-8F7D-B430352A4472}"/>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6910209" y="4609982"/>
            <a:ext cx="914400" cy="914400"/>
          </a:xfrm>
          <a:prstGeom prst="rect">
            <a:avLst/>
          </a:prstGeom>
        </p:spPr>
      </p:pic>
      <p:pic>
        <p:nvPicPr>
          <p:cNvPr id="40" name="Graphic 39" descr="Balloons">
            <a:extLst>
              <a:ext uri="{FF2B5EF4-FFF2-40B4-BE49-F238E27FC236}">
                <a16:creationId xmlns:a16="http://schemas.microsoft.com/office/drawing/2014/main" id="{B50584D7-D5BC-43D7-B65C-4EBDE6C28950}"/>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1463389" y="4609982"/>
            <a:ext cx="914400" cy="914400"/>
          </a:xfrm>
          <a:prstGeom prst="rect">
            <a:avLst/>
          </a:prstGeom>
        </p:spPr>
      </p:pic>
      <p:pic>
        <p:nvPicPr>
          <p:cNvPr id="41" name="Graphic 40" descr="Confetti ball">
            <a:extLst>
              <a:ext uri="{FF2B5EF4-FFF2-40B4-BE49-F238E27FC236}">
                <a16:creationId xmlns:a16="http://schemas.microsoft.com/office/drawing/2014/main" id="{1F871A47-F514-4C52-830E-A10224B92818}"/>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4131336" y="4609982"/>
            <a:ext cx="914400" cy="914400"/>
          </a:xfrm>
          <a:prstGeom prst="rect">
            <a:avLst/>
          </a:prstGeom>
        </p:spPr>
      </p:pic>
      <p:pic>
        <p:nvPicPr>
          <p:cNvPr id="42" name="Graphic 41" descr="Confetti ball">
            <a:extLst>
              <a:ext uri="{FF2B5EF4-FFF2-40B4-BE49-F238E27FC236}">
                <a16:creationId xmlns:a16="http://schemas.microsoft.com/office/drawing/2014/main" id="{3A1358B6-CB4D-4FA5-A4E9-2D7455F05422}"/>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2385596" y="4609982"/>
            <a:ext cx="914400" cy="914400"/>
          </a:xfrm>
          <a:prstGeom prst="rect">
            <a:avLst/>
          </a:prstGeom>
        </p:spPr>
      </p:pic>
      <p:pic>
        <p:nvPicPr>
          <p:cNvPr id="43" name="Graphic 42" descr="Confetti ball">
            <a:extLst>
              <a:ext uri="{FF2B5EF4-FFF2-40B4-BE49-F238E27FC236}">
                <a16:creationId xmlns:a16="http://schemas.microsoft.com/office/drawing/2014/main" id="{804CD1F9-42B9-407D-BE74-5C8BCD9AAA7B}"/>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425047" y="4609982"/>
            <a:ext cx="914400" cy="914400"/>
          </a:xfrm>
          <a:prstGeom prst="rect">
            <a:avLst/>
          </a:prstGeom>
        </p:spPr>
      </p:pic>
      <p:pic>
        <p:nvPicPr>
          <p:cNvPr id="44" name="Graphic 43" descr="Confetti ball">
            <a:extLst>
              <a:ext uri="{FF2B5EF4-FFF2-40B4-BE49-F238E27FC236}">
                <a16:creationId xmlns:a16="http://schemas.microsoft.com/office/drawing/2014/main" id="{196CF56F-F793-4629-A039-ABBA7F60ECB3}"/>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7964183" y="4609982"/>
            <a:ext cx="914400" cy="914400"/>
          </a:xfrm>
          <a:prstGeom prst="rect">
            <a:avLst/>
          </a:prstGeom>
        </p:spPr>
      </p:pic>
      <p:pic>
        <p:nvPicPr>
          <p:cNvPr id="45" name="Graphic 44" descr="Shooting star">
            <a:extLst>
              <a:ext uri="{FF2B5EF4-FFF2-40B4-BE49-F238E27FC236}">
                <a16:creationId xmlns:a16="http://schemas.microsoft.com/office/drawing/2014/main" id="{E77F5CC8-FE08-436E-BD7F-D86FA6A8F6B7}"/>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239366" y="4609982"/>
            <a:ext cx="914400" cy="914400"/>
          </a:xfrm>
          <a:prstGeom prst="rect">
            <a:avLst/>
          </a:prstGeom>
        </p:spPr>
      </p:pic>
      <p:pic>
        <p:nvPicPr>
          <p:cNvPr id="46" name="Graphic 45" descr="Balloons">
            <a:extLst>
              <a:ext uri="{FF2B5EF4-FFF2-40B4-BE49-F238E27FC236}">
                <a16:creationId xmlns:a16="http://schemas.microsoft.com/office/drawing/2014/main" id="{F8226201-D568-4F0A-A2A7-C442866FBFA6}"/>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056882" y="4609982"/>
            <a:ext cx="914400" cy="914400"/>
          </a:xfrm>
          <a:prstGeom prst="rect">
            <a:avLst/>
          </a:prstGeom>
        </p:spPr>
      </p:pic>
    </p:spTree>
    <p:extLst>
      <p:ext uri="{BB962C8B-B14F-4D97-AF65-F5344CB8AC3E}">
        <p14:creationId xmlns:p14="http://schemas.microsoft.com/office/powerpoint/2010/main" val="865088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5B6B1C-A43C-4FE7-8A32-AC8947541F74}"/>
              </a:ext>
            </a:extLst>
          </p:cNvPr>
          <p:cNvGraphicFramePr>
            <a:graphicFrameLocks noChangeAspect="1"/>
          </p:cNvGraphicFramePr>
          <p:nvPr>
            <p:custDataLst>
              <p:tags r:id="rId2"/>
            </p:custDataLst>
            <p:extLst>
              <p:ext uri="{D42A27DB-BD31-4B8C-83A1-F6EECF244321}">
                <p14:modId xmlns:p14="http://schemas.microsoft.com/office/powerpoint/2010/main" val="423629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A44B8B1-7820-4DDF-A6AB-9D69849C7E09}"/>
              </a:ext>
            </a:extLst>
          </p:cNvPr>
          <p:cNvSpPr>
            <a:spLocks noGrp="1"/>
          </p:cNvSpPr>
          <p:nvPr>
            <p:ph type="body" sz="quarter" idx="16"/>
          </p:nvPr>
        </p:nvSpPr>
        <p:spPr/>
        <p:txBody>
          <a:bodyPr>
            <a:normAutofit fontScale="25000" lnSpcReduction="20000"/>
          </a:bodyPr>
          <a:lstStyle/>
          <a:p>
            <a:endParaRPr lang="da-DK"/>
          </a:p>
        </p:txBody>
      </p:sp>
      <p:sp>
        <p:nvSpPr>
          <p:cNvPr id="3" name="Subtitle 2">
            <a:extLst>
              <a:ext uri="{FF2B5EF4-FFF2-40B4-BE49-F238E27FC236}">
                <a16:creationId xmlns:a16="http://schemas.microsoft.com/office/drawing/2014/main" id="{11D83922-AC59-4D45-B0DD-43FCBCB9DE58}"/>
              </a:ext>
            </a:extLst>
          </p:cNvPr>
          <p:cNvSpPr>
            <a:spLocks noGrp="1"/>
          </p:cNvSpPr>
          <p:nvPr>
            <p:ph type="subTitle" idx="1"/>
          </p:nvPr>
        </p:nvSpPr>
        <p:spPr/>
        <p:txBody>
          <a:bodyPr/>
          <a:lstStyle/>
          <a:p>
            <a:r>
              <a:rPr lang="da-DK" dirty="0"/>
              <a:t>Modul 2: Udviklingsprofil</a:t>
            </a:r>
          </a:p>
        </p:txBody>
      </p:sp>
      <p:sp>
        <p:nvSpPr>
          <p:cNvPr id="4" name="Text Placeholder 3">
            <a:extLst>
              <a:ext uri="{FF2B5EF4-FFF2-40B4-BE49-F238E27FC236}">
                <a16:creationId xmlns:a16="http://schemas.microsoft.com/office/drawing/2014/main" id="{D576E0A7-1FC5-4D09-8FA0-4EF51180DDC1}"/>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8450D8CE-BD4A-47E4-8358-A45B336E36F7}"/>
              </a:ext>
            </a:extLst>
          </p:cNvPr>
          <p:cNvSpPr>
            <a:spLocks noGrp="1"/>
          </p:cNvSpPr>
          <p:nvPr>
            <p:ph type="body" sz="quarter" idx="13"/>
          </p:nvPr>
        </p:nvSpPr>
        <p:spPr/>
        <p:txBody>
          <a:bodyPr>
            <a:normAutofit fontScale="25000" lnSpcReduction="20000"/>
          </a:bodyPr>
          <a:lstStyle/>
          <a:p>
            <a:endParaRPr lang="da-DK"/>
          </a:p>
        </p:txBody>
      </p:sp>
    </p:spTree>
    <p:extLst>
      <p:ext uri="{BB962C8B-B14F-4D97-AF65-F5344CB8AC3E}">
        <p14:creationId xmlns:p14="http://schemas.microsoft.com/office/powerpoint/2010/main" val="291648234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11E42F-D1D9-4207-A902-4CE8F88FCF91}"/>
              </a:ext>
            </a:extLst>
          </p:cNvPr>
          <p:cNvSpPr>
            <a:spLocks noGrp="1"/>
          </p:cNvSpPr>
          <p:nvPr>
            <p:ph type="body" sz="quarter" idx="16"/>
          </p:nvPr>
        </p:nvSpPr>
        <p:spPr/>
        <p:txBody>
          <a:bodyPr>
            <a:normAutofit fontScale="25000" lnSpcReduction="20000"/>
          </a:bodyPr>
          <a:lstStyle/>
          <a:p>
            <a:endParaRPr lang="da-DK"/>
          </a:p>
        </p:txBody>
      </p:sp>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p:txBody>
          <a:bodyPr>
            <a:normAutofit/>
          </a:bodyPr>
          <a:lstStyle/>
          <a:p>
            <a:r>
              <a:rPr lang="da-DK" dirty="0"/>
              <a:t>Modul 9: Booster</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spTree>
    <p:extLst>
      <p:ext uri="{BB962C8B-B14F-4D97-AF65-F5344CB8AC3E}">
        <p14:creationId xmlns:p14="http://schemas.microsoft.com/office/powerpoint/2010/main" val="397099619"/>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E97CC33F-E564-C70B-A1AD-BB52C997431A}"/>
              </a:ext>
            </a:extLst>
          </p:cNvPr>
          <p:cNvPicPr>
            <a:picLocks noChangeAspect="1"/>
          </p:cNvPicPr>
          <p:nvPr/>
        </p:nvPicPr>
        <p:blipFill rotWithShape="1">
          <a:blip r:embed="rId5"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8" name="Object 7" hidden="1">
            <a:extLst>
              <a:ext uri="{FF2B5EF4-FFF2-40B4-BE49-F238E27FC236}">
                <a16:creationId xmlns:a16="http://schemas.microsoft.com/office/drawing/2014/main" id="{0A750D34-680C-4AB2-A5DD-3B0FDAEC7640}"/>
              </a:ext>
            </a:extLst>
          </p:cNvPr>
          <p:cNvGraphicFramePr>
            <a:graphicFrameLocks noChangeAspect="1"/>
          </p:cNvGraphicFramePr>
          <p:nvPr>
            <p:custDataLst>
              <p:tags r:id="rId2"/>
            </p:custDataLst>
            <p:extLst>
              <p:ext uri="{D42A27DB-BD31-4B8C-83A1-F6EECF244321}">
                <p14:modId xmlns:p14="http://schemas.microsoft.com/office/powerpoint/2010/main" val="3560511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6" imgW="360" imgH="360" progId="TCLayout.ActiveDocument.1">
                  <p:embed/>
                </p:oleObj>
              </mc:Choice>
              <mc:Fallback>
                <p:oleObj name="think-cell Slide" r:id="rId6" imgW="360" imgH="360" progId="TCLayout.ActiveDocument.1">
                  <p:embed/>
                  <p:pic>
                    <p:nvPicPr>
                      <p:cNvPr id="8" name="Object 7" hidden="1">
                        <a:extLst>
                          <a:ext uri="{FF2B5EF4-FFF2-40B4-BE49-F238E27FC236}">
                            <a16:creationId xmlns:a16="http://schemas.microsoft.com/office/drawing/2014/main" id="{0A750D34-680C-4AB2-A5DD-3B0FDAEC76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p:txBody>
          <a:bodyPr vert="horz"/>
          <a:lstStyle/>
          <a:p>
            <a:r>
              <a:rPr lang="da-DK" dirty="0"/>
              <a:t>Modul 9: Booster</a:t>
            </a:r>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 at:</a:t>
            </a:r>
          </a:p>
          <a:p>
            <a:r>
              <a:rPr lang="da-DK" dirty="0"/>
              <a:t>Genopfriske temaerne og de væsentligste pointer og redskaber fra modulerne.</a:t>
            </a:r>
          </a:p>
          <a:p>
            <a:pPr marL="0" indent="0">
              <a:buNone/>
            </a:pPr>
            <a:r>
              <a:rPr lang="da-DK" dirty="0"/>
              <a:t> </a:t>
            </a:r>
          </a:p>
        </p:txBody>
      </p:sp>
    </p:spTree>
    <p:extLst>
      <p:ext uri="{BB962C8B-B14F-4D97-AF65-F5344CB8AC3E}">
        <p14:creationId xmlns:p14="http://schemas.microsoft.com/office/powerpoint/2010/main" val="235135717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7"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531397423"/>
              </p:ext>
            </p:extLst>
          </p:nvPr>
        </p:nvGraphicFramePr>
        <p:xfrm>
          <a:off x="628649" y="1819632"/>
          <a:ext cx="7467526" cy="296672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Velkommen og formål med dagen </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Siden sidst</a:t>
                      </a:r>
                    </a:p>
                  </a:txBody>
                  <a:tcPr/>
                </a:tc>
                <a:extLst>
                  <a:ext uri="{0D108BD9-81ED-4DB2-BD59-A6C34878D82A}">
                    <a16:rowId xmlns:a16="http://schemas.microsoft.com/office/drawing/2014/main" val="3167250481"/>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vil vi gerne have ud af modulet?</a:t>
                      </a:r>
                    </a:p>
                  </a:txBody>
                  <a:tcPr/>
                </a:tc>
                <a:extLst>
                  <a:ext uri="{0D108BD9-81ED-4DB2-BD59-A6C34878D82A}">
                    <a16:rowId xmlns:a16="http://schemas.microsoft.com/office/drawing/2014/main" val="102157098"/>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har de unge aktuelt fokus på?</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Oplæg: Opsamling på moduler</a:t>
                      </a:r>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Øvelse</a:t>
                      </a:r>
                    </a:p>
                  </a:txBody>
                  <a:tcPr/>
                </a:tc>
                <a:extLst>
                  <a:ext uri="{0D108BD9-81ED-4DB2-BD59-A6C34878D82A}">
                    <a16:rowId xmlns:a16="http://schemas.microsoft.com/office/drawing/2014/main" val="2823113985"/>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tager vi med os hjem?</a:t>
                      </a:r>
                    </a:p>
                  </a:txBody>
                  <a:tcPr/>
                </a:tc>
                <a:extLst>
                  <a:ext uri="{0D108BD9-81ED-4DB2-BD59-A6C34878D82A}">
                    <a16:rowId xmlns:a16="http://schemas.microsoft.com/office/drawing/2014/main" val="1764877723"/>
                  </a:ext>
                </a:extLst>
              </a:tr>
            </a:tbl>
          </a:graphicData>
        </a:graphic>
      </p:graphicFrame>
    </p:spTree>
    <p:extLst>
      <p:ext uri="{BB962C8B-B14F-4D97-AF65-F5344CB8AC3E}">
        <p14:creationId xmlns:p14="http://schemas.microsoft.com/office/powerpoint/2010/main" val="239187197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E2F47B-7352-4067-816A-312B537F7D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45E2F47B-7352-4067-816A-312B537F7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38865-BE55-48CB-8610-2CCD942ACAD1}"/>
              </a:ext>
            </a:extLst>
          </p:cNvPr>
          <p:cNvSpPr>
            <a:spLocks noGrp="1"/>
          </p:cNvSpPr>
          <p:nvPr>
            <p:ph type="title"/>
          </p:nvPr>
        </p:nvSpPr>
        <p:spPr/>
        <p:txBody>
          <a:bodyPr vert="horz"/>
          <a:lstStyle/>
          <a:p>
            <a:r>
              <a:rPr lang="da-DK" dirty="0"/>
              <a:t>Siden sidst – to og to</a:t>
            </a:r>
          </a:p>
        </p:txBody>
      </p:sp>
      <p:sp>
        <p:nvSpPr>
          <p:cNvPr id="3" name="Content Placeholder 2">
            <a:extLst>
              <a:ext uri="{FF2B5EF4-FFF2-40B4-BE49-F238E27FC236}">
                <a16:creationId xmlns:a16="http://schemas.microsoft.com/office/drawing/2014/main" id="{2D9E83EF-F91E-43EF-9F1D-837A2F305F83}"/>
              </a:ext>
            </a:extLst>
          </p:cNvPr>
          <p:cNvSpPr>
            <a:spLocks noGrp="1"/>
          </p:cNvSpPr>
          <p:nvPr>
            <p:ph idx="1"/>
          </p:nvPr>
        </p:nvSpPr>
        <p:spPr/>
        <p:txBody>
          <a:bodyPr/>
          <a:lstStyle/>
          <a:p>
            <a:r>
              <a:rPr lang="da-DK" dirty="0"/>
              <a:t>Er der sket noget i min/den unges hverdag, som optager mig? </a:t>
            </a:r>
          </a:p>
          <a:p>
            <a:r>
              <a:rPr lang="da-DK" dirty="0"/>
              <a:t>Hvordan er det gået med at omsætte viden fra gruppeforløbet i hverdagen?</a:t>
            </a:r>
          </a:p>
          <a:p>
            <a:r>
              <a:rPr lang="da-DK" dirty="0"/>
              <a:t>Hvad er lykkedes særligt godt?</a:t>
            </a:r>
          </a:p>
          <a:p>
            <a:r>
              <a:rPr lang="da-DK" dirty="0"/>
              <a:t>Hvad er fortsat udfordrende?</a:t>
            </a:r>
          </a:p>
        </p:txBody>
      </p:sp>
    </p:spTree>
    <p:extLst>
      <p:ext uri="{BB962C8B-B14F-4D97-AF65-F5344CB8AC3E}">
        <p14:creationId xmlns:p14="http://schemas.microsoft.com/office/powerpoint/2010/main" val="229300014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E2F47B-7352-4067-816A-312B537F7D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45E2F47B-7352-4067-816A-312B537F7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38865-BE55-48CB-8610-2CCD942ACAD1}"/>
              </a:ext>
            </a:extLst>
          </p:cNvPr>
          <p:cNvSpPr>
            <a:spLocks noGrp="1"/>
          </p:cNvSpPr>
          <p:nvPr>
            <p:ph type="title"/>
          </p:nvPr>
        </p:nvSpPr>
        <p:spPr/>
        <p:txBody>
          <a:bodyPr vert="horz"/>
          <a:lstStyle/>
          <a:p>
            <a:r>
              <a:rPr lang="da-DK" dirty="0"/>
              <a:t>Hvad vil vi gerne have ud af modulet?</a:t>
            </a:r>
          </a:p>
        </p:txBody>
      </p:sp>
      <p:sp>
        <p:nvSpPr>
          <p:cNvPr id="3" name="Content Placeholder 2">
            <a:extLst>
              <a:ext uri="{FF2B5EF4-FFF2-40B4-BE49-F238E27FC236}">
                <a16:creationId xmlns:a16="http://schemas.microsoft.com/office/drawing/2014/main" id="{2D9E83EF-F91E-43EF-9F1D-837A2F305F83}"/>
              </a:ext>
            </a:extLst>
          </p:cNvPr>
          <p:cNvSpPr>
            <a:spLocks noGrp="1"/>
          </p:cNvSpPr>
          <p:nvPr>
            <p:ph idx="1"/>
          </p:nvPr>
        </p:nvSpPr>
        <p:spPr/>
        <p:txBody>
          <a:bodyPr/>
          <a:lstStyle/>
          <a:p>
            <a:r>
              <a:rPr lang="da-DK" dirty="0"/>
              <a:t>Hvad vil jeg gerne have ud af dagen i dag? </a:t>
            </a:r>
          </a:p>
          <a:p>
            <a:r>
              <a:rPr lang="da-DK" dirty="0"/>
              <a:t>Hvad er vigtigt for mig at komme omkring på </a:t>
            </a:r>
            <a:r>
              <a:rPr lang="da-DK" dirty="0" err="1"/>
              <a:t>boostermodulet</a:t>
            </a:r>
            <a:r>
              <a:rPr lang="da-DK" dirty="0"/>
              <a:t>?</a:t>
            </a:r>
          </a:p>
        </p:txBody>
      </p:sp>
    </p:spTree>
    <p:extLst>
      <p:ext uri="{BB962C8B-B14F-4D97-AF65-F5344CB8AC3E}">
        <p14:creationId xmlns:p14="http://schemas.microsoft.com/office/powerpoint/2010/main" val="94190596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1872042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Hvad har de unge aktuelt fokus på?</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lstStyle/>
          <a:p>
            <a:pPr marL="0" indent="0">
              <a:spcBef>
                <a:spcPts val="0"/>
              </a:spcBef>
              <a:spcAft>
                <a:spcPts val="1200"/>
              </a:spcAft>
              <a:buNone/>
            </a:pPr>
            <a:r>
              <a:rPr lang="da-DK" b="1" dirty="0"/>
              <a:t>[Indholdet tilpasses, så det afspejler indholdet i de unges session]</a:t>
            </a:r>
          </a:p>
          <a:p>
            <a:pPr marL="0" indent="0">
              <a:buNone/>
            </a:pPr>
            <a:r>
              <a:rPr lang="da-DK" dirty="0"/>
              <a:t>På booster-modulet:</a:t>
            </a:r>
          </a:p>
          <a:p>
            <a:r>
              <a:rPr lang="da-DK" dirty="0"/>
              <a:t>Genopfriskes læringen fra modulerne</a:t>
            </a:r>
          </a:p>
          <a:p>
            <a:r>
              <a:rPr lang="da-DK" dirty="0"/>
              <a:t>De unge reflekterer over, hvad de har fået ud af hvert modul</a:t>
            </a:r>
          </a:p>
          <a:p>
            <a:r>
              <a:rPr lang="da-DK" dirty="0"/>
              <a:t>De unge reflekterer over, hvordan læringen omsættes i deres hverdag</a:t>
            </a:r>
          </a:p>
          <a:p>
            <a:r>
              <a:rPr lang="da-DK" dirty="0"/>
              <a:t>Der dykkes ned i de mest relevante temaer for gruppen </a:t>
            </a:r>
          </a:p>
          <a:p>
            <a:r>
              <a:rPr lang="da-DK" dirty="0"/>
              <a:t>De unge arbejder videre med deres udvikling.</a:t>
            </a:r>
          </a:p>
          <a:p>
            <a:endParaRPr lang="da-DK" dirty="0"/>
          </a:p>
        </p:txBody>
      </p:sp>
    </p:spTree>
    <p:extLst>
      <p:ext uri="{BB962C8B-B14F-4D97-AF65-F5344CB8AC3E}">
        <p14:creationId xmlns:p14="http://schemas.microsoft.com/office/powerpoint/2010/main" val="98910222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A7BB22-526E-4EFB-9439-EA8A500090C5}"/>
              </a:ext>
            </a:extLst>
          </p:cNvPr>
          <p:cNvGraphicFramePr>
            <a:graphicFrameLocks noChangeAspect="1"/>
          </p:cNvGraphicFramePr>
          <p:nvPr>
            <p:custDataLst>
              <p:tags r:id="rId2"/>
            </p:custDataLst>
            <p:extLst>
              <p:ext uri="{D42A27DB-BD31-4B8C-83A1-F6EECF244321}">
                <p14:modId xmlns:p14="http://schemas.microsoft.com/office/powerpoint/2010/main" val="300566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7356AE-23EC-45FF-B3A3-958464B5A620}"/>
              </a:ext>
            </a:extLst>
          </p:cNvPr>
          <p:cNvSpPr>
            <a:spLocks noGrp="1"/>
          </p:cNvSpPr>
          <p:nvPr>
            <p:ph type="title"/>
          </p:nvPr>
        </p:nvSpPr>
        <p:spPr/>
        <p:txBody>
          <a:bodyPr vert="horz"/>
          <a:lstStyle/>
          <a:p>
            <a:r>
              <a:rPr lang="da-DK" dirty="0"/>
              <a:t>Modul 2: Udviklingsprofil </a:t>
            </a:r>
          </a:p>
        </p:txBody>
      </p:sp>
      <p:sp>
        <p:nvSpPr>
          <p:cNvPr id="3" name="Pladsholder til indhold 2">
            <a:extLst>
              <a:ext uri="{FF2B5EF4-FFF2-40B4-BE49-F238E27FC236}">
                <a16:creationId xmlns:a16="http://schemas.microsoft.com/office/drawing/2014/main" id="{3D7BEAE4-066D-4050-AD6D-FC79E2082246}"/>
              </a:ext>
            </a:extLst>
          </p:cNvPr>
          <p:cNvSpPr>
            <a:spLocks noGrp="1"/>
          </p:cNvSpPr>
          <p:nvPr>
            <p:ph idx="1"/>
          </p:nvPr>
        </p:nvSpPr>
        <p:spPr>
          <a:xfrm>
            <a:off x="628649" y="1700808"/>
            <a:ext cx="6823671" cy="4104456"/>
          </a:xfrm>
        </p:spPr>
        <p:txBody>
          <a:bodyPr vert="horz" lIns="91440" tIns="45720" rIns="91440" bIns="45720" rtlCol="0" anchor="t">
            <a:normAutofit/>
          </a:bodyPr>
          <a:lstStyle/>
          <a:p>
            <a:pPr marL="0" indent="0">
              <a:spcBef>
                <a:spcPts val="0"/>
              </a:spcBef>
              <a:spcAft>
                <a:spcPts val="1800"/>
              </a:spcAft>
              <a:buNone/>
            </a:pPr>
            <a:r>
              <a:rPr lang="da-DK" sz="2000" dirty="0"/>
              <a:t>På modulet ”udviklingsprofil” lærte vi bl.a., at: </a:t>
            </a:r>
          </a:p>
          <a:p>
            <a:pPr>
              <a:spcBef>
                <a:spcPts val="0"/>
              </a:spcBef>
              <a:spcAft>
                <a:spcPts val="1800"/>
              </a:spcAft>
            </a:pPr>
            <a:r>
              <a:rPr lang="da-DK" sz="2000" dirty="0"/>
              <a:t>ASF </a:t>
            </a:r>
            <a:r>
              <a:rPr lang="da-DK" sz="2000" dirty="0">
                <a:effectLst/>
              </a:rPr>
              <a:t>en gennemgribende udviklingsforstyrrelse </a:t>
            </a:r>
            <a:r>
              <a:rPr lang="da-DK" sz="2000" dirty="0"/>
              <a:t>kvalitative forstyrrelser af de tre kerneområder: Socialt samspil, social kommunikation og adfærd/interesser.</a:t>
            </a:r>
          </a:p>
          <a:p>
            <a:pPr>
              <a:spcBef>
                <a:spcPts val="0"/>
              </a:spcBef>
              <a:spcAft>
                <a:spcPts val="1800"/>
              </a:spcAft>
            </a:pPr>
            <a:r>
              <a:rPr lang="da-DK" sz="2000" dirty="0"/>
              <a:t>Børn og unge med autismespektrumforstyrrelser (ASF) har nogle af de samme symptomer, men er samtidig vidt forskellige.</a:t>
            </a:r>
          </a:p>
          <a:p>
            <a:pPr>
              <a:spcBef>
                <a:spcPts val="0"/>
              </a:spcBef>
              <a:spcAft>
                <a:spcPts val="1800"/>
              </a:spcAft>
            </a:pPr>
            <a:r>
              <a:rPr lang="da-DK" sz="2000" dirty="0"/>
              <a:t>Ungdomslivet er lig med udvikling og forandring, og derfor kan være svært for unge med autisme. </a:t>
            </a:r>
          </a:p>
        </p:txBody>
      </p:sp>
    </p:spTree>
    <p:extLst>
      <p:ext uri="{BB962C8B-B14F-4D97-AF65-F5344CB8AC3E}">
        <p14:creationId xmlns:p14="http://schemas.microsoft.com/office/powerpoint/2010/main" val="341937041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1865821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odul 2: Udviklingsprofil</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normAutofit/>
          </a:bodyPr>
          <a:lstStyle/>
          <a:p>
            <a:pPr>
              <a:spcBef>
                <a:spcPts val="1200"/>
              </a:spcBef>
            </a:pPr>
            <a:r>
              <a:rPr lang="da-DK" dirty="0"/>
              <a:t>Hvad lærte du om dit barn og andre unge med autisme ifm. modulet?</a:t>
            </a:r>
          </a:p>
          <a:p>
            <a:pPr>
              <a:spcBef>
                <a:spcPts val="1200"/>
              </a:spcBef>
            </a:pPr>
            <a:r>
              <a:rPr lang="da-DK" dirty="0"/>
              <a:t>Hvordan kan det anvendes fremadrettet?</a:t>
            </a:r>
          </a:p>
        </p:txBody>
      </p:sp>
    </p:spTree>
    <p:extLst>
      <p:ext uri="{BB962C8B-B14F-4D97-AF65-F5344CB8AC3E}">
        <p14:creationId xmlns:p14="http://schemas.microsoft.com/office/powerpoint/2010/main" val="220586238"/>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A7BB22-526E-4EFB-9439-EA8A500090C5}"/>
              </a:ext>
            </a:extLst>
          </p:cNvPr>
          <p:cNvGraphicFramePr>
            <a:graphicFrameLocks noChangeAspect="1"/>
          </p:cNvGraphicFramePr>
          <p:nvPr>
            <p:custDataLst>
              <p:tags r:id="rId2"/>
            </p:custDataLst>
            <p:extLst>
              <p:ext uri="{D42A27DB-BD31-4B8C-83A1-F6EECF244321}">
                <p14:modId xmlns:p14="http://schemas.microsoft.com/office/powerpoint/2010/main" val="121294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7A7BB22-526E-4EFB-9439-EA8A500090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7356AE-23EC-45FF-B3A3-958464B5A620}"/>
              </a:ext>
            </a:extLst>
          </p:cNvPr>
          <p:cNvSpPr>
            <a:spLocks noGrp="1"/>
          </p:cNvSpPr>
          <p:nvPr>
            <p:ph type="title"/>
          </p:nvPr>
        </p:nvSpPr>
        <p:spPr/>
        <p:txBody>
          <a:bodyPr vert="horz"/>
          <a:lstStyle/>
          <a:p>
            <a:r>
              <a:rPr lang="da-DK" dirty="0"/>
              <a:t>Modul 3: Andre følger af autisme</a:t>
            </a:r>
          </a:p>
        </p:txBody>
      </p:sp>
      <p:sp>
        <p:nvSpPr>
          <p:cNvPr id="3" name="Pladsholder til indhold 2">
            <a:extLst>
              <a:ext uri="{FF2B5EF4-FFF2-40B4-BE49-F238E27FC236}">
                <a16:creationId xmlns:a16="http://schemas.microsoft.com/office/drawing/2014/main" id="{3D7BEAE4-066D-4050-AD6D-FC79E2082246}"/>
              </a:ext>
            </a:extLst>
          </p:cNvPr>
          <p:cNvSpPr>
            <a:spLocks noGrp="1"/>
          </p:cNvSpPr>
          <p:nvPr>
            <p:ph idx="1"/>
          </p:nvPr>
        </p:nvSpPr>
        <p:spPr>
          <a:xfrm>
            <a:off x="628649" y="1700808"/>
            <a:ext cx="6823671" cy="4104456"/>
          </a:xfrm>
        </p:spPr>
        <p:txBody>
          <a:bodyPr vert="horz" lIns="91440" tIns="45720" rIns="91440" bIns="45720" rtlCol="0" anchor="t">
            <a:normAutofit/>
          </a:bodyPr>
          <a:lstStyle/>
          <a:p>
            <a:pPr marL="0" indent="0">
              <a:spcBef>
                <a:spcPts val="0"/>
              </a:spcBef>
              <a:spcAft>
                <a:spcPts val="1800"/>
              </a:spcAft>
              <a:buNone/>
            </a:pPr>
            <a:r>
              <a:rPr lang="da-DK" sz="2000" dirty="0"/>
              <a:t>På modulet ”andre udfordringer” lærte vi bl.a., at: </a:t>
            </a:r>
          </a:p>
          <a:p>
            <a:pPr>
              <a:spcBef>
                <a:spcPts val="0"/>
              </a:spcBef>
              <a:spcAft>
                <a:spcPts val="1800"/>
              </a:spcAft>
            </a:pPr>
            <a:r>
              <a:rPr lang="da-DK" sz="2000" dirty="0"/>
              <a:t>Personer med autisme har øget risiko for udvikling af sekundære psykiske forstyrrelser i ungdom og tidlig voksenalder.</a:t>
            </a:r>
          </a:p>
          <a:p>
            <a:pPr>
              <a:spcBef>
                <a:spcPts val="0"/>
              </a:spcBef>
              <a:spcAft>
                <a:spcPts val="1800"/>
              </a:spcAft>
            </a:pPr>
            <a:r>
              <a:rPr lang="da-DK" sz="2000" dirty="0"/>
              <a:t>Der er forskellige stressfaktorer (grundlæggende og situationsbestemte), som kan påvirke den unge. Man kan være opmærksom på </a:t>
            </a:r>
            <a:r>
              <a:rPr lang="da-DK" sz="2000" i="1" dirty="0"/>
              <a:t>advarselstegn </a:t>
            </a:r>
            <a:r>
              <a:rPr lang="da-DK" sz="2000" dirty="0"/>
              <a:t>og </a:t>
            </a:r>
            <a:r>
              <a:rPr lang="da-DK" sz="2000" i="1" dirty="0"/>
              <a:t>kaostegn</a:t>
            </a:r>
            <a:r>
              <a:rPr lang="da-DK" sz="2000" dirty="0"/>
              <a:t>.</a:t>
            </a:r>
          </a:p>
          <a:p>
            <a:pPr>
              <a:spcBef>
                <a:spcPts val="0"/>
              </a:spcBef>
              <a:spcAft>
                <a:spcPts val="1800"/>
              </a:spcAft>
            </a:pPr>
            <a:r>
              <a:rPr lang="da-DK" sz="2000" dirty="0"/>
              <a:t>At der er en række ting, der kan hjælpe den unge, fx kugledyne, lydisolering eller fordybelse i særinteresser.</a:t>
            </a:r>
          </a:p>
          <a:p>
            <a:pPr>
              <a:spcBef>
                <a:spcPts val="0"/>
              </a:spcBef>
              <a:spcAft>
                <a:spcPts val="1800"/>
              </a:spcAft>
            </a:pPr>
            <a:endParaRPr lang="da-DK" sz="2000" dirty="0"/>
          </a:p>
        </p:txBody>
      </p:sp>
    </p:spTree>
    <p:extLst>
      <p:ext uri="{BB962C8B-B14F-4D97-AF65-F5344CB8AC3E}">
        <p14:creationId xmlns:p14="http://schemas.microsoft.com/office/powerpoint/2010/main" val="188693048"/>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A7BB22-526E-4EFB-9439-EA8A500090C5}"/>
              </a:ext>
            </a:extLst>
          </p:cNvPr>
          <p:cNvGraphicFramePr>
            <a:graphicFrameLocks noChangeAspect="1"/>
          </p:cNvGraphicFramePr>
          <p:nvPr>
            <p:custDataLst>
              <p:tags r:id="rId2"/>
            </p:custDataLst>
            <p:extLst>
              <p:ext uri="{D42A27DB-BD31-4B8C-83A1-F6EECF244321}">
                <p14:modId xmlns:p14="http://schemas.microsoft.com/office/powerpoint/2010/main" val="3145755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7A7BB22-526E-4EFB-9439-EA8A500090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7356AE-23EC-45FF-B3A3-958464B5A620}"/>
              </a:ext>
            </a:extLst>
          </p:cNvPr>
          <p:cNvSpPr>
            <a:spLocks noGrp="1"/>
          </p:cNvSpPr>
          <p:nvPr>
            <p:ph type="title"/>
          </p:nvPr>
        </p:nvSpPr>
        <p:spPr/>
        <p:txBody>
          <a:bodyPr vert="horz"/>
          <a:lstStyle/>
          <a:p>
            <a:r>
              <a:rPr lang="da-DK" dirty="0"/>
              <a:t>Modul 3: Andre følger af autisme</a:t>
            </a:r>
          </a:p>
        </p:txBody>
      </p:sp>
      <p:sp>
        <p:nvSpPr>
          <p:cNvPr id="3" name="Pladsholder til indhold 2">
            <a:extLst>
              <a:ext uri="{FF2B5EF4-FFF2-40B4-BE49-F238E27FC236}">
                <a16:creationId xmlns:a16="http://schemas.microsoft.com/office/drawing/2014/main" id="{3D7BEAE4-066D-4050-AD6D-FC79E2082246}"/>
              </a:ext>
            </a:extLst>
          </p:cNvPr>
          <p:cNvSpPr>
            <a:spLocks noGrp="1"/>
          </p:cNvSpPr>
          <p:nvPr>
            <p:ph idx="1"/>
          </p:nvPr>
        </p:nvSpPr>
        <p:spPr>
          <a:xfrm>
            <a:off x="628649" y="1700808"/>
            <a:ext cx="6823671" cy="4104456"/>
          </a:xfrm>
        </p:spPr>
        <p:txBody>
          <a:bodyPr vert="horz" lIns="91440" tIns="45720" rIns="91440" bIns="45720" rtlCol="0" anchor="t">
            <a:normAutofit/>
          </a:bodyPr>
          <a:lstStyle/>
          <a:p>
            <a:pPr>
              <a:spcBef>
                <a:spcPts val="0"/>
              </a:spcBef>
              <a:spcAft>
                <a:spcPts val="1800"/>
              </a:spcAft>
            </a:pPr>
            <a:r>
              <a:rPr lang="da-DK" sz="2000" dirty="0"/>
              <a:t>Hvad lærte du om andre følger af autisme?</a:t>
            </a:r>
          </a:p>
          <a:p>
            <a:pPr>
              <a:spcBef>
                <a:spcPts val="0"/>
              </a:spcBef>
              <a:spcAft>
                <a:spcPts val="1800"/>
              </a:spcAft>
            </a:pPr>
            <a:endParaRPr lang="da-DK" sz="2000" dirty="0"/>
          </a:p>
        </p:txBody>
      </p:sp>
    </p:spTree>
    <p:extLst>
      <p:ext uri="{BB962C8B-B14F-4D97-AF65-F5344CB8AC3E}">
        <p14:creationId xmlns:p14="http://schemas.microsoft.com/office/powerpoint/2010/main" val="29049454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AA1CA112-064D-272C-E780-80F09E389128}"/>
              </a:ext>
            </a:extLst>
          </p:cNvPr>
          <p:cNvPicPr>
            <a:picLocks noChangeAspect="1"/>
          </p:cNvPicPr>
          <p:nvPr/>
        </p:nvPicPr>
        <p:blipFill rotWithShape="1">
          <a:blip r:embed="rId3"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p:txBody>
          <a:bodyPr/>
          <a:lstStyle/>
          <a:p>
            <a:r>
              <a:rPr lang="da-DK" dirty="0"/>
              <a:t>Modul 2: Udviklingsprofil</a:t>
            </a:r>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a:t>
            </a:r>
          </a:p>
          <a:p>
            <a:r>
              <a:rPr lang="da-DK" dirty="0"/>
              <a:t>At I får øget viden om unge med autismes udfordringer og ressourcer</a:t>
            </a:r>
          </a:p>
          <a:p>
            <a:r>
              <a:rPr lang="da-DK" dirty="0"/>
              <a:t>At I får viden, redskaber og handlemåder, der understøtter jer i at være positivt involveret i de unges liv. </a:t>
            </a:r>
          </a:p>
        </p:txBody>
      </p:sp>
    </p:spTree>
    <p:extLst>
      <p:ext uri="{BB962C8B-B14F-4D97-AF65-F5344CB8AC3E}">
        <p14:creationId xmlns:p14="http://schemas.microsoft.com/office/powerpoint/2010/main" val="1658909867"/>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A7BB22-526E-4EFB-9439-EA8A500090C5}"/>
              </a:ext>
            </a:extLst>
          </p:cNvPr>
          <p:cNvGraphicFramePr>
            <a:graphicFrameLocks noChangeAspect="1"/>
          </p:cNvGraphicFramePr>
          <p:nvPr>
            <p:custDataLst>
              <p:tags r:id="rId2"/>
            </p:custDataLst>
            <p:extLst>
              <p:ext uri="{D42A27DB-BD31-4B8C-83A1-F6EECF244321}">
                <p14:modId xmlns:p14="http://schemas.microsoft.com/office/powerpoint/2010/main" val="2118041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7A7BB22-526E-4EFB-9439-EA8A500090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7356AE-23EC-45FF-B3A3-958464B5A620}"/>
              </a:ext>
            </a:extLst>
          </p:cNvPr>
          <p:cNvSpPr>
            <a:spLocks noGrp="1"/>
          </p:cNvSpPr>
          <p:nvPr>
            <p:ph type="title"/>
          </p:nvPr>
        </p:nvSpPr>
        <p:spPr/>
        <p:txBody>
          <a:bodyPr vert="horz"/>
          <a:lstStyle/>
          <a:p>
            <a:r>
              <a:rPr lang="da-DK" dirty="0"/>
              <a:t>Modul 4: Anerkendende tilgang</a:t>
            </a:r>
          </a:p>
        </p:txBody>
      </p:sp>
      <p:sp>
        <p:nvSpPr>
          <p:cNvPr id="3" name="Pladsholder til indhold 2">
            <a:extLst>
              <a:ext uri="{FF2B5EF4-FFF2-40B4-BE49-F238E27FC236}">
                <a16:creationId xmlns:a16="http://schemas.microsoft.com/office/drawing/2014/main" id="{3D7BEAE4-066D-4050-AD6D-FC79E2082246}"/>
              </a:ext>
            </a:extLst>
          </p:cNvPr>
          <p:cNvSpPr>
            <a:spLocks noGrp="1"/>
          </p:cNvSpPr>
          <p:nvPr>
            <p:ph idx="1"/>
          </p:nvPr>
        </p:nvSpPr>
        <p:spPr>
          <a:xfrm>
            <a:off x="628649" y="1700808"/>
            <a:ext cx="6823671" cy="4104456"/>
          </a:xfrm>
        </p:spPr>
        <p:txBody>
          <a:bodyPr vert="horz" lIns="91440" tIns="45720" rIns="91440" bIns="45720" rtlCol="0" anchor="t">
            <a:normAutofit/>
          </a:bodyPr>
          <a:lstStyle/>
          <a:p>
            <a:pPr marL="0" indent="0">
              <a:spcBef>
                <a:spcPts val="0"/>
              </a:spcBef>
              <a:spcAft>
                <a:spcPts val="1800"/>
              </a:spcAft>
              <a:buNone/>
            </a:pPr>
            <a:r>
              <a:rPr lang="da-DK" sz="2000" dirty="0"/>
              <a:t>På modulet ”anerkendende tilgang” lærte vi bl.a.: </a:t>
            </a:r>
          </a:p>
          <a:p>
            <a:pPr>
              <a:spcBef>
                <a:spcPts val="0"/>
              </a:spcBef>
              <a:spcAft>
                <a:spcPts val="1800"/>
              </a:spcAft>
            </a:pPr>
            <a:r>
              <a:rPr lang="da-DK" sz="2000" dirty="0"/>
              <a:t>At der både er ydre og indre faktorer, der kan virke motiverende.</a:t>
            </a:r>
          </a:p>
          <a:p>
            <a:pPr>
              <a:spcBef>
                <a:spcPts val="0"/>
              </a:spcBef>
              <a:spcAft>
                <a:spcPts val="1800"/>
              </a:spcAft>
            </a:pPr>
            <a:r>
              <a:rPr lang="da-DK" sz="2000" dirty="0"/>
              <a:t>At anerkendelse er en vigtig del af motivationen.</a:t>
            </a:r>
          </a:p>
          <a:p>
            <a:pPr>
              <a:spcBef>
                <a:spcPts val="0"/>
              </a:spcBef>
              <a:spcAft>
                <a:spcPts val="1800"/>
              </a:spcAft>
            </a:pPr>
            <a:r>
              <a:rPr lang="da-DK" sz="2000" dirty="0"/>
              <a:t>Fik vi otte råd til mere motivation i hverdagen.</a:t>
            </a:r>
          </a:p>
        </p:txBody>
      </p:sp>
    </p:spTree>
    <p:extLst>
      <p:ext uri="{BB962C8B-B14F-4D97-AF65-F5344CB8AC3E}">
        <p14:creationId xmlns:p14="http://schemas.microsoft.com/office/powerpoint/2010/main" val="320832226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A7BB22-526E-4EFB-9439-EA8A500090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7A7BB22-526E-4EFB-9439-EA8A500090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7356AE-23EC-45FF-B3A3-958464B5A620}"/>
              </a:ext>
            </a:extLst>
          </p:cNvPr>
          <p:cNvSpPr>
            <a:spLocks noGrp="1"/>
          </p:cNvSpPr>
          <p:nvPr>
            <p:ph type="title"/>
          </p:nvPr>
        </p:nvSpPr>
        <p:spPr/>
        <p:txBody>
          <a:bodyPr vert="horz"/>
          <a:lstStyle/>
          <a:p>
            <a:r>
              <a:rPr lang="da-DK" dirty="0"/>
              <a:t>Modul 4: Anerkendende tilgang</a:t>
            </a:r>
          </a:p>
        </p:txBody>
      </p:sp>
      <p:sp>
        <p:nvSpPr>
          <p:cNvPr id="3" name="Pladsholder til indhold 2">
            <a:extLst>
              <a:ext uri="{FF2B5EF4-FFF2-40B4-BE49-F238E27FC236}">
                <a16:creationId xmlns:a16="http://schemas.microsoft.com/office/drawing/2014/main" id="{3D7BEAE4-066D-4050-AD6D-FC79E2082246}"/>
              </a:ext>
            </a:extLst>
          </p:cNvPr>
          <p:cNvSpPr>
            <a:spLocks noGrp="1"/>
          </p:cNvSpPr>
          <p:nvPr>
            <p:ph idx="1"/>
          </p:nvPr>
        </p:nvSpPr>
        <p:spPr>
          <a:xfrm>
            <a:off x="628649" y="1700808"/>
            <a:ext cx="6823671" cy="4104456"/>
          </a:xfrm>
        </p:spPr>
        <p:txBody>
          <a:bodyPr vert="horz" lIns="91440" tIns="45720" rIns="91440" bIns="45720" rtlCol="0" anchor="t">
            <a:normAutofit/>
          </a:bodyPr>
          <a:lstStyle/>
          <a:p>
            <a:pPr>
              <a:spcBef>
                <a:spcPts val="0"/>
              </a:spcBef>
              <a:spcAft>
                <a:spcPts val="1800"/>
              </a:spcAft>
            </a:pPr>
            <a:r>
              <a:rPr lang="da-DK" sz="2000" dirty="0"/>
              <a:t>Hvad lærte du om den unges motivation?</a:t>
            </a:r>
          </a:p>
          <a:p>
            <a:pPr>
              <a:spcBef>
                <a:spcPts val="0"/>
              </a:spcBef>
              <a:spcAft>
                <a:spcPts val="1800"/>
              </a:spcAft>
            </a:pPr>
            <a:r>
              <a:rPr lang="da-DK" sz="2000" dirty="0"/>
              <a:t>Er der noget særligt, som du vil benytte dig af for at motivere den/din unge?</a:t>
            </a:r>
          </a:p>
        </p:txBody>
      </p:sp>
    </p:spTree>
    <p:extLst>
      <p:ext uri="{BB962C8B-B14F-4D97-AF65-F5344CB8AC3E}">
        <p14:creationId xmlns:p14="http://schemas.microsoft.com/office/powerpoint/2010/main" val="1561393558"/>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A7BB22-526E-4EFB-9439-EA8A500090C5}"/>
              </a:ext>
            </a:extLst>
          </p:cNvPr>
          <p:cNvGraphicFramePr>
            <a:graphicFrameLocks noChangeAspect="1"/>
          </p:cNvGraphicFramePr>
          <p:nvPr>
            <p:custDataLst>
              <p:tags r:id="rId2"/>
            </p:custDataLst>
            <p:extLst>
              <p:ext uri="{D42A27DB-BD31-4B8C-83A1-F6EECF244321}">
                <p14:modId xmlns:p14="http://schemas.microsoft.com/office/powerpoint/2010/main" val="3376197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7A7BB22-526E-4EFB-9439-EA8A500090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7356AE-23EC-45FF-B3A3-958464B5A620}"/>
              </a:ext>
            </a:extLst>
          </p:cNvPr>
          <p:cNvSpPr>
            <a:spLocks noGrp="1"/>
          </p:cNvSpPr>
          <p:nvPr>
            <p:ph type="title"/>
          </p:nvPr>
        </p:nvSpPr>
        <p:spPr/>
        <p:txBody>
          <a:bodyPr vert="horz"/>
          <a:lstStyle/>
          <a:p>
            <a:r>
              <a:rPr lang="da-DK" dirty="0"/>
              <a:t>Modul 5: Konflikthåndtering</a:t>
            </a:r>
          </a:p>
        </p:txBody>
      </p:sp>
      <p:sp>
        <p:nvSpPr>
          <p:cNvPr id="3" name="Pladsholder til indhold 2">
            <a:extLst>
              <a:ext uri="{FF2B5EF4-FFF2-40B4-BE49-F238E27FC236}">
                <a16:creationId xmlns:a16="http://schemas.microsoft.com/office/drawing/2014/main" id="{3D7BEAE4-066D-4050-AD6D-FC79E2082246}"/>
              </a:ext>
            </a:extLst>
          </p:cNvPr>
          <p:cNvSpPr>
            <a:spLocks noGrp="1"/>
          </p:cNvSpPr>
          <p:nvPr>
            <p:ph idx="1"/>
          </p:nvPr>
        </p:nvSpPr>
        <p:spPr>
          <a:xfrm>
            <a:off x="628649" y="1700808"/>
            <a:ext cx="7327727" cy="4104456"/>
          </a:xfrm>
        </p:spPr>
        <p:txBody>
          <a:bodyPr vert="horz" lIns="91440" tIns="45720" rIns="91440" bIns="45720" rtlCol="0" anchor="t">
            <a:normAutofit lnSpcReduction="10000"/>
          </a:bodyPr>
          <a:lstStyle/>
          <a:p>
            <a:pPr marL="0" indent="0">
              <a:spcBef>
                <a:spcPts val="0"/>
              </a:spcBef>
              <a:spcAft>
                <a:spcPts val="600"/>
              </a:spcAft>
              <a:buNone/>
            </a:pPr>
            <a:r>
              <a:rPr lang="da-DK" sz="2000" dirty="0"/>
              <a:t>På modulet ”konflikthåndtering” fik vi indsigt i: </a:t>
            </a:r>
          </a:p>
          <a:p>
            <a:pPr>
              <a:spcBef>
                <a:spcPts val="0"/>
              </a:spcBef>
              <a:spcAft>
                <a:spcPts val="600"/>
              </a:spcAft>
            </a:pPr>
            <a:r>
              <a:rPr lang="da-DK" sz="2000" dirty="0"/>
              <a:t>De unges konflikthåndtering: </a:t>
            </a:r>
          </a:p>
          <a:p>
            <a:pPr lvl="2">
              <a:spcBef>
                <a:spcPts val="0"/>
              </a:spcBef>
              <a:spcAft>
                <a:spcPts val="600"/>
              </a:spcAft>
              <a:buFont typeface="Arial" panose="020B0604020202020204" pitchFamily="34" charset="0"/>
              <a:buChar char="•"/>
            </a:pPr>
            <a:r>
              <a:rPr lang="da-DK" sz="2000" i="0" dirty="0"/>
              <a:t>Hvorfor konflikter opstår</a:t>
            </a:r>
          </a:p>
          <a:p>
            <a:pPr lvl="2">
              <a:spcBef>
                <a:spcPts val="0"/>
              </a:spcBef>
              <a:spcAft>
                <a:spcPts val="600"/>
              </a:spcAft>
              <a:buFont typeface="Arial" panose="020B0604020202020204" pitchFamily="34" charset="0"/>
              <a:buChar char="•"/>
            </a:pPr>
            <a:r>
              <a:rPr lang="da-DK" sz="2000" i="0" dirty="0"/>
              <a:t>Hvordan man kan håndtere konflikter, fx ved at undgå konflikten, trække sig eller tage konflikten</a:t>
            </a:r>
          </a:p>
          <a:p>
            <a:pPr lvl="2">
              <a:spcBef>
                <a:spcPts val="0"/>
              </a:spcBef>
              <a:spcAft>
                <a:spcPts val="600"/>
              </a:spcAft>
              <a:buFont typeface="Arial" panose="020B0604020202020204" pitchFamily="34" charset="0"/>
              <a:buChar char="•"/>
            </a:pPr>
            <a:r>
              <a:rPr lang="da-DK" sz="2000" i="0" dirty="0"/>
              <a:t>At man kan bruge konfliktnedtrappende sprog</a:t>
            </a:r>
          </a:p>
          <a:p>
            <a:pPr lvl="2">
              <a:spcBef>
                <a:spcPts val="0"/>
              </a:spcBef>
              <a:spcAft>
                <a:spcPts val="600"/>
              </a:spcAft>
              <a:buFont typeface="Arial" panose="020B0604020202020204" pitchFamily="34" charset="0"/>
              <a:buChar char="•"/>
            </a:pPr>
            <a:r>
              <a:rPr lang="da-DK" sz="2000" i="0" dirty="0"/>
              <a:t>Hvordan man sætter grænser.</a:t>
            </a:r>
          </a:p>
          <a:p>
            <a:pPr>
              <a:spcBef>
                <a:spcPts val="0"/>
              </a:spcBef>
              <a:spcAft>
                <a:spcPts val="600"/>
              </a:spcAft>
            </a:pPr>
            <a:r>
              <a:rPr lang="da-DK" sz="2000" i="0" dirty="0"/>
              <a:t>Konflikter mellem forældre og den unge:</a:t>
            </a:r>
          </a:p>
          <a:p>
            <a:pPr lvl="2">
              <a:spcBef>
                <a:spcPts val="0"/>
              </a:spcBef>
              <a:spcAft>
                <a:spcPts val="600"/>
              </a:spcAft>
              <a:buFont typeface="Arial" panose="020B0604020202020204" pitchFamily="34" charset="0"/>
              <a:buChar char="•"/>
            </a:pPr>
            <a:r>
              <a:rPr lang="da-DK" sz="2000" i="0" dirty="0"/>
              <a:t>At vores adfærd til den unge har betydning for, hvorvidt konflikter eskalerer eller nedtrappes</a:t>
            </a:r>
          </a:p>
          <a:p>
            <a:pPr lvl="2">
              <a:spcBef>
                <a:spcPts val="0"/>
              </a:spcBef>
              <a:spcAft>
                <a:spcPts val="600"/>
              </a:spcAft>
              <a:buFont typeface="Arial" panose="020B0604020202020204" pitchFamily="34" charset="0"/>
              <a:buChar char="•"/>
            </a:pPr>
            <a:r>
              <a:rPr lang="da-DK" sz="2000" i="0" dirty="0"/>
              <a:t>At man ved at benytte konfliktnedtrappende adfærd/sprog (girafsprog) kan reducere konfliktniveauet.</a:t>
            </a:r>
          </a:p>
        </p:txBody>
      </p:sp>
    </p:spTree>
    <p:extLst>
      <p:ext uri="{BB962C8B-B14F-4D97-AF65-F5344CB8AC3E}">
        <p14:creationId xmlns:p14="http://schemas.microsoft.com/office/powerpoint/2010/main" val="257606884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A7BB22-526E-4EFB-9439-EA8A500090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7A7BB22-526E-4EFB-9439-EA8A500090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7356AE-23EC-45FF-B3A3-958464B5A620}"/>
              </a:ext>
            </a:extLst>
          </p:cNvPr>
          <p:cNvSpPr>
            <a:spLocks noGrp="1"/>
          </p:cNvSpPr>
          <p:nvPr>
            <p:ph type="title"/>
          </p:nvPr>
        </p:nvSpPr>
        <p:spPr/>
        <p:txBody>
          <a:bodyPr vert="horz"/>
          <a:lstStyle/>
          <a:p>
            <a:r>
              <a:rPr lang="da-DK" dirty="0"/>
              <a:t>Modul 5: Konflikthåndtering</a:t>
            </a:r>
          </a:p>
        </p:txBody>
      </p:sp>
      <p:sp>
        <p:nvSpPr>
          <p:cNvPr id="3" name="Pladsholder til indhold 2">
            <a:extLst>
              <a:ext uri="{FF2B5EF4-FFF2-40B4-BE49-F238E27FC236}">
                <a16:creationId xmlns:a16="http://schemas.microsoft.com/office/drawing/2014/main" id="{3D7BEAE4-066D-4050-AD6D-FC79E2082246}"/>
              </a:ext>
            </a:extLst>
          </p:cNvPr>
          <p:cNvSpPr>
            <a:spLocks noGrp="1"/>
          </p:cNvSpPr>
          <p:nvPr>
            <p:ph idx="1"/>
          </p:nvPr>
        </p:nvSpPr>
        <p:spPr>
          <a:xfrm>
            <a:off x="628649" y="1700808"/>
            <a:ext cx="7327727" cy="4104456"/>
          </a:xfrm>
        </p:spPr>
        <p:txBody>
          <a:bodyPr vert="horz" lIns="91440" tIns="45720" rIns="91440" bIns="45720" rtlCol="0" anchor="t">
            <a:normAutofit/>
          </a:bodyPr>
          <a:lstStyle/>
          <a:p>
            <a:r>
              <a:rPr lang="da-DK" sz="2000" dirty="0"/>
              <a:t>Hvad lærte du om den unges konflikthåndtering?</a:t>
            </a:r>
          </a:p>
          <a:p>
            <a:r>
              <a:rPr lang="da-DK" sz="2000" dirty="0"/>
              <a:t>Blev du klogere på, hvordan man kan håndtere konflikter med sit barn?</a:t>
            </a:r>
          </a:p>
          <a:p>
            <a:r>
              <a:rPr lang="da-DK" sz="2000" dirty="0"/>
              <a:t>Hvordan kan man bruge kommunikation til at undgå konflikter?</a:t>
            </a:r>
          </a:p>
        </p:txBody>
      </p:sp>
    </p:spTree>
    <p:extLst>
      <p:ext uri="{BB962C8B-B14F-4D97-AF65-F5344CB8AC3E}">
        <p14:creationId xmlns:p14="http://schemas.microsoft.com/office/powerpoint/2010/main" val="12582857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A7BB22-526E-4EFB-9439-EA8A500090C5}"/>
              </a:ext>
            </a:extLst>
          </p:cNvPr>
          <p:cNvGraphicFramePr>
            <a:graphicFrameLocks noChangeAspect="1"/>
          </p:cNvGraphicFramePr>
          <p:nvPr>
            <p:custDataLst>
              <p:tags r:id="rId2"/>
            </p:custDataLst>
            <p:extLst>
              <p:ext uri="{D42A27DB-BD31-4B8C-83A1-F6EECF244321}">
                <p14:modId xmlns:p14="http://schemas.microsoft.com/office/powerpoint/2010/main" val="1476652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7A7BB22-526E-4EFB-9439-EA8A500090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7356AE-23EC-45FF-B3A3-958464B5A620}"/>
              </a:ext>
            </a:extLst>
          </p:cNvPr>
          <p:cNvSpPr>
            <a:spLocks noGrp="1"/>
          </p:cNvSpPr>
          <p:nvPr>
            <p:ph type="title"/>
          </p:nvPr>
        </p:nvSpPr>
        <p:spPr>
          <a:xfrm>
            <a:off x="628649" y="764704"/>
            <a:ext cx="8119815" cy="756084"/>
          </a:xfrm>
        </p:spPr>
        <p:txBody>
          <a:bodyPr vert="horz"/>
          <a:lstStyle/>
          <a:p>
            <a:r>
              <a:rPr lang="da-DK" sz="2800" dirty="0"/>
              <a:t>Modul 6: Deltagelse i samfundets fællesskaber</a:t>
            </a:r>
          </a:p>
        </p:txBody>
      </p:sp>
      <p:sp>
        <p:nvSpPr>
          <p:cNvPr id="3" name="Pladsholder til indhold 2">
            <a:extLst>
              <a:ext uri="{FF2B5EF4-FFF2-40B4-BE49-F238E27FC236}">
                <a16:creationId xmlns:a16="http://schemas.microsoft.com/office/drawing/2014/main" id="{3D7BEAE4-066D-4050-AD6D-FC79E2082246}"/>
              </a:ext>
            </a:extLst>
          </p:cNvPr>
          <p:cNvSpPr>
            <a:spLocks noGrp="1"/>
          </p:cNvSpPr>
          <p:nvPr>
            <p:ph idx="1"/>
          </p:nvPr>
        </p:nvSpPr>
        <p:spPr>
          <a:xfrm>
            <a:off x="628649" y="1700808"/>
            <a:ext cx="7904163" cy="4104456"/>
          </a:xfrm>
        </p:spPr>
        <p:txBody>
          <a:bodyPr vert="horz" lIns="91440" tIns="45720" rIns="91440" bIns="45720" rtlCol="0" anchor="t">
            <a:normAutofit/>
          </a:bodyPr>
          <a:lstStyle/>
          <a:p>
            <a:pPr marL="0" indent="0">
              <a:spcBef>
                <a:spcPts val="0"/>
              </a:spcBef>
              <a:spcAft>
                <a:spcPts val="600"/>
              </a:spcAft>
              <a:buNone/>
            </a:pPr>
            <a:r>
              <a:rPr lang="da-DK" sz="2000" dirty="0"/>
              <a:t>På modulet ”deltagelse i samfundets fællesskaber” fik vi: </a:t>
            </a:r>
          </a:p>
          <a:p>
            <a:r>
              <a:rPr lang="da-DK" sz="2000" dirty="0"/>
              <a:t>Øget viden om de udfordringer og muligheder jeres barn kan opleve i forhold til voksenlivet:</a:t>
            </a:r>
          </a:p>
          <a:p>
            <a:pPr lvl="2">
              <a:buFont typeface="Arial" panose="020B0604020202020204" pitchFamily="34" charset="0"/>
              <a:buChar char="•"/>
            </a:pPr>
            <a:r>
              <a:rPr lang="da-DK" sz="2000" i="0" dirty="0"/>
              <a:t>Deltagelse i sociale fællesskaber kan være udfordrende</a:t>
            </a:r>
          </a:p>
          <a:p>
            <a:pPr lvl="2">
              <a:buFont typeface="Arial" panose="020B0604020202020204" pitchFamily="34" charset="0"/>
              <a:buChar char="•"/>
            </a:pPr>
            <a:r>
              <a:rPr lang="da-DK" sz="2000" i="0" dirty="0"/>
              <a:t>De fleste mennesker kan føle sig ensomme, men der er også ting man kan gøre for at overvinde ensomhed</a:t>
            </a:r>
          </a:p>
          <a:p>
            <a:pPr lvl="2">
              <a:buFont typeface="Arial" panose="020B0604020202020204" pitchFamily="34" charset="0"/>
              <a:buChar char="•"/>
            </a:pPr>
            <a:r>
              <a:rPr lang="da-DK" sz="2000" i="0" dirty="0"/>
              <a:t>Overgangen til uddannelse og job kan være en udfordring for unge med autisme og kræver til tider støtte</a:t>
            </a:r>
          </a:p>
          <a:p>
            <a:pPr lvl="2">
              <a:buFont typeface="Arial" panose="020B0604020202020204" pitchFamily="34" charset="0"/>
              <a:buChar char="•"/>
            </a:pPr>
            <a:r>
              <a:rPr lang="da-DK" sz="2000" i="0" dirty="0"/>
              <a:t>Det kan være svært at flytte hjemmefra, men der findes konkrete redskaber, som kan hjælpe med at strukturere hverdagen.</a:t>
            </a:r>
            <a:endParaRPr lang="da-DK" sz="2000" dirty="0"/>
          </a:p>
          <a:p>
            <a:pPr marL="0" indent="0">
              <a:spcBef>
                <a:spcPts val="0"/>
              </a:spcBef>
              <a:spcAft>
                <a:spcPts val="600"/>
              </a:spcAft>
              <a:buNone/>
            </a:pPr>
            <a:endParaRPr lang="da-DK" sz="2000" dirty="0"/>
          </a:p>
        </p:txBody>
      </p:sp>
    </p:spTree>
    <p:extLst>
      <p:ext uri="{BB962C8B-B14F-4D97-AF65-F5344CB8AC3E}">
        <p14:creationId xmlns:p14="http://schemas.microsoft.com/office/powerpoint/2010/main" val="412318127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A7BB22-526E-4EFB-9439-EA8A500090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7A7BB22-526E-4EFB-9439-EA8A500090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7356AE-23EC-45FF-B3A3-958464B5A620}"/>
              </a:ext>
            </a:extLst>
          </p:cNvPr>
          <p:cNvSpPr>
            <a:spLocks noGrp="1"/>
          </p:cNvSpPr>
          <p:nvPr>
            <p:ph type="title"/>
          </p:nvPr>
        </p:nvSpPr>
        <p:spPr>
          <a:xfrm>
            <a:off x="628649" y="764704"/>
            <a:ext cx="8119815" cy="756084"/>
          </a:xfrm>
        </p:spPr>
        <p:txBody>
          <a:bodyPr vert="horz"/>
          <a:lstStyle/>
          <a:p>
            <a:r>
              <a:rPr lang="da-DK" sz="2800" dirty="0"/>
              <a:t>Modul 6: Deltagelse i samfundets fællesskaber</a:t>
            </a:r>
          </a:p>
        </p:txBody>
      </p:sp>
      <p:sp>
        <p:nvSpPr>
          <p:cNvPr id="3" name="Pladsholder til indhold 2">
            <a:extLst>
              <a:ext uri="{FF2B5EF4-FFF2-40B4-BE49-F238E27FC236}">
                <a16:creationId xmlns:a16="http://schemas.microsoft.com/office/drawing/2014/main" id="{3D7BEAE4-066D-4050-AD6D-FC79E2082246}"/>
              </a:ext>
            </a:extLst>
          </p:cNvPr>
          <p:cNvSpPr>
            <a:spLocks noGrp="1"/>
          </p:cNvSpPr>
          <p:nvPr>
            <p:ph idx="1"/>
          </p:nvPr>
        </p:nvSpPr>
        <p:spPr>
          <a:xfrm>
            <a:off x="628649" y="1700808"/>
            <a:ext cx="7904163" cy="4104456"/>
          </a:xfrm>
        </p:spPr>
        <p:txBody>
          <a:bodyPr vert="horz" lIns="91440" tIns="45720" rIns="91440" bIns="45720" rtlCol="0" anchor="t">
            <a:normAutofit/>
          </a:bodyPr>
          <a:lstStyle/>
          <a:p>
            <a:pPr>
              <a:spcBef>
                <a:spcPts val="0"/>
              </a:spcBef>
              <a:spcAft>
                <a:spcPts val="600"/>
              </a:spcAft>
            </a:pPr>
            <a:r>
              <a:rPr lang="da-DK" sz="2000" dirty="0"/>
              <a:t>Hvad lærte du om den/din unges deltagelse i samfundets fællesskaber?</a:t>
            </a:r>
          </a:p>
          <a:p>
            <a:pPr>
              <a:spcBef>
                <a:spcPts val="0"/>
              </a:spcBef>
              <a:spcAft>
                <a:spcPts val="600"/>
              </a:spcAft>
            </a:pPr>
            <a:r>
              <a:rPr lang="da-DK" sz="2000" dirty="0"/>
              <a:t>Hvad kan du gøre for at understøtte, at den/din unge deltager i sociale fællesskaber?</a:t>
            </a:r>
          </a:p>
          <a:p>
            <a:pPr>
              <a:spcBef>
                <a:spcPts val="0"/>
              </a:spcBef>
              <a:spcAft>
                <a:spcPts val="600"/>
              </a:spcAft>
            </a:pPr>
            <a:r>
              <a:rPr lang="da-DK" sz="2000" dirty="0"/>
              <a:t>Hvordan kan du understøtte den/din unge, når han/hun flytter hjemmefra?</a:t>
            </a:r>
          </a:p>
          <a:p>
            <a:pPr>
              <a:spcBef>
                <a:spcPts val="0"/>
              </a:spcBef>
              <a:spcAft>
                <a:spcPts val="600"/>
              </a:spcAft>
            </a:pPr>
            <a:endParaRPr lang="da-DK" sz="2000" dirty="0"/>
          </a:p>
        </p:txBody>
      </p:sp>
    </p:spTree>
    <p:extLst>
      <p:ext uri="{BB962C8B-B14F-4D97-AF65-F5344CB8AC3E}">
        <p14:creationId xmlns:p14="http://schemas.microsoft.com/office/powerpoint/2010/main" val="3025864471"/>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A7BB22-526E-4EFB-9439-EA8A500090C5}"/>
              </a:ext>
            </a:extLst>
          </p:cNvPr>
          <p:cNvGraphicFramePr>
            <a:graphicFrameLocks noChangeAspect="1"/>
          </p:cNvGraphicFramePr>
          <p:nvPr>
            <p:custDataLst>
              <p:tags r:id="rId2"/>
            </p:custDataLst>
            <p:extLst>
              <p:ext uri="{D42A27DB-BD31-4B8C-83A1-F6EECF244321}">
                <p14:modId xmlns:p14="http://schemas.microsoft.com/office/powerpoint/2010/main" val="3393945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7A7BB22-526E-4EFB-9439-EA8A500090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7356AE-23EC-45FF-B3A3-958464B5A620}"/>
              </a:ext>
            </a:extLst>
          </p:cNvPr>
          <p:cNvSpPr>
            <a:spLocks noGrp="1"/>
          </p:cNvSpPr>
          <p:nvPr>
            <p:ph type="title"/>
          </p:nvPr>
        </p:nvSpPr>
        <p:spPr>
          <a:xfrm>
            <a:off x="628649" y="764704"/>
            <a:ext cx="8119815" cy="756084"/>
          </a:xfrm>
        </p:spPr>
        <p:txBody>
          <a:bodyPr vert="horz"/>
          <a:lstStyle/>
          <a:p>
            <a:r>
              <a:rPr lang="da-DK" sz="2800" dirty="0"/>
              <a:t>Modul 7: Rettigheder og muligheder for støtte</a:t>
            </a:r>
          </a:p>
        </p:txBody>
      </p:sp>
      <p:sp>
        <p:nvSpPr>
          <p:cNvPr id="3" name="Pladsholder til indhold 2">
            <a:extLst>
              <a:ext uri="{FF2B5EF4-FFF2-40B4-BE49-F238E27FC236}">
                <a16:creationId xmlns:a16="http://schemas.microsoft.com/office/drawing/2014/main" id="{3D7BEAE4-066D-4050-AD6D-FC79E2082246}"/>
              </a:ext>
            </a:extLst>
          </p:cNvPr>
          <p:cNvSpPr>
            <a:spLocks noGrp="1"/>
          </p:cNvSpPr>
          <p:nvPr>
            <p:ph idx="1"/>
          </p:nvPr>
        </p:nvSpPr>
        <p:spPr>
          <a:xfrm>
            <a:off x="628649" y="1700808"/>
            <a:ext cx="7904163" cy="4104456"/>
          </a:xfrm>
        </p:spPr>
        <p:txBody>
          <a:bodyPr vert="horz" lIns="91440" tIns="45720" rIns="91440" bIns="45720" rtlCol="0" anchor="t">
            <a:normAutofit/>
          </a:bodyPr>
          <a:lstStyle/>
          <a:p>
            <a:pPr marL="0" indent="0">
              <a:spcBef>
                <a:spcPts val="0"/>
              </a:spcBef>
              <a:spcAft>
                <a:spcPts val="600"/>
              </a:spcAft>
              <a:buNone/>
            </a:pPr>
            <a:r>
              <a:rPr lang="da-DK" sz="2000" dirty="0"/>
              <a:t>På modulet ”rettigheder og muligheder for støtte” fik vi: </a:t>
            </a:r>
          </a:p>
          <a:p>
            <a:r>
              <a:rPr lang="da-DK" sz="2000" dirty="0"/>
              <a:t>Viden om hvilke ændringer det medfører, at den unge bliver 18 år og dermed bliver myndig </a:t>
            </a:r>
          </a:p>
          <a:p>
            <a:r>
              <a:rPr lang="da-DK" sz="2000" dirty="0"/>
              <a:t>Indsigt i de rettigheder og muligheder for støtte, der findes i kommunalt regi og i civilsamfundet</a:t>
            </a:r>
          </a:p>
          <a:p>
            <a:r>
              <a:rPr lang="da-DK" sz="2000" dirty="0"/>
              <a:t>Understreget vigtigheden af at understøtte den unge i overgangen til voksenlivet.</a:t>
            </a:r>
          </a:p>
        </p:txBody>
      </p:sp>
    </p:spTree>
    <p:extLst>
      <p:ext uri="{BB962C8B-B14F-4D97-AF65-F5344CB8AC3E}">
        <p14:creationId xmlns:p14="http://schemas.microsoft.com/office/powerpoint/2010/main" val="414977919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A7BB22-526E-4EFB-9439-EA8A500090C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7A7BB22-526E-4EFB-9439-EA8A500090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67356AE-23EC-45FF-B3A3-958464B5A620}"/>
              </a:ext>
            </a:extLst>
          </p:cNvPr>
          <p:cNvSpPr>
            <a:spLocks noGrp="1"/>
          </p:cNvSpPr>
          <p:nvPr>
            <p:ph type="title"/>
          </p:nvPr>
        </p:nvSpPr>
        <p:spPr>
          <a:xfrm>
            <a:off x="628649" y="764704"/>
            <a:ext cx="8119815" cy="756084"/>
          </a:xfrm>
        </p:spPr>
        <p:txBody>
          <a:bodyPr vert="horz"/>
          <a:lstStyle/>
          <a:p>
            <a:r>
              <a:rPr lang="da-DK" sz="2800" dirty="0"/>
              <a:t>Modul 7: Rettigheder og muligheder for støtte</a:t>
            </a:r>
          </a:p>
        </p:txBody>
      </p:sp>
      <p:sp>
        <p:nvSpPr>
          <p:cNvPr id="3" name="Pladsholder til indhold 2">
            <a:extLst>
              <a:ext uri="{FF2B5EF4-FFF2-40B4-BE49-F238E27FC236}">
                <a16:creationId xmlns:a16="http://schemas.microsoft.com/office/drawing/2014/main" id="{3D7BEAE4-066D-4050-AD6D-FC79E2082246}"/>
              </a:ext>
            </a:extLst>
          </p:cNvPr>
          <p:cNvSpPr>
            <a:spLocks noGrp="1"/>
          </p:cNvSpPr>
          <p:nvPr>
            <p:ph idx="1"/>
          </p:nvPr>
        </p:nvSpPr>
        <p:spPr>
          <a:xfrm>
            <a:off x="628649" y="1700808"/>
            <a:ext cx="7904163" cy="4104456"/>
          </a:xfrm>
        </p:spPr>
        <p:txBody>
          <a:bodyPr vert="horz" lIns="91440" tIns="45720" rIns="91440" bIns="45720" rtlCol="0" anchor="t">
            <a:normAutofit/>
          </a:bodyPr>
          <a:lstStyle/>
          <a:p>
            <a:pPr>
              <a:spcBef>
                <a:spcPts val="0"/>
              </a:spcBef>
              <a:spcAft>
                <a:spcPts val="600"/>
              </a:spcAft>
            </a:pPr>
            <a:r>
              <a:rPr lang="da-DK" sz="2000" dirty="0"/>
              <a:t>Hvilke muligheder og rettigheder blev du opmærksom på ifm. modulet?</a:t>
            </a:r>
          </a:p>
          <a:p>
            <a:pPr>
              <a:spcBef>
                <a:spcPts val="0"/>
              </a:spcBef>
              <a:spcAft>
                <a:spcPts val="600"/>
              </a:spcAft>
            </a:pPr>
            <a:r>
              <a:rPr lang="da-DK" sz="2000" dirty="0"/>
              <a:t>Hvilken støtte er den vigtigste for den/din unge?</a:t>
            </a:r>
          </a:p>
        </p:txBody>
      </p:sp>
    </p:spTree>
    <p:extLst>
      <p:ext uri="{BB962C8B-B14F-4D97-AF65-F5344CB8AC3E}">
        <p14:creationId xmlns:p14="http://schemas.microsoft.com/office/powerpoint/2010/main" val="44974722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28648" y="1196752"/>
            <a:ext cx="7904163" cy="4248150"/>
          </a:xfrm>
        </p:spPr>
        <p:txBody>
          <a:bodyPr/>
          <a:lstStyle/>
          <a:p>
            <a:pPr marL="0" indent="0">
              <a:buNone/>
            </a:pPr>
            <a:r>
              <a:rPr lang="da-DK" sz="2800" b="1" dirty="0">
                <a:solidFill>
                  <a:schemeClr val="tx2"/>
                </a:solidFill>
              </a:rPr>
              <a:t>Drøftelse </a:t>
            </a:r>
          </a:p>
          <a:p>
            <a:pPr marL="0" indent="0">
              <a:buNone/>
            </a:pPr>
            <a:endParaRPr lang="da-DK" sz="2800" b="1" dirty="0">
              <a:solidFill>
                <a:schemeClr val="tx2"/>
              </a:solidFill>
            </a:endParaRPr>
          </a:p>
          <a:p>
            <a:r>
              <a:rPr lang="da-DK" dirty="0"/>
              <a:t>Hvordan vil jeg understøtte den unge efter forløbet?</a:t>
            </a:r>
          </a:p>
          <a:p>
            <a:r>
              <a:rPr lang="da-DK" dirty="0"/>
              <a:t>Hvad vil jeg fortsætte med at gøre ift. den unge?</a:t>
            </a:r>
          </a:p>
          <a:p>
            <a:r>
              <a:rPr lang="da-DK" dirty="0"/>
              <a:t>Hvad skal jeg ændre?</a:t>
            </a:r>
          </a:p>
          <a:p>
            <a:r>
              <a:rPr lang="da-DK" dirty="0"/>
              <a:t>Hvilke særlige opmærksomhedspunkter er der ift. at understøtte den unge? </a:t>
            </a:r>
          </a:p>
          <a:p>
            <a:pPr marL="0" indent="0">
              <a:buNone/>
            </a:pPr>
            <a:endParaRPr lang="da-DK" dirty="0"/>
          </a:p>
        </p:txBody>
      </p:sp>
      <p:grpSp>
        <p:nvGrpSpPr>
          <p:cNvPr id="6" name="Group 946">
            <a:extLst>
              <a:ext uri="{FF2B5EF4-FFF2-40B4-BE49-F238E27FC236}">
                <a16:creationId xmlns:a16="http://schemas.microsoft.com/office/drawing/2014/main" id="{94E9A713-E23B-4580-BBB2-F9DF8F3AA65C}"/>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7D0B43FC-BA75-44AD-9510-1593FE64C8E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Freeform 4985">
              <a:extLst>
                <a:ext uri="{FF2B5EF4-FFF2-40B4-BE49-F238E27FC236}">
                  <a16:creationId xmlns:a16="http://schemas.microsoft.com/office/drawing/2014/main" id="{A8694AAB-824C-4E07-A2B5-BD536BCB3ABA}"/>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331585723"/>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2DDF4-5465-4D23-8456-5ED4496AE120}"/>
              </a:ext>
            </a:extLst>
          </p:cNvPr>
          <p:cNvSpPr>
            <a:spLocks noGrp="1"/>
          </p:cNvSpPr>
          <p:nvPr>
            <p:ph type="title"/>
          </p:nvPr>
        </p:nvSpPr>
        <p:spPr/>
        <p:txBody>
          <a:bodyPr/>
          <a:lstStyle/>
          <a:p>
            <a:r>
              <a:rPr lang="da-DK" dirty="0"/>
              <a:t>Hvad tager vi med os hjem</a:t>
            </a:r>
          </a:p>
        </p:txBody>
      </p:sp>
      <p:sp>
        <p:nvSpPr>
          <p:cNvPr id="3" name="Content Placeholder 2">
            <a:extLst>
              <a:ext uri="{FF2B5EF4-FFF2-40B4-BE49-F238E27FC236}">
                <a16:creationId xmlns:a16="http://schemas.microsoft.com/office/drawing/2014/main" id="{8BE087A5-0728-49A2-B32F-73E2B0420802}"/>
              </a:ext>
            </a:extLst>
          </p:cNvPr>
          <p:cNvSpPr>
            <a:spLocks noGrp="1"/>
          </p:cNvSpPr>
          <p:nvPr>
            <p:ph idx="1"/>
          </p:nvPr>
        </p:nvSpPr>
        <p:spPr/>
        <p:txBody>
          <a:bodyPr/>
          <a:lstStyle/>
          <a:p>
            <a:r>
              <a:rPr lang="da-DK" dirty="0"/>
              <a:t>Hvad har været godt i dag?</a:t>
            </a:r>
          </a:p>
          <a:p>
            <a:r>
              <a:rPr lang="da-DK" dirty="0"/>
              <a:t>Er der noget, som I har savnet i dag?</a:t>
            </a:r>
          </a:p>
        </p:txBody>
      </p:sp>
      <p:sp>
        <p:nvSpPr>
          <p:cNvPr id="11" name="Speech Bubble: Rectangle with Corners Rounded 10">
            <a:extLst>
              <a:ext uri="{FF2B5EF4-FFF2-40B4-BE49-F238E27FC236}">
                <a16:creationId xmlns:a16="http://schemas.microsoft.com/office/drawing/2014/main" id="{18BDFDC3-A7F9-4926-BD1F-8C2CA4EDC8E6}"/>
              </a:ext>
            </a:extLst>
          </p:cNvPr>
          <p:cNvSpPr/>
          <p:nvPr/>
        </p:nvSpPr>
        <p:spPr>
          <a:xfrm>
            <a:off x="5166367" y="3501008"/>
            <a:ext cx="3510089" cy="1673299"/>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Udfyld logbogen med </a:t>
            </a:r>
            <a:br>
              <a:rPr lang="da-DK" sz="1400" i="1" dirty="0">
                <a:solidFill>
                  <a:schemeClr val="tx1"/>
                </a:solidFill>
              </a:rPr>
            </a:br>
            <a:r>
              <a:rPr lang="da-DK" sz="1400" i="1" dirty="0">
                <a:solidFill>
                  <a:schemeClr val="tx1"/>
                </a:solidFill>
              </a:rPr>
              <a:t>jeres refleksioner</a:t>
            </a:r>
          </a:p>
        </p:txBody>
      </p:sp>
      <p:grpSp>
        <p:nvGrpSpPr>
          <p:cNvPr id="8" name="Group 7">
            <a:extLst>
              <a:ext uri="{FF2B5EF4-FFF2-40B4-BE49-F238E27FC236}">
                <a16:creationId xmlns:a16="http://schemas.microsoft.com/office/drawing/2014/main" id="{6D68FC14-8A7D-467F-9AB8-D1511B87E95B}"/>
              </a:ext>
            </a:extLst>
          </p:cNvPr>
          <p:cNvGrpSpPr/>
          <p:nvPr/>
        </p:nvGrpSpPr>
        <p:grpSpPr>
          <a:xfrm>
            <a:off x="7758655" y="3716430"/>
            <a:ext cx="612000" cy="612000"/>
            <a:chOff x="8742468" y="3474401"/>
            <a:chExt cx="612000" cy="612000"/>
          </a:xfrm>
          <a:solidFill>
            <a:srgbClr val="C00000"/>
          </a:solidFill>
        </p:grpSpPr>
        <p:sp>
          <p:nvSpPr>
            <p:cNvPr id="9" name="Oval 8">
              <a:extLst>
                <a:ext uri="{FF2B5EF4-FFF2-40B4-BE49-F238E27FC236}">
                  <a16:creationId xmlns:a16="http://schemas.microsoft.com/office/drawing/2014/main" id="{F5D8C33D-D1DA-4128-A1E8-465D0DBAF011}"/>
                </a:ext>
              </a:extLst>
            </p:cNvPr>
            <p:cNvSpPr/>
            <p:nvPr/>
          </p:nvSpPr>
          <p:spPr bwMode="ltGray">
            <a:xfrm>
              <a:off x="8742468" y="3474401"/>
              <a:ext cx="612000" cy="612000"/>
            </a:xfrm>
            <a:prstGeom prst="ellipse">
              <a:avLst/>
            </a:prstGeom>
            <a:grpFill/>
            <a:ln w="3175" cap="flat" cmpd="sng" algn="ctr">
              <a:solidFill>
                <a:srgbClr val="DC6900"/>
              </a:solidFill>
              <a:prstDash val="solid"/>
            </a:ln>
            <a:effectLst/>
          </p:spPr>
          <p:txBody>
            <a:bodyPr rtlCol="0" anchor="ct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err="1">
                <a:ln>
                  <a:noFill/>
                </a:ln>
                <a:solidFill>
                  <a:srgbClr val="FFFFFF"/>
                </a:solidFill>
                <a:effectLst/>
                <a:uLnTx/>
                <a:uFillTx/>
                <a:latin typeface="Georgia" pitchFamily="18" charset="0"/>
                <a:ea typeface="+mn-ea"/>
                <a:cs typeface="+mn-cs"/>
              </a:endParaRPr>
            </a:p>
          </p:txBody>
        </p:sp>
        <p:sp>
          <p:nvSpPr>
            <p:cNvPr id="10" name="Freeform 4847">
              <a:extLst>
                <a:ext uri="{FF2B5EF4-FFF2-40B4-BE49-F238E27FC236}">
                  <a16:creationId xmlns:a16="http://schemas.microsoft.com/office/drawing/2014/main" id="{768BD847-845C-42D3-BEAE-CA55A16A4969}"/>
                </a:ext>
              </a:extLst>
            </p:cNvPr>
            <p:cNvSpPr>
              <a:spLocks noEditPoints="1"/>
            </p:cNvSpPr>
            <p:nvPr/>
          </p:nvSpPr>
          <p:spPr bwMode="auto">
            <a:xfrm>
              <a:off x="8894545" y="3569952"/>
              <a:ext cx="307068" cy="424047"/>
            </a:xfrm>
            <a:custGeom>
              <a:avLst/>
              <a:gdLst>
                <a:gd name="T0" fmla="*/ 252 w 252"/>
                <a:gd name="T1" fmla="*/ 332 h 348"/>
                <a:gd name="T2" fmla="*/ 242 w 252"/>
                <a:gd name="T3" fmla="*/ 346 h 348"/>
                <a:gd name="T4" fmla="*/ 16 w 252"/>
                <a:gd name="T5" fmla="*/ 348 h 348"/>
                <a:gd name="T6" fmla="*/ 2 w 252"/>
                <a:gd name="T7" fmla="*/ 338 h 348"/>
                <a:gd name="T8" fmla="*/ 0 w 252"/>
                <a:gd name="T9" fmla="*/ 32 h 348"/>
                <a:gd name="T10" fmla="*/ 10 w 252"/>
                <a:gd name="T11" fmla="*/ 16 h 348"/>
                <a:gd name="T12" fmla="*/ 90 w 252"/>
                <a:gd name="T13" fmla="*/ 16 h 348"/>
                <a:gd name="T14" fmla="*/ 86 w 252"/>
                <a:gd name="T15" fmla="*/ 30 h 348"/>
                <a:gd name="T16" fmla="*/ 16 w 252"/>
                <a:gd name="T17" fmla="*/ 332 h 348"/>
                <a:gd name="T18" fmla="*/ 168 w 252"/>
                <a:gd name="T19" fmla="*/ 34 h 348"/>
                <a:gd name="T20" fmla="*/ 164 w 252"/>
                <a:gd name="T21" fmla="*/ 26 h 348"/>
                <a:gd name="T22" fmla="*/ 236 w 252"/>
                <a:gd name="T23" fmla="*/ 16 h 348"/>
                <a:gd name="T24" fmla="*/ 248 w 252"/>
                <a:gd name="T25" fmla="*/ 20 h 348"/>
                <a:gd name="T26" fmla="*/ 252 w 252"/>
                <a:gd name="T27" fmla="*/ 32 h 348"/>
                <a:gd name="T28" fmla="*/ 36 w 252"/>
                <a:gd name="T29" fmla="*/ 312 h 348"/>
                <a:gd name="T30" fmla="*/ 36 w 252"/>
                <a:gd name="T31" fmla="*/ 94 h 348"/>
                <a:gd name="T32" fmla="*/ 216 w 252"/>
                <a:gd name="T33" fmla="*/ 94 h 348"/>
                <a:gd name="T34" fmla="*/ 132 w 252"/>
                <a:gd name="T35" fmla="*/ 186 h 348"/>
                <a:gd name="T36" fmla="*/ 122 w 252"/>
                <a:gd name="T37" fmla="*/ 184 h 348"/>
                <a:gd name="T38" fmla="*/ 74 w 252"/>
                <a:gd name="T39" fmla="*/ 206 h 348"/>
                <a:gd name="T40" fmla="*/ 68 w 252"/>
                <a:gd name="T41" fmla="*/ 204 h 348"/>
                <a:gd name="T42" fmla="*/ 60 w 252"/>
                <a:gd name="T43" fmla="*/ 206 h 348"/>
                <a:gd name="T44" fmla="*/ 58 w 252"/>
                <a:gd name="T45" fmla="*/ 218 h 348"/>
                <a:gd name="T46" fmla="*/ 78 w 252"/>
                <a:gd name="T47" fmla="*/ 238 h 348"/>
                <a:gd name="T48" fmla="*/ 86 w 252"/>
                <a:gd name="T49" fmla="*/ 242 h 348"/>
                <a:gd name="T50" fmla="*/ 132 w 252"/>
                <a:gd name="T51" fmla="*/ 200 h 348"/>
                <a:gd name="T52" fmla="*/ 134 w 252"/>
                <a:gd name="T53" fmla="*/ 192 h 348"/>
                <a:gd name="T54" fmla="*/ 132 w 252"/>
                <a:gd name="T55" fmla="*/ 186 h 348"/>
                <a:gd name="T56" fmla="*/ 128 w 252"/>
                <a:gd name="T57" fmla="*/ 122 h 348"/>
                <a:gd name="T58" fmla="*/ 118 w 252"/>
                <a:gd name="T59" fmla="*/ 124 h 348"/>
                <a:gd name="T60" fmla="*/ 74 w 252"/>
                <a:gd name="T61" fmla="*/ 144 h 348"/>
                <a:gd name="T62" fmla="*/ 64 w 252"/>
                <a:gd name="T63" fmla="*/ 142 h 348"/>
                <a:gd name="T64" fmla="*/ 58 w 252"/>
                <a:gd name="T65" fmla="*/ 148 h 348"/>
                <a:gd name="T66" fmla="*/ 60 w 252"/>
                <a:gd name="T67" fmla="*/ 158 h 348"/>
                <a:gd name="T68" fmla="*/ 82 w 252"/>
                <a:gd name="T69" fmla="*/ 180 h 348"/>
                <a:gd name="T70" fmla="*/ 90 w 252"/>
                <a:gd name="T71" fmla="*/ 180 h 348"/>
                <a:gd name="T72" fmla="*/ 132 w 252"/>
                <a:gd name="T73" fmla="*/ 138 h 348"/>
                <a:gd name="T74" fmla="*/ 134 w 252"/>
                <a:gd name="T75" fmla="*/ 126 h 348"/>
                <a:gd name="T76" fmla="*/ 36 w 252"/>
                <a:gd name="T77" fmla="*/ 64 h 348"/>
                <a:gd name="T78" fmla="*/ 40 w 252"/>
                <a:gd name="T79" fmla="*/ 54 h 348"/>
                <a:gd name="T80" fmla="*/ 78 w 252"/>
                <a:gd name="T81" fmla="*/ 48 h 348"/>
                <a:gd name="T82" fmla="*/ 94 w 252"/>
                <a:gd name="T83" fmla="*/ 42 h 348"/>
                <a:gd name="T84" fmla="*/ 100 w 252"/>
                <a:gd name="T85" fmla="*/ 26 h 348"/>
                <a:gd name="T86" fmla="*/ 116 w 252"/>
                <a:gd name="T87" fmla="*/ 2 h 348"/>
                <a:gd name="T88" fmla="*/ 136 w 252"/>
                <a:gd name="T89" fmla="*/ 2 h 348"/>
                <a:gd name="T90" fmla="*/ 152 w 252"/>
                <a:gd name="T91" fmla="*/ 26 h 348"/>
                <a:gd name="T92" fmla="*/ 158 w 252"/>
                <a:gd name="T93" fmla="*/ 42 h 348"/>
                <a:gd name="T94" fmla="*/ 200 w 252"/>
                <a:gd name="T95" fmla="*/ 48 h 348"/>
                <a:gd name="T96" fmla="*/ 212 w 252"/>
                <a:gd name="T97" fmla="*/ 54 h 348"/>
                <a:gd name="T98" fmla="*/ 216 w 252"/>
                <a:gd name="T99" fmla="*/ 78 h 348"/>
                <a:gd name="T100" fmla="*/ 36 w 252"/>
                <a:gd name="T101" fmla="*/ 82 h 348"/>
                <a:gd name="T102" fmla="*/ 36 w 252"/>
                <a:gd name="T103" fmla="*/ 64 h 348"/>
                <a:gd name="T104" fmla="*/ 116 w 252"/>
                <a:gd name="T105" fmla="*/ 30 h 348"/>
                <a:gd name="T106" fmla="*/ 126 w 252"/>
                <a:gd name="T107" fmla="*/ 38 h 348"/>
                <a:gd name="T108" fmla="*/ 134 w 252"/>
                <a:gd name="T109" fmla="*/ 34 h 348"/>
                <a:gd name="T110" fmla="*/ 136 w 252"/>
                <a:gd name="T111" fmla="*/ 26 h 348"/>
                <a:gd name="T112" fmla="*/ 130 w 252"/>
                <a:gd name="T113" fmla="*/ 16 h 348"/>
                <a:gd name="T114" fmla="*/ 122 w 252"/>
                <a:gd name="T115" fmla="*/ 16 h 348"/>
                <a:gd name="T116" fmla="*/ 116 w 252"/>
                <a:gd name="T117" fmla="*/ 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2" h="348">
                  <a:moveTo>
                    <a:pt x="252" y="32"/>
                  </a:moveTo>
                  <a:lnTo>
                    <a:pt x="252" y="332"/>
                  </a:lnTo>
                  <a:lnTo>
                    <a:pt x="252" y="332"/>
                  </a:lnTo>
                  <a:lnTo>
                    <a:pt x="250" y="338"/>
                  </a:lnTo>
                  <a:lnTo>
                    <a:pt x="248" y="344"/>
                  </a:lnTo>
                  <a:lnTo>
                    <a:pt x="242" y="346"/>
                  </a:lnTo>
                  <a:lnTo>
                    <a:pt x="236" y="348"/>
                  </a:lnTo>
                  <a:lnTo>
                    <a:pt x="16" y="348"/>
                  </a:lnTo>
                  <a:lnTo>
                    <a:pt x="16" y="348"/>
                  </a:lnTo>
                  <a:lnTo>
                    <a:pt x="10" y="346"/>
                  </a:lnTo>
                  <a:lnTo>
                    <a:pt x="4" y="344"/>
                  </a:lnTo>
                  <a:lnTo>
                    <a:pt x="2" y="338"/>
                  </a:lnTo>
                  <a:lnTo>
                    <a:pt x="0" y="332"/>
                  </a:lnTo>
                  <a:lnTo>
                    <a:pt x="0" y="32"/>
                  </a:lnTo>
                  <a:lnTo>
                    <a:pt x="0" y="32"/>
                  </a:lnTo>
                  <a:lnTo>
                    <a:pt x="2" y="26"/>
                  </a:lnTo>
                  <a:lnTo>
                    <a:pt x="4" y="20"/>
                  </a:lnTo>
                  <a:lnTo>
                    <a:pt x="10" y="16"/>
                  </a:lnTo>
                  <a:lnTo>
                    <a:pt x="16" y="16"/>
                  </a:lnTo>
                  <a:lnTo>
                    <a:pt x="90" y="16"/>
                  </a:lnTo>
                  <a:lnTo>
                    <a:pt x="90" y="16"/>
                  </a:lnTo>
                  <a:lnTo>
                    <a:pt x="88" y="26"/>
                  </a:lnTo>
                  <a:lnTo>
                    <a:pt x="88" y="26"/>
                  </a:lnTo>
                  <a:lnTo>
                    <a:pt x="86" y="30"/>
                  </a:lnTo>
                  <a:lnTo>
                    <a:pt x="84" y="34"/>
                  </a:lnTo>
                  <a:lnTo>
                    <a:pt x="16" y="34"/>
                  </a:lnTo>
                  <a:lnTo>
                    <a:pt x="16" y="332"/>
                  </a:lnTo>
                  <a:lnTo>
                    <a:pt x="236" y="332"/>
                  </a:lnTo>
                  <a:lnTo>
                    <a:pt x="236" y="34"/>
                  </a:lnTo>
                  <a:lnTo>
                    <a:pt x="168" y="34"/>
                  </a:lnTo>
                  <a:lnTo>
                    <a:pt x="168" y="34"/>
                  </a:lnTo>
                  <a:lnTo>
                    <a:pt x="166" y="30"/>
                  </a:lnTo>
                  <a:lnTo>
                    <a:pt x="164" y="26"/>
                  </a:lnTo>
                  <a:lnTo>
                    <a:pt x="164" y="26"/>
                  </a:lnTo>
                  <a:lnTo>
                    <a:pt x="162" y="16"/>
                  </a:lnTo>
                  <a:lnTo>
                    <a:pt x="236" y="16"/>
                  </a:lnTo>
                  <a:lnTo>
                    <a:pt x="236" y="16"/>
                  </a:lnTo>
                  <a:lnTo>
                    <a:pt x="242" y="16"/>
                  </a:lnTo>
                  <a:lnTo>
                    <a:pt x="248" y="20"/>
                  </a:lnTo>
                  <a:lnTo>
                    <a:pt x="250" y="26"/>
                  </a:lnTo>
                  <a:lnTo>
                    <a:pt x="252" y="32"/>
                  </a:lnTo>
                  <a:lnTo>
                    <a:pt x="252" y="32"/>
                  </a:lnTo>
                  <a:close/>
                  <a:moveTo>
                    <a:pt x="216" y="94"/>
                  </a:moveTo>
                  <a:lnTo>
                    <a:pt x="216" y="312"/>
                  </a:lnTo>
                  <a:lnTo>
                    <a:pt x="36" y="312"/>
                  </a:lnTo>
                  <a:lnTo>
                    <a:pt x="36" y="94"/>
                  </a:lnTo>
                  <a:lnTo>
                    <a:pt x="36" y="94"/>
                  </a:lnTo>
                  <a:lnTo>
                    <a:pt x="36" y="94"/>
                  </a:lnTo>
                  <a:lnTo>
                    <a:pt x="216" y="94"/>
                  </a:lnTo>
                  <a:lnTo>
                    <a:pt x="216" y="94"/>
                  </a:lnTo>
                  <a:lnTo>
                    <a:pt x="216" y="94"/>
                  </a:lnTo>
                  <a:lnTo>
                    <a:pt x="216" y="94"/>
                  </a:lnTo>
                  <a:close/>
                  <a:moveTo>
                    <a:pt x="132" y="186"/>
                  </a:moveTo>
                  <a:lnTo>
                    <a:pt x="132" y="186"/>
                  </a:lnTo>
                  <a:lnTo>
                    <a:pt x="128" y="184"/>
                  </a:lnTo>
                  <a:lnTo>
                    <a:pt x="124" y="182"/>
                  </a:lnTo>
                  <a:lnTo>
                    <a:pt x="122" y="184"/>
                  </a:lnTo>
                  <a:lnTo>
                    <a:pt x="118" y="186"/>
                  </a:lnTo>
                  <a:lnTo>
                    <a:pt x="86" y="218"/>
                  </a:lnTo>
                  <a:lnTo>
                    <a:pt x="74" y="206"/>
                  </a:lnTo>
                  <a:lnTo>
                    <a:pt x="74" y="206"/>
                  </a:lnTo>
                  <a:lnTo>
                    <a:pt x="70" y="204"/>
                  </a:lnTo>
                  <a:lnTo>
                    <a:pt x="68" y="204"/>
                  </a:lnTo>
                  <a:lnTo>
                    <a:pt x="64" y="204"/>
                  </a:lnTo>
                  <a:lnTo>
                    <a:pt x="60" y="206"/>
                  </a:lnTo>
                  <a:lnTo>
                    <a:pt x="60" y="206"/>
                  </a:lnTo>
                  <a:lnTo>
                    <a:pt x="58" y="210"/>
                  </a:lnTo>
                  <a:lnTo>
                    <a:pt x="58" y="214"/>
                  </a:lnTo>
                  <a:lnTo>
                    <a:pt x="58" y="218"/>
                  </a:lnTo>
                  <a:lnTo>
                    <a:pt x="60" y="220"/>
                  </a:lnTo>
                  <a:lnTo>
                    <a:pt x="78" y="238"/>
                  </a:lnTo>
                  <a:lnTo>
                    <a:pt x="78" y="238"/>
                  </a:lnTo>
                  <a:lnTo>
                    <a:pt x="82" y="242"/>
                  </a:lnTo>
                  <a:lnTo>
                    <a:pt x="86" y="242"/>
                  </a:lnTo>
                  <a:lnTo>
                    <a:pt x="86" y="242"/>
                  </a:lnTo>
                  <a:lnTo>
                    <a:pt x="90" y="242"/>
                  </a:lnTo>
                  <a:lnTo>
                    <a:pt x="92" y="238"/>
                  </a:lnTo>
                  <a:lnTo>
                    <a:pt x="132" y="200"/>
                  </a:lnTo>
                  <a:lnTo>
                    <a:pt x="132" y="200"/>
                  </a:lnTo>
                  <a:lnTo>
                    <a:pt x="134" y="196"/>
                  </a:lnTo>
                  <a:lnTo>
                    <a:pt x="134" y="192"/>
                  </a:lnTo>
                  <a:lnTo>
                    <a:pt x="134" y="188"/>
                  </a:lnTo>
                  <a:lnTo>
                    <a:pt x="132" y="186"/>
                  </a:lnTo>
                  <a:lnTo>
                    <a:pt x="132" y="186"/>
                  </a:lnTo>
                  <a:close/>
                  <a:moveTo>
                    <a:pt x="132" y="124"/>
                  </a:moveTo>
                  <a:lnTo>
                    <a:pt x="132" y="124"/>
                  </a:lnTo>
                  <a:lnTo>
                    <a:pt x="128" y="122"/>
                  </a:lnTo>
                  <a:lnTo>
                    <a:pt x="124" y="120"/>
                  </a:lnTo>
                  <a:lnTo>
                    <a:pt x="122" y="122"/>
                  </a:lnTo>
                  <a:lnTo>
                    <a:pt x="118" y="124"/>
                  </a:lnTo>
                  <a:lnTo>
                    <a:pt x="86" y="156"/>
                  </a:lnTo>
                  <a:lnTo>
                    <a:pt x="74" y="144"/>
                  </a:lnTo>
                  <a:lnTo>
                    <a:pt x="74" y="144"/>
                  </a:lnTo>
                  <a:lnTo>
                    <a:pt x="70" y="142"/>
                  </a:lnTo>
                  <a:lnTo>
                    <a:pt x="68" y="142"/>
                  </a:lnTo>
                  <a:lnTo>
                    <a:pt x="64" y="142"/>
                  </a:lnTo>
                  <a:lnTo>
                    <a:pt x="60" y="144"/>
                  </a:lnTo>
                  <a:lnTo>
                    <a:pt x="60" y="144"/>
                  </a:lnTo>
                  <a:lnTo>
                    <a:pt x="58" y="148"/>
                  </a:lnTo>
                  <a:lnTo>
                    <a:pt x="58" y="152"/>
                  </a:lnTo>
                  <a:lnTo>
                    <a:pt x="58" y="156"/>
                  </a:lnTo>
                  <a:lnTo>
                    <a:pt x="60" y="158"/>
                  </a:lnTo>
                  <a:lnTo>
                    <a:pt x="78" y="178"/>
                  </a:lnTo>
                  <a:lnTo>
                    <a:pt x="78" y="178"/>
                  </a:lnTo>
                  <a:lnTo>
                    <a:pt x="82" y="180"/>
                  </a:lnTo>
                  <a:lnTo>
                    <a:pt x="86" y="180"/>
                  </a:lnTo>
                  <a:lnTo>
                    <a:pt x="86" y="180"/>
                  </a:lnTo>
                  <a:lnTo>
                    <a:pt x="90" y="180"/>
                  </a:lnTo>
                  <a:lnTo>
                    <a:pt x="92" y="178"/>
                  </a:lnTo>
                  <a:lnTo>
                    <a:pt x="132" y="138"/>
                  </a:lnTo>
                  <a:lnTo>
                    <a:pt x="132" y="138"/>
                  </a:lnTo>
                  <a:lnTo>
                    <a:pt x="134" y="134"/>
                  </a:lnTo>
                  <a:lnTo>
                    <a:pt x="134" y="130"/>
                  </a:lnTo>
                  <a:lnTo>
                    <a:pt x="134" y="126"/>
                  </a:lnTo>
                  <a:lnTo>
                    <a:pt x="132" y="124"/>
                  </a:lnTo>
                  <a:lnTo>
                    <a:pt x="132" y="124"/>
                  </a:lnTo>
                  <a:close/>
                  <a:moveTo>
                    <a:pt x="36" y="64"/>
                  </a:moveTo>
                  <a:lnTo>
                    <a:pt x="36" y="64"/>
                  </a:lnTo>
                  <a:lnTo>
                    <a:pt x="36" y="58"/>
                  </a:lnTo>
                  <a:lnTo>
                    <a:pt x="40" y="54"/>
                  </a:lnTo>
                  <a:lnTo>
                    <a:pt x="46" y="50"/>
                  </a:lnTo>
                  <a:lnTo>
                    <a:pt x="52" y="48"/>
                  </a:lnTo>
                  <a:lnTo>
                    <a:pt x="78" y="48"/>
                  </a:lnTo>
                  <a:lnTo>
                    <a:pt x="78" y="48"/>
                  </a:lnTo>
                  <a:lnTo>
                    <a:pt x="86" y="46"/>
                  </a:lnTo>
                  <a:lnTo>
                    <a:pt x="94" y="42"/>
                  </a:lnTo>
                  <a:lnTo>
                    <a:pt x="98" y="36"/>
                  </a:lnTo>
                  <a:lnTo>
                    <a:pt x="100" y="26"/>
                  </a:lnTo>
                  <a:lnTo>
                    <a:pt x="100" y="26"/>
                  </a:lnTo>
                  <a:lnTo>
                    <a:pt x="102" y="16"/>
                  </a:lnTo>
                  <a:lnTo>
                    <a:pt x="108" y="8"/>
                  </a:lnTo>
                  <a:lnTo>
                    <a:pt x="116" y="2"/>
                  </a:lnTo>
                  <a:lnTo>
                    <a:pt x="126" y="0"/>
                  </a:lnTo>
                  <a:lnTo>
                    <a:pt x="126" y="0"/>
                  </a:lnTo>
                  <a:lnTo>
                    <a:pt x="136" y="2"/>
                  </a:lnTo>
                  <a:lnTo>
                    <a:pt x="144" y="8"/>
                  </a:lnTo>
                  <a:lnTo>
                    <a:pt x="150" y="16"/>
                  </a:lnTo>
                  <a:lnTo>
                    <a:pt x="152" y="26"/>
                  </a:lnTo>
                  <a:lnTo>
                    <a:pt x="152" y="26"/>
                  </a:lnTo>
                  <a:lnTo>
                    <a:pt x="154" y="36"/>
                  </a:lnTo>
                  <a:lnTo>
                    <a:pt x="158" y="42"/>
                  </a:lnTo>
                  <a:lnTo>
                    <a:pt x="166" y="46"/>
                  </a:lnTo>
                  <a:lnTo>
                    <a:pt x="174" y="48"/>
                  </a:lnTo>
                  <a:lnTo>
                    <a:pt x="200" y="48"/>
                  </a:lnTo>
                  <a:lnTo>
                    <a:pt x="200" y="48"/>
                  </a:lnTo>
                  <a:lnTo>
                    <a:pt x="206" y="50"/>
                  </a:lnTo>
                  <a:lnTo>
                    <a:pt x="212" y="54"/>
                  </a:lnTo>
                  <a:lnTo>
                    <a:pt x="216" y="58"/>
                  </a:lnTo>
                  <a:lnTo>
                    <a:pt x="216" y="64"/>
                  </a:lnTo>
                  <a:lnTo>
                    <a:pt x="216" y="78"/>
                  </a:lnTo>
                  <a:lnTo>
                    <a:pt x="216" y="78"/>
                  </a:lnTo>
                  <a:lnTo>
                    <a:pt x="216" y="82"/>
                  </a:lnTo>
                  <a:lnTo>
                    <a:pt x="36" y="82"/>
                  </a:lnTo>
                  <a:lnTo>
                    <a:pt x="36" y="82"/>
                  </a:lnTo>
                  <a:lnTo>
                    <a:pt x="36" y="78"/>
                  </a:lnTo>
                  <a:lnTo>
                    <a:pt x="36" y="64"/>
                  </a:lnTo>
                  <a:close/>
                  <a:moveTo>
                    <a:pt x="116" y="26"/>
                  </a:moveTo>
                  <a:lnTo>
                    <a:pt x="116" y="26"/>
                  </a:lnTo>
                  <a:lnTo>
                    <a:pt x="116" y="30"/>
                  </a:lnTo>
                  <a:lnTo>
                    <a:pt x="118" y="34"/>
                  </a:lnTo>
                  <a:lnTo>
                    <a:pt x="122" y="36"/>
                  </a:lnTo>
                  <a:lnTo>
                    <a:pt x="126" y="38"/>
                  </a:lnTo>
                  <a:lnTo>
                    <a:pt x="126" y="38"/>
                  </a:lnTo>
                  <a:lnTo>
                    <a:pt x="130" y="36"/>
                  </a:lnTo>
                  <a:lnTo>
                    <a:pt x="134" y="34"/>
                  </a:lnTo>
                  <a:lnTo>
                    <a:pt x="136" y="30"/>
                  </a:lnTo>
                  <a:lnTo>
                    <a:pt x="136" y="26"/>
                  </a:lnTo>
                  <a:lnTo>
                    <a:pt x="136" y="26"/>
                  </a:lnTo>
                  <a:lnTo>
                    <a:pt x="136" y="22"/>
                  </a:lnTo>
                  <a:lnTo>
                    <a:pt x="134" y="20"/>
                  </a:lnTo>
                  <a:lnTo>
                    <a:pt x="130" y="16"/>
                  </a:lnTo>
                  <a:lnTo>
                    <a:pt x="126" y="16"/>
                  </a:lnTo>
                  <a:lnTo>
                    <a:pt x="126" y="16"/>
                  </a:lnTo>
                  <a:lnTo>
                    <a:pt x="122" y="16"/>
                  </a:lnTo>
                  <a:lnTo>
                    <a:pt x="118" y="20"/>
                  </a:lnTo>
                  <a:lnTo>
                    <a:pt x="116" y="22"/>
                  </a:lnTo>
                  <a:lnTo>
                    <a:pt x="116" y="26"/>
                  </a:lnTo>
                  <a:lnTo>
                    <a:pt x="116" y="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27497753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7"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3417812348"/>
              </p:ext>
            </p:extLst>
          </p:nvPr>
        </p:nvGraphicFramePr>
        <p:xfrm>
          <a:off x="628649" y="1760220"/>
          <a:ext cx="7467526" cy="3910692"/>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Velkommen og formål med dagen</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Siden sidst</a:t>
                      </a:r>
                    </a:p>
                  </a:txBody>
                  <a:tcPr/>
                </a:tc>
                <a:extLst>
                  <a:ext uri="{0D108BD9-81ED-4DB2-BD59-A6C34878D82A}">
                    <a16:rowId xmlns:a16="http://schemas.microsoft.com/office/drawing/2014/main" val="3167250481"/>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vil vi gerne have ud af modulet?</a:t>
                      </a:r>
                    </a:p>
                    <a:p>
                      <a:pPr marL="0" marR="0" lvl="0" indent="0" algn="l" defTabSz="685800" rtl="0" eaLnBrk="1" fontAlgn="auto" latinLnBrk="0" hangingPunct="1">
                        <a:lnSpc>
                          <a:spcPct val="100000"/>
                        </a:lnSpc>
                        <a:spcBef>
                          <a:spcPts val="0"/>
                        </a:spcBef>
                        <a:spcAft>
                          <a:spcPts val="0"/>
                        </a:spcAft>
                        <a:buClrTx/>
                        <a:buSzTx/>
                        <a:buFontTx/>
                        <a:buNone/>
                        <a:tabLst/>
                        <a:defRPr/>
                      </a:pPr>
                      <a:endParaRPr lang="da-DK" b="0" dirty="0"/>
                    </a:p>
                  </a:txBody>
                  <a:tcPr/>
                </a:tc>
                <a:extLst>
                  <a:ext uri="{0D108BD9-81ED-4DB2-BD59-A6C34878D82A}">
                    <a16:rowId xmlns:a16="http://schemas.microsoft.com/office/drawing/2014/main" val="102157098"/>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har de unge aktuelt fokus på?</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Oplæg </a:t>
                      </a:r>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Drøftelse af dagens tema</a:t>
                      </a:r>
                    </a:p>
                  </a:txBody>
                  <a:tcPr/>
                </a:tc>
                <a:extLst>
                  <a:ext uri="{0D108BD9-81ED-4DB2-BD59-A6C34878D82A}">
                    <a16:rowId xmlns:a16="http://schemas.microsoft.com/office/drawing/2014/main" val="2823113985"/>
                  </a:ext>
                </a:extLst>
              </a:tr>
              <a:tr h="441052">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Øvelser/omsætning til hverdagen</a:t>
                      </a:r>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vil vi fokusere på til næste gang? </a:t>
                      </a:r>
                    </a:p>
                  </a:txBody>
                  <a:tcPr/>
                </a:tc>
                <a:extLst>
                  <a:ext uri="{0D108BD9-81ED-4DB2-BD59-A6C34878D82A}">
                    <a16:rowId xmlns:a16="http://schemas.microsoft.com/office/drawing/2014/main" val="3100555660"/>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tager vi med os hjem?</a:t>
                      </a:r>
                    </a:p>
                  </a:txBody>
                  <a:tcPr/>
                </a:tc>
                <a:extLst>
                  <a:ext uri="{0D108BD9-81ED-4DB2-BD59-A6C34878D82A}">
                    <a16:rowId xmlns:a16="http://schemas.microsoft.com/office/drawing/2014/main" val="1455759396"/>
                  </a:ext>
                </a:extLst>
              </a:tr>
            </a:tbl>
          </a:graphicData>
        </a:graphic>
      </p:graphicFrame>
    </p:spTree>
    <p:extLst>
      <p:ext uri="{BB962C8B-B14F-4D97-AF65-F5344CB8AC3E}">
        <p14:creationId xmlns:p14="http://schemas.microsoft.com/office/powerpoint/2010/main" val="2387198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E2F47B-7352-4067-816A-312B537F7DDF}"/>
              </a:ext>
            </a:extLst>
          </p:cNvPr>
          <p:cNvGraphicFramePr>
            <a:graphicFrameLocks noChangeAspect="1"/>
          </p:cNvGraphicFramePr>
          <p:nvPr>
            <p:custDataLst>
              <p:tags r:id="rId2"/>
            </p:custDataLst>
            <p:extLst>
              <p:ext uri="{D42A27DB-BD31-4B8C-83A1-F6EECF244321}">
                <p14:modId xmlns:p14="http://schemas.microsoft.com/office/powerpoint/2010/main" val="2930700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38865-BE55-48CB-8610-2CCD942ACAD1}"/>
              </a:ext>
            </a:extLst>
          </p:cNvPr>
          <p:cNvSpPr>
            <a:spLocks noGrp="1"/>
          </p:cNvSpPr>
          <p:nvPr>
            <p:ph type="title"/>
          </p:nvPr>
        </p:nvSpPr>
        <p:spPr/>
        <p:txBody>
          <a:bodyPr vert="horz"/>
          <a:lstStyle/>
          <a:p>
            <a:r>
              <a:rPr lang="da-DK" dirty="0"/>
              <a:t>Siden sidst – to og to</a:t>
            </a:r>
          </a:p>
        </p:txBody>
      </p:sp>
      <p:sp>
        <p:nvSpPr>
          <p:cNvPr id="3" name="Content Placeholder 2">
            <a:extLst>
              <a:ext uri="{FF2B5EF4-FFF2-40B4-BE49-F238E27FC236}">
                <a16:creationId xmlns:a16="http://schemas.microsoft.com/office/drawing/2014/main" id="{2D9E83EF-F91E-43EF-9F1D-837A2F305F83}"/>
              </a:ext>
            </a:extLst>
          </p:cNvPr>
          <p:cNvSpPr>
            <a:spLocks noGrp="1"/>
          </p:cNvSpPr>
          <p:nvPr>
            <p:ph idx="1"/>
          </p:nvPr>
        </p:nvSpPr>
        <p:spPr/>
        <p:txBody>
          <a:bodyPr/>
          <a:lstStyle/>
          <a:p>
            <a:r>
              <a:rPr lang="da-DK" dirty="0"/>
              <a:t>Hvordan er det gået siden sidst? </a:t>
            </a:r>
          </a:p>
          <a:p>
            <a:endParaRPr lang="da-DK" dirty="0"/>
          </a:p>
          <a:p>
            <a:r>
              <a:rPr lang="da-DK" dirty="0"/>
              <a:t>Hvad er det bedste, der er sket for min/den unge siden sidst? </a:t>
            </a:r>
          </a:p>
          <a:p>
            <a:endParaRPr lang="da-DK" dirty="0"/>
          </a:p>
          <a:p>
            <a:r>
              <a:rPr lang="da-DK" dirty="0"/>
              <a:t>Hvordan er det gået med den unges hjemmeøvelse?</a:t>
            </a:r>
          </a:p>
        </p:txBody>
      </p:sp>
      <p:sp>
        <p:nvSpPr>
          <p:cNvPr id="8" name="Speech Bubble: Rectangle with Corners Rounded 7">
            <a:extLst>
              <a:ext uri="{FF2B5EF4-FFF2-40B4-BE49-F238E27FC236}">
                <a16:creationId xmlns:a16="http://schemas.microsoft.com/office/drawing/2014/main" id="{520911FC-3E5A-476B-BFBE-3B3A7160287B}"/>
              </a:ext>
            </a:extLst>
          </p:cNvPr>
          <p:cNvSpPr/>
          <p:nvPr/>
        </p:nvSpPr>
        <p:spPr>
          <a:xfrm>
            <a:off x="2609251" y="3560805"/>
            <a:ext cx="4896544" cy="2447925"/>
          </a:xfrm>
          <a:prstGeom prst="wedgeRoundRectCallout">
            <a:avLst>
              <a:gd name="adj1" fmla="val -67746"/>
              <a:gd name="adj2" fmla="val 2443"/>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ilke muligheder og udfordringer oplever jeg, at mit barn har? Og hvad siger de unge selv?</a:t>
            </a:r>
          </a:p>
          <a:p>
            <a:pPr marL="285750" indent="-285750">
              <a:spcAft>
                <a:spcPts val="600"/>
              </a:spcAft>
              <a:buFont typeface="Arial" panose="020B0604020202020204" pitchFamily="34" charset="0"/>
              <a:buChar char="•"/>
            </a:pPr>
            <a:r>
              <a:rPr lang="da-DK" sz="1400" i="1" dirty="0">
                <a:solidFill>
                  <a:schemeClr val="tx1"/>
                </a:solidFill>
              </a:rPr>
              <a:t>Hvad kan være vanskeligt ved at involvere sig på en positiv måde i den unges liv – og hvad har jeg selv gode erfaringer med?</a:t>
            </a:r>
          </a:p>
          <a:p>
            <a:pPr marL="285750" indent="-285750">
              <a:spcAft>
                <a:spcPts val="600"/>
              </a:spcAft>
              <a:buFont typeface="Arial" panose="020B0604020202020204" pitchFamily="34" charset="0"/>
              <a:buChar char="•"/>
            </a:pPr>
            <a:r>
              <a:rPr lang="da-DK" sz="1400" i="1" dirty="0">
                <a:solidFill>
                  <a:schemeClr val="tx1"/>
                </a:solidFill>
              </a:rPr>
              <a:t>Hvad er den unges fokus og mål i læringsforløbet?</a:t>
            </a:r>
          </a:p>
          <a:p>
            <a:pPr marL="285750" indent="-285750">
              <a:spcAft>
                <a:spcPts val="600"/>
              </a:spcAft>
              <a:buFont typeface="Arial" panose="020B0604020202020204" pitchFamily="34" charset="0"/>
              <a:buChar char="•"/>
            </a:pPr>
            <a:r>
              <a:rPr lang="da-DK" sz="1400" i="1" dirty="0">
                <a:solidFill>
                  <a:schemeClr val="tx1"/>
                </a:solidFill>
              </a:rPr>
              <a:t>Til forældre til unge under 18 år: Hvordan forbereder vi den unge på overgangen ved det 18. år?</a:t>
            </a:r>
          </a:p>
        </p:txBody>
      </p:sp>
    </p:spTree>
    <p:extLst>
      <p:ext uri="{BB962C8B-B14F-4D97-AF65-F5344CB8AC3E}">
        <p14:creationId xmlns:p14="http://schemas.microsoft.com/office/powerpoint/2010/main" val="23997485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E2F47B-7352-4067-816A-312B537F7DDF}"/>
              </a:ext>
            </a:extLst>
          </p:cNvPr>
          <p:cNvGraphicFramePr>
            <a:graphicFrameLocks noChangeAspect="1"/>
          </p:cNvGraphicFramePr>
          <p:nvPr>
            <p:custDataLst>
              <p:tags r:id="rId2"/>
            </p:custDataLst>
            <p:extLst>
              <p:ext uri="{D42A27DB-BD31-4B8C-83A1-F6EECF244321}">
                <p14:modId xmlns:p14="http://schemas.microsoft.com/office/powerpoint/2010/main" val="34360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45E2F47B-7352-4067-816A-312B537F7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38865-BE55-48CB-8610-2CCD942ACAD1}"/>
              </a:ext>
            </a:extLst>
          </p:cNvPr>
          <p:cNvSpPr>
            <a:spLocks noGrp="1"/>
          </p:cNvSpPr>
          <p:nvPr>
            <p:ph type="title"/>
          </p:nvPr>
        </p:nvSpPr>
        <p:spPr/>
        <p:txBody>
          <a:bodyPr vert="horz"/>
          <a:lstStyle/>
          <a:p>
            <a:r>
              <a:rPr lang="da-DK" dirty="0"/>
              <a:t>Hvad vil vi gerne have ud af modulet?</a:t>
            </a:r>
          </a:p>
        </p:txBody>
      </p:sp>
      <p:sp>
        <p:nvSpPr>
          <p:cNvPr id="3" name="Content Placeholder 2">
            <a:extLst>
              <a:ext uri="{FF2B5EF4-FFF2-40B4-BE49-F238E27FC236}">
                <a16:creationId xmlns:a16="http://schemas.microsoft.com/office/drawing/2014/main" id="{2D9E83EF-F91E-43EF-9F1D-837A2F305F83}"/>
              </a:ext>
            </a:extLst>
          </p:cNvPr>
          <p:cNvSpPr>
            <a:spLocks noGrp="1"/>
          </p:cNvSpPr>
          <p:nvPr>
            <p:ph idx="1"/>
          </p:nvPr>
        </p:nvSpPr>
        <p:spPr/>
        <p:txBody>
          <a:bodyPr/>
          <a:lstStyle/>
          <a:p>
            <a:r>
              <a:rPr lang="da-DK" dirty="0"/>
              <a:t>Hvad vil jeg gerne have ud af dagen i dag? </a:t>
            </a:r>
          </a:p>
          <a:p>
            <a:r>
              <a:rPr lang="da-DK" dirty="0"/>
              <a:t>Hvad er vigtigt for mig at komme omkring i forhold til temaet om ungeliv med autisme og de unges udviklingsprofil? </a:t>
            </a:r>
          </a:p>
        </p:txBody>
      </p:sp>
    </p:spTree>
    <p:extLst>
      <p:ext uri="{BB962C8B-B14F-4D97-AF65-F5344CB8AC3E}">
        <p14:creationId xmlns:p14="http://schemas.microsoft.com/office/powerpoint/2010/main" val="2037836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3562226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Hvad har de unge aktuelt fokus på?</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a:xfrm>
            <a:off x="628649" y="1628774"/>
            <a:ext cx="7904163" cy="4644541"/>
          </a:xfrm>
        </p:spPr>
        <p:txBody>
          <a:bodyPr>
            <a:normAutofit fontScale="92500" lnSpcReduction="20000"/>
          </a:bodyPr>
          <a:lstStyle/>
          <a:p>
            <a:pPr marL="0" indent="0">
              <a:spcBef>
                <a:spcPts val="0"/>
              </a:spcBef>
              <a:spcAft>
                <a:spcPts val="1200"/>
              </a:spcAft>
              <a:buNone/>
            </a:pPr>
            <a:r>
              <a:rPr lang="da-DK" b="1" dirty="0"/>
              <a:t>[Indholdet tilpasses, så det afspejler indholdet i de unges session]</a:t>
            </a:r>
          </a:p>
          <a:p>
            <a:pPr marL="0" indent="0">
              <a:spcBef>
                <a:spcPts val="1200"/>
              </a:spcBef>
              <a:buNone/>
            </a:pPr>
            <a:r>
              <a:rPr lang="da-DK" dirty="0"/>
              <a:t>På modulet ”forstå dig selv og andre” lærer de unge bl.a., at:</a:t>
            </a:r>
          </a:p>
          <a:p>
            <a:pPr>
              <a:spcBef>
                <a:spcPts val="1200"/>
              </a:spcBef>
            </a:pPr>
            <a:r>
              <a:rPr lang="da-DK" dirty="0"/>
              <a:t>Autisme er en </a:t>
            </a:r>
            <a:r>
              <a:rPr lang="da-DK" b="1" dirty="0" err="1"/>
              <a:t>anderledeshed</a:t>
            </a:r>
            <a:r>
              <a:rPr lang="da-DK" b="1" dirty="0"/>
              <a:t> i hjernens udvikling</a:t>
            </a:r>
            <a:r>
              <a:rPr lang="da-DK" dirty="0"/>
              <a:t>, som giver en anden måde at sanse, forstå og navigere i verden på.</a:t>
            </a:r>
          </a:p>
          <a:p>
            <a:pPr>
              <a:spcBef>
                <a:spcPts val="1200"/>
              </a:spcBef>
            </a:pPr>
            <a:r>
              <a:rPr lang="da-DK" dirty="0"/>
              <a:t>Der ofte er en sammenhæng, mellem det vi føler, tænker, siger og eller gør.</a:t>
            </a:r>
          </a:p>
          <a:p>
            <a:pPr>
              <a:spcBef>
                <a:spcPts val="1200"/>
              </a:spcBef>
            </a:pPr>
            <a:r>
              <a:rPr lang="da-DK" dirty="0"/>
              <a:t>Man kan benytte forskellige </a:t>
            </a:r>
            <a:r>
              <a:rPr lang="da-DK" b="1" dirty="0"/>
              <a:t>mestringsstrategier</a:t>
            </a:r>
            <a:r>
              <a:rPr lang="da-DK" dirty="0"/>
              <a:t> til at håndtere vanskelige situationer.</a:t>
            </a:r>
          </a:p>
          <a:p>
            <a:pPr>
              <a:spcBef>
                <a:spcPts val="1200"/>
              </a:spcBef>
            </a:pPr>
            <a:r>
              <a:rPr lang="da-DK" b="1" dirty="0"/>
              <a:t>Mentalisering</a:t>
            </a:r>
            <a:r>
              <a:rPr lang="da-DK" dirty="0"/>
              <a:t> handler om at forstå egne og andres tanker, følelser og handlinger, og hvordan disse påvirker hinanden.</a:t>
            </a:r>
          </a:p>
          <a:p>
            <a:pPr>
              <a:spcBef>
                <a:spcPts val="1200"/>
              </a:spcBef>
            </a:pPr>
            <a:r>
              <a:rPr lang="da-DK" dirty="0"/>
              <a:t>Det er vigtigt at </a:t>
            </a:r>
            <a:r>
              <a:rPr lang="da-DK" b="1" dirty="0"/>
              <a:t>kommunikere</a:t>
            </a:r>
            <a:r>
              <a:rPr lang="da-DK" dirty="0"/>
              <a:t> egne behov.</a:t>
            </a:r>
          </a:p>
          <a:p>
            <a:pPr>
              <a:spcBef>
                <a:spcPts val="1200"/>
              </a:spcBef>
            </a:pPr>
            <a:r>
              <a:rPr lang="da-DK" dirty="0"/>
              <a:t>Alle mennesker har en vis mængde </a:t>
            </a:r>
            <a:r>
              <a:rPr lang="da-DK" b="1" dirty="0"/>
              <a:t>energi</a:t>
            </a:r>
            <a:r>
              <a:rPr lang="da-DK" dirty="0"/>
              <a:t> – når man har brugt energi, er det vigtigt at lade op.</a:t>
            </a:r>
          </a:p>
          <a:p>
            <a:pPr>
              <a:spcBef>
                <a:spcPts val="1200"/>
              </a:spcBef>
            </a:pPr>
            <a:r>
              <a:rPr lang="da-DK" b="1" dirty="0"/>
              <a:t>Stress- og sårbarhedsmodellen </a:t>
            </a:r>
            <a:r>
              <a:rPr lang="da-DK" dirty="0"/>
              <a:t>skelner mellem grundlæggende stressfaktorer og situationsbestemte stressfaktorer og mellem advarselstegn og kaostegn.</a:t>
            </a:r>
          </a:p>
        </p:txBody>
      </p:sp>
    </p:spTree>
    <p:extLst>
      <p:ext uri="{BB962C8B-B14F-4D97-AF65-F5344CB8AC3E}">
        <p14:creationId xmlns:p14="http://schemas.microsoft.com/office/powerpoint/2010/main" val="36382449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Hvad har de unge aktuelt fokus på?</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a:xfrm>
            <a:off x="628649" y="1628774"/>
            <a:ext cx="7904163" cy="4644541"/>
          </a:xfrm>
        </p:spPr>
        <p:txBody>
          <a:bodyPr>
            <a:normAutofit/>
          </a:bodyPr>
          <a:lstStyle/>
          <a:p>
            <a:pPr marL="0" indent="0">
              <a:buNone/>
            </a:pPr>
            <a:r>
              <a:rPr lang="da-DK" b="1" dirty="0"/>
              <a:t>[Her indsætter gruppevejlederen de unges hjemmeøvelse(r) fra sidste gang]</a:t>
            </a:r>
          </a:p>
        </p:txBody>
      </p:sp>
    </p:spTree>
    <p:extLst>
      <p:ext uri="{BB962C8B-B14F-4D97-AF65-F5344CB8AC3E}">
        <p14:creationId xmlns:p14="http://schemas.microsoft.com/office/powerpoint/2010/main" val="8184677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561887-9312-4D48-A730-D0ED5D85D43F}"/>
              </a:ext>
            </a:extLst>
          </p:cNvPr>
          <p:cNvGraphicFramePr>
            <a:graphicFrameLocks noChangeAspect="1"/>
          </p:cNvGraphicFramePr>
          <p:nvPr>
            <p:custDataLst>
              <p:tags r:id="rId2"/>
            </p:custDataLst>
            <p:extLst>
              <p:ext uri="{D42A27DB-BD31-4B8C-83A1-F6EECF244321}">
                <p14:modId xmlns:p14="http://schemas.microsoft.com/office/powerpoint/2010/main" val="205253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el 16"/>
          <p:cNvSpPr>
            <a:spLocks noGrp="1"/>
          </p:cNvSpPr>
          <p:nvPr>
            <p:ph type="title"/>
          </p:nvPr>
        </p:nvSpPr>
        <p:spPr/>
        <p:txBody>
          <a:bodyPr vert="horz"/>
          <a:lstStyle/>
          <a:p>
            <a:r>
              <a:rPr lang="da-DK" dirty="0"/>
              <a:t>Introduktion</a:t>
            </a:r>
          </a:p>
        </p:txBody>
      </p:sp>
      <p:sp>
        <p:nvSpPr>
          <p:cNvPr id="18" name="Pladsholder til tekst 17"/>
          <p:cNvSpPr>
            <a:spLocks noGrp="1"/>
          </p:cNvSpPr>
          <p:nvPr>
            <p:ph idx="1"/>
          </p:nvPr>
        </p:nvSpPr>
        <p:spPr/>
        <p:txBody>
          <a:bodyPr>
            <a:normAutofit lnSpcReduction="10000"/>
          </a:bodyPr>
          <a:lstStyle/>
          <a:p>
            <a:pPr marL="0" indent="0">
              <a:buNone/>
            </a:pPr>
            <a:r>
              <a:rPr lang="da-DK" dirty="0"/>
              <a:t>Denne slidepakke indeholder oplæg til hvert modul i gruppeforløbet for forældre til hjemmeboende unge med autisme. </a:t>
            </a:r>
          </a:p>
          <a:p>
            <a:pPr marL="0" indent="0">
              <a:buNone/>
            </a:pPr>
            <a:r>
              <a:rPr lang="da-DK" dirty="0"/>
              <a:t>Oplæggene holdes af gruppevejlederen på den enkelte gruppesession. </a:t>
            </a:r>
          </a:p>
          <a:p>
            <a:pPr marL="0" indent="0">
              <a:buNone/>
            </a:pPr>
            <a:r>
              <a:rPr lang="da-DK" dirty="0"/>
              <a:t>Rammen for forløbet </a:t>
            </a:r>
            <a:r>
              <a:rPr lang="da-DK"/>
              <a:t>er 16 </a:t>
            </a:r>
            <a:r>
              <a:rPr lang="da-DK" dirty="0"/>
              <a:t>uger samt et </a:t>
            </a:r>
            <a:r>
              <a:rPr lang="da-DK" dirty="0" err="1"/>
              <a:t>boostermodul</a:t>
            </a:r>
            <a:r>
              <a:rPr lang="da-DK" dirty="0"/>
              <a:t> efter 2 mdr. Hvert modul kan strækkes over 1-3 gruppesessioner, og gruppevejlederen kan udvælge indholdet i oplægget som forberedelse til den enkelte gruppesession. </a:t>
            </a:r>
          </a:p>
          <a:p>
            <a:pPr marL="0" indent="0">
              <a:buNone/>
            </a:pPr>
            <a:r>
              <a:rPr lang="da-DK" dirty="0"/>
              <a:t>Oplægget skal derfor ses som et brutto-oplæg, hvor indholdet kan skaleres op eller ned alt efter deltagernes behov og interesser. Gruppevejlederen kan vælge at bruge eller fjerne billeder og eksempler, som ikke fungerer i forhold til gruppen – og kan supplere med flere pointer og gode eksempler. </a:t>
            </a:r>
          </a:p>
          <a:p>
            <a:pPr marL="0" indent="0">
              <a:buNone/>
            </a:pPr>
            <a:r>
              <a:rPr lang="da-DK" dirty="0"/>
              <a:t>Oplæggene i denne slidepakke kan også suppleres med oplæg fra specialister inden for det enkelte tema. </a:t>
            </a:r>
          </a:p>
          <a:p>
            <a:pPr marL="0" indent="0">
              <a:buNone/>
            </a:pPr>
            <a:r>
              <a:rPr lang="da-DK" dirty="0"/>
              <a:t>I oplæggene er der noter til gruppevejlederen. </a:t>
            </a:r>
          </a:p>
          <a:p>
            <a:pPr marL="0" indent="0">
              <a:buNone/>
            </a:pPr>
            <a:endParaRPr lang="da-DK" dirty="0"/>
          </a:p>
          <a:p>
            <a:pPr marL="0" indent="0">
              <a:buNone/>
            </a:pPr>
            <a:endParaRPr lang="da-DK" dirty="0"/>
          </a:p>
        </p:txBody>
      </p:sp>
    </p:spTree>
    <p:extLst>
      <p:ext uri="{BB962C8B-B14F-4D97-AF65-F5344CB8AC3E}">
        <p14:creationId xmlns:p14="http://schemas.microsoft.com/office/powerpoint/2010/main" val="9604086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75FB94-B0DE-4CFB-81A5-147B4237E1FC}"/>
              </a:ext>
            </a:extLst>
          </p:cNvPr>
          <p:cNvSpPr>
            <a:spLocks noGrp="1"/>
          </p:cNvSpPr>
          <p:nvPr>
            <p:ph type="title"/>
          </p:nvPr>
        </p:nvSpPr>
        <p:spPr/>
        <p:txBody>
          <a:bodyPr/>
          <a:lstStyle/>
          <a:p>
            <a:r>
              <a:rPr lang="da-DK" dirty="0"/>
              <a:t>Autismespektrumsforstyrrelser</a:t>
            </a:r>
          </a:p>
        </p:txBody>
      </p:sp>
      <p:sp>
        <p:nvSpPr>
          <p:cNvPr id="3" name="Content Placeholder 2">
            <a:extLst>
              <a:ext uri="{FF2B5EF4-FFF2-40B4-BE49-F238E27FC236}">
                <a16:creationId xmlns:a16="http://schemas.microsoft.com/office/drawing/2014/main" id="{5A74E35A-BBB0-43BE-A748-035D05860A55}"/>
              </a:ext>
            </a:extLst>
          </p:cNvPr>
          <p:cNvSpPr>
            <a:spLocks noGrp="1"/>
          </p:cNvSpPr>
          <p:nvPr>
            <p:ph idx="1"/>
          </p:nvPr>
        </p:nvSpPr>
        <p:spPr/>
        <p:txBody>
          <a:bodyPr/>
          <a:lstStyle/>
          <a:p>
            <a:pPr marL="0" indent="0">
              <a:buNone/>
            </a:pPr>
            <a:endParaRPr lang="da-DK" dirty="0"/>
          </a:p>
          <a:p>
            <a:pPr marL="0" indent="0">
              <a:buNone/>
            </a:pPr>
            <a:r>
              <a:rPr lang="da-DK" dirty="0" err="1"/>
              <a:t>Autismespektrumforstyrrelser</a:t>
            </a:r>
            <a:r>
              <a:rPr lang="da-DK" dirty="0"/>
              <a:t> (ASF) er karakteriseret ved gennemgribende forstyrrelser af de tre kerneområder: </a:t>
            </a:r>
          </a:p>
          <a:p>
            <a:r>
              <a:rPr lang="da-DK" dirty="0"/>
              <a:t>Socialt samspil</a:t>
            </a:r>
          </a:p>
          <a:p>
            <a:r>
              <a:rPr lang="da-DK" dirty="0"/>
              <a:t>Kommunikation (verbal og </a:t>
            </a:r>
            <a:r>
              <a:rPr lang="da-DK" dirty="0" err="1"/>
              <a:t>non-verbal</a:t>
            </a:r>
            <a:r>
              <a:rPr lang="da-DK" dirty="0"/>
              <a:t>)</a:t>
            </a:r>
          </a:p>
          <a:p>
            <a:r>
              <a:rPr lang="da-DK" dirty="0"/>
              <a:t>Begrænset, stereotypt og </a:t>
            </a:r>
            <a:r>
              <a:rPr lang="da-DK" dirty="0" err="1"/>
              <a:t>repetitivt</a:t>
            </a:r>
            <a:r>
              <a:rPr lang="da-DK" dirty="0"/>
              <a:t> </a:t>
            </a:r>
            <a:r>
              <a:rPr lang="da-DK" dirty="0" err="1"/>
              <a:t>repetoire</a:t>
            </a:r>
            <a:r>
              <a:rPr lang="da-DK" dirty="0"/>
              <a:t> af interesser, aktiviteter og ritualer og modstand mod forandring, begrænsninger i leg og forestillingsevne. </a:t>
            </a:r>
          </a:p>
          <a:p>
            <a:pPr marL="0" indent="0">
              <a:buNone/>
            </a:pPr>
            <a:r>
              <a:rPr lang="da-DK" sz="1800" dirty="0">
                <a:effectLst/>
                <a:latin typeface="Segoe UI" panose="020B0502040204020203" pitchFamily="34" charset="0"/>
              </a:rPr>
              <a:t>Følger af autisme påvirker livsudviklingen på forskellige måder. Det varierer fra person til person, hvordan autisme kommer til udtryk hos den enkelte, og hvilke styrker og udfordringer den enkelte har.</a:t>
            </a:r>
            <a:endParaRPr lang="da-DK" dirty="0"/>
          </a:p>
        </p:txBody>
      </p:sp>
    </p:spTree>
    <p:extLst>
      <p:ext uri="{BB962C8B-B14F-4D97-AF65-F5344CB8AC3E}">
        <p14:creationId xmlns:p14="http://schemas.microsoft.com/office/powerpoint/2010/main" val="2251655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6341C81-5A1E-4601-875E-50FBB1A29D67}"/>
              </a:ext>
            </a:extLst>
          </p:cNvPr>
          <p:cNvGraphicFramePr>
            <a:graphicFrameLocks noChangeAspect="1"/>
          </p:cNvGraphicFramePr>
          <p:nvPr>
            <p:custDataLst>
              <p:tags r:id="rId2"/>
            </p:custDataLst>
            <p:extLst>
              <p:ext uri="{D42A27DB-BD31-4B8C-83A1-F6EECF244321}">
                <p14:modId xmlns:p14="http://schemas.microsoft.com/office/powerpoint/2010/main" val="1939545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A8186EE5-AADC-4B7C-8F24-FD2A6B249B82}"/>
              </a:ext>
            </a:extLst>
          </p:cNvPr>
          <p:cNvSpPr txBox="1">
            <a:spLocks/>
          </p:cNvSpPr>
          <p:nvPr/>
        </p:nvSpPr>
        <p:spPr>
          <a:xfrm>
            <a:off x="628649" y="551678"/>
            <a:ext cx="7904163" cy="756084"/>
          </a:xfrm>
          <a:prstGeom prst="rect">
            <a:avLst/>
          </a:prstGeom>
        </p:spPr>
        <p:txBody>
          <a:bodyPr vert="horz"/>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Autismetriaden</a:t>
            </a:r>
          </a:p>
        </p:txBody>
      </p:sp>
      <p:sp>
        <p:nvSpPr>
          <p:cNvPr id="7" name="Isosceles Triangle 6">
            <a:extLst>
              <a:ext uri="{FF2B5EF4-FFF2-40B4-BE49-F238E27FC236}">
                <a16:creationId xmlns:a16="http://schemas.microsoft.com/office/drawing/2014/main" id="{420DB045-3917-4155-932F-4899B6FC7C58}"/>
              </a:ext>
            </a:extLst>
          </p:cNvPr>
          <p:cNvSpPr/>
          <p:nvPr/>
        </p:nvSpPr>
        <p:spPr>
          <a:xfrm>
            <a:off x="3239852" y="2797362"/>
            <a:ext cx="2664296" cy="2232248"/>
          </a:xfrm>
          <a:prstGeom prst="triangl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ABB2437D-6881-4F7A-82DA-B50E38FD2147}"/>
              </a:ext>
            </a:extLst>
          </p:cNvPr>
          <p:cNvSpPr txBox="1"/>
          <p:nvPr/>
        </p:nvSpPr>
        <p:spPr>
          <a:xfrm>
            <a:off x="3059832" y="1565879"/>
            <a:ext cx="3528392" cy="1154162"/>
          </a:xfrm>
          <a:prstGeom prst="rect">
            <a:avLst/>
          </a:prstGeom>
          <a:noFill/>
        </p:spPr>
        <p:txBody>
          <a:bodyPr wrap="square" lIns="0" tIns="0" rIns="0" bIns="0" rtlCol="0">
            <a:spAutoFit/>
          </a:bodyPr>
          <a:lstStyle/>
          <a:p>
            <a:r>
              <a:rPr lang="da-DK" sz="1500" u="sng" dirty="0"/>
              <a:t>Socialt samspil</a:t>
            </a:r>
          </a:p>
          <a:p>
            <a:r>
              <a:rPr lang="da-DK" sz="1500" dirty="0"/>
              <a:t>Energikrævende:</a:t>
            </a:r>
          </a:p>
          <a:p>
            <a:pPr marL="171450" indent="-171450">
              <a:buFont typeface="Arial" panose="020B0604020202020204" pitchFamily="34" charset="0"/>
              <a:buChar char="•"/>
            </a:pPr>
            <a:r>
              <a:rPr lang="da-DK" sz="1500" dirty="0"/>
              <a:t>Fingerspidsfornemmelse</a:t>
            </a:r>
          </a:p>
          <a:p>
            <a:pPr marL="171450" indent="-171450">
              <a:buFont typeface="Arial" panose="020B0604020202020204" pitchFamily="34" charset="0"/>
              <a:buChar char="•"/>
            </a:pPr>
            <a:r>
              <a:rPr lang="da-DK" sz="1500" dirty="0"/>
              <a:t>Vurdere stemning og timing</a:t>
            </a:r>
          </a:p>
          <a:p>
            <a:pPr marL="171450" indent="-171450">
              <a:buFont typeface="Arial" panose="020B0604020202020204" pitchFamily="34" charset="0"/>
              <a:buChar char="•"/>
            </a:pPr>
            <a:r>
              <a:rPr lang="da-DK" sz="1500" dirty="0"/>
              <a:t>Etablere og vedligeholde relationer</a:t>
            </a:r>
          </a:p>
        </p:txBody>
      </p:sp>
      <p:sp>
        <p:nvSpPr>
          <p:cNvPr id="10" name="TextBox 9">
            <a:extLst>
              <a:ext uri="{FF2B5EF4-FFF2-40B4-BE49-F238E27FC236}">
                <a16:creationId xmlns:a16="http://schemas.microsoft.com/office/drawing/2014/main" id="{4693CA68-46AF-41A2-AFF1-62E7611738BC}"/>
              </a:ext>
            </a:extLst>
          </p:cNvPr>
          <p:cNvSpPr txBox="1"/>
          <p:nvPr/>
        </p:nvSpPr>
        <p:spPr>
          <a:xfrm>
            <a:off x="6239735" y="4885594"/>
            <a:ext cx="2493829" cy="692497"/>
          </a:xfrm>
          <a:prstGeom prst="rect">
            <a:avLst/>
          </a:prstGeom>
          <a:noFill/>
        </p:spPr>
        <p:txBody>
          <a:bodyPr wrap="square" lIns="0" tIns="0" rIns="0" bIns="0" rtlCol="0">
            <a:spAutoFit/>
          </a:bodyPr>
          <a:lstStyle/>
          <a:p>
            <a:r>
              <a:rPr lang="da-DK" sz="1500" u="sng" dirty="0"/>
              <a:t>Adfærd/interesser</a:t>
            </a:r>
          </a:p>
          <a:p>
            <a:pPr marL="285750" indent="-285750">
              <a:buFont typeface="Arial" panose="020B0604020202020204" pitchFamily="34" charset="0"/>
              <a:buChar char="•"/>
            </a:pPr>
            <a:r>
              <a:rPr lang="da-DK" sz="1500" dirty="0"/>
              <a:t>Systemafhængighed</a:t>
            </a:r>
          </a:p>
          <a:p>
            <a:pPr marL="285750" indent="-285750">
              <a:buFont typeface="Arial" panose="020B0604020202020204" pitchFamily="34" charset="0"/>
              <a:buChar char="•"/>
            </a:pPr>
            <a:r>
              <a:rPr lang="da-DK" sz="1500" dirty="0"/>
              <a:t>Special-interesser</a:t>
            </a:r>
          </a:p>
        </p:txBody>
      </p:sp>
      <p:sp>
        <p:nvSpPr>
          <p:cNvPr id="11" name="TextBox 10">
            <a:extLst>
              <a:ext uri="{FF2B5EF4-FFF2-40B4-BE49-F238E27FC236}">
                <a16:creationId xmlns:a16="http://schemas.microsoft.com/office/drawing/2014/main" id="{6CA6FF1D-999C-4F39-B312-725F8CBB746F}"/>
              </a:ext>
            </a:extLst>
          </p:cNvPr>
          <p:cNvSpPr txBox="1"/>
          <p:nvPr/>
        </p:nvSpPr>
        <p:spPr>
          <a:xfrm>
            <a:off x="628649" y="4885594"/>
            <a:ext cx="4302219" cy="1154162"/>
          </a:xfrm>
          <a:prstGeom prst="rect">
            <a:avLst/>
          </a:prstGeom>
          <a:noFill/>
        </p:spPr>
        <p:txBody>
          <a:bodyPr wrap="square" lIns="0" tIns="0" rIns="0" bIns="0" rtlCol="0">
            <a:spAutoFit/>
          </a:bodyPr>
          <a:lstStyle/>
          <a:p>
            <a:r>
              <a:rPr lang="da-DK" sz="1500" u="sng" dirty="0"/>
              <a:t>Social kommunikation</a:t>
            </a:r>
          </a:p>
          <a:p>
            <a:r>
              <a:rPr lang="da-DK" sz="1500" dirty="0"/>
              <a:t>Energikrævende:</a:t>
            </a:r>
          </a:p>
          <a:p>
            <a:pPr marL="285750" indent="-285750">
              <a:buFont typeface="Arial" panose="020B0604020202020204" pitchFamily="34" charset="0"/>
              <a:buChar char="•"/>
            </a:pPr>
            <a:r>
              <a:rPr lang="da-DK" sz="1500" dirty="0"/>
              <a:t>Hentydninger</a:t>
            </a:r>
          </a:p>
          <a:p>
            <a:pPr marL="285750" indent="-285750">
              <a:buFont typeface="Arial" panose="020B0604020202020204" pitchFamily="34" charset="0"/>
              <a:buChar char="•"/>
            </a:pPr>
            <a:r>
              <a:rPr lang="da-DK" sz="1500" dirty="0"/>
              <a:t>Small talk</a:t>
            </a:r>
          </a:p>
          <a:p>
            <a:pPr marL="285750" indent="-285750">
              <a:buFont typeface="Arial" panose="020B0604020202020204" pitchFamily="34" charset="0"/>
              <a:buChar char="•"/>
            </a:pPr>
            <a:r>
              <a:rPr lang="da-DK" sz="1500" dirty="0"/>
              <a:t>At aflæse andre og selv blive aflæst</a:t>
            </a:r>
          </a:p>
        </p:txBody>
      </p:sp>
      <p:sp>
        <p:nvSpPr>
          <p:cNvPr id="12" name="TextBox 11">
            <a:extLst>
              <a:ext uri="{FF2B5EF4-FFF2-40B4-BE49-F238E27FC236}">
                <a16:creationId xmlns:a16="http://schemas.microsoft.com/office/drawing/2014/main" id="{CC133333-A31F-4BCA-BC7A-E4C01E10ED59}"/>
              </a:ext>
            </a:extLst>
          </p:cNvPr>
          <p:cNvSpPr txBox="1"/>
          <p:nvPr/>
        </p:nvSpPr>
        <p:spPr>
          <a:xfrm>
            <a:off x="5508104" y="5962812"/>
            <a:ext cx="1620180" cy="153888"/>
          </a:xfrm>
          <a:prstGeom prst="rect">
            <a:avLst/>
          </a:prstGeom>
          <a:noFill/>
        </p:spPr>
        <p:txBody>
          <a:bodyPr wrap="square" lIns="0" tIns="0" rIns="0" bIns="0" rtlCol="0">
            <a:spAutoFit/>
          </a:bodyPr>
          <a:lstStyle/>
          <a:p>
            <a:r>
              <a:rPr lang="en-US" sz="1000" dirty="0" err="1">
                <a:solidFill>
                  <a:schemeClr val="bg2"/>
                </a:solidFill>
              </a:rPr>
              <a:t>Kilde</a:t>
            </a:r>
            <a:r>
              <a:rPr lang="en-US" sz="1000" dirty="0">
                <a:solidFill>
                  <a:schemeClr val="bg2"/>
                </a:solidFill>
              </a:rPr>
              <a:t>: Wing &amp; Gould, 1979</a:t>
            </a:r>
          </a:p>
        </p:txBody>
      </p:sp>
    </p:spTree>
    <p:extLst>
      <p:ext uri="{BB962C8B-B14F-4D97-AF65-F5344CB8AC3E}">
        <p14:creationId xmlns:p14="http://schemas.microsoft.com/office/powerpoint/2010/main" val="771101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911CC7-F941-47FC-AEC9-FD02594D664E}"/>
              </a:ext>
            </a:extLst>
          </p:cNvPr>
          <p:cNvSpPr>
            <a:spLocks noGrp="1"/>
          </p:cNvSpPr>
          <p:nvPr>
            <p:ph type="title"/>
          </p:nvPr>
        </p:nvSpPr>
        <p:spPr/>
        <p:txBody>
          <a:bodyPr/>
          <a:lstStyle/>
          <a:p>
            <a:r>
              <a:rPr lang="da-DK" dirty="0"/>
              <a:t>Børn og unge med ASF er forskellige!</a:t>
            </a:r>
          </a:p>
        </p:txBody>
      </p:sp>
      <p:sp>
        <p:nvSpPr>
          <p:cNvPr id="3" name="Content Placeholder 2">
            <a:extLst>
              <a:ext uri="{FF2B5EF4-FFF2-40B4-BE49-F238E27FC236}">
                <a16:creationId xmlns:a16="http://schemas.microsoft.com/office/drawing/2014/main" id="{73EB07F6-A9E7-4476-AE44-9866E72185BE}"/>
              </a:ext>
            </a:extLst>
          </p:cNvPr>
          <p:cNvSpPr>
            <a:spLocks noGrp="1"/>
          </p:cNvSpPr>
          <p:nvPr>
            <p:ph idx="1"/>
          </p:nvPr>
        </p:nvSpPr>
        <p:spPr/>
        <p:txBody>
          <a:bodyPr/>
          <a:lstStyle/>
          <a:p>
            <a:pPr marL="0" indent="0">
              <a:buNone/>
            </a:pPr>
            <a:r>
              <a:rPr lang="da-DK" dirty="0"/>
              <a:t>Børn og unge med </a:t>
            </a:r>
            <a:r>
              <a:rPr lang="da-DK" dirty="0" err="1"/>
              <a:t>autismespektrumforstyrrelser</a:t>
            </a:r>
            <a:r>
              <a:rPr lang="da-DK" dirty="0"/>
              <a:t> (ASF) har nogle af de samme symptomer, men er samtidig vidt forskellige. </a:t>
            </a:r>
          </a:p>
          <a:p>
            <a:pPr marL="0" indent="0">
              <a:buNone/>
            </a:pPr>
            <a:endParaRPr lang="da-DK" dirty="0"/>
          </a:p>
          <a:p>
            <a:pPr marL="0" indent="0">
              <a:buNone/>
            </a:pPr>
            <a:r>
              <a:rPr lang="da-DK" dirty="0"/>
              <a:t>Blandt andet i forhold til: </a:t>
            </a:r>
          </a:p>
          <a:p>
            <a:r>
              <a:rPr lang="da-DK" dirty="0"/>
              <a:t>Kognitive forudsætninger (IQ) </a:t>
            </a:r>
          </a:p>
          <a:p>
            <a:r>
              <a:rPr lang="da-DK" dirty="0"/>
              <a:t>Sproglige/kommunikative færdigheder </a:t>
            </a:r>
          </a:p>
          <a:p>
            <a:r>
              <a:rPr lang="da-DK" dirty="0"/>
              <a:t>Personlighed </a:t>
            </a:r>
          </a:p>
          <a:p>
            <a:r>
              <a:rPr lang="da-DK" dirty="0"/>
              <a:t>Temperament.</a:t>
            </a:r>
          </a:p>
          <a:p>
            <a:pPr marL="0" indent="0">
              <a:buNone/>
            </a:pPr>
            <a:endParaRPr lang="da-DK" dirty="0"/>
          </a:p>
        </p:txBody>
      </p:sp>
    </p:spTree>
    <p:extLst>
      <p:ext uri="{BB962C8B-B14F-4D97-AF65-F5344CB8AC3E}">
        <p14:creationId xmlns:p14="http://schemas.microsoft.com/office/powerpoint/2010/main" val="25306251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FE03F-95A6-41AA-B157-CD2A76D90F79}"/>
              </a:ext>
            </a:extLst>
          </p:cNvPr>
          <p:cNvSpPr>
            <a:spLocks noGrp="1"/>
          </p:cNvSpPr>
          <p:nvPr>
            <p:ph type="title"/>
          </p:nvPr>
        </p:nvSpPr>
        <p:spPr/>
        <p:txBody>
          <a:bodyPr/>
          <a:lstStyle/>
          <a:p>
            <a:r>
              <a:rPr lang="da-DK" dirty="0"/>
              <a:t>Børn og unge med ASF kan fx</a:t>
            </a:r>
          </a:p>
        </p:txBody>
      </p:sp>
      <p:sp>
        <p:nvSpPr>
          <p:cNvPr id="3" name="Content Placeholder 2">
            <a:extLst>
              <a:ext uri="{FF2B5EF4-FFF2-40B4-BE49-F238E27FC236}">
                <a16:creationId xmlns:a16="http://schemas.microsoft.com/office/drawing/2014/main" id="{2872AAF9-8D97-4136-A319-B81BF12F7C1D}"/>
              </a:ext>
            </a:extLst>
          </p:cNvPr>
          <p:cNvSpPr>
            <a:spLocks noGrp="1"/>
          </p:cNvSpPr>
          <p:nvPr>
            <p:ph idx="1"/>
          </p:nvPr>
        </p:nvSpPr>
        <p:spPr/>
        <p:txBody>
          <a:bodyPr>
            <a:normAutofit fontScale="85000" lnSpcReduction="20000"/>
          </a:bodyPr>
          <a:lstStyle/>
          <a:p>
            <a:r>
              <a:rPr lang="da-DK" dirty="0"/>
              <a:t>Opfatte meget konkret</a:t>
            </a:r>
          </a:p>
          <a:p>
            <a:r>
              <a:rPr lang="da-DK" dirty="0"/>
              <a:t>Have interesse for særlige ting</a:t>
            </a:r>
          </a:p>
          <a:p>
            <a:r>
              <a:rPr lang="da-DK" dirty="0"/>
              <a:t>Have god hukommelse – især for detaljer</a:t>
            </a:r>
          </a:p>
          <a:p>
            <a:r>
              <a:rPr lang="da-DK" dirty="0"/>
              <a:t>Have svært ved at lege – især med andre børn</a:t>
            </a:r>
          </a:p>
          <a:p>
            <a:r>
              <a:rPr lang="da-DK" dirty="0"/>
              <a:t>Have svært ved indlevelse</a:t>
            </a:r>
          </a:p>
          <a:p>
            <a:r>
              <a:rPr lang="da-DK" dirty="0"/>
              <a:t>Være visuelt stærke</a:t>
            </a:r>
          </a:p>
          <a:p>
            <a:r>
              <a:rPr lang="da-DK" dirty="0"/>
              <a:t>Opføre sig anderledes end andre børn.</a:t>
            </a:r>
          </a:p>
          <a:p>
            <a:pPr marL="0" indent="0">
              <a:buNone/>
            </a:pPr>
            <a:endParaRPr lang="da-DK" dirty="0"/>
          </a:p>
          <a:p>
            <a:pPr marL="0" indent="0">
              <a:buNone/>
            </a:pPr>
            <a:r>
              <a:rPr lang="da-DK" dirty="0"/>
              <a:t>Positive egenskaber:</a:t>
            </a:r>
          </a:p>
          <a:p>
            <a:r>
              <a:rPr lang="da-DK" dirty="0"/>
              <a:t>Detaljeoptagethed = fokus og fordybelse</a:t>
            </a:r>
          </a:p>
          <a:p>
            <a:r>
              <a:rPr lang="da-DK" dirty="0"/>
              <a:t>Vedholdenhed = forfølge et mål</a:t>
            </a:r>
          </a:p>
          <a:p>
            <a:r>
              <a:rPr lang="da-DK" dirty="0"/>
              <a:t>Forkærlighed og evner for rutiner og mønstre</a:t>
            </a:r>
          </a:p>
          <a:p>
            <a:r>
              <a:rPr lang="da-DK" dirty="0"/>
              <a:t>Manglende fordomme og en anderledes/kreativ måde at tænke på</a:t>
            </a:r>
          </a:p>
          <a:p>
            <a:r>
              <a:rPr lang="da-DK" dirty="0"/>
              <a:t>Ærlighed.</a:t>
            </a:r>
          </a:p>
        </p:txBody>
      </p:sp>
      <p:sp>
        <p:nvSpPr>
          <p:cNvPr id="5" name="Speech Bubble: Rectangle with Corners Rounded 4">
            <a:extLst>
              <a:ext uri="{FF2B5EF4-FFF2-40B4-BE49-F238E27FC236}">
                <a16:creationId xmlns:a16="http://schemas.microsoft.com/office/drawing/2014/main" id="{F18DC6A8-4564-4246-9FD1-955ED6C27A2D}"/>
              </a:ext>
            </a:extLst>
          </p:cNvPr>
          <p:cNvSpPr/>
          <p:nvPr/>
        </p:nvSpPr>
        <p:spPr>
          <a:xfrm>
            <a:off x="5220072" y="2619797"/>
            <a:ext cx="3510089" cy="1673299"/>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ad kan I genkende?  </a:t>
            </a:r>
          </a:p>
          <a:p>
            <a:pPr marL="285750" indent="-285750">
              <a:spcAft>
                <a:spcPts val="600"/>
              </a:spcAft>
              <a:buFont typeface="Arial" panose="020B0604020202020204" pitchFamily="34" charset="0"/>
              <a:buChar char="•"/>
            </a:pPr>
            <a:r>
              <a:rPr lang="da-DK" sz="1400" i="1" dirty="0">
                <a:solidFill>
                  <a:schemeClr val="tx1"/>
                </a:solidFill>
              </a:rPr>
              <a:t>Hvordan oplever I jeres eget barns styrker og udfordringer? </a:t>
            </a:r>
          </a:p>
        </p:txBody>
      </p:sp>
    </p:spTree>
    <p:extLst>
      <p:ext uri="{BB962C8B-B14F-4D97-AF65-F5344CB8AC3E}">
        <p14:creationId xmlns:p14="http://schemas.microsoft.com/office/powerpoint/2010/main" val="31076927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FDCB80-BCAD-4966-ACB9-9779DC0D80BC}"/>
              </a:ext>
            </a:extLst>
          </p:cNvPr>
          <p:cNvSpPr>
            <a:spLocks noGrp="1"/>
          </p:cNvSpPr>
          <p:nvPr>
            <p:ph type="title"/>
          </p:nvPr>
        </p:nvSpPr>
        <p:spPr>
          <a:xfrm>
            <a:off x="628649" y="548680"/>
            <a:ext cx="7904163" cy="756084"/>
          </a:xfrm>
        </p:spPr>
        <p:txBody>
          <a:bodyPr/>
          <a:lstStyle/>
          <a:p>
            <a:r>
              <a:rPr lang="da-DK" dirty="0"/>
              <a:t>At være ung med autisme</a:t>
            </a:r>
          </a:p>
        </p:txBody>
      </p:sp>
      <p:sp>
        <p:nvSpPr>
          <p:cNvPr id="3" name="Content Placeholder 2">
            <a:extLst>
              <a:ext uri="{FF2B5EF4-FFF2-40B4-BE49-F238E27FC236}">
                <a16:creationId xmlns:a16="http://schemas.microsoft.com/office/drawing/2014/main" id="{81F3F107-64C8-43F8-9697-95896DD56503}"/>
              </a:ext>
            </a:extLst>
          </p:cNvPr>
          <p:cNvSpPr>
            <a:spLocks noGrp="1"/>
          </p:cNvSpPr>
          <p:nvPr>
            <p:ph idx="1"/>
          </p:nvPr>
        </p:nvSpPr>
        <p:spPr>
          <a:xfrm>
            <a:off x="628649" y="1412751"/>
            <a:ext cx="7904163" cy="4248150"/>
          </a:xfrm>
        </p:spPr>
        <p:txBody>
          <a:bodyPr/>
          <a:lstStyle/>
          <a:p>
            <a:pPr marL="0" indent="0">
              <a:buNone/>
            </a:pPr>
            <a:r>
              <a:rPr lang="da-DK" b="1" dirty="0"/>
              <a:t>Puberteten</a:t>
            </a:r>
            <a:r>
              <a:rPr lang="da-DK" dirty="0"/>
              <a:t> kan være udfordrende for en ung med autisme:</a:t>
            </a:r>
          </a:p>
          <a:p>
            <a:r>
              <a:rPr lang="da-DK" sz="1800" dirty="0">
                <a:effectLst/>
                <a:latin typeface="Segoe UI" panose="020B0502040204020203" pitchFamily="34" charset="0"/>
              </a:rPr>
              <a:t>Pludselig er der større forskel på udviklingen</a:t>
            </a:r>
            <a:r>
              <a:rPr lang="da-DK" dirty="0"/>
              <a:t> ift. </a:t>
            </a:r>
            <a:r>
              <a:rPr lang="da-DK" dirty="0" err="1"/>
              <a:t>neurotypiske</a:t>
            </a:r>
            <a:r>
              <a:rPr lang="da-DK" dirty="0"/>
              <a:t> børn/unge. </a:t>
            </a:r>
          </a:p>
          <a:p>
            <a:r>
              <a:rPr lang="da-DK" dirty="0"/>
              <a:t>Identitetsdannelse</a:t>
            </a:r>
          </a:p>
          <a:p>
            <a:r>
              <a:rPr lang="da-DK" dirty="0"/>
              <a:t>Kropslige forandringer</a:t>
            </a:r>
          </a:p>
          <a:p>
            <a:r>
              <a:rPr lang="da-DK" dirty="0"/>
              <a:t>Afprøve grænser, fx sige fra over for forældre.</a:t>
            </a:r>
          </a:p>
          <a:p>
            <a:endParaRPr lang="da-DK" dirty="0"/>
          </a:p>
          <a:p>
            <a:pPr marL="0" indent="0">
              <a:buNone/>
            </a:pPr>
            <a:r>
              <a:rPr lang="da-DK" dirty="0"/>
              <a:t>Med ungdomslivet hører også flere sociale aspekter af livet – dermed mange udfordringer.</a:t>
            </a:r>
          </a:p>
          <a:p>
            <a:pPr marL="0" indent="0">
              <a:buNone/>
            </a:pPr>
            <a:endParaRPr lang="da-DK" dirty="0"/>
          </a:p>
        </p:txBody>
      </p:sp>
      <p:sp>
        <p:nvSpPr>
          <p:cNvPr id="7" name="Speech Bubble: Rectangle with Corners Rounded 6">
            <a:extLst>
              <a:ext uri="{FF2B5EF4-FFF2-40B4-BE49-F238E27FC236}">
                <a16:creationId xmlns:a16="http://schemas.microsoft.com/office/drawing/2014/main" id="{3343F628-F020-498D-A83E-4BDFC335ECBB}"/>
              </a:ext>
            </a:extLst>
          </p:cNvPr>
          <p:cNvSpPr/>
          <p:nvPr/>
        </p:nvSpPr>
        <p:spPr>
          <a:xfrm>
            <a:off x="3347864" y="4095589"/>
            <a:ext cx="4824536" cy="1673299"/>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ordan kan man som forælder sikre en positiv involvering i den unges liv? </a:t>
            </a:r>
          </a:p>
          <a:p>
            <a:pPr marL="285750" indent="-285750">
              <a:spcAft>
                <a:spcPts val="600"/>
              </a:spcAft>
              <a:buFont typeface="Arial" panose="020B0604020202020204" pitchFamily="34" charset="0"/>
              <a:buChar char="•"/>
            </a:pPr>
            <a:r>
              <a:rPr lang="da-DK" sz="1400" i="1" dirty="0">
                <a:solidFill>
                  <a:schemeClr val="tx1"/>
                </a:solidFill>
              </a:rPr>
              <a:t>Hvordan kan man kommunikere med den unge om fx svære ting i ungdomslivet og fremtidsønsker?</a:t>
            </a:r>
          </a:p>
          <a:p>
            <a:pPr marL="285750" indent="-285750">
              <a:spcAft>
                <a:spcPts val="600"/>
              </a:spcAft>
              <a:buFont typeface="Arial" panose="020B0604020202020204" pitchFamily="34" charset="0"/>
              <a:buChar char="•"/>
            </a:pPr>
            <a:r>
              <a:rPr lang="da-DK" sz="1400" i="1" dirty="0">
                <a:solidFill>
                  <a:schemeClr val="tx1"/>
                </a:solidFill>
              </a:rPr>
              <a:t>Hvordan kan man styrke sit eget positive syn på den unge – og se muligheder og potentialer? </a:t>
            </a:r>
          </a:p>
        </p:txBody>
      </p:sp>
    </p:spTree>
    <p:extLst>
      <p:ext uri="{BB962C8B-B14F-4D97-AF65-F5344CB8AC3E}">
        <p14:creationId xmlns:p14="http://schemas.microsoft.com/office/powerpoint/2010/main" val="17709917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0848293-DEBE-4AAE-8A6F-68A41B5B0931}"/>
              </a:ext>
            </a:extLst>
          </p:cNvPr>
          <p:cNvGraphicFramePr>
            <a:graphicFrameLocks noChangeAspect="1"/>
          </p:cNvGraphicFramePr>
          <p:nvPr>
            <p:custDataLst>
              <p:tags r:id="rId2"/>
            </p:custDataLst>
            <p:extLst>
              <p:ext uri="{D42A27DB-BD31-4B8C-83A1-F6EECF244321}">
                <p14:modId xmlns:p14="http://schemas.microsoft.com/office/powerpoint/2010/main" val="1045616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60848293-DEBE-4AAE-8A6F-68A41B5B09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Billede 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5496" y="1700808"/>
            <a:ext cx="9073008" cy="3466769"/>
          </a:xfrm>
          <a:prstGeom prst="rect">
            <a:avLst/>
          </a:prstGeom>
        </p:spPr>
      </p:pic>
      <p:sp>
        <p:nvSpPr>
          <p:cNvPr id="4" name="TextBox 3">
            <a:extLst>
              <a:ext uri="{FF2B5EF4-FFF2-40B4-BE49-F238E27FC236}">
                <a16:creationId xmlns:a16="http://schemas.microsoft.com/office/drawing/2014/main" id="{ACD4AB05-7B58-46F0-9A52-B707618D5A6F}"/>
              </a:ext>
            </a:extLst>
          </p:cNvPr>
          <p:cNvSpPr txBox="1"/>
          <p:nvPr/>
        </p:nvSpPr>
        <p:spPr>
          <a:xfrm>
            <a:off x="3707904" y="5880284"/>
            <a:ext cx="4173793" cy="169277"/>
          </a:xfrm>
          <a:prstGeom prst="rect">
            <a:avLst/>
          </a:prstGeom>
          <a:noFill/>
        </p:spPr>
        <p:txBody>
          <a:bodyPr wrap="square" lIns="0" tIns="0" rIns="0" bIns="0" rtlCol="0">
            <a:spAutoFit/>
          </a:bodyPr>
          <a:lstStyle/>
          <a:p>
            <a:r>
              <a:rPr lang="da-DK" sz="1100" dirty="0">
                <a:solidFill>
                  <a:schemeClr val="bg2"/>
                </a:solidFill>
              </a:rPr>
              <a:t>Kilde: </a:t>
            </a:r>
            <a:r>
              <a:rPr lang="da-DK" sz="1100" dirty="0" err="1">
                <a:solidFill>
                  <a:schemeClr val="bg2"/>
                </a:solidFill>
              </a:rPr>
              <a:t>Aspiek</a:t>
            </a:r>
            <a:r>
              <a:rPr lang="da-DK" sz="1100" dirty="0">
                <a:solidFill>
                  <a:schemeClr val="bg2"/>
                </a:solidFill>
              </a:rPr>
              <a:t>, Om autisme: https://aspiek.dk/om-autisme/</a:t>
            </a:r>
          </a:p>
        </p:txBody>
      </p:sp>
      <p:sp>
        <p:nvSpPr>
          <p:cNvPr id="7" name="Title 1">
            <a:extLst>
              <a:ext uri="{FF2B5EF4-FFF2-40B4-BE49-F238E27FC236}">
                <a16:creationId xmlns:a16="http://schemas.microsoft.com/office/drawing/2014/main" id="{0177AF31-BD8B-4145-A4FD-8B9EE9812EC1}"/>
              </a:ext>
            </a:extLst>
          </p:cNvPr>
          <p:cNvSpPr txBox="1">
            <a:spLocks/>
          </p:cNvSpPr>
          <p:nvPr/>
        </p:nvSpPr>
        <p:spPr>
          <a:xfrm>
            <a:off x="628649" y="764704"/>
            <a:ext cx="7904163" cy="756084"/>
          </a:xfrm>
          <a:prstGeom prst="rect">
            <a:avLst/>
          </a:prstGeom>
        </p:spPr>
        <p:txBody>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sz="2700" dirty="0" err="1"/>
              <a:t>Neurotypisk</a:t>
            </a:r>
            <a:r>
              <a:rPr lang="da-DK" sz="2700" dirty="0"/>
              <a:t> og autistisk neurologisk udvikling</a:t>
            </a:r>
          </a:p>
        </p:txBody>
      </p:sp>
    </p:spTree>
    <p:extLst>
      <p:ext uri="{BB962C8B-B14F-4D97-AF65-F5344CB8AC3E}">
        <p14:creationId xmlns:p14="http://schemas.microsoft.com/office/powerpoint/2010/main" val="37717415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86A2C8-CE93-48A3-8145-099C6E439E7B}"/>
              </a:ext>
            </a:extLst>
          </p:cNvPr>
          <p:cNvGraphicFramePr>
            <a:graphicFrameLocks noChangeAspect="1"/>
          </p:cNvGraphicFramePr>
          <p:nvPr>
            <p:custDataLst>
              <p:tags r:id="rId2"/>
            </p:custDataLst>
            <p:extLst>
              <p:ext uri="{D42A27DB-BD31-4B8C-83A1-F6EECF244321}">
                <p14:modId xmlns:p14="http://schemas.microsoft.com/office/powerpoint/2010/main" val="3373351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a-DK" dirty="0"/>
              <a:t>Ressourceblomsten som ramme for refleksion</a:t>
            </a:r>
          </a:p>
        </p:txBody>
      </p:sp>
      <p:sp>
        <p:nvSpPr>
          <p:cNvPr id="3" name="Pladsholder til indhold 2"/>
          <p:cNvSpPr>
            <a:spLocks noGrp="1"/>
          </p:cNvSpPr>
          <p:nvPr>
            <p:ph idx="1"/>
          </p:nvPr>
        </p:nvSpPr>
        <p:spPr>
          <a:xfrm>
            <a:off x="628649" y="1628775"/>
            <a:ext cx="3943351" cy="4248150"/>
          </a:xfrm>
        </p:spPr>
        <p:txBody>
          <a:bodyPr/>
          <a:lstStyle/>
          <a:p>
            <a:pPr>
              <a:spcBef>
                <a:spcPts val="0"/>
              </a:spcBef>
              <a:spcAft>
                <a:spcPts val="1200"/>
              </a:spcAft>
            </a:pPr>
            <a:r>
              <a:rPr lang="da-DK" dirty="0"/>
              <a:t>Tænk over, hvilke styrker dit barn har og skriv det ind i ressourceblomsten. Kom med eksempler i rubrikkerne (individuelt)</a:t>
            </a:r>
          </a:p>
          <a:p>
            <a:pPr>
              <a:spcBef>
                <a:spcPts val="0"/>
              </a:spcBef>
              <a:spcAft>
                <a:spcPts val="1200"/>
              </a:spcAft>
            </a:pPr>
            <a:r>
              <a:rPr lang="da-DK" dirty="0"/>
              <a:t>Overvej, hvilken rolle du/I har som forældre i, at dit barns styrker bliver udlevet (to og to)</a:t>
            </a:r>
          </a:p>
          <a:p>
            <a:pPr>
              <a:spcBef>
                <a:spcPts val="0"/>
              </a:spcBef>
              <a:spcAft>
                <a:spcPts val="1200"/>
              </a:spcAft>
            </a:pPr>
            <a:r>
              <a:rPr lang="da-DK" dirty="0"/>
              <a:t>Erfaringsudveksling og gode råd til, at de unge får deres styrker udlevet med/uden jer som forældre (hele gruppen).</a:t>
            </a:r>
          </a:p>
        </p:txBody>
      </p:sp>
      <p:pic>
        <p:nvPicPr>
          <p:cNvPr id="5" name="Content Placeholder 7">
            <a:extLst>
              <a:ext uri="{FF2B5EF4-FFF2-40B4-BE49-F238E27FC236}">
                <a16:creationId xmlns:a16="http://schemas.microsoft.com/office/drawing/2014/main" id="{74C2DE9E-A3DC-4BAD-9CF6-2DD1B952804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499992" y="2060873"/>
            <a:ext cx="4481684" cy="3168352"/>
          </a:xfrm>
          <a:prstGeom prst="rect">
            <a:avLst/>
          </a:prstGeom>
        </p:spPr>
      </p:pic>
    </p:spTree>
    <p:extLst>
      <p:ext uri="{BB962C8B-B14F-4D97-AF65-F5344CB8AC3E}">
        <p14:creationId xmlns:p14="http://schemas.microsoft.com/office/powerpoint/2010/main" val="39078106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327387-D05F-41A8-AB0B-FB1C7C43C169}"/>
              </a:ext>
            </a:extLst>
          </p:cNvPr>
          <p:cNvGraphicFramePr>
            <a:graphicFrameLocks noChangeAspect="1"/>
          </p:cNvGraphicFramePr>
          <p:nvPr>
            <p:custDataLst>
              <p:tags r:id="rId2"/>
            </p:custDataLst>
            <p:extLst>
              <p:ext uri="{D42A27DB-BD31-4B8C-83A1-F6EECF244321}">
                <p14:modId xmlns:p14="http://schemas.microsoft.com/office/powerpoint/2010/main" val="3728591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a-DK" dirty="0"/>
              <a:t>Fra støtte til selvstændighed – jeres erfaringer</a:t>
            </a:r>
          </a:p>
        </p:txBody>
      </p:sp>
      <p:sp>
        <p:nvSpPr>
          <p:cNvPr id="3" name="Pladsholder til indhold 2"/>
          <p:cNvSpPr>
            <a:spLocks noGrp="1"/>
          </p:cNvSpPr>
          <p:nvPr>
            <p:ph idx="1"/>
          </p:nvPr>
        </p:nvSpPr>
        <p:spPr/>
        <p:txBody>
          <a:bodyPr/>
          <a:lstStyle/>
          <a:p>
            <a:endParaRPr lang="da-DK" dirty="0"/>
          </a:p>
          <a:p>
            <a:r>
              <a:rPr lang="da-DK" i="1" dirty="0"/>
              <a:t>Hvordan finder jeg, som forælder, balancen mellem den unges behov for støtte og den unges behov for selvstændighed?  </a:t>
            </a:r>
          </a:p>
          <a:p>
            <a:endParaRPr lang="da-DK" dirty="0"/>
          </a:p>
          <a:p>
            <a:r>
              <a:rPr lang="da-DK" i="1" dirty="0"/>
              <a:t>Hvad kan være svært i den balance? Hvad kan jeg gøre bedre/anderledes?</a:t>
            </a:r>
          </a:p>
          <a:p>
            <a:endParaRPr lang="da-DK" dirty="0"/>
          </a:p>
          <a:p>
            <a:r>
              <a:rPr lang="da-DK" i="1" dirty="0"/>
              <a:t>Hvornår er jeg lykkedes med denne balance? Hvad kan jeg gøre mere af?</a:t>
            </a:r>
          </a:p>
          <a:p>
            <a:endParaRPr lang="da-DK" i="1" dirty="0"/>
          </a:p>
          <a:p>
            <a:pPr marL="0" indent="0">
              <a:buNone/>
            </a:pPr>
            <a:r>
              <a:rPr lang="da-DK" i="1" dirty="0"/>
              <a:t>  </a:t>
            </a:r>
            <a:endParaRPr lang="da-DK" dirty="0"/>
          </a:p>
          <a:p>
            <a:endParaRPr lang="da-DK" dirty="0"/>
          </a:p>
          <a:p>
            <a:pPr marL="0" indent="0">
              <a:buNone/>
            </a:pPr>
            <a:endParaRPr lang="da-DK" dirty="0"/>
          </a:p>
        </p:txBody>
      </p:sp>
    </p:spTree>
    <p:extLst>
      <p:ext uri="{BB962C8B-B14F-4D97-AF65-F5344CB8AC3E}">
        <p14:creationId xmlns:p14="http://schemas.microsoft.com/office/powerpoint/2010/main" val="6059472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1123B0-D475-465B-8F86-7DE888BA055C}"/>
              </a:ext>
            </a:extLst>
          </p:cNvPr>
          <p:cNvGraphicFramePr>
            <a:graphicFrameLocks noChangeAspect="1"/>
          </p:cNvGraphicFramePr>
          <p:nvPr>
            <p:custDataLst>
              <p:tags r:id="rId2"/>
            </p:custDataLst>
            <p:extLst>
              <p:ext uri="{D42A27DB-BD31-4B8C-83A1-F6EECF244321}">
                <p14:modId xmlns:p14="http://schemas.microsoft.com/office/powerpoint/2010/main" val="60693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342" imgH="337" progId="TCLayout.ActiveDocument.1">
                  <p:embed/>
                </p:oleObj>
              </mc:Choice>
              <mc:Fallback>
                <p:oleObj name="think-cell Slide" r:id="rId4" imgW="342" imgH="33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E03941-9963-4826-ADE9-65850035A468}"/>
              </a:ext>
            </a:extLst>
          </p:cNvPr>
          <p:cNvSpPr>
            <a:spLocks noGrp="1"/>
          </p:cNvSpPr>
          <p:nvPr>
            <p:ph type="title"/>
          </p:nvPr>
        </p:nvSpPr>
        <p:spPr/>
        <p:txBody>
          <a:bodyPr vert="horz"/>
          <a:lstStyle/>
          <a:p>
            <a:r>
              <a:rPr lang="da-DK" dirty="0"/>
              <a:t>Næste gang – andre følger af autisme</a:t>
            </a:r>
          </a:p>
        </p:txBody>
      </p:sp>
      <p:sp>
        <p:nvSpPr>
          <p:cNvPr id="3" name="Content Placeholder 2">
            <a:extLst>
              <a:ext uri="{FF2B5EF4-FFF2-40B4-BE49-F238E27FC236}">
                <a16:creationId xmlns:a16="http://schemas.microsoft.com/office/drawing/2014/main" id="{DA50AD17-AB06-43A9-A9BB-9CD63C48E2B3}"/>
              </a:ext>
            </a:extLst>
          </p:cNvPr>
          <p:cNvSpPr>
            <a:spLocks noGrp="1"/>
          </p:cNvSpPr>
          <p:nvPr>
            <p:ph idx="1"/>
          </p:nvPr>
        </p:nvSpPr>
        <p:spPr/>
        <p:txBody>
          <a:bodyPr/>
          <a:lstStyle/>
          <a:p>
            <a:r>
              <a:rPr lang="da-DK" dirty="0"/>
              <a:t>Tænk over den unges eventuelle øvrige problematikker (fx angst, stress, depression, rusmiddelproblemer).</a:t>
            </a:r>
          </a:p>
          <a:p>
            <a:r>
              <a:rPr lang="da-DK" dirty="0"/>
              <a:t>Hvad er mine/den unges erfaringer? Hvordan arbejder den unge med disse ting i sit læringsforløb?</a:t>
            </a:r>
          </a:p>
          <a:p>
            <a:r>
              <a:rPr lang="da-DK" dirty="0"/>
              <a:t>Hvad kan være svært?</a:t>
            </a:r>
          </a:p>
          <a:p>
            <a:r>
              <a:rPr lang="da-DK" dirty="0"/>
              <a:t>Hvad vil jeg gerne have ud af modulet om de udfordringer, som de unge kan have ud over autisme?</a:t>
            </a:r>
          </a:p>
          <a:p>
            <a:pPr marL="0" indent="0">
              <a:buNone/>
            </a:pPr>
            <a:endParaRPr lang="da-DK" dirty="0"/>
          </a:p>
        </p:txBody>
      </p:sp>
    </p:spTree>
    <p:extLst>
      <p:ext uri="{BB962C8B-B14F-4D97-AF65-F5344CB8AC3E}">
        <p14:creationId xmlns:p14="http://schemas.microsoft.com/office/powerpoint/2010/main" val="1675322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2DDF4-5465-4D23-8456-5ED4496AE120}"/>
              </a:ext>
            </a:extLst>
          </p:cNvPr>
          <p:cNvSpPr>
            <a:spLocks noGrp="1"/>
          </p:cNvSpPr>
          <p:nvPr>
            <p:ph type="title"/>
          </p:nvPr>
        </p:nvSpPr>
        <p:spPr/>
        <p:txBody>
          <a:bodyPr/>
          <a:lstStyle/>
          <a:p>
            <a:r>
              <a:rPr lang="da-DK" dirty="0"/>
              <a:t>Hvad tager vi med os hjem</a:t>
            </a:r>
          </a:p>
        </p:txBody>
      </p:sp>
      <p:sp>
        <p:nvSpPr>
          <p:cNvPr id="3" name="Content Placeholder 2">
            <a:extLst>
              <a:ext uri="{FF2B5EF4-FFF2-40B4-BE49-F238E27FC236}">
                <a16:creationId xmlns:a16="http://schemas.microsoft.com/office/drawing/2014/main" id="{8BE087A5-0728-49A2-B32F-73E2B0420802}"/>
              </a:ext>
            </a:extLst>
          </p:cNvPr>
          <p:cNvSpPr>
            <a:spLocks noGrp="1"/>
          </p:cNvSpPr>
          <p:nvPr>
            <p:ph idx="1"/>
          </p:nvPr>
        </p:nvSpPr>
        <p:spPr/>
        <p:txBody>
          <a:bodyPr/>
          <a:lstStyle/>
          <a:p>
            <a:r>
              <a:rPr lang="da-DK" dirty="0"/>
              <a:t>Hvad har været godt i dag?</a:t>
            </a:r>
          </a:p>
          <a:p>
            <a:r>
              <a:rPr lang="da-DK" dirty="0"/>
              <a:t>Er der noget, som I har savnet i dag?</a:t>
            </a:r>
          </a:p>
          <a:p>
            <a:r>
              <a:rPr lang="da-DK" dirty="0"/>
              <a:t>Er der noget, som vi skal gøre anderledes næste gang?</a:t>
            </a:r>
          </a:p>
        </p:txBody>
      </p:sp>
      <p:sp>
        <p:nvSpPr>
          <p:cNvPr id="11" name="Speech Bubble: Rectangle with Corners Rounded 10">
            <a:extLst>
              <a:ext uri="{FF2B5EF4-FFF2-40B4-BE49-F238E27FC236}">
                <a16:creationId xmlns:a16="http://schemas.microsoft.com/office/drawing/2014/main" id="{18BDFDC3-A7F9-4926-BD1F-8C2CA4EDC8E6}"/>
              </a:ext>
            </a:extLst>
          </p:cNvPr>
          <p:cNvSpPr/>
          <p:nvPr/>
        </p:nvSpPr>
        <p:spPr>
          <a:xfrm>
            <a:off x="5166367" y="3645024"/>
            <a:ext cx="3510089" cy="1673299"/>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Udfyld logbogen med </a:t>
            </a:r>
            <a:br>
              <a:rPr lang="da-DK" sz="1400" i="1" dirty="0">
                <a:solidFill>
                  <a:schemeClr val="tx1"/>
                </a:solidFill>
              </a:rPr>
            </a:br>
            <a:r>
              <a:rPr lang="da-DK" sz="1400" i="1" dirty="0">
                <a:solidFill>
                  <a:schemeClr val="tx1"/>
                </a:solidFill>
              </a:rPr>
              <a:t>jeres refleksioner</a:t>
            </a:r>
          </a:p>
        </p:txBody>
      </p:sp>
      <p:grpSp>
        <p:nvGrpSpPr>
          <p:cNvPr id="8" name="Group 7">
            <a:extLst>
              <a:ext uri="{FF2B5EF4-FFF2-40B4-BE49-F238E27FC236}">
                <a16:creationId xmlns:a16="http://schemas.microsoft.com/office/drawing/2014/main" id="{6D68FC14-8A7D-467F-9AB8-D1511B87E95B}"/>
              </a:ext>
            </a:extLst>
          </p:cNvPr>
          <p:cNvGrpSpPr/>
          <p:nvPr/>
        </p:nvGrpSpPr>
        <p:grpSpPr>
          <a:xfrm>
            <a:off x="7758655" y="3860446"/>
            <a:ext cx="612000" cy="612000"/>
            <a:chOff x="8742468" y="3474401"/>
            <a:chExt cx="612000" cy="612000"/>
          </a:xfrm>
          <a:solidFill>
            <a:srgbClr val="C00000"/>
          </a:solidFill>
        </p:grpSpPr>
        <p:sp>
          <p:nvSpPr>
            <p:cNvPr id="9" name="Oval 8">
              <a:extLst>
                <a:ext uri="{FF2B5EF4-FFF2-40B4-BE49-F238E27FC236}">
                  <a16:creationId xmlns:a16="http://schemas.microsoft.com/office/drawing/2014/main" id="{F5D8C33D-D1DA-4128-A1E8-465D0DBAF011}"/>
                </a:ext>
              </a:extLst>
            </p:cNvPr>
            <p:cNvSpPr/>
            <p:nvPr/>
          </p:nvSpPr>
          <p:spPr bwMode="ltGray">
            <a:xfrm>
              <a:off x="8742468" y="3474401"/>
              <a:ext cx="612000" cy="612000"/>
            </a:xfrm>
            <a:prstGeom prst="ellipse">
              <a:avLst/>
            </a:prstGeom>
            <a:grpFill/>
            <a:ln w="3175" cap="flat" cmpd="sng" algn="ctr">
              <a:solidFill>
                <a:srgbClr val="DC6900"/>
              </a:solidFill>
              <a:prstDash val="solid"/>
            </a:ln>
            <a:effectLst/>
          </p:spPr>
          <p:txBody>
            <a:bodyPr rtlCol="0" anchor="ct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err="1">
                <a:ln>
                  <a:noFill/>
                </a:ln>
                <a:solidFill>
                  <a:srgbClr val="FFFFFF"/>
                </a:solidFill>
                <a:effectLst/>
                <a:uLnTx/>
                <a:uFillTx/>
                <a:latin typeface="Georgia" pitchFamily="18" charset="0"/>
                <a:ea typeface="+mn-ea"/>
                <a:cs typeface="+mn-cs"/>
              </a:endParaRPr>
            </a:p>
          </p:txBody>
        </p:sp>
        <p:sp>
          <p:nvSpPr>
            <p:cNvPr id="10" name="Freeform 4847">
              <a:extLst>
                <a:ext uri="{FF2B5EF4-FFF2-40B4-BE49-F238E27FC236}">
                  <a16:creationId xmlns:a16="http://schemas.microsoft.com/office/drawing/2014/main" id="{768BD847-845C-42D3-BEAE-CA55A16A4969}"/>
                </a:ext>
              </a:extLst>
            </p:cNvPr>
            <p:cNvSpPr>
              <a:spLocks noEditPoints="1"/>
            </p:cNvSpPr>
            <p:nvPr/>
          </p:nvSpPr>
          <p:spPr bwMode="auto">
            <a:xfrm>
              <a:off x="8894545" y="3569952"/>
              <a:ext cx="307068" cy="424047"/>
            </a:xfrm>
            <a:custGeom>
              <a:avLst/>
              <a:gdLst>
                <a:gd name="T0" fmla="*/ 252 w 252"/>
                <a:gd name="T1" fmla="*/ 332 h 348"/>
                <a:gd name="T2" fmla="*/ 242 w 252"/>
                <a:gd name="T3" fmla="*/ 346 h 348"/>
                <a:gd name="T4" fmla="*/ 16 w 252"/>
                <a:gd name="T5" fmla="*/ 348 h 348"/>
                <a:gd name="T6" fmla="*/ 2 w 252"/>
                <a:gd name="T7" fmla="*/ 338 h 348"/>
                <a:gd name="T8" fmla="*/ 0 w 252"/>
                <a:gd name="T9" fmla="*/ 32 h 348"/>
                <a:gd name="T10" fmla="*/ 10 w 252"/>
                <a:gd name="T11" fmla="*/ 16 h 348"/>
                <a:gd name="T12" fmla="*/ 90 w 252"/>
                <a:gd name="T13" fmla="*/ 16 h 348"/>
                <a:gd name="T14" fmla="*/ 86 w 252"/>
                <a:gd name="T15" fmla="*/ 30 h 348"/>
                <a:gd name="T16" fmla="*/ 16 w 252"/>
                <a:gd name="T17" fmla="*/ 332 h 348"/>
                <a:gd name="T18" fmla="*/ 168 w 252"/>
                <a:gd name="T19" fmla="*/ 34 h 348"/>
                <a:gd name="T20" fmla="*/ 164 w 252"/>
                <a:gd name="T21" fmla="*/ 26 h 348"/>
                <a:gd name="T22" fmla="*/ 236 w 252"/>
                <a:gd name="T23" fmla="*/ 16 h 348"/>
                <a:gd name="T24" fmla="*/ 248 w 252"/>
                <a:gd name="T25" fmla="*/ 20 h 348"/>
                <a:gd name="T26" fmla="*/ 252 w 252"/>
                <a:gd name="T27" fmla="*/ 32 h 348"/>
                <a:gd name="T28" fmla="*/ 36 w 252"/>
                <a:gd name="T29" fmla="*/ 312 h 348"/>
                <a:gd name="T30" fmla="*/ 36 w 252"/>
                <a:gd name="T31" fmla="*/ 94 h 348"/>
                <a:gd name="T32" fmla="*/ 216 w 252"/>
                <a:gd name="T33" fmla="*/ 94 h 348"/>
                <a:gd name="T34" fmla="*/ 132 w 252"/>
                <a:gd name="T35" fmla="*/ 186 h 348"/>
                <a:gd name="T36" fmla="*/ 122 w 252"/>
                <a:gd name="T37" fmla="*/ 184 h 348"/>
                <a:gd name="T38" fmla="*/ 74 w 252"/>
                <a:gd name="T39" fmla="*/ 206 h 348"/>
                <a:gd name="T40" fmla="*/ 68 w 252"/>
                <a:gd name="T41" fmla="*/ 204 h 348"/>
                <a:gd name="T42" fmla="*/ 60 w 252"/>
                <a:gd name="T43" fmla="*/ 206 h 348"/>
                <a:gd name="T44" fmla="*/ 58 w 252"/>
                <a:gd name="T45" fmla="*/ 218 h 348"/>
                <a:gd name="T46" fmla="*/ 78 w 252"/>
                <a:gd name="T47" fmla="*/ 238 h 348"/>
                <a:gd name="T48" fmla="*/ 86 w 252"/>
                <a:gd name="T49" fmla="*/ 242 h 348"/>
                <a:gd name="T50" fmla="*/ 132 w 252"/>
                <a:gd name="T51" fmla="*/ 200 h 348"/>
                <a:gd name="T52" fmla="*/ 134 w 252"/>
                <a:gd name="T53" fmla="*/ 192 h 348"/>
                <a:gd name="T54" fmla="*/ 132 w 252"/>
                <a:gd name="T55" fmla="*/ 186 h 348"/>
                <a:gd name="T56" fmla="*/ 128 w 252"/>
                <a:gd name="T57" fmla="*/ 122 h 348"/>
                <a:gd name="T58" fmla="*/ 118 w 252"/>
                <a:gd name="T59" fmla="*/ 124 h 348"/>
                <a:gd name="T60" fmla="*/ 74 w 252"/>
                <a:gd name="T61" fmla="*/ 144 h 348"/>
                <a:gd name="T62" fmla="*/ 64 w 252"/>
                <a:gd name="T63" fmla="*/ 142 h 348"/>
                <a:gd name="T64" fmla="*/ 58 w 252"/>
                <a:gd name="T65" fmla="*/ 148 h 348"/>
                <a:gd name="T66" fmla="*/ 60 w 252"/>
                <a:gd name="T67" fmla="*/ 158 h 348"/>
                <a:gd name="T68" fmla="*/ 82 w 252"/>
                <a:gd name="T69" fmla="*/ 180 h 348"/>
                <a:gd name="T70" fmla="*/ 90 w 252"/>
                <a:gd name="T71" fmla="*/ 180 h 348"/>
                <a:gd name="T72" fmla="*/ 132 w 252"/>
                <a:gd name="T73" fmla="*/ 138 h 348"/>
                <a:gd name="T74" fmla="*/ 134 w 252"/>
                <a:gd name="T75" fmla="*/ 126 h 348"/>
                <a:gd name="T76" fmla="*/ 36 w 252"/>
                <a:gd name="T77" fmla="*/ 64 h 348"/>
                <a:gd name="T78" fmla="*/ 40 w 252"/>
                <a:gd name="T79" fmla="*/ 54 h 348"/>
                <a:gd name="T80" fmla="*/ 78 w 252"/>
                <a:gd name="T81" fmla="*/ 48 h 348"/>
                <a:gd name="T82" fmla="*/ 94 w 252"/>
                <a:gd name="T83" fmla="*/ 42 h 348"/>
                <a:gd name="T84" fmla="*/ 100 w 252"/>
                <a:gd name="T85" fmla="*/ 26 h 348"/>
                <a:gd name="T86" fmla="*/ 116 w 252"/>
                <a:gd name="T87" fmla="*/ 2 h 348"/>
                <a:gd name="T88" fmla="*/ 136 w 252"/>
                <a:gd name="T89" fmla="*/ 2 h 348"/>
                <a:gd name="T90" fmla="*/ 152 w 252"/>
                <a:gd name="T91" fmla="*/ 26 h 348"/>
                <a:gd name="T92" fmla="*/ 158 w 252"/>
                <a:gd name="T93" fmla="*/ 42 h 348"/>
                <a:gd name="T94" fmla="*/ 200 w 252"/>
                <a:gd name="T95" fmla="*/ 48 h 348"/>
                <a:gd name="T96" fmla="*/ 212 w 252"/>
                <a:gd name="T97" fmla="*/ 54 h 348"/>
                <a:gd name="T98" fmla="*/ 216 w 252"/>
                <a:gd name="T99" fmla="*/ 78 h 348"/>
                <a:gd name="T100" fmla="*/ 36 w 252"/>
                <a:gd name="T101" fmla="*/ 82 h 348"/>
                <a:gd name="T102" fmla="*/ 36 w 252"/>
                <a:gd name="T103" fmla="*/ 64 h 348"/>
                <a:gd name="T104" fmla="*/ 116 w 252"/>
                <a:gd name="T105" fmla="*/ 30 h 348"/>
                <a:gd name="T106" fmla="*/ 126 w 252"/>
                <a:gd name="T107" fmla="*/ 38 h 348"/>
                <a:gd name="T108" fmla="*/ 134 w 252"/>
                <a:gd name="T109" fmla="*/ 34 h 348"/>
                <a:gd name="T110" fmla="*/ 136 w 252"/>
                <a:gd name="T111" fmla="*/ 26 h 348"/>
                <a:gd name="T112" fmla="*/ 130 w 252"/>
                <a:gd name="T113" fmla="*/ 16 h 348"/>
                <a:gd name="T114" fmla="*/ 122 w 252"/>
                <a:gd name="T115" fmla="*/ 16 h 348"/>
                <a:gd name="T116" fmla="*/ 116 w 252"/>
                <a:gd name="T117" fmla="*/ 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2" h="348">
                  <a:moveTo>
                    <a:pt x="252" y="32"/>
                  </a:moveTo>
                  <a:lnTo>
                    <a:pt x="252" y="332"/>
                  </a:lnTo>
                  <a:lnTo>
                    <a:pt x="252" y="332"/>
                  </a:lnTo>
                  <a:lnTo>
                    <a:pt x="250" y="338"/>
                  </a:lnTo>
                  <a:lnTo>
                    <a:pt x="248" y="344"/>
                  </a:lnTo>
                  <a:lnTo>
                    <a:pt x="242" y="346"/>
                  </a:lnTo>
                  <a:lnTo>
                    <a:pt x="236" y="348"/>
                  </a:lnTo>
                  <a:lnTo>
                    <a:pt x="16" y="348"/>
                  </a:lnTo>
                  <a:lnTo>
                    <a:pt x="16" y="348"/>
                  </a:lnTo>
                  <a:lnTo>
                    <a:pt x="10" y="346"/>
                  </a:lnTo>
                  <a:lnTo>
                    <a:pt x="4" y="344"/>
                  </a:lnTo>
                  <a:lnTo>
                    <a:pt x="2" y="338"/>
                  </a:lnTo>
                  <a:lnTo>
                    <a:pt x="0" y="332"/>
                  </a:lnTo>
                  <a:lnTo>
                    <a:pt x="0" y="32"/>
                  </a:lnTo>
                  <a:lnTo>
                    <a:pt x="0" y="32"/>
                  </a:lnTo>
                  <a:lnTo>
                    <a:pt x="2" y="26"/>
                  </a:lnTo>
                  <a:lnTo>
                    <a:pt x="4" y="20"/>
                  </a:lnTo>
                  <a:lnTo>
                    <a:pt x="10" y="16"/>
                  </a:lnTo>
                  <a:lnTo>
                    <a:pt x="16" y="16"/>
                  </a:lnTo>
                  <a:lnTo>
                    <a:pt x="90" y="16"/>
                  </a:lnTo>
                  <a:lnTo>
                    <a:pt x="90" y="16"/>
                  </a:lnTo>
                  <a:lnTo>
                    <a:pt x="88" y="26"/>
                  </a:lnTo>
                  <a:lnTo>
                    <a:pt x="88" y="26"/>
                  </a:lnTo>
                  <a:lnTo>
                    <a:pt x="86" y="30"/>
                  </a:lnTo>
                  <a:lnTo>
                    <a:pt x="84" y="34"/>
                  </a:lnTo>
                  <a:lnTo>
                    <a:pt x="16" y="34"/>
                  </a:lnTo>
                  <a:lnTo>
                    <a:pt x="16" y="332"/>
                  </a:lnTo>
                  <a:lnTo>
                    <a:pt x="236" y="332"/>
                  </a:lnTo>
                  <a:lnTo>
                    <a:pt x="236" y="34"/>
                  </a:lnTo>
                  <a:lnTo>
                    <a:pt x="168" y="34"/>
                  </a:lnTo>
                  <a:lnTo>
                    <a:pt x="168" y="34"/>
                  </a:lnTo>
                  <a:lnTo>
                    <a:pt x="166" y="30"/>
                  </a:lnTo>
                  <a:lnTo>
                    <a:pt x="164" y="26"/>
                  </a:lnTo>
                  <a:lnTo>
                    <a:pt x="164" y="26"/>
                  </a:lnTo>
                  <a:lnTo>
                    <a:pt x="162" y="16"/>
                  </a:lnTo>
                  <a:lnTo>
                    <a:pt x="236" y="16"/>
                  </a:lnTo>
                  <a:lnTo>
                    <a:pt x="236" y="16"/>
                  </a:lnTo>
                  <a:lnTo>
                    <a:pt x="242" y="16"/>
                  </a:lnTo>
                  <a:lnTo>
                    <a:pt x="248" y="20"/>
                  </a:lnTo>
                  <a:lnTo>
                    <a:pt x="250" y="26"/>
                  </a:lnTo>
                  <a:lnTo>
                    <a:pt x="252" y="32"/>
                  </a:lnTo>
                  <a:lnTo>
                    <a:pt x="252" y="32"/>
                  </a:lnTo>
                  <a:close/>
                  <a:moveTo>
                    <a:pt x="216" y="94"/>
                  </a:moveTo>
                  <a:lnTo>
                    <a:pt x="216" y="312"/>
                  </a:lnTo>
                  <a:lnTo>
                    <a:pt x="36" y="312"/>
                  </a:lnTo>
                  <a:lnTo>
                    <a:pt x="36" y="94"/>
                  </a:lnTo>
                  <a:lnTo>
                    <a:pt x="36" y="94"/>
                  </a:lnTo>
                  <a:lnTo>
                    <a:pt x="36" y="94"/>
                  </a:lnTo>
                  <a:lnTo>
                    <a:pt x="216" y="94"/>
                  </a:lnTo>
                  <a:lnTo>
                    <a:pt x="216" y="94"/>
                  </a:lnTo>
                  <a:lnTo>
                    <a:pt x="216" y="94"/>
                  </a:lnTo>
                  <a:lnTo>
                    <a:pt x="216" y="94"/>
                  </a:lnTo>
                  <a:close/>
                  <a:moveTo>
                    <a:pt x="132" y="186"/>
                  </a:moveTo>
                  <a:lnTo>
                    <a:pt x="132" y="186"/>
                  </a:lnTo>
                  <a:lnTo>
                    <a:pt x="128" y="184"/>
                  </a:lnTo>
                  <a:lnTo>
                    <a:pt x="124" y="182"/>
                  </a:lnTo>
                  <a:lnTo>
                    <a:pt x="122" y="184"/>
                  </a:lnTo>
                  <a:lnTo>
                    <a:pt x="118" y="186"/>
                  </a:lnTo>
                  <a:lnTo>
                    <a:pt x="86" y="218"/>
                  </a:lnTo>
                  <a:lnTo>
                    <a:pt x="74" y="206"/>
                  </a:lnTo>
                  <a:lnTo>
                    <a:pt x="74" y="206"/>
                  </a:lnTo>
                  <a:lnTo>
                    <a:pt x="70" y="204"/>
                  </a:lnTo>
                  <a:lnTo>
                    <a:pt x="68" y="204"/>
                  </a:lnTo>
                  <a:lnTo>
                    <a:pt x="64" y="204"/>
                  </a:lnTo>
                  <a:lnTo>
                    <a:pt x="60" y="206"/>
                  </a:lnTo>
                  <a:lnTo>
                    <a:pt x="60" y="206"/>
                  </a:lnTo>
                  <a:lnTo>
                    <a:pt x="58" y="210"/>
                  </a:lnTo>
                  <a:lnTo>
                    <a:pt x="58" y="214"/>
                  </a:lnTo>
                  <a:lnTo>
                    <a:pt x="58" y="218"/>
                  </a:lnTo>
                  <a:lnTo>
                    <a:pt x="60" y="220"/>
                  </a:lnTo>
                  <a:lnTo>
                    <a:pt x="78" y="238"/>
                  </a:lnTo>
                  <a:lnTo>
                    <a:pt x="78" y="238"/>
                  </a:lnTo>
                  <a:lnTo>
                    <a:pt x="82" y="242"/>
                  </a:lnTo>
                  <a:lnTo>
                    <a:pt x="86" y="242"/>
                  </a:lnTo>
                  <a:lnTo>
                    <a:pt x="86" y="242"/>
                  </a:lnTo>
                  <a:lnTo>
                    <a:pt x="90" y="242"/>
                  </a:lnTo>
                  <a:lnTo>
                    <a:pt x="92" y="238"/>
                  </a:lnTo>
                  <a:lnTo>
                    <a:pt x="132" y="200"/>
                  </a:lnTo>
                  <a:lnTo>
                    <a:pt x="132" y="200"/>
                  </a:lnTo>
                  <a:lnTo>
                    <a:pt x="134" y="196"/>
                  </a:lnTo>
                  <a:lnTo>
                    <a:pt x="134" y="192"/>
                  </a:lnTo>
                  <a:lnTo>
                    <a:pt x="134" y="188"/>
                  </a:lnTo>
                  <a:lnTo>
                    <a:pt x="132" y="186"/>
                  </a:lnTo>
                  <a:lnTo>
                    <a:pt x="132" y="186"/>
                  </a:lnTo>
                  <a:close/>
                  <a:moveTo>
                    <a:pt x="132" y="124"/>
                  </a:moveTo>
                  <a:lnTo>
                    <a:pt x="132" y="124"/>
                  </a:lnTo>
                  <a:lnTo>
                    <a:pt x="128" y="122"/>
                  </a:lnTo>
                  <a:lnTo>
                    <a:pt x="124" y="120"/>
                  </a:lnTo>
                  <a:lnTo>
                    <a:pt x="122" y="122"/>
                  </a:lnTo>
                  <a:lnTo>
                    <a:pt x="118" y="124"/>
                  </a:lnTo>
                  <a:lnTo>
                    <a:pt x="86" y="156"/>
                  </a:lnTo>
                  <a:lnTo>
                    <a:pt x="74" y="144"/>
                  </a:lnTo>
                  <a:lnTo>
                    <a:pt x="74" y="144"/>
                  </a:lnTo>
                  <a:lnTo>
                    <a:pt x="70" y="142"/>
                  </a:lnTo>
                  <a:lnTo>
                    <a:pt x="68" y="142"/>
                  </a:lnTo>
                  <a:lnTo>
                    <a:pt x="64" y="142"/>
                  </a:lnTo>
                  <a:lnTo>
                    <a:pt x="60" y="144"/>
                  </a:lnTo>
                  <a:lnTo>
                    <a:pt x="60" y="144"/>
                  </a:lnTo>
                  <a:lnTo>
                    <a:pt x="58" y="148"/>
                  </a:lnTo>
                  <a:lnTo>
                    <a:pt x="58" y="152"/>
                  </a:lnTo>
                  <a:lnTo>
                    <a:pt x="58" y="156"/>
                  </a:lnTo>
                  <a:lnTo>
                    <a:pt x="60" y="158"/>
                  </a:lnTo>
                  <a:lnTo>
                    <a:pt x="78" y="178"/>
                  </a:lnTo>
                  <a:lnTo>
                    <a:pt x="78" y="178"/>
                  </a:lnTo>
                  <a:lnTo>
                    <a:pt x="82" y="180"/>
                  </a:lnTo>
                  <a:lnTo>
                    <a:pt x="86" y="180"/>
                  </a:lnTo>
                  <a:lnTo>
                    <a:pt x="86" y="180"/>
                  </a:lnTo>
                  <a:lnTo>
                    <a:pt x="90" y="180"/>
                  </a:lnTo>
                  <a:lnTo>
                    <a:pt x="92" y="178"/>
                  </a:lnTo>
                  <a:lnTo>
                    <a:pt x="132" y="138"/>
                  </a:lnTo>
                  <a:lnTo>
                    <a:pt x="132" y="138"/>
                  </a:lnTo>
                  <a:lnTo>
                    <a:pt x="134" y="134"/>
                  </a:lnTo>
                  <a:lnTo>
                    <a:pt x="134" y="130"/>
                  </a:lnTo>
                  <a:lnTo>
                    <a:pt x="134" y="126"/>
                  </a:lnTo>
                  <a:lnTo>
                    <a:pt x="132" y="124"/>
                  </a:lnTo>
                  <a:lnTo>
                    <a:pt x="132" y="124"/>
                  </a:lnTo>
                  <a:close/>
                  <a:moveTo>
                    <a:pt x="36" y="64"/>
                  </a:moveTo>
                  <a:lnTo>
                    <a:pt x="36" y="64"/>
                  </a:lnTo>
                  <a:lnTo>
                    <a:pt x="36" y="58"/>
                  </a:lnTo>
                  <a:lnTo>
                    <a:pt x="40" y="54"/>
                  </a:lnTo>
                  <a:lnTo>
                    <a:pt x="46" y="50"/>
                  </a:lnTo>
                  <a:lnTo>
                    <a:pt x="52" y="48"/>
                  </a:lnTo>
                  <a:lnTo>
                    <a:pt x="78" y="48"/>
                  </a:lnTo>
                  <a:lnTo>
                    <a:pt x="78" y="48"/>
                  </a:lnTo>
                  <a:lnTo>
                    <a:pt x="86" y="46"/>
                  </a:lnTo>
                  <a:lnTo>
                    <a:pt x="94" y="42"/>
                  </a:lnTo>
                  <a:lnTo>
                    <a:pt x="98" y="36"/>
                  </a:lnTo>
                  <a:lnTo>
                    <a:pt x="100" y="26"/>
                  </a:lnTo>
                  <a:lnTo>
                    <a:pt x="100" y="26"/>
                  </a:lnTo>
                  <a:lnTo>
                    <a:pt x="102" y="16"/>
                  </a:lnTo>
                  <a:lnTo>
                    <a:pt x="108" y="8"/>
                  </a:lnTo>
                  <a:lnTo>
                    <a:pt x="116" y="2"/>
                  </a:lnTo>
                  <a:lnTo>
                    <a:pt x="126" y="0"/>
                  </a:lnTo>
                  <a:lnTo>
                    <a:pt x="126" y="0"/>
                  </a:lnTo>
                  <a:lnTo>
                    <a:pt x="136" y="2"/>
                  </a:lnTo>
                  <a:lnTo>
                    <a:pt x="144" y="8"/>
                  </a:lnTo>
                  <a:lnTo>
                    <a:pt x="150" y="16"/>
                  </a:lnTo>
                  <a:lnTo>
                    <a:pt x="152" y="26"/>
                  </a:lnTo>
                  <a:lnTo>
                    <a:pt x="152" y="26"/>
                  </a:lnTo>
                  <a:lnTo>
                    <a:pt x="154" y="36"/>
                  </a:lnTo>
                  <a:lnTo>
                    <a:pt x="158" y="42"/>
                  </a:lnTo>
                  <a:lnTo>
                    <a:pt x="166" y="46"/>
                  </a:lnTo>
                  <a:lnTo>
                    <a:pt x="174" y="48"/>
                  </a:lnTo>
                  <a:lnTo>
                    <a:pt x="200" y="48"/>
                  </a:lnTo>
                  <a:lnTo>
                    <a:pt x="200" y="48"/>
                  </a:lnTo>
                  <a:lnTo>
                    <a:pt x="206" y="50"/>
                  </a:lnTo>
                  <a:lnTo>
                    <a:pt x="212" y="54"/>
                  </a:lnTo>
                  <a:lnTo>
                    <a:pt x="216" y="58"/>
                  </a:lnTo>
                  <a:lnTo>
                    <a:pt x="216" y="64"/>
                  </a:lnTo>
                  <a:lnTo>
                    <a:pt x="216" y="78"/>
                  </a:lnTo>
                  <a:lnTo>
                    <a:pt x="216" y="78"/>
                  </a:lnTo>
                  <a:lnTo>
                    <a:pt x="216" y="82"/>
                  </a:lnTo>
                  <a:lnTo>
                    <a:pt x="36" y="82"/>
                  </a:lnTo>
                  <a:lnTo>
                    <a:pt x="36" y="82"/>
                  </a:lnTo>
                  <a:lnTo>
                    <a:pt x="36" y="78"/>
                  </a:lnTo>
                  <a:lnTo>
                    <a:pt x="36" y="64"/>
                  </a:lnTo>
                  <a:close/>
                  <a:moveTo>
                    <a:pt x="116" y="26"/>
                  </a:moveTo>
                  <a:lnTo>
                    <a:pt x="116" y="26"/>
                  </a:lnTo>
                  <a:lnTo>
                    <a:pt x="116" y="30"/>
                  </a:lnTo>
                  <a:lnTo>
                    <a:pt x="118" y="34"/>
                  </a:lnTo>
                  <a:lnTo>
                    <a:pt x="122" y="36"/>
                  </a:lnTo>
                  <a:lnTo>
                    <a:pt x="126" y="38"/>
                  </a:lnTo>
                  <a:lnTo>
                    <a:pt x="126" y="38"/>
                  </a:lnTo>
                  <a:lnTo>
                    <a:pt x="130" y="36"/>
                  </a:lnTo>
                  <a:lnTo>
                    <a:pt x="134" y="34"/>
                  </a:lnTo>
                  <a:lnTo>
                    <a:pt x="136" y="30"/>
                  </a:lnTo>
                  <a:lnTo>
                    <a:pt x="136" y="26"/>
                  </a:lnTo>
                  <a:lnTo>
                    <a:pt x="136" y="26"/>
                  </a:lnTo>
                  <a:lnTo>
                    <a:pt x="136" y="22"/>
                  </a:lnTo>
                  <a:lnTo>
                    <a:pt x="134" y="20"/>
                  </a:lnTo>
                  <a:lnTo>
                    <a:pt x="130" y="16"/>
                  </a:lnTo>
                  <a:lnTo>
                    <a:pt x="126" y="16"/>
                  </a:lnTo>
                  <a:lnTo>
                    <a:pt x="126" y="16"/>
                  </a:lnTo>
                  <a:lnTo>
                    <a:pt x="122" y="16"/>
                  </a:lnTo>
                  <a:lnTo>
                    <a:pt x="118" y="20"/>
                  </a:lnTo>
                  <a:lnTo>
                    <a:pt x="116" y="22"/>
                  </a:lnTo>
                  <a:lnTo>
                    <a:pt x="116" y="26"/>
                  </a:lnTo>
                  <a:lnTo>
                    <a:pt x="116" y="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2861147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11E42F-D1D9-4207-A902-4CE8F88FCF91}"/>
              </a:ext>
            </a:extLst>
          </p:cNvPr>
          <p:cNvSpPr>
            <a:spLocks noGrp="1"/>
          </p:cNvSpPr>
          <p:nvPr>
            <p:ph type="body" sz="quarter" idx="16"/>
          </p:nvPr>
        </p:nvSpPr>
        <p:spPr/>
        <p:txBody>
          <a:bodyPr>
            <a:normAutofit fontScale="25000" lnSpcReduction="20000"/>
          </a:bodyPr>
          <a:lstStyle/>
          <a:p>
            <a:endParaRPr lang="da-DK"/>
          </a:p>
        </p:txBody>
      </p:sp>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p:txBody>
          <a:bodyPr/>
          <a:lstStyle/>
          <a:p>
            <a:r>
              <a:rPr lang="da-DK" dirty="0"/>
              <a:t>Modul 1: Velkommen</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spTree>
    <p:extLst>
      <p:ext uri="{BB962C8B-B14F-4D97-AF65-F5344CB8AC3E}">
        <p14:creationId xmlns:p14="http://schemas.microsoft.com/office/powerpoint/2010/main" val="37221893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2E3426-AABA-4F94-9808-B810C6329471}"/>
              </a:ext>
            </a:extLst>
          </p:cNvPr>
          <p:cNvSpPr>
            <a:spLocks noGrp="1"/>
          </p:cNvSpPr>
          <p:nvPr>
            <p:ph type="body" sz="quarter" idx="16"/>
          </p:nvPr>
        </p:nvSpPr>
        <p:spPr/>
        <p:txBody>
          <a:bodyPr>
            <a:normAutofit fontScale="25000" lnSpcReduction="20000"/>
          </a:bodyPr>
          <a:lstStyle/>
          <a:p>
            <a:endParaRPr lang="da-DK"/>
          </a:p>
        </p:txBody>
      </p:sp>
      <p:sp>
        <p:nvSpPr>
          <p:cNvPr id="3" name="Subtitle 2">
            <a:extLst>
              <a:ext uri="{FF2B5EF4-FFF2-40B4-BE49-F238E27FC236}">
                <a16:creationId xmlns:a16="http://schemas.microsoft.com/office/drawing/2014/main" id="{1CCFF590-D77B-43F7-8625-992D8C6EC627}"/>
              </a:ext>
            </a:extLst>
          </p:cNvPr>
          <p:cNvSpPr>
            <a:spLocks noGrp="1"/>
          </p:cNvSpPr>
          <p:nvPr>
            <p:ph type="subTitle" idx="1"/>
          </p:nvPr>
        </p:nvSpPr>
        <p:spPr/>
        <p:txBody>
          <a:bodyPr>
            <a:normAutofit fontScale="92500"/>
          </a:bodyPr>
          <a:lstStyle/>
          <a:p>
            <a:r>
              <a:rPr lang="da-DK" dirty="0"/>
              <a:t>Modul 3: Andre følger af autisme</a:t>
            </a:r>
          </a:p>
        </p:txBody>
      </p:sp>
      <p:sp>
        <p:nvSpPr>
          <p:cNvPr id="4" name="Text Placeholder 3">
            <a:extLst>
              <a:ext uri="{FF2B5EF4-FFF2-40B4-BE49-F238E27FC236}">
                <a16:creationId xmlns:a16="http://schemas.microsoft.com/office/drawing/2014/main" id="{1EE40FE3-5853-4471-9992-DC6DE9BF97B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46F600F3-485F-405F-98FF-78C980753C4A}"/>
              </a:ext>
            </a:extLst>
          </p:cNvPr>
          <p:cNvSpPr>
            <a:spLocks noGrp="1"/>
          </p:cNvSpPr>
          <p:nvPr>
            <p:ph type="body" sz="quarter" idx="13"/>
          </p:nvPr>
        </p:nvSpPr>
        <p:spPr/>
        <p:txBody>
          <a:bodyPr>
            <a:normAutofit fontScale="25000" lnSpcReduction="20000"/>
          </a:bodyPr>
          <a:lstStyle/>
          <a:p>
            <a:endParaRPr lang="da-DK"/>
          </a:p>
        </p:txBody>
      </p:sp>
    </p:spTree>
    <p:extLst>
      <p:ext uri="{BB962C8B-B14F-4D97-AF65-F5344CB8AC3E}">
        <p14:creationId xmlns:p14="http://schemas.microsoft.com/office/powerpoint/2010/main" val="19424784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4CCAB7A9-18C1-BBE6-8E23-3BA2C3F9813E}"/>
              </a:ext>
            </a:extLst>
          </p:cNvPr>
          <p:cNvPicPr>
            <a:picLocks noChangeAspect="1"/>
          </p:cNvPicPr>
          <p:nvPr/>
        </p:nvPicPr>
        <p:blipFill rotWithShape="1">
          <a:blip r:embed="rId5"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8" name="Object 7" hidden="1">
            <a:extLst>
              <a:ext uri="{FF2B5EF4-FFF2-40B4-BE49-F238E27FC236}">
                <a16:creationId xmlns:a16="http://schemas.microsoft.com/office/drawing/2014/main" id="{496D246D-0C37-47E9-809F-1E4138381457}"/>
              </a:ext>
            </a:extLst>
          </p:cNvPr>
          <p:cNvGraphicFramePr>
            <a:graphicFrameLocks noChangeAspect="1"/>
          </p:cNvGraphicFramePr>
          <p:nvPr>
            <p:custDataLst>
              <p:tags r:id="rId2"/>
            </p:custDataLst>
            <p:extLst>
              <p:ext uri="{D42A27DB-BD31-4B8C-83A1-F6EECF244321}">
                <p14:modId xmlns:p14="http://schemas.microsoft.com/office/powerpoint/2010/main" val="1326838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6" imgW="342" imgH="337" progId="TCLayout.ActiveDocument.1">
                  <p:embed/>
                </p:oleObj>
              </mc:Choice>
              <mc:Fallback>
                <p:oleObj name="think-cell Slide" r:id="rId6" imgW="342" imgH="337"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p:txBody>
          <a:bodyPr vert="horz"/>
          <a:lstStyle/>
          <a:p>
            <a:r>
              <a:rPr lang="da-DK" dirty="0"/>
              <a:t>Modul 3: Andre følger af autisme</a:t>
            </a:r>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a:t>
            </a:r>
          </a:p>
          <a:p>
            <a:r>
              <a:rPr lang="da-DK" dirty="0"/>
              <a:t>At I får øget viden om de øvrige udfordringer jeres barn kan opleve</a:t>
            </a:r>
          </a:p>
          <a:p>
            <a:r>
              <a:rPr lang="da-DK" dirty="0"/>
              <a:t>At I får viden, redskaber og handlemåder til at forebygge og håndtere disse problematikker. </a:t>
            </a:r>
          </a:p>
        </p:txBody>
      </p:sp>
    </p:spTree>
    <p:extLst>
      <p:ext uri="{BB962C8B-B14F-4D97-AF65-F5344CB8AC3E}">
        <p14:creationId xmlns:p14="http://schemas.microsoft.com/office/powerpoint/2010/main" val="26425626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7"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2772442968"/>
              </p:ext>
            </p:extLst>
          </p:nvPr>
        </p:nvGraphicFramePr>
        <p:xfrm>
          <a:off x="628649" y="1760220"/>
          <a:ext cx="7467526" cy="370840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Velkommen og formål med dagen </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Siden sidst</a:t>
                      </a:r>
                    </a:p>
                  </a:txBody>
                  <a:tcPr/>
                </a:tc>
                <a:extLst>
                  <a:ext uri="{0D108BD9-81ED-4DB2-BD59-A6C34878D82A}">
                    <a16:rowId xmlns:a16="http://schemas.microsoft.com/office/drawing/2014/main" val="3167250481"/>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vil vi gerne have ud af modulet?</a:t>
                      </a:r>
                    </a:p>
                  </a:txBody>
                  <a:tcPr/>
                </a:tc>
                <a:extLst>
                  <a:ext uri="{0D108BD9-81ED-4DB2-BD59-A6C34878D82A}">
                    <a16:rowId xmlns:a16="http://schemas.microsoft.com/office/drawing/2014/main" val="102157098"/>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har de unge aktuelt fokus på?</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Oplæg </a:t>
                      </a:r>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Drøftelse af dagens tema</a:t>
                      </a:r>
                    </a:p>
                  </a:txBody>
                  <a:tcPr/>
                </a:tc>
                <a:extLst>
                  <a:ext uri="{0D108BD9-81ED-4DB2-BD59-A6C34878D82A}">
                    <a16:rowId xmlns:a16="http://schemas.microsoft.com/office/drawing/2014/main" val="2823113985"/>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Øvelse/omsætning til hverdagen</a:t>
                      </a:r>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vil vi fokusere på til næste gang? </a:t>
                      </a:r>
                    </a:p>
                  </a:txBody>
                  <a:tcPr/>
                </a:tc>
                <a:extLst>
                  <a:ext uri="{0D108BD9-81ED-4DB2-BD59-A6C34878D82A}">
                    <a16:rowId xmlns:a16="http://schemas.microsoft.com/office/drawing/2014/main" val="3100555660"/>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tager vi med os hjem?</a:t>
                      </a:r>
                    </a:p>
                  </a:txBody>
                  <a:tcPr/>
                </a:tc>
                <a:extLst>
                  <a:ext uri="{0D108BD9-81ED-4DB2-BD59-A6C34878D82A}">
                    <a16:rowId xmlns:a16="http://schemas.microsoft.com/office/drawing/2014/main" val="2187706190"/>
                  </a:ext>
                </a:extLst>
              </a:tr>
            </a:tbl>
          </a:graphicData>
        </a:graphic>
      </p:graphicFrame>
    </p:spTree>
    <p:extLst>
      <p:ext uri="{BB962C8B-B14F-4D97-AF65-F5344CB8AC3E}">
        <p14:creationId xmlns:p14="http://schemas.microsoft.com/office/powerpoint/2010/main" val="21632119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E2F47B-7352-4067-816A-312B537F7D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45E2F47B-7352-4067-816A-312B537F7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38865-BE55-48CB-8610-2CCD942ACAD1}"/>
              </a:ext>
            </a:extLst>
          </p:cNvPr>
          <p:cNvSpPr>
            <a:spLocks noGrp="1"/>
          </p:cNvSpPr>
          <p:nvPr>
            <p:ph type="title"/>
          </p:nvPr>
        </p:nvSpPr>
        <p:spPr/>
        <p:txBody>
          <a:bodyPr vert="horz"/>
          <a:lstStyle/>
          <a:p>
            <a:r>
              <a:rPr lang="da-DK" dirty="0"/>
              <a:t>Siden sidst – to og to</a:t>
            </a:r>
          </a:p>
        </p:txBody>
      </p:sp>
      <p:sp>
        <p:nvSpPr>
          <p:cNvPr id="3" name="Content Placeholder 2">
            <a:extLst>
              <a:ext uri="{FF2B5EF4-FFF2-40B4-BE49-F238E27FC236}">
                <a16:creationId xmlns:a16="http://schemas.microsoft.com/office/drawing/2014/main" id="{2D9E83EF-F91E-43EF-9F1D-837A2F305F83}"/>
              </a:ext>
            </a:extLst>
          </p:cNvPr>
          <p:cNvSpPr>
            <a:spLocks noGrp="1"/>
          </p:cNvSpPr>
          <p:nvPr>
            <p:ph idx="1"/>
          </p:nvPr>
        </p:nvSpPr>
        <p:spPr/>
        <p:txBody>
          <a:bodyPr/>
          <a:lstStyle/>
          <a:p>
            <a:r>
              <a:rPr lang="da-DK" dirty="0"/>
              <a:t>Hvordan er det gået siden sidst? </a:t>
            </a:r>
          </a:p>
          <a:p>
            <a:endParaRPr lang="da-DK" dirty="0"/>
          </a:p>
          <a:p>
            <a:r>
              <a:rPr lang="da-DK" dirty="0"/>
              <a:t>Hvad er det bedste, der er sket for mit barn og jeg siden sidst? </a:t>
            </a:r>
          </a:p>
          <a:p>
            <a:endParaRPr lang="da-DK" dirty="0"/>
          </a:p>
          <a:p>
            <a:r>
              <a:rPr lang="da-DK" dirty="0"/>
              <a:t>Hvordan er det gået med den unges hjemmeøvelse?</a:t>
            </a:r>
          </a:p>
          <a:p>
            <a:endParaRPr lang="da-DK" dirty="0"/>
          </a:p>
        </p:txBody>
      </p:sp>
      <p:sp>
        <p:nvSpPr>
          <p:cNvPr id="8" name="Speech Bubble: Rectangle with Corners Rounded 7">
            <a:extLst>
              <a:ext uri="{FF2B5EF4-FFF2-40B4-BE49-F238E27FC236}">
                <a16:creationId xmlns:a16="http://schemas.microsoft.com/office/drawing/2014/main" id="{38C3984B-16E8-458B-B4D8-00F38FCDB098}"/>
              </a:ext>
            </a:extLst>
          </p:cNvPr>
          <p:cNvSpPr/>
          <p:nvPr/>
        </p:nvSpPr>
        <p:spPr>
          <a:xfrm>
            <a:off x="3347864" y="3573016"/>
            <a:ext cx="5040560" cy="2195872"/>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Tænk over den unges eventuelle øvrige problematikker (fx angst, stress, depression, rusmiddelproblemer).</a:t>
            </a:r>
          </a:p>
          <a:p>
            <a:pPr marL="285750" indent="-285750">
              <a:spcAft>
                <a:spcPts val="600"/>
              </a:spcAft>
              <a:buFont typeface="Arial" panose="020B0604020202020204" pitchFamily="34" charset="0"/>
              <a:buChar char="•"/>
            </a:pPr>
            <a:r>
              <a:rPr lang="da-DK" sz="1400" i="1" dirty="0">
                <a:solidFill>
                  <a:schemeClr val="tx1"/>
                </a:solidFill>
              </a:rPr>
              <a:t>Hvad er mine/den unges erfaringer? Hvordan arbejder den unge med disse ting i sit læringsforløb?</a:t>
            </a:r>
          </a:p>
          <a:p>
            <a:pPr marL="285750" indent="-285750">
              <a:spcAft>
                <a:spcPts val="600"/>
              </a:spcAft>
              <a:buFont typeface="Arial" panose="020B0604020202020204" pitchFamily="34" charset="0"/>
              <a:buChar char="•"/>
            </a:pPr>
            <a:r>
              <a:rPr lang="da-DK" sz="1400" i="1" dirty="0">
                <a:solidFill>
                  <a:schemeClr val="tx1"/>
                </a:solidFill>
              </a:rPr>
              <a:t>Hvad kan være svært?</a:t>
            </a:r>
          </a:p>
          <a:p>
            <a:pPr marL="285750" indent="-285750">
              <a:spcAft>
                <a:spcPts val="600"/>
              </a:spcAft>
              <a:buFont typeface="Arial" panose="020B0604020202020204" pitchFamily="34" charset="0"/>
              <a:buChar char="•"/>
            </a:pPr>
            <a:r>
              <a:rPr lang="da-DK" sz="1400" i="1" dirty="0">
                <a:solidFill>
                  <a:schemeClr val="tx1"/>
                </a:solidFill>
              </a:rPr>
              <a:t>Hvad vil jeg gerne have ud af modulet om de udfordringer, som de unge kan have ud over autisme?</a:t>
            </a:r>
          </a:p>
        </p:txBody>
      </p:sp>
    </p:spTree>
    <p:extLst>
      <p:ext uri="{BB962C8B-B14F-4D97-AF65-F5344CB8AC3E}">
        <p14:creationId xmlns:p14="http://schemas.microsoft.com/office/powerpoint/2010/main" val="21799212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E2F47B-7352-4067-816A-312B537F7D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45E2F47B-7352-4067-816A-312B537F7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38865-BE55-48CB-8610-2CCD942ACAD1}"/>
              </a:ext>
            </a:extLst>
          </p:cNvPr>
          <p:cNvSpPr>
            <a:spLocks noGrp="1"/>
          </p:cNvSpPr>
          <p:nvPr>
            <p:ph type="title"/>
          </p:nvPr>
        </p:nvSpPr>
        <p:spPr/>
        <p:txBody>
          <a:bodyPr vert="horz"/>
          <a:lstStyle/>
          <a:p>
            <a:r>
              <a:rPr lang="da-DK" dirty="0"/>
              <a:t>Hvad vil vi gerne have ud af modulet?</a:t>
            </a:r>
          </a:p>
        </p:txBody>
      </p:sp>
      <p:sp>
        <p:nvSpPr>
          <p:cNvPr id="3" name="Content Placeholder 2">
            <a:extLst>
              <a:ext uri="{FF2B5EF4-FFF2-40B4-BE49-F238E27FC236}">
                <a16:creationId xmlns:a16="http://schemas.microsoft.com/office/drawing/2014/main" id="{2D9E83EF-F91E-43EF-9F1D-837A2F305F83}"/>
              </a:ext>
            </a:extLst>
          </p:cNvPr>
          <p:cNvSpPr>
            <a:spLocks noGrp="1"/>
          </p:cNvSpPr>
          <p:nvPr>
            <p:ph idx="1"/>
          </p:nvPr>
        </p:nvSpPr>
        <p:spPr/>
        <p:txBody>
          <a:bodyPr/>
          <a:lstStyle/>
          <a:p>
            <a:r>
              <a:rPr lang="da-DK" dirty="0"/>
              <a:t>Hvad vil jeg gerne have ud af dagen i dag? </a:t>
            </a:r>
          </a:p>
          <a:p>
            <a:r>
              <a:rPr lang="da-DK" dirty="0"/>
              <a:t>Hvad er vigtigt for mig at komme omkring i forhold til temaet om de unges andre følger af autisme? </a:t>
            </a:r>
          </a:p>
        </p:txBody>
      </p:sp>
    </p:spTree>
    <p:extLst>
      <p:ext uri="{BB962C8B-B14F-4D97-AF65-F5344CB8AC3E}">
        <p14:creationId xmlns:p14="http://schemas.microsoft.com/office/powerpoint/2010/main" val="23349208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3670159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Hvad har de unge aktuelt fokus på?</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normAutofit fontScale="92500" lnSpcReduction="20000"/>
          </a:bodyPr>
          <a:lstStyle/>
          <a:p>
            <a:pPr marL="0" indent="0">
              <a:spcBef>
                <a:spcPts val="0"/>
              </a:spcBef>
              <a:spcAft>
                <a:spcPts val="1200"/>
              </a:spcAft>
              <a:buNone/>
            </a:pPr>
            <a:r>
              <a:rPr lang="da-DK" b="1" dirty="0"/>
              <a:t>[Indholdet tilpasses, så det afspejler indholdet i de unges session]</a:t>
            </a:r>
          </a:p>
          <a:p>
            <a:pPr marL="0" indent="0">
              <a:buNone/>
            </a:pPr>
            <a:r>
              <a:rPr lang="da-DK" dirty="0"/>
              <a:t>På modulet omkring </a:t>
            </a:r>
            <a:r>
              <a:rPr lang="da-DK" b="1" dirty="0"/>
              <a:t>samtale</a:t>
            </a:r>
            <a:r>
              <a:rPr lang="da-DK" dirty="0"/>
              <a:t> lærer de unge bl.a.: </a:t>
            </a:r>
          </a:p>
          <a:p>
            <a:r>
              <a:rPr lang="da-DK" dirty="0"/>
              <a:t>At samtaler kan være svære at føre, og at det ikke kun handler om det, der bliver sagt.</a:t>
            </a:r>
            <a:endParaRPr lang="da-DK" i="0" dirty="0"/>
          </a:p>
          <a:p>
            <a:r>
              <a:rPr lang="da-DK" i="0" dirty="0"/>
              <a:t>Hvordan man </a:t>
            </a:r>
            <a:r>
              <a:rPr lang="da-DK" b="1" dirty="0"/>
              <a:t>starter</a:t>
            </a:r>
            <a:r>
              <a:rPr lang="da-DK" i="0" dirty="0"/>
              <a:t> en samtale:</a:t>
            </a:r>
          </a:p>
          <a:p>
            <a:pPr lvl="1"/>
            <a:r>
              <a:rPr lang="da-DK" i="0" dirty="0" err="1"/>
              <a:t>Small-talk</a:t>
            </a:r>
            <a:r>
              <a:rPr lang="da-DK" i="0" dirty="0"/>
              <a:t> er en måde at komme i kontakt på.</a:t>
            </a:r>
          </a:p>
          <a:p>
            <a:pPr lvl="1"/>
            <a:r>
              <a:rPr lang="da-DK" i="0" dirty="0"/>
              <a:t>Hvad der er passende at snakke om afhænger af situationen.</a:t>
            </a:r>
          </a:p>
          <a:p>
            <a:r>
              <a:rPr lang="da-DK" dirty="0"/>
              <a:t>Hvordan man </a:t>
            </a:r>
            <a:r>
              <a:rPr lang="da-DK" b="1" dirty="0"/>
              <a:t>vedligeholder</a:t>
            </a:r>
            <a:r>
              <a:rPr lang="da-DK" dirty="0"/>
              <a:t> en samtale: </a:t>
            </a:r>
          </a:p>
          <a:p>
            <a:pPr lvl="1"/>
            <a:r>
              <a:rPr lang="da-DK" i="0" dirty="0"/>
              <a:t>Vigtigt at lytte, stille opfølgende spørgsmål, vise at man er interesseret og stille åbne spørgsmål.</a:t>
            </a:r>
          </a:p>
          <a:p>
            <a:r>
              <a:rPr lang="da-DK" dirty="0"/>
              <a:t>Hvordan man </a:t>
            </a:r>
            <a:r>
              <a:rPr lang="da-DK" b="1" dirty="0"/>
              <a:t>stopper</a:t>
            </a:r>
            <a:r>
              <a:rPr lang="da-DK" dirty="0"/>
              <a:t> en samtale: </a:t>
            </a:r>
          </a:p>
          <a:p>
            <a:pPr lvl="1"/>
            <a:r>
              <a:rPr lang="da-DK" i="0" dirty="0"/>
              <a:t>Vigtigt med en høflig afslutning, man kan også </a:t>
            </a:r>
            <a:r>
              <a:rPr lang="da-DK" i="0" dirty="0" err="1"/>
              <a:t>hinte</a:t>
            </a:r>
            <a:r>
              <a:rPr lang="da-DK" i="0" dirty="0"/>
              <a:t> eller give et troværdigt påskud.</a:t>
            </a:r>
          </a:p>
          <a:p>
            <a:r>
              <a:rPr lang="da-DK" dirty="0"/>
              <a:t>At kropssprog er en vigtig del af kommunikationen med andre, og at man kan afkode hvordan folk har det fra deres kropssprog.</a:t>
            </a:r>
            <a:endParaRPr lang="da-DK" i="0" dirty="0"/>
          </a:p>
        </p:txBody>
      </p:sp>
    </p:spTree>
    <p:extLst>
      <p:ext uri="{BB962C8B-B14F-4D97-AF65-F5344CB8AC3E}">
        <p14:creationId xmlns:p14="http://schemas.microsoft.com/office/powerpoint/2010/main" val="19917153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Hvad har de unge aktuelt fokus på?</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normAutofit/>
          </a:bodyPr>
          <a:lstStyle/>
          <a:p>
            <a:pPr marL="0" indent="0">
              <a:buNone/>
            </a:pPr>
            <a:r>
              <a:rPr lang="da-DK" b="1" dirty="0"/>
              <a:t>[Her indsætter gruppevejlederen de unges hjemmeøvelse(r) fra sidste gang]</a:t>
            </a:r>
            <a:endParaRPr lang="da-DK" b="1" i="0" dirty="0"/>
          </a:p>
        </p:txBody>
      </p:sp>
    </p:spTree>
    <p:extLst>
      <p:ext uri="{BB962C8B-B14F-4D97-AF65-F5344CB8AC3E}">
        <p14:creationId xmlns:p14="http://schemas.microsoft.com/office/powerpoint/2010/main" val="32644924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415BD-562C-4AAF-9B83-8FCE6E7FE9A7}"/>
              </a:ext>
            </a:extLst>
          </p:cNvPr>
          <p:cNvSpPr>
            <a:spLocks noGrp="1"/>
          </p:cNvSpPr>
          <p:nvPr>
            <p:ph type="title"/>
          </p:nvPr>
        </p:nvSpPr>
        <p:spPr/>
        <p:txBody>
          <a:bodyPr/>
          <a:lstStyle/>
          <a:p>
            <a:r>
              <a:rPr lang="da-DK" dirty="0"/>
              <a:t>Psykiatrisk </a:t>
            </a:r>
            <a:r>
              <a:rPr lang="da-DK" dirty="0" err="1"/>
              <a:t>komorbiditet</a:t>
            </a:r>
            <a:endParaRPr lang="da-DK" dirty="0"/>
          </a:p>
        </p:txBody>
      </p:sp>
      <p:sp>
        <p:nvSpPr>
          <p:cNvPr id="3" name="Content Placeholder 2">
            <a:extLst>
              <a:ext uri="{FF2B5EF4-FFF2-40B4-BE49-F238E27FC236}">
                <a16:creationId xmlns:a16="http://schemas.microsoft.com/office/drawing/2014/main" id="{EAA4C38B-77E8-4BDC-AAEB-C484313187D9}"/>
              </a:ext>
            </a:extLst>
          </p:cNvPr>
          <p:cNvSpPr>
            <a:spLocks noGrp="1"/>
          </p:cNvSpPr>
          <p:nvPr>
            <p:ph idx="1"/>
          </p:nvPr>
        </p:nvSpPr>
        <p:spPr/>
        <p:txBody>
          <a:bodyPr>
            <a:normAutofit fontScale="92500" lnSpcReduction="10000"/>
          </a:bodyPr>
          <a:lstStyle/>
          <a:p>
            <a:pPr marL="0" indent="0">
              <a:buNone/>
            </a:pPr>
            <a:r>
              <a:rPr lang="da-DK" dirty="0"/>
              <a:t>Personer med autisme har øget risiko for udvikling af sekundære psykiske forstyrrelser i ungdom og tidlig voksenalder, fx:</a:t>
            </a:r>
          </a:p>
          <a:p>
            <a:r>
              <a:rPr lang="da-DK" dirty="0"/>
              <a:t>ADHD og ADD</a:t>
            </a:r>
          </a:p>
          <a:p>
            <a:r>
              <a:rPr lang="da-DK" dirty="0"/>
              <a:t>Tics og Tourettes syndrom</a:t>
            </a:r>
          </a:p>
          <a:p>
            <a:r>
              <a:rPr lang="da-DK" dirty="0"/>
              <a:t>OCD</a:t>
            </a:r>
          </a:p>
          <a:p>
            <a:r>
              <a:rPr lang="da-DK" dirty="0"/>
              <a:t>Spiseforstyrrelse</a:t>
            </a:r>
          </a:p>
          <a:p>
            <a:r>
              <a:rPr lang="da-DK" dirty="0"/>
              <a:t>Selvmutilerende og tvangspræget adfærd </a:t>
            </a:r>
          </a:p>
          <a:p>
            <a:r>
              <a:rPr lang="da-DK" dirty="0"/>
              <a:t>Kaotiske reaktioner med angst (ofte reaktion på brud på rutiner og vaner) </a:t>
            </a:r>
          </a:p>
          <a:p>
            <a:r>
              <a:rPr lang="da-DK" dirty="0"/>
              <a:t>Udvikling af psykotiske tilstande kan forekomme, specielt ved belastning </a:t>
            </a:r>
          </a:p>
          <a:p>
            <a:r>
              <a:rPr lang="da-DK" dirty="0"/>
              <a:t>Depression </a:t>
            </a:r>
          </a:p>
          <a:p>
            <a:r>
              <a:rPr lang="da-DK" dirty="0"/>
              <a:t>Angst</a:t>
            </a:r>
          </a:p>
          <a:p>
            <a:r>
              <a:rPr lang="da-DK" dirty="0"/>
              <a:t>Somatisk sygdom fx epilepsi </a:t>
            </a:r>
          </a:p>
          <a:p>
            <a:r>
              <a:rPr lang="da-DK" dirty="0"/>
              <a:t>Sansemæssige udfordringer samt søvnproblemer.</a:t>
            </a:r>
          </a:p>
          <a:p>
            <a:endParaRPr lang="da-DK" dirty="0"/>
          </a:p>
        </p:txBody>
      </p:sp>
    </p:spTree>
    <p:extLst>
      <p:ext uri="{BB962C8B-B14F-4D97-AF65-F5344CB8AC3E}">
        <p14:creationId xmlns:p14="http://schemas.microsoft.com/office/powerpoint/2010/main" val="41026919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ABFAF5-BCB9-49E8-B555-83FAD5367F7A}"/>
              </a:ext>
            </a:extLst>
          </p:cNvPr>
          <p:cNvGraphicFramePr>
            <a:graphicFrameLocks noChangeAspect="1"/>
          </p:cNvGraphicFramePr>
          <p:nvPr>
            <p:custDataLst>
              <p:tags r:id="rId2"/>
            </p:custDataLst>
            <p:extLst>
              <p:ext uri="{D42A27DB-BD31-4B8C-83A1-F6EECF244321}">
                <p14:modId xmlns:p14="http://schemas.microsoft.com/office/powerpoint/2010/main" val="3809880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Billede 4"/>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0" y="1124744"/>
            <a:ext cx="9143999" cy="4665383"/>
          </a:xfrm>
          <a:prstGeom prst="rect">
            <a:avLst/>
          </a:prstGeom>
        </p:spPr>
      </p:pic>
      <p:sp>
        <p:nvSpPr>
          <p:cNvPr id="6" name="Title 1">
            <a:extLst>
              <a:ext uri="{FF2B5EF4-FFF2-40B4-BE49-F238E27FC236}">
                <a16:creationId xmlns:a16="http://schemas.microsoft.com/office/drawing/2014/main" id="{4DF8BE41-5B3D-426B-83BA-829C0AA48F80}"/>
              </a:ext>
            </a:extLst>
          </p:cNvPr>
          <p:cNvSpPr>
            <a:spLocks noGrp="1"/>
          </p:cNvSpPr>
          <p:nvPr>
            <p:ph type="title"/>
          </p:nvPr>
        </p:nvSpPr>
        <p:spPr>
          <a:xfrm>
            <a:off x="628649" y="764704"/>
            <a:ext cx="7904163" cy="756084"/>
          </a:xfrm>
        </p:spPr>
        <p:txBody>
          <a:bodyPr vert="horz"/>
          <a:lstStyle/>
          <a:p>
            <a:r>
              <a:rPr lang="da-DK" sz="2400" dirty="0"/>
              <a:t>Stress-sårbarhedsmodellen – almindelig udvikling</a:t>
            </a:r>
            <a:br>
              <a:rPr lang="da-DK" sz="2400" dirty="0"/>
            </a:br>
            <a:r>
              <a:rPr lang="da-DK" sz="2400" dirty="0"/>
              <a:t>Bo Hejlskov og Trine Uhrskov</a:t>
            </a:r>
          </a:p>
        </p:txBody>
      </p:sp>
    </p:spTree>
    <p:extLst>
      <p:ext uri="{BB962C8B-B14F-4D97-AF65-F5344CB8AC3E}">
        <p14:creationId xmlns:p14="http://schemas.microsoft.com/office/powerpoint/2010/main" val="21863718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dsholder til indhold 4"/>
          <p:cNvPicPr>
            <a:picLocks noGrp="1" noChangeAspect="1"/>
          </p:cNvPicPr>
          <p:nvPr>
            <p:ph idx="1"/>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1619672" y="1124744"/>
            <a:ext cx="5786036" cy="4985919"/>
          </a:xfrm>
          <a:prstGeom prst="rect">
            <a:avLst/>
          </a:prstGeom>
        </p:spPr>
      </p:pic>
      <p:sp>
        <p:nvSpPr>
          <p:cNvPr id="6" name="Titel 1">
            <a:extLst>
              <a:ext uri="{FF2B5EF4-FFF2-40B4-BE49-F238E27FC236}">
                <a16:creationId xmlns:a16="http://schemas.microsoft.com/office/drawing/2014/main" id="{F4E1E207-E367-4B69-839A-050B43524E4B}"/>
              </a:ext>
            </a:extLst>
          </p:cNvPr>
          <p:cNvSpPr>
            <a:spLocks noGrp="1"/>
          </p:cNvSpPr>
          <p:nvPr>
            <p:ph type="title"/>
          </p:nvPr>
        </p:nvSpPr>
        <p:spPr>
          <a:xfrm>
            <a:off x="539552" y="476672"/>
            <a:ext cx="7904163" cy="756084"/>
          </a:xfrm>
        </p:spPr>
        <p:txBody>
          <a:bodyPr vert="horz"/>
          <a:lstStyle/>
          <a:p>
            <a:r>
              <a:rPr lang="da-DK" dirty="0"/>
              <a:t>Stress- og sårbarhedsmodellen</a:t>
            </a:r>
            <a:br>
              <a:rPr lang="da-DK" dirty="0"/>
            </a:br>
            <a:r>
              <a:rPr lang="da-DK" sz="2000" dirty="0"/>
              <a:t>Af Bo Hejlskov og Trine Uhrskov</a:t>
            </a:r>
          </a:p>
        </p:txBody>
      </p:sp>
    </p:spTree>
    <p:extLst>
      <p:ext uri="{BB962C8B-B14F-4D97-AF65-F5344CB8AC3E}">
        <p14:creationId xmlns:p14="http://schemas.microsoft.com/office/powerpoint/2010/main" val="27031988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1AAC349F-5C8A-829A-E380-68780DCBA82C}"/>
              </a:ext>
            </a:extLst>
          </p:cNvPr>
          <p:cNvPicPr>
            <a:picLocks noChangeAspect="1"/>
          </p:cNvPicPr>
          <p:nvPr/>
        </p:nvPicPr>
        <p:blipFill rotWithShape="1">
          <a:blip r:embed="rId2"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p:txBody>
          <a:bodyPr/>
          <a:lstStyle/>
          <a:p>
            <a:r>
              <a:rPr lang="da-DK" dirty="0"/>
              <a:t>Modul 1: Velkommen</a:t>
            </a:r>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a:t>
            </a:r>
          </a:p>
          <a:p>
            <a:r>
              <a:rPr lang="da-DK" dirty="0"/>
              <a:t>At møde hinanden og lære hinanden bedre at kende</a:t>
            </a:r>
          </a:p>
          <a:p>
            <a:r>
              <a:rPr lang="da-DK" dirty="0"/>
              <a:t>At tale om gruppeforløbet og afstemme forventninger til hinanden og forløbet. </a:t>
            </a:r>
          </a:p>
        </p:txBody>
      </p:sp>
    </p:spTree>
    <p:extLst>
      <p:ext uri="{BB962C8B-B14F-4D97-AF65-F5344CB8AC3E}">
        <p14:creationId xmlns:p14="http://schemas.microsoft.com/office/powerpoint/2010/main" val="39896858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F5D343A-1FE1-42D0-ABE3-4EFDE07F4C9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4" imgW="360" imgH="360" progId="TCLayout.ActiveDocument.1">
                  <p:embed/>
                </p:oleObj>
              </mc:Choice>
              <mc:Fallback>
                <p:oleObj name="think-cell Slide" r:id="rId4" imgW="360" imgH="360" progId="TCLayout.ActiveDocument.1">
                  <p:embed/>
                  <p:pic>
                    <p:nvPicPr>
                      <p:cNvPr id="10" name="Object 9" hidden="1">
                        <a:extLst>
                          <a:ext uri="{FF2B5EF4-FFF2-40B4-BE49-F238E27FC236}">
                            <a16:creationId xmlns:a16="http://schemas.microsoft.com/office/drawing/2014/main" id="{FF5D343A-1FE1-42D0-ABE3-4EFDE07F4C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ladsholder til indhold 5">
            <a:extLst>
              <a:ext uri="{FF2B5EF4-FFF2-40B4-BE49-F238E27FC236}">
                <a16:creationId xmlns:a16="http://schemas.microsoft.com/office/drawing/2014/main" id="{1E1486B9-6717-42D5-9CF4-B7A75943E217}"/>
              </a:ext>
            </a:extLst>
          </p:cNvPr>
          <p:cNvPicPr>
            <a:picLocks noChangeAspect="1"/>
          </p:cNvPicPr>
          <p:nvPr/>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l="16198" t="5183" r="12966" b="5386"/>
          <a:stretch/>
        </p:blipFill>
        <p:spPr>
          <a:xfrm>
            <a:off x="899592" y="1484784"/>
            <a:ext cx="6450337" cy="4679656"/>
          </a:xfrm>
          <a:prstGeom prst="rect">
            <a:avLst/>
          </a:prstGeom>
        </p:spPr>
      </p:pic>
      <p:sp>
        <p:nvSpPr>
          <p:cNvPr id="9" name="Titel 1">
            <a:extLst>
              <a:ext uri="{FF2B5EF4-FFF2-40B4-BE49-F238E27FC236}">
                <a16:creationId xmlns:a16="http://schemas.microsoft.com/office/drawing/2014/main" id="{98C198D0-280F-4492-AC9C-0E8E49A3014E}"/>
              </a:ext>
            </a:extLst>
          </p:cNvPr>
          <p:cNvSpPr>
            <a:spLocks noGrp="1"/>
          </p:cNvSpPr>
          <p:nvPr>
            <p:ph type="title"/>
          </p:nvPr>
        </p:nvSpPr>
        <p:spPr>
          <a:xfrm>
            <a:off x="539552" y="476672"/>
            <a:ext cx="7904163" cy="756084"/>
          </a:xfrm>
        </p:spPr>
        <p:txBody>
          <a:bodyPr vert="horz"/>
          <a:lstStyle/>
          <a:p>
            <a:r>
              <a:rPr lang="da-DK" dirty="0"/>
              <a:t>Stress- og sårbarhedsmodellen</a:t>
            </a:r>
            <a:br>
              <a:rPr lang="da-DK" dirty="0"/>
            </a:br>
            <a:r>
              <a:rPr lang="da-DK" sz="2000" dirty="0"/>
              <a:t>Af Bo Hejlskov og Trine Uhrskov</a:t>
            </a:r>
          </a:p>
        </p:txBody>
      </p:sp>
    </p:spTree>
    <p:extLst>
      <p:ext uri="{BB962C8B-B14F-4D97-AF65-F5344CB8AC3E}">
        <p14:creationId xmlns:p14="http://schemas.microsoft.com/office/powerpoint/2010/main" val="5815108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F5D343A-1FE1-42D0-ABE3-4EFDE07F4C9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360" imgH="360" progId="TCLayout.ActiveDocument.1">
                  <p:embed/>
                </p:oleObj>
              </mc:Choice>
              <mc:Fallback>
                <p:oleObj name="think-cell Slide" r:id="rId4" imgW="360" imgH="360" progId="TCLayout.ActiveDocument.1">
                  <p:embed/>
                  <p:pic>
                    <p:nvPicPr>
                      <p:cNvPr id="10" name="Object 9" hidden="1">
                        <a:extLst>
                          <a:ext uri="{FF2B5EF4-FFF2-40B4-BE49-F238E27FC236}">
                            <a16:creationId xmlns:a16="http://schemas.microsoft.com/office/drawing/2014/main" id="{FF5D343A-1FE1-42D0-ABE3-4EFDE07F4C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ladsholder til indhold 5">
            <a:extLst>
              <a:ext uri="{FF2B5EF4-FFF2-40B4-BE49-F238E27FC236}">
                <a16:creationId xmlns:a16="http://schemas.microsoft.com/office/drawing/2014/main" id="{10786368-18C2-43D6-97CA-E55A3FE6A5AB}"/>
              </a:ext>
            </a:extLst>
          </p:cNvPr>
          <p:cNvPicPr>
            <a:picLocks noChangeAspect="1"/>
          </p:cNvPicPr>
          <p:nvPr/>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l="15775" t="4834" r="11154" b="3317"/>
          <a:stretch/>
        </p:blipFill>
        <p:spPr>
          <a:xfrm>
            <a:off x="683568" y="1340768"/>
            <a:ext cx="6702987" cy="4805918"/>
          </a:xfrm>
          <a:prstGeom prst="rect">
            <a:avLst/>
          </a:prstGeom>
        </p:spPr>
      </p:pic>
      <p:sp>
        <p:nvSpPr>
          <p:cNvPr id="9" name="Titel 1">
            <a:extLst>
              <a:ext uri="{FF2B5EF4-FFF2-40B4-BE49-F238E27FC236}">
                <a16:creationId xmlns:a16="http://schemas.microsoft.com/office/drawing/2014/main" id="{98C198D0-280F-4492-AC9C-0E8E49A3014E}"/>
              </a:ext>
            </a:extLst>
          </p:cNvPr>
          <p:cNvSpPr>
            <a:spLocks noGrp="1"/>
          </p:cNvSpPr>
          <p:nvPr>
            <p:ph type="title"/>
          </p:nvPr>
        </p:nvSpPr>
        <p:spPr>
          <a:xfrm>
            <a:off x="539552" y="476672"/>
            <a:ext cx="7904163" cy="756084"/>
          </a:xfrm>
        </p:spPr>
        <p:txBody>
          <a:bodyPr vert="horz"/>
          <a:lstStyle/>
          <a:p>
            <a:r>
              <a:rPr lang="da-DK" dirty="0"/>
              <a:t>Stress- og sårbarhedsmodellen</a:t>
            </a:r>
            <a:br>
              <a:rPr lang="da-DK" dirty="0"/>
            </a:br>
            <a:r>
              <a:rPr lang="da-DK" sz="2000" dirty="0"/>
              <a:t>Af Bo Hejlskov og Trine Uhrskov</a:t>
            </a:r>
          </a:p>
        </p:txBody>
      </p:sp>
    </p:spTree>
    <p:extLst>
      <p:ext uri="{BB962C8B-B14F-4D97-AF65-F5344CB8AC3E}">
        <p14:creationId xmlns:p14="http://schemas.microsoft.com/office/powerpoint/2010/main" val="10040595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dsholder til indhold 5">
            <a:extLst>
              <a:ext uri="{FF2B5EF4-FFF2-40B4-BE49-F238E27FC236}">
                <a16:creationId xmlns:a16="http://schemas.microsoft.com/office/drawing/2014/main" id="{944FA957-FCC8-4F48-B2A7-5DD13374942E}"/>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430441" y="1196752"/>
            <a:ext cx="8122384" cy="4649709"/>
          </a:xfrm>
          <a:prstGeom prst="rect">
            <a:avLst/>
          </a:prstGeom>
        </p:spPr>
      </p:pic>
      <p:sp>
        <p:nvSpPr>
          <p:cNvPr id="8" name="Titel 1">
            <a:extLst>
              <a:ext uri="{FF2B5EF4-FFF2-40B4-BE49-F238E27FC236}">
                <a16:creationId xmlns:a16="http://schemas.microsoft.com/office/drawing/2014/main" id="{AB106E3F-6C22-464F-9FC5-6644113EDA3A}"/>
              </a:ext>
            </a:extLst>
          </p:cNvPr>
          <p:cNvSpPr>
            <a:spLocks noGrp="1"/>
          </p:cNvSpPr>
          <p:nvPr>
            <p:ph type="title"/>
          </p:nvPr>
        </p:nvSpPr>
        <p:spPr>
          <a:xfrm>
            <a:off x="539552" y="476672"/>
            <a:ext cx="7904163" cy="756084"/>
          </a:xfrm>
        </p:spPr>
        <p:txBody>
          <a:bodyPr vert="horz"/>
          <a:lstStyle/>
          <a:p>
            <a:r>
              <a:rPr lang="da-DK" dirty="0"/>
              <a:t>Stress- og sårbarhedsmodellen</a:t>
            </a:r>
            <a:br>
              <a:rPr lang="da-DK" dirty="0"/>
            </a:br>
            <a:r>
              <a:rPr lang="da-DK" sz="2000" dirty="0"/>
              <a:t>Af Bo Hejlskov og Trine Uhrskov</a:t>
            </a:r>
          </a:p>
        </p:txBody>
      </p:sp>
    </p:spTree>
    <p:extLst>
      <p:ext uri="{BB962C8B-B14F-4D97-AF65-F5344CB8AC3E}">
        <p14:creationId xmlns:p14="http://schemas.microsoft.com/office/powerpoint/2010/main" val="40556702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dsholder til indhold 5">
            <a:extLst>
              <a:ext uri="{FF2B5EF4-FFF2-40B4-BE49-F238E27FC236}">
                <a16:creationId xmlns:a16="http://schemas.microsoft.com/office/drawing/2014/main" id="{DC79BD0B-F935-4004-A51A-590DCA736AEB}"/>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395536" y="1257146"/>
            <a:ext cx="8435144" cy="4836150"/>
          </a:xfrm>
          <a:prstGeom prst="rect">
            <a:avLst/>
          </a:prstGeom>
        </p:spPr>
      </p:pic>
      <p:sp>
        <p:nvSpPr>
          <p:cNvPr id="8" name="Titel 1">
            <a:extLst>
              <a:ext uri="{FF2B5EF4-FFF2-40B4-BE49-F238E27FC236}">
                <a16:creationId xmlns:a16="http://schemas.microsoft.com/office/drawing/2014/main" id="{2E7A786A-2076-4B32-A410-C1905BAA0CE1}"/>
              </a:ext>
            </a:extLst>
          </p:cNvPr>
          <p:cNvSpPr>
            <a:spLocks noGrp="1"/>
          </p:cNvSpPr>
          <p:nvPr>
            <p:ph type="title"/>
          </p:nvPr>
        </p:nvSpPr>
        <p:spPr>
          <a:xfrm>
            <a:off x="539552" y="476672"/>
            <a:ext cx="7904163" cy="756084"/>
          </a:xfrm>
        </p:spPr>
        <p:txBody>
          <a:bodyPr vert="horz"/>
          <a:lstStyle/>
          <a:p>
            <a:r>
              <a:rPr lang="da-DK" dirty="0"/>
              <a:t>Stress- og sårbarhedsmodellen</a:t>
            </a:r>
            <a:br>
              <a:rPr lang="da-DK" dirty="0"/>
            </a:br>
            <a:r>
              <a:rPr lang="da-DK" sz="2000" dirty="0"/>
              <a:t>Af Bo Hejlskov og Trine Uhrskov</a:t>
            </a:r>
          </a:p>
        </p:txBody>
      </p:sp>
    </p:spTree>
    <p:extLst>
      <p:ext uri="{BB962C8B-B14F-4D97-AF65-F5344CB8AC3E}">
        <p14:creationId xmlns:p14="http://schemas.microsoft.com/office/powerpoint/2010/main" val="41882208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E8C000-393F-4B51-A802-9056AADE1258}"/>
              </a:ext>
            </a:extLst>
          </p:cNvPr>
          <p:cNvSpPr>
            <a:spLocks noGrp="1"/>
          </p:cNvSpPr>
          <p:nvPr>
            <p:ph type="title"/>
          </p:nvPr>
        </p:nvSpPr>
        <p:spPr/>
        <p:txBody>
          <a:bodyPr/>
          <a:lstStyle/>
          <a:p>
            <a:r>
              <a:rPr lang="da-DK" dirty="0"/>
              <a:t>Eksempler på ledsagesymptomer og tilstande</a:t>
            </a:r>
          </a:p>
        </p:txBody>
      </p:sp>
      <p:sp>
        <p:nvSpPr>
          <p:cNvPr id="3" name="Content Placeholder 2">
            <a:extLst>
              <a:ext uri="{FF2B5EF4-FFF2-40B4-BE49-F238E27FC236}">
                <a16:creationId xmlns:a16="http://schemas.microsoft.com/office/drawing/2014/main" id="{D8A145FF-D5B0-4363-8E34-3E53D3DBD195}"/>
              </a:ext>
            </a:extLst>
          </p:cNvPr>
          <p:cNvSpPr>
            <a:spLocks noGrp="1"/>
          </p:cNvSpPr>
          <p:nvPr>
            <p:ph idx="1"/>
          </p:nvPr>
        </p:nvSpPr>
        <p:spPr/>
        <p:txBody>
          <a:bodyPr/>
          <a:lstStyle/>
          <a:p>
            <a:endParaRPr lang="da-DK" dirty="0"/>
          </a:p>
          <a:p>
            <a:endParaRPr lang="da-DK" dirty="0"/>
          </a:p>
          <a:p>
            <a:r>
              <a:rPr lang="da-DK" dirty="0"/>
              <a:t>Vredesudbrud </a:t>
            </a:r>
          </a:p>
          <a:p>
            <a:r>
              <a:rPr lang="da-DK" dirty="0"/>
              <a:t>Problemer omkring spisning, væskeindtagelse </a:t>
            </a:r>
          </a:p>
          <a:p>
            <a:r>
              <a:rPr lang="da-DK" dirty="0"/>
              <a:t>Søvnproblemer </a:t>
            </a:r>
          </a:p>
          <a:p>
            <a:r>
              <a:rPr lang="da-DK" dirty="0"/>
              <a:t>Udtalt frygt eller manglende fornemmelse for fare </a:t>
            </a:r>
          </a:p>
          <a:p>
            <a:r>
              <a:rPr lang="da-DK" dirty="0"/>
              <a:t>Øget smertetærskel </a:t>
            </a:r>
          </a:p>
          <a:p>
            <a:r>
              <a:rPr lang="da-DK" dirty="0"/>
              <a:t>Selvskadende adfærd </a:t>
            </a:r>
          </a:p>
          <a:p>
            <a:r>
              <a:rPr lang="da-DK" dirty="0"/>
              <a:t>Begrænset/ manglende regulering </a:t>
            </a:r>
            <a:br>
              <a:rPr lang="da-DK" dirty="0"/>
            </a:br>
            <a:r>
              <a:rPr lang="da-DK" dirty="0"/>
              <a:t>følelses- og stemningsmæssigt</a:t>
            </a:r>
          </a:p>
          <a:p>
            <a:r>
              <a:rPr lang="da-DK" dirty="0"/>
              <a:t>Sansestimuli. </a:t>
            </a:r>
          </a:p>
          <a:p>
            <a:endParaRPr lang="da-DK" dirty="0"/>
          </a:p>
        </p:txBody>
      </p:sp>
      <p:sp>
        <p:nvSpPr>
          <p:cNvPr id="5" name="Speech Bubble: Rectangle with Corners Rounded 4">
            <a:extLst>
              <a:ext uri="{FF2B5EF4-FFF2-40B4-BE49-F238E27FC236}">
                <a16:creationId xmlns:a16="http://schemas.microsoft.com/office/drawing/2014/main" id="{624FC1B1-C108-44EC-AB0A-916974ECCB16}"/>
              </a:ext>
            </a:extLst>
          </p:cNvPr>
          <p:cNvSpPr/>
          <p:nvPr/>
        </p:nvSpPr>
        <p:spPr>
          <a:xfrm>
            <a:off x="4860032" y="4159306"/>
            <a:ext cx="3510089" cy="1304888"/>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ad kan I genkende?  </a:t>
            </a:r>
          </a:p>
          <a:p>
            <a:pPr marL="285750" indent="-285750">
              <a:spcAft>
                <a:spcPts val="600"/>
              </a:spcAft>
              <a:buFont typeface="Arial" panose="020B0604020202020204" pitchFamily="34" charset="0"/>
              <a:buChar char="•"/>
            </a:pPr>
            <a:r>
              <a:rPr lang="da-DK" sz="1400" i="1" dirty="0">
                <a:solidFill>
                  <a:schemeClr val="tx1"/>
                </a:solidFill>
              </a:rPr>
              <a:t>Hvordan oplever I jeres eget barns styrker og udfordringer? </a:t>
            </a:r>
          </a:p>
        </p:txBody>
      </p:sp>
    </p:spTree>
    <p:extLst>
      <p:ext uri="{BB962C8B-B14F-4D97-AF65-F5344CB8AC3E}">
        <p14:creationId xmlns:p14="http://schemas.microsoft.com/office/powerpoint/2010/main" val="236747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BFE3E3A-FEA6-4774-999A-3267CB09357F}"/>
              </a:ext>
            </a:extLst>
          </p:cNvPr>
          <p:cNvGraphicFramePr>
            <a:graphicFrameLocks noChangeAspect="1"/>
          </p:cNvGraphicFramePr>
          <p:nvPr>
            <p:custDataLst>
              <p:tags r:id="rId2"/>
            </p:custDataLst>
            <p:extLst>
              <p:ext uri="{D42A27DB-BD31-4B8C-83A1-F6EECF244321}">
                <p14:modId xmlns:p14="http://schemas.microsoft.com/office/powerpoint/2010/main" val="403953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FBFE3E3A-FEA6-4774-999A-3267CB0935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628649" y="637204"/>
            <a:ext cx="7904163" cy="756084"/>
          </a:xfrm>
        </p:spPr>
        <p:txBody>
          <a:bodyPr vert="horz"/>
          <a:lstStyle/>
          <a:p>
            <a:r>
              <a:rPr lang="da-DK" dirty="0"/>
              <a:t>Ting der kan hjælpe den unge</a:t>
            </a:r>
          </a:p>
        </p:txBody>
      </p:sp>
      <p:sp>
        <p:nvSpPr>
          <p:cNvPr id="3" name="Pladsholder til indhold 2"/>
          <p:cNvSpPr>
            <a:spLocks noGrp="1"/>
          </p:cNvSpPr>
          <p:nvPr>
            <p:ph idx="1"/>
          </p:nvPr>
        </p:nvSpPr>
        <p:spPr>
          <a:xfrm>
            <a:off x="628649" y="1522274"/>
            <a:ext cx="7975799" cy="4320480"/>
          </a:xfrm>
        </p:spPr>
        <p:txBody>
          <a:bodyPr>
            <a:noAutofit/>
          </a:bodyPr>
          <a:lstStyle/>
          <a:p>
            <a:pPr marL="0" indent="0">
              <a:spcBef>
                <a:spcPts val="0"/>
              </a:spcBef>
              <a:spcAft>
                <a:spcPts val="600"/>
              </a:spcAft>
              <a:buNone/>
            </a:pPr>
            <a:r>
              <a:rPr lang="da-DK" sz="1400" b="1" dirty="0"/>
              <a:t>Her er en liste over eksempler på ting, der kan hjælpe den unge:</a:t>
            </a:r>
          </a:p>
          <a:p>
            <a:pPr>
              <a:spcBef>
                <a:spcPts val="0"/>
              </a:spcBef>
              <a:spcAft>
                <a:spcPts val="600"/>
              </a:spcAft>
            </a:pPr>
            <a:r>
              <a:rPr lang="da-DK" sz="1400" dirty="0"/>
              <a:t>Lydisolering fx ved brug af høretelefoner eller ‘hvid støj’ (find fx på </a:t>
            </a:r>
            <a:r>
              <a:rPr lang="da-DK" sz="1400" dirty="0" err="1"/>
              <a:t>youtube</a:t>
            </a:r>
            <a:r>
              <a:rPr lang="da-DK" sz="1400" dirty="0"/>
              <a:t> eller apps)</a:t>
            </a:r>
          </a:p>
          <a:p>
            <a:pPr>
              <a:spcBef>
                <a:spcPts val="0"/>
              </a:spcBef>
              <a:spcAft>
                <a:spcPts val="600"/>
              </a:spcAft>
            </a:pPr>
            <a:r>
              <a:rPr lang="da-DK" sz="1400" dirty="0"/>
              <a:t>Dæmpede eller klare farver</a:t>
            </a:r>
          </a:p>
          <a:p>
            <a:pPr>
              <a:spcBef>
                <a:spcPts val="0"/>
              </a:spcBef>
              <a:spcAft>
                <a:spcPts val="600"/>
              </a:spcAft>
            </a:pPr>
            <a:r>
              <a:rPr lang="da-DK" sz="1400" dirty="0"/>
              <a:t>Mørke eller lys, her kan fx anvendes solbriller med forskellige farver glas afhængigt af vejret</a:t>
            </a:r>
          </a:p>
          <a:p>
            <a:pPr>
              <a:spcBef>
                <a:spcPts val="0"/>
              </a:spcBef>
              <a:spcAft>
                <a:spcPts val="600"/>
              </a:spcAft>
            </a:pPr>
            <a:r>
              <a:rPr lang="da-DK" sz="1400" dirty="0"/>
              <a:t>Kugledyne og kædeveste – man kan ansøge om dette hos hjælpemiddeldepotet</a:t>
            </a:r>
          </a:p>
          <a:p>
            <a:pPr>
              <a:spcBef>
                <a:spcPts val="0"/>
              </a:spcBef>
              <a:spcAft>
                <a:spcPts val="600"/>
              </a:spcAft>
            </a:pPr>
            <a:r>
              <a:rPr lang="da-DK" sz="1400" dirty="0"/>
              <a:t>Et kram fra en, man er tryg ved</a:t>
            </a:r>
          </a:p>
          <a:p>
            <a:pPr>
              <a:spcBef>
                <a:spcPts val="0"/>
              </a:spcBef>
              <a:spcAft>
                <a:spcPts val="600"/>
              </a:spcAft>
            </a:pPr>
            <a:r>
              <a:rPr lang="da-DK" sz="1400" dirty="0"/>
              <a:t>Ting, man kan have i hænderne og ‘</a:t>
            </a:r>
            <a:r>
              <a:rPr lang="da-DK" sz="1400" dirty="0" err="1"/>
              <a:t>dimse</a:t>
            </a:r>
            <a:r>
              <a:rPr lang="da-DK" sz="1400" dirty="0"/>
              <a:t>’ med</a:t>
            </a:r>
          </a:p>
          <a:p>
            <a:pPr>
              <a:spcBef>
                <a:spcPts val="0"/>
              </a:spcBef>
              <a:spcAft>
                <a:spcPts val="600"/>
              </a:spcAft>
            </a:pPr>
            <a:r>
              <a:rPr lang="da-DK" sz="1400" dirty="0"/>
              <a:t>Løst eller stramt tøj</a:t>
            </a:r>
          </a:p>
          <a:p>
            <a:pPr>
              <a:spcBef>
                <a:spcPts val="0"/>
              </a:spcBef>
              <a:spcAft>
                <a:spcPts val="600"/>
              </a:spcAft>
            </a:pPr>
            <a:r>
              <a:rPr lang="da-DK" sz="1400" dirty="0"/>
              <a:t>Fordybe sig i særinteresse</a:t>
            </a:r>
          </a:p>
          <a:p>
            <a:pPr>
              <a:spcBef>
                <a:spcPts val="0"/>
              </a:spcBef>
              <a:spcAft>
                <a:spcPts val="600"/>
              </a:spcAft>
            </a:pPr>
            <a:r>
              <a:rPr lang="da-DK" sz="1400" dirty="0"/>
              <a:t>Træne, fx gå eller løbe en tur</a:t>
            </a:r>
          </a:p>
          <a:p>
            <a:pPr>
              <a:spcBef>
                <a:spcPts val="0"/>
              </a:spcBef>
              <a:spcAft>
                <a:spcPts val="600"/>
              </a:spcAft>
            </a:pPr>
            <a:r>
              <a:rPr lang="da-DK" sz="1400" dirty="0"/>
              <a:t>Lave noget kreativt</a:t>
            </a:r>
          </a:p>
          <a:p>
            <a:pPr>
              <a:spcBef>
                <a:spcPts val="0"/>
              </a:spcBef>
              <a:spcAft>
                <a:spcPts val="600"/>
              </a:spcAft>
            </a:pPr>
            <a:r>
              <a:rPr lang="da-DK" sz="1400" dirty="0"/>
              <a:t>Lytte til (rolig) musik</a:t>
            </a:r>
          </a:p>
          <a:p>
            <a:pPr>
              <a:spcBef>
                <a:spcPts val="0"/>
              </a:spcBef>
              <a:spcAft>
                <a:spcPts val="600"/>
              </a:spcAft>
            </a:pPr>
            <a:r>
              <a:rPr lang="da-DK" sz="1400" dirty="0"/>
              <a:t>Bage/lave mad</a:t>
            </a:r>
          </a:p>
          <a:p>
            <a:pPr>
              <a:spcBef>
                <a:spcPts val="0"/>
              </a:spcBef>
              <a:spcAft>
                <a:spcPts val="600"/>
              </a:spcAft>
            </a:pPr>
            <a:r>
              <a:rPr lang="da-DK" sz="1400" dirty="0"/>
              <a:t>Hvile/sove, evt. med hvid støj</a:t>
            </a:r>
          </a:p>
          <a:p>
            <a:pPr>
              <a:spcBef>
                <a:spcPts val="0"/>
              </a:spcBef>
              <a:spcAft>
                <a:spcPts val="600"/>
              </a:spcAft>
            </a:pPr>
            <a:r>
              <a:rPr lang="da-DK" sz="1400" dirty="0"/>
              <a:t>Kæle med et dyr.</a:t>
            </a:r>
          </a:p>
        </p:txBody>
      </p:sp>
    </p:spTree>
    <p:extLst>
      <p:ext uri="{BB962C8B-B14F-4D97-AF65-F5344CB8AC3E}">
        <p14:creationId xmlns:p14="http://schemas.microsoft.com/office/powerpoint/2010/main" val="22313759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EA83A9E-1A4F-49C0-9957-8E51C0AA5E68}"/>
              </a:ext>
            </a:extLst>
          </p:cNvPr>
          <p:cNvGraphicFramePr>
            <a:graphicFrameLocks noChangeAspect="1"/>
          </p:cNvGraphicFramePr>
          <p:nvPr>
            <p:custDataLst>
              <p:tags r:id="rId2"/>
            </p:custDataLst>
            <p:extLst>
              <p:ext uri="{D42A27DB-BD31-4B8C-83A1-F6EECF244321}">
                <p14:modId xmlns:p14="http://schemas.microsoft.com/office/powerpoint/2010/main" val="1545867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A22CAE-1596-4574-B3D4-69DCB7883273}"/>
              </a:ext>
            </a:extLst>
          </p:cNvPr>
          <p:cNvSpPr>
            <a:spLocks noGrp="1"/>
          </p:cNvSpPr>
          <p:nvPr>
            <p:ph type="title"/>
          </p:nvPr>
        </p:nvSpPr>
        <p:spPr/>
        <p:txBody>
          <a:bodyPr vert="horz"/>
          <a:lstStyle/>
          <a:p>
            <a:r>
              <a:rPr lang="da-DK" dirty="0"/>
              <a:t>Hvad er jeres oplevelser og erfaringer?</a:t>
            </a:r>
          </a:p>
        </p:txBody>
      </p:sp>
      <p:sp>
        <p:nvSpPr>
          <p:cNvPr id="6" name="Speech Bubble: Rectangle with Corners Rounded 5">
            <a:extLst>
              <a:ext uri="{FF2B5EF4-FFF2-40B4-BE49-F238E27FC236}">
                <a16:creationId xmlns:a16="http://schemas.microsoft.com/office/drawing/2014/main" id="{424B2BBF-F997-4024-9D18-787D604852A9}"/>
              </a:ext>
            </a:extLst>
          </p:cNvPr>
          <p:cNvSpPr/>
          <p:nvPr/>
        </p:nvSpPr>
        <p:spPr>
          <a:xfrm>
            <a:off x="1259632" y="2420888"/>
            <a:ext cx="6336704" cy="2448272"/>
          </a:xfrm>
          <a:prstGeom prst="wedgeRoundRectCallout">
            <a:avLst>
              <a:gd name="adj1" fmla="val -24326"/>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or meget skal man presse på, holde igen eller trække sig i forhold til den unges udfordringer (fx stress, angst, tankemylder)? </a:t>
            </a:r>
          </a:p>
          <a:p>
            <a:pPr marL="742950" lvl="1" indent="-285750">
              <a:spcAft>
                <a:spcPts val="600"/>
              </a:spcAft>
              <a:buFont typeface="Arial" panose="020B0604020202020204" pitchFamily="34" charset="0"/>
              <a:buChar char="•"/>
            </a:pPr>
            <a:r>
              <a:rPr lang="da-DK" sz="1400" dirty="0">
                <a:solidFill>
                  <a:schemeClr val="tx1"/>
                </a:solidFill>
              </a:rPr>
              <a:t>Ordet ”skal” kan være konfliktoptrappende. Mennesker reagerer negativt på ordet ”skal”.</a:t>
            </a:r>
          </a:p>
          <a:p>
            <a:pPr marL="742950" lvl="1" indent="-285750">
              <a:spcAft>
                <a:spcPts val="600"/>
              </a:spcAft>
              <a:buFont typeface="Arial" panose="020B0604020202020204" pitchFamily="34" charset="0"/>
              <a:buChar char="•"/>
            </a:pPr>
            <a:r>
              <a:rPr lang="da-DK" sz="1400" dirty="0">
                <a:solidFill>
                  <a:schemeClr val="tx1"/>
                </a:solidFill>
              </a:rPr>
              <a:t>Alternativt kan man bruge vendinger som: ”Kunne det være en god ide at….”, ”jeg har brug for at…..”, ”vil du være sød at….”</a:t>
            </a:r>
          </a:p>
          <a:p>
            <a:pPr marL="742950" lvl="1" indent="-285750">
              <a:spcAft>
                <a:spcPts val="600"/>
              </a:spcAft>
              <a:buFont typeface="Arial" panose="020B0604020202020204" pitchFamily="34" charset="0"/>
              <a:buChar char="•"/>
            </a:pPr>
            <a:r>
              <a:rPr lang="da-DK" sz="1400" dirty="0">
                <a:solidFill>
                  <a:schemeClr val="tx1"/>
                </a:solidFill>
              </a:rPr>
              <a:t>Undgå at tage over når den unge laver fejl. Forældre kan have forskellige roller og skifte roller, når der er behov for det.</a:t>
            </a:r>
          </a:p>
        </p:txBody>
      </p:sp>
    </p:spTree>
    <p:extLst>
      <p:ext uri="{BB962C8B-B14F-4D97-AF65-F5344CB8AC3E}">
        <p14:creationId xmlns:p14="http://schemas.microsoft.com/office/powerpoint/2010/main" val="27858707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177C045-6876-40AB-A7E9-DD74CA638CA9}"/>
              </a:ext>
            </a:extLst>
          </p:cNvPr>
          <p:cNvGraphicFramePr>
            <a:graphicFrameLocks noChangeAspect="1"/>
          </p:cNvGraphicFramePr>
          <p:nvPr>
            <p:custDataLst>
              <p:tags r:id="rId2"/>
            </p:custDataLst>
            <p:extLst>
              <p:ext uri="{D42A27DB-BD31-4B8C-83A1-F6EECF244321}">
                <p14:modId xmlns:p14="http://schemas.microsoft.com/office/powerpoint/2010/main" val="1027893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A22CAE-1596-4574-B3D4-69DCB7883273}"/>
              </a:ext>
            </a:extLst>
          </p:cNvPr>
          <p:cNvSpPr>
            <a:spLocks noGrp="1"/>
          </p:cNvSpPr>
          <p:nvPr>
            <p:ph type="title"/>
          </p:nvPr>
        </p:nvSpPr>
        <p:spPr/>
        <p:txBody>
          <a:bodyPr vert="horz"/>
          <a:lstStyle/>
          <a:p>
            <a:r>
              <a:rPr lang="da-DK" dirty="0"/>
              <a:t>Hvad er jeres oplevelser og erfaringer?</a:t>
            </a:r>
          </a:p>
        </p:txBody>
      </p:sp>
      <p:sp>
        <p:nvSpPr>
          <p:cNvPr id="6" name="Speech Bubble: Rectangle with Corners Rounded 5">
            <a:extLst>
              <a:ext uri="{FF2B5EF4-FFF2-40B4-BE49-F238E27FC236}">
                <a16:creationId xmlns:a16="http://schemas.microsoft.com/office/drawing/2014/main" id="{424B2BBF-F997-4024-9D18-787D604852A9}"/>
              </a:ext>
            </a:extLst>
          </p:cNvPr>
          <p:cNvSpPr/>
          <p:nvPr/>
        </p:nvSpPr>
        <p:spPr>
          <a:xfrm>
            <a:off x="1259632" y="1916832"/>
            <a:ext cx="6336704" cy="3240360"/>
          </a:xfrm>
          <a:prstGeom prst="wedgeRoundRectCallout">
            <a:avLst>
              <a:gd name="adj1" fmla="val -24326"/>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ordan kan man bedst kommunikere med den unge om svære problemstillinger, uden at situationen ender i konflikt eller som en belastning for den unge? </a:t>
            </a:r>
          </a:p>
          <a:p>
            <a:pPr marL="742950" lvl="1" indent="-285750">
              <a:spcAft>
                <a:spcPts val="600"/>
              </a:spcAft>
              <a:buFont typeface="Arial" panose="020B0604020202020204" pitchFamily="34" charset="0"/>
              <a:buChar char="•"/>
            </a:pPr>
            <a:r>
              <a:rPr lang="da-DK" sz="1400" dirty="0">
                <a:solidFill>
                  <a:schemeClr val="tx1"/>
                </a:solidFill>
              </a:rPr>
              <a:t>I meget stressede situationer kan det være bedst at trække sig. Man skal vælge sine kampe med omhu. </a:t>
            </a:r>
          </a:p>
          <a:p>
            <a:pPr marL="742950" lvl="1" indent="-285750">
              <a:spcAft>
                <a:spcPts val="600"/>
              </a:spcAft>
              <a:buFont typeface="Arial" panose="020B0604020202020204" pitchFamily="34" charset="0"/>
              <a:buChar char="•"/>
            </a:pPr>
            <a:r>
              <a:rPr lang="da-DK" sz="1400" dirty="0">
                <a:solidFill>
                  <a:schemeClr val="tx1"/>
                </a:solidFill>
              </a:rPr>
              <a:t>Stress – s</a:t>
            </a:r>
            <a:r>
              <a:rPr lang="da-DK" sz="1400" dirty="0">
                <a:solidFill>
                  <a:schemeClr val="tx1"/>
                </a:solidFill>
                <a:effectLst/>
              </a:rPr>
              <a:t>es ved, at den unge fx er mellemfornøjet, følsom</a:t>
            </a:r>
            <a:r>
              <a:rPr lang="da-DK" sz="1400" dirty="0">
                <a:solidFill>
                  <a:schemeClr val="tx1"/>
                </a:solidFill>
              </a:rPr>
              <a:t>, følsom, nervøs, har brug for mere tryghed.</a:t>
            </a:r>
          </a:p>
          <a:p>
            <a:pPr marL="742950" lvl="1" indent="-285750">
              <a:spcAft>
                <a:spcPts val="600"/>
              </a:spcAft>
              <a:buFont typeface="Arial" panose="020B0604020202020204" pitchFamily="34" charset="0"/>
              <a:buChar char="•"/>
            </a:pPr>
            <a:r>
              <a:rPr lang="da-DK" sz="1400" dirty="0">
                <a:solidFill>
                  <a:schemeClr val="tx1"/>
                </a:solidFill>
              </a:rPr>
              <a:t>Konflikt – den unge vil selv, men får ikke altid handlet på det, den unge ønsker at gøre. En løsning kan være at planlægge hjælpen en dag eller to forinden. Hvad kan jeg gøre for, at du vil modtage min hjælp?</a:t>
            </a:r>
          </a:p>
        </p:txBody>
      </p:sp>
    </p:spTree>
    <p:extLst>
      <p:ext uri="{BB962C8B-B14F-4D97-AF65-F5344CB8AC3E}">
        <p14:creationId xmlns:p14="http://schemas.microsoft.com/office/powerpoint/2010/main" val="31244606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B96726-AC7D-45C8-A787-3DDBE0E35409}"/>
              </a:ext>
            </a:extLst>
          </p:cNvPr>
          <p:cNvGraphicFramePr>
            <a:graphicFrameLocks noChangeAspect="1"/>
          </p:cNvGraphicFramePr>
          <p:nvPr>
            <p:custDataLst>
              <p:tags r:id="rId2"/>
            </p:custDataLst>
            <p:extLst>
              <p:ext uri="{D42A27DB-BD31-4B8C-83A1-F6EECF244321}">
                <p14:modId xmlns:p14="http://schemas.microsoft.com/office/powerpoint/2010/main" val="3513279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46B96726-AC7D-45C8-A787-3DDBE0E354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A22CAE-1596-4574-B3D4-69DCB7883273}"/>
              </a:ext>
            </a:extLst>
          </p:cNvPr>
          <p:cNvSpPr>
            <a:spLocks noGrp="1"/>
          </p:cNvSpPr>
          <p:nvPr>
            <p:ph type="title"/>
          </p:nvPr>
        </p:nvSpPr>
        <p:spPr/>
        <p:txBody>
          <a:bodyPr vert="horz"/>
          <a:lstStyle/>
          <a:p>
            <a:r>
              <a:rPr lang="da-DK" dirty="0"/>
              <a:t>Hvad er jeres oplevelser og erfaringer?</a:t>
            </a:r>
          </a:p>
        </p:txBody>
      </p:sp>
      <p:sp>
        <p:nvSpPr>
          <p:cNvPr id="6" name="Speech Bubble: Rectangle with Corners Rounded 5">
            <a:extLst>
              <a:ext uri="{FF2B5EF4-FFF2-40B4-BE49-F238E27FC236}">
                <a16:creationId xmlns:a16="http://schemas.microsoft.com/office/drawing/2014/main" id="{424B2BBF-F997-4024-9D18-787D604852A9}"/>
              </a:ext>
            </a:extLst>
          </p:cNvPr>
          <p:cNvSpPr/>
          <p:nvPr/>
        </p:nvSpPr>
        <p:spPr>
          <a:xfrm>
            <a:off x="1259632" y="2060848"/>
            <a:ext cx="6840760" cy="3024336"/>
          </a:xfrm>
          <a:prstGeom prst="wedgeRoundRectCallout">
            <a:avLst>
              <a:gd name="adj1" fmla="val -24326"/>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ordan håndterer man bedst autisme-udfordringer, når der er andre børn i familien? (</a:t>
            </a:r>
            <a:r>
              <a:rPr lang="da-DK" sz="1400" i="1" dirty="0" err="1">
                <a:solidFill>
                  <a:schemeClr val="tx1"/>
                </a:solidFill>
              </a:rPr>
              <a:t>neurotypiske</a:t>
            </a:r>
            <a:r>
              <a:rPr lang="da-DK" sz="1400" i="1" dirty="0">
                <a:solidFill>
                  <a:schemeClr val="tx1"/>
                </a:solidFill>
              </a:rPr>
              <a:t> søskende, andre børn med autisme)?</a:t>
            </a:r>
          </a:p>
          <a:p>
            <a:pPr marL="742950" lvl="1" indent="-285750">
              <a:spcAft>
                <a:spcPts val="600"/>
              </a:spcAft>
              <a:buFont typeface="Arial" panose="020B0604020202020204" pitchFamily="34" charset="0"/>
              <a:buChar char="•"/>
            </a:pPr>
            <a:r>
              <a:rPr lang="da-DK" sz="1400" dirty="0">
                <a:solidFill>
                  <a:schemeClr val="tx1"/>
                </a:solidFill>
              </a:rPr>
              <a:t>Det kræver ressourcestærke forældre at have børn med udfordringer. </a:t>
            </a:r>
          </a:p>
          <a:p>
            <a:pPr marL="742950" lvl="1" indent="-285750">
              <a:spcAft>
                <a:spcPts val="600"/>
              </a:spcAft>
              <a:buFont typeface="Arial" panose="020B0604020202020204" pitchFamily="34" charset="0"/>
              <a:buChar char="•"/>
            </a:pPr>
            <a:r>
              <a:rPr lang="da-DK" sz="1400" dirty="0">
                <a:solidFill>
                  <a:schemeClr val="tx1"/>
                </a:solidFill>
              </a:rPr>
              <a:t>Evt. opdeling, hvor en laver noget med den ene, og den anden noget med den anden. Erfaringen er, at det virker. </a:t>
            </a:r>
          </a:p>
          <a:p>
            <a:pPr marL="742950" lvl="1" indent="-285750">
              <a:spcAft>
                <a:spcPts val="600"/>
              </a:spcAft>
              <a:buFont typeface="Arial" panose="020B0604020202020204" pitchFamily="34" charset="0"/>
              <a:buChar char="•"/>
            </a:pPr>
            <a:r>
              <a:rPr lang="da-DK" sz="1400" dirty="0">
                <a:solidFill>
                  <a:schemeClr val="tx1"/>
                </a:solidFill>
              </a:rPr>
              <a:t>Netværksgrupper for søskende kan evt. findes i autismeforeningen.</a:t>
            </a:r>
          </a:p>
        </p:txBody>
      </p:sp>
    </p:spTree>
    <p:extLst>
      <p:ext uri="{BB962C8B-B14F-4D97-AF65-F5344CB8AC3E}">
        <p14:creationId xmlns:p14="http://schemas.microsoft.com/office/powerpoint/2010/main" val="46020960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E42D3-9DD1-454E-B67A-623B428CF43F}"/>
              </a:ext>
            </a:extLst>
          </p:cNvPr>
          <p:cNvSpPr>
            <a:spLocks noGrp="1"/>
          </p:cNvSpPr>
          <p:nvPr>
            <p:ph type="title"/>
          </p:nvPr>
        </p:nvSpPr>
        <p:spPr/>
        <p:txBody>
          <a:bodyPr/>
          <a:lstStyle/>
          <a:p>
            <a:r>
              <a:rPr lang="da-DK" dirty="0"/>
              <a:t>Næste modul – anerkendende tilgang</a:t>
            </a:r>
          </a:p>
        </p:txBody>
      </p:sp>
      <p:sp>
        <p:nvSpPr>
          <p:cNvPr id="3" name="Content Placeholder 2">
            <a:extLst>
              <a:ext uri="{FF2B5EF4-FFF2-40B4-BE49-F238E27FC236}">
                <a16:creationId xmlns:a16="http://schemas.microsoft.com/office/drawing/2014/main" id="{4711CE45-098D-4F8A-9D75-3C3343C2AC72}"/>
              </a:ext>
            </a:extLst>
          </p:cNvPr>
          <p:cNvSpPr>
            <a:spLocks noGrp="1"/>
          </p:cNvSpPr>
          <p:nvPr>
            <p:ph idx="1"/>
          </p:nvPr>
        </p:nvSpPr>
        <p:spPr/>
        <p:txBody>
          <a:bodyPr/>
          <a:lstStyle/>
          <a:p>
            <a:r>
              <a:rPr lang="da-DK" dirty="0"/>
              <a:t>Overvej hvordan I støtter den unges håb, motivation og tro på sig selv</a:t>
            </a:r>
          </a:p>
          <a:p>
            <a:r>
              <a:rPr lang="da-DK" dirty="0"/>
              <a:t>Tænk over eksempler fra hverdagen, hvor det er lykkedes særligt godt</a:t>
            </a:r>
          </a:p>
          <a:p>
            <a:r>
              <a:rPr lang="da-DK" dirty="0"/>
              <a:t>Tænk over eksempler fra hverdagen, hvor det ikke er lykkedes, og hvad der evt. gik galt.</a:t>
            </a:r>
          </a:p>
        </p:txBody>
      </p:sp>
    </p:spTree>
    <p:extLst>
      <p:ext uri="{BB962C8B-B14F-4D97-AF65-F5344CB8AC3E}">
        <p14:creationId xmlns:p14="http://schemas.microsoft.com/office/powerpoint/2010/main" val="33811012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69226-DED8-460C-90B3-AA7F1DBE1B13}"/>
              </a:ext>
            </a:extLst>
          </p:cNvPr>
          <p:cNvSpPr>
            <a:spLocks noGrp="1"/>
          </p:cNvSpPr>
          <p:nvPr>
            <p:ph type="title"/>
          </p:nvPr>
        </p:nvSpPr>
        <p:spPr/>
        <p:txBody>
          <a:bodyPr/>
          <a:lstStyle/>
          <a:p>
            <a:r>
              <a:rPr lang="da-DK" dirty="0"/>
              <a:t>Hvem er gruppen?</a:t>
            </a:r>
          </a:p>
        </p:txBody>
      </p:sp>
      <p:sp>
        <p:nvSpPr>
          <p:cNvPr id="3" name="Content Placeholder 2">
            <a:extLst>
              <a:ext uri="{FF2B5EF4-FFF2-40B4-BE49-F238E27FC236}">
                <a16:creationId xmlns:a16="http://schemas.microsoft.com/office/drawing/2014/main" id="{3A2658D4-15AF-445A-A79A-6FE218DAA563}"/>
              </a:ext>
            </a:extLst>
          </p:cNvPr>
          <p:cNvSpPr>
            <a:spLocks noGrp="1"/>
          </p:cNvSpPr>
          <p:nvPr>
            <p:ph idx="1"/>
          </p:nvPr>
        </p:nvSpPr>
        <p:spPr/>
        <p:txBody>
          <a:bodyPr/>
          <a:lstStyle/>
          <a:p>
            <a:pPr marL="0" indent="0">
              <a:buNone/>
            </a:pPr>
            <a:r>
              <a:rPr lang="da-DK" dirty="0"/>
              <a:t>1. Hvem er vi?</a:t>
            </a:r>
          </a:p>
          <a:p>
            <a:pPr marL="0" indent="0">
              <a:buNone/>
            </a:pPr>
            <a:r>
              <a:rPr lang="da-DK" dirty="0"/>
              <a:t>2. Vores barn(ung), navn, alder, ”beskæftigelse”.</a:t>
            </a:r>
          </a:p>
          <a:p>
            <a:pPr marL="0" indent="0">
              <a:buNone/>
            </a:pPr>
            <a:r>
              <a:rPr lang="da-DK" dirty="0"/>
              <a:t>3. Vores forudsætninger og viden i forhold til autismespektrumsforstyrrelser.</a:t>
            </a:r>
          </a:p>
          <a:p>
            <a:pPr marL="0" indent="0">
              <a:buNone/>
            </a:pPr>
            <a:r>
              <a:rPr lang="da-DK" dirty="0"/>
              <a:t>4. Hvad håber vi på, at vores barn får med sig fra forløbet?</a:t>
            </a:r>
          </a:p>
          <a:p>
            <a:pPr marL="0" indent="0">
              <a:buNone/>
            </a:pPr>
            <a:r>
              <a:rPr lang="da-DK" dirty="0"/>
              <a:t>5. Hvad håber vi som forældre at få med os fra forløbet?</a:t>
            </a:r>
          </a:p>
        </p:txBody>
      </p:sp>
    </p:spTree>
    <p:extLst>
      <p:ext uri="{BB962C8B-B14F-4D97-AF65-F5344CB8AC3E}">
        <p14:creationId xmlns:p14="http://schemas.microsoft.com/office/powerpoint/2010/main" val="15402197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2DDF4-5465-4D23-8456-5ED4496AE120}"/>
              </a:ext>
            </a:extLst>
          </p:cNvPr>
          <p:cNvSpPr>
            <a:spLocks noGrp="1"/>
          </p:cNvSpPr>
          <p:nvPr>
            <p:ph type="title"/>
          </p:nvPr>
        </p:nvSpPr>
        <p:spPr/>
        <p:txBody>
          <a:bodyPr/>
          <a:lstStyle/>
          <a:p>
            <a:r>
              <a:rPr lang="da-DK" dirty="0"/>
              <a:t>Hvad tager vi med os hjem</a:t>
            </a:r>
          </a:p>
        </p:txBody>
      </p:sp>
      <p:sp>
        <p:nvSpPr>
          <p:cNvPr id="3" name="Content Placeholder 2">
            <a:extLst>
              <a:ext uri="{FF2B5EF4-FFF2-40B4-BE49-F238E27FC236}">
                <a16:creationId xmlns:a16="http://schemas.microsoft.com/office/drawing/2014/main" id="{8BE087A5-0728-49A2-B32F-73E2B0420802}"/>
              </a:ext>
            </a:extLst>
          </p:cNvPr>
          <p:cNvSpPr>
            <a:spLocks noGrp="1"/>
          </p:cNvSpPr>
          <p:nvPr>
            <p:ph idx="1"/>
          </p:nvPr>
        </p:nvSpPr>
        <p:spPr/>
        <p:txBody>
          <a:bodyPr/>
          <a:lstStyle/>
          <a:p>
            <a:r>
              <a:rPr lang="da-DK" dirty="0"/>
              <a:t>Hvad har været godt i dag?</a:t>
            </a:r>
          </a:p>
          <a:p>
            <a:r>
              <a:rPr lang="da-DK" dirty="0"/>
              <a:t>Er der noget, som I har savnet i dag?</a:t>
            </a:r>
          </a:p>
          <a:p>
            <a:r>
              <a:rPr lang="da-DK" dirty="0"/>
              <a:t>Er der noget, som vi skal gøre anderledes næste gang?</a:t>
            </a:r>
          </a:p>
        </p:txBody>
      </p:sp>
      <p:sp>
        <p:nvSpPr>
          <p:cNvPr id="11" name="Speech Bubble: Rectangle with Corners Rounded 10">
            <a:extLst>
              <a:ext uri="{FF2B5EF4-FFF2-40B4-BE49-F238E27FC236}">
                <a16:creationId xmlns:a16="http://schemas.microsoft.com/office/drawing/2014/main" id="{18BDFDC3-A7F9-4926-BD1F-8C2CA4EDC8E6}"/>
              </a:ext>
            </a:extLst>
          </p:cNvPr>
          <p:cNvSpPr/>
          <p:nvPr/>
        </p:nvSpPr>
        <p:spPr>
          <a:xfrm>
            <a:off x="5166367" y="3789040"/>
            <a:ext cx="3510089" cy="1673299"/>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Udfyld logbogen med </a:t>
            </a:r>
            <a:br>
              <a:rPr lang="da-DK" sz="1400" i="1" dirty="0">
                <a:solidFill>
                  <a:schemeClr val="tx1"/>
                </a:solidFill>
              </a:rPr>
            </a:br>
            <a:r>
              <a:rPr lang="da-DK" sz="1400" i="1" dirty="0">
                <a:solidFill>
                  <a:schemeClr val="tx1"/>
                </a:solidFill>
              </a:rPr>
              <a:t>jeres refleksioner</a:t>
            </a:r>
          </a:p>
        </p:txBody>
      </p:sp>
      <p:grpSp>
        <p:nvGrpSpPr>
          <p:cNvPr id="8" name="Group 7">
            <a:extLst>
              <a:ext uri="{FF2B5EF4-FFF2-40B4-BE49-F238E27FC236}">
                <a16:creationId xmlns:a16="http://schemas.microsoft.com/office/drawing/2014/main" id="{6D68FC14-8A7D-467F-9AB8-D1511B87E95B}"/>
              </a:ext>
            </a:extLst>
          </p:cNvPr>
          <p:cNvGrpSpPr/>
          <p:nvPr/>
        </p:nvGrpSpPr>
        <p:grpSpPr>
          <a:xfrm>
            <a:off x="7758655" y="4004462"/>
            <a:ext cx="612000" cy="612000"/>
            <a:chOff x="8742468" y="3474401"/>
            <a:chExt cx="612000" cy="612000"/>
          </a:xfrm>
          <a:solidFill>
            <a:srgbClr val="C00000"/>
          </a:solidFill>
        </p:grpSpPr>
        <p:sp>
          <p:nvSpPr>
            <p:cNvPr id="9" name="Oval 8">
              <a:extLst>
                <a:ext uri="{FF2B5EF4-FFF2-40B4-BE49-F238E27FC236}">
                  <a16:creationId xmlns:a16="http://schemas.microsoft.com/office/drawing/2014/main" id="{F5D8C33D-D1DA-4128-A1E8-465D0DBAF011}"/>
                </a:ext>
              </a:extLst>
            </p:cNvPr>
            <p:cNvSpPr/>
            <p:nvPr/>
          </p:nvSpPr>
          <p:spPr bwMode="ltGray">
            <a:xfrm>
              <a:off x="8742468" y="3474401"/>
              <a:ext cx="612000" cy="612000"/>
            </a:xfrm>
            <a:prstGeom prst="ellipse">
              <a:avLst/>
            </a:prstGeom>
            <a:grpFill/>
            <a:ln w="3175" cap="flat" cmpd="sng" algn="ctr">
              <a:solidFill>
                <a:srgbClr val="DC6900"/>
              </a:solidFill>
              <a:prstDash val="solid"/>
            </a:ln>
            <a:effectLst/>
          </p:spPr>
          <p:txBody>
            <a:bodyPr rtlCol="0" anchor="ct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err="1">
                <a:ln>
                  <a:noFill/>
                </a:ln>
                <a:solidFill>
                  <a:srgbClr val="FFFFFF"/>
                </a:solidFill>
                <a:effectLst/>
                <a:uLnTx/>
                <a:uFillTx/>
                <a:latin typeface="Georgia" pitchFamily="18" charset="0"/>
                <a:ea typeface="+mn-ea"/>
                <a:cs typeface="+mn-cs"/>
              </a:endParaRPr>
            </a:p>
          </p:txBody>
        </p:sp>
        <p:sp>
          <p:nvSpPr>
            <p:cNvPr id="10" name="Freeform 4847">
              <a:extLst>
                <a:ext uri="{FF2B5EF4-FFF2-40B4-BE49-F238E27FC236}">
                  <a16:creationId xmlns:a16="http://schemas.microsoft.com/office/drawing/2014/main" id="{768BD847-845C-42D3-BEAE-CA55A16A4969}"/>
                </a:ext>
              </a:extLst>
            </p:cNvPr>
            <p:cNvSpPr>
              <a:spLocks noEditPoints="1"/>
            </p:cNvSpPr>
            <p:nvPr/>
          </p:nvSpPr>
          <p:spPr bwMode="auto">
            <a:xfrm>
              <a:off x="8894545" y="3569952"/>
              <a:ext cx="307068" cy="424047"/>
            </a:xfrm>
            <a:custGeom>
              <a:avLst/>
              <a:gdLst>
                <a:gd name="T0" fmla="*/ 252 w 252"/>
                <a:gd name="T1" fmla="*/ 332 h 348"/>
                <a:gd name="T2" fmla="*/ 242 w 252"/>
                <a:gd name="T3" fmla="*/ 346 h 348"/>
                <a:gd name="T4" fmla="*/ 16 w 252"/>
                <a:gd name="T5" fmla="*/ 348 h 348"/>
                <a:gd name="T6" fmla="*/ 2 w 252"/>
                <a:gd name="T7" fmla="*/ 338 h 348"/>
                <a:gd name="T8" fmla="*/ 0 w 252"/>
                <a:gd name="T9" fmla="*/ 32 h 348"/>
                <a:gd name="T10" fmla="*/ 10 w 252"/>
                <a:gd name="T11" fmla="*/ 16 h 348"/>
                <a:gd name="T12" fmla="*/ 90 w 252"/>
                <a:gd name="T13" fmla="*/ 16 h 348"/>
                <a:gd name="T14" fmla="*/ 86 w 252"/>
                <a:gd name="T15" fmla="*/ 30 h 348"/>
                <a:gd name="T16" fmla="*/ 16 w 252"/>
                <a:gd name="T17" fmla="*/ 332 h 348"/>
                <a:gd name="T18" fmla="*/ 168 w 252"/>
                <a:gd name="T19" fmla="*/ 34 h 348"/>
                <a:gd name="T20" fmla="*/ 164 w 252"/>
                <a:gd name="T21" fmla="*/ 26 h 348"/>
                <a:gd name="T22" fmla="*/ 236 w 252"/>
                <a:gd name="T23" fmla="*/ 16 h 348"/>
                <a:gd name="T24" fmla="*/ 248 w 252"/>
                <a:gd name="T25" fmla="*/ 20 h 348"/>
                <a:gd name="T26" fmla="*/ 252 w 252"/>
                <a:gd name="T27" fmla="*/ 32 h 348"/>
                <a:gd name="T28" fmla="*/ 36 w 252"/>
                <a:gd name="T29" fmla="*/ 312 h 348"/>
                <a:gd name="T30" fmla="*/ 36 w 252"/>
                <a:gd name="T31" fmla="*/ 94 h 348"/>
                <a:gd name="T32" fmla="*/ 216 w 252"/>
                <a:gd name="T33" fmla="*/ 94 h 348"/>
                <a:gd name="T34" fmla="*/ 132 w 252"/>
                <a:gd name="T35" fmla="*/ 186 h 348"/>
                <a:gd name="T36" fmla="*/ 122 w 252"/>
                <a:gd name="T37" fmla="*/ 184 h 348"/>
                <a:gd name="T38" fmla="*/ 74 w 252"/>
                <a:gd name="T39" fmla="*/ 206 h 348"/>
                <a:gd name="T40" fmla="*/ 68 w 252"/>
                <a:gd name="T41" fmla="*/ 204 h 348"/>
                <a:gd name="T42" fmla="*/ 60 w 252"/>
                <a:gd name="T43" fmla="*/ 206 h 348"/>
                <a:gd name="T44" fmla="*/ 58 w 252"/>
                <a:gd name="T45" fmla="*/ 218 h 348"/>
                <a:gd name="T46" fmla="*/ 78 w 252"/>
                <a:gd name="T47" fmla="*/ 238 h 348"/>
                <a:gd name="T48" fmla="*/ 86 w 252"/>
                <a:gd name="T49" fmla="*/ 242 h 348"/>
                <a:gd name="T50" fmla="*/ 132 w 252"/>
                <a:gd name="T51" fmla="*/ 200 h 348"/>
                <a:gd name="T52" fmla="*/ 134 w 252"/>
                <a:gd name="T53" fmla="*/ 192 h 348"/>
                <a:gd name="T54" fmla="*/ 132 w 252"/>
                <a:gd name="T55" fmla="*/ 186 h 348"/>
                <a:gd name="T56" fmla="*/ 128 w 252"/>
                <a:gd name="T57" fmla="*/ 122 h 348"/>
                <a:gd name="T58" fmla="*/ 118 w 252"/>
                <a:gd name="T59" fmla="*/ 124 h 348"/>
                <a:gd name="T60" fmla="*/ 74 w 252"/>
                <a:gd name="T61" fmla="*/ 144 h 348"/>
                <a:gd name="T62" fmla="*/ 64 w 252"/>
                <a:gd name="T63" fmla="*/ 142 h 348"/>
                <a:gd name="T64" fmla="*/ 58 w 252"/>
                <a:gd name="T65" fmla="*/ 148 h 348"/>
                <a:gd name="T66" fmla="*/ 60 w 252"/>
                <a:gd name="T67" fmla="*/ 158 h 348"/>
                <a:gd name="T68" fmla="*/ 82 w 252"/>
                <a:gd name="T69" fmla="*/ 180 h 348"/>
                <a:gd name="T70" fmla="*/ 90 w 252"/>
                <a:gd name="T71" fmla="*/ 180 h 348"/>
                <a:gd name="T72" fmla="*/ 132 w 252"/>
                <a:gd name="T73" fmla="*/ 138 h 348"/>
                <a:gd name="T74" fmla="*/ 134 w 252"/>
                <a:gd name="T75" fmla="*/ 126 h 348"/>
                <a:gd name="T76" fmla="*/ 36 w 252"/>
                <a:gd name="T77" fmla="*/ 64 h 348"/>
                <a:gd name="T78" fmla="*/ 40 w 252"/>
                <a:gd name="T79" fmla="*/ 54 h 348"/>
                <a:gd name="T80" fmla="*/ 78 w 252"/>
                <a:gd name="T81" fmla="*/ 48 h 348"/>
                <a:gd name="T82" fmla="*/ 94 w 252"/>
                <a:gd name="T83" fmla="*/ 42 h 348"/>
                <a:gd name="T84" fmla="*/ 100 w 252"/>
                <a:gd name="T85" fmla="*/ 26 h 348"/>
                <a:gd name="T86" fmla="*/ 116 w 252"/>
                <a:gd name="T87" fmla="*/ 2 h 348"/>
                <a:gd name="T88" fmla="*/ 136 w 252"/>
                <a:gd name="T89" fmla="*/ 2 h 348"/>
                <a:gd name="T90" fmla="*/ 152 w 252"/>
                <a:gd name="T91" fmla="*/ 26 h 348"/>
                <a:gd name="T92" fmla="*/ 158 w 252"/>
                <a:gd name="T93" fmla="*/ 42 h 348"/>
                <a:gd name="T94" fmla="*/ 200 w 252"/>
                <a:gd name="T95" fmla="*/ 48 h 348"/>
                <a:gd name="T96" fmla="*/ 212 w 252"/>
                <a:gd name="T97" fmla="*/ 54 h 348"/>
                <a:gd name="T98" fmla="*/ 216 w 252"/>
                <a:gd name="T99" fmla="*/ 78 h 348"/>
                <a:gd name="T100" fmla="*/ 36 w 252"/>
                <a:gd name="T101" fmla="*/ 82 h 348"/>
                <a:gd name="T102" fmla="*/ 36 w 252"/>
                <a:gd name="T103" fmla="*/ 64 h 348"/>
                <a:gd name="T104" fmla="*/ 116 w 252"/>
                <a:gd name="T105" fmla="*/ 30 h 348"/>
                <a:gd name="T106" fmla="*/ 126 w 252"/>
                <a:gd name="T107" fmla="*/ 38 h 348"/>
                <a:gd name="T108" fmla="*/ 134 w 252"/>
                <a:gd name="T109" fmla="*/ 34 h 348"/>
                <a:gd name="T110" fmla="*/ 136 w 252"/>
                <a:gd name="T111" fmla="*/ 26 h 348"/>
                <a:gd name="T112" fmla="*/ 130 w 252"/>
                <a:gd name="T113" fmla="*/ 16 h 348"/>
                <a:gd name="T114" fmla="*/ 122 w 252"/>
                <a:gd name="T115" fmla="*/ 16 h 348"/>
                <a:gd name="T116" fmla="*/ 116 w 252"/>
                <a:gd name="T117" fmla="*/ 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2" h="348">
                  <a:moveTo>
                    <a:pt x="252" y="32"/>
                  </a:moveTo>
                  <a:lnTo>
                    <a:pt x="252" y="332"/>
                  </a:lnTo>
                  <a:lnTo>
                    <a:pt x="252" y="332"/>
                  </a:lnTo>
                  <a:lnTo>
                    <a:pt x="250" y="338"/>
                  </a:lnTo>
                  <a:lnTo>
                    <a:pt x="248" y="344"/>
                  </a:lnTo>
                  <a:lnTo>
                    <a:pt x="242" y="346"/>
                  </a:lnTo>
                  <a:lnTo>
                    <a:pt x="236" y="348"/>
                  </a:lnTo>
                  <a:lnTo>
                    <a:pt x="16" y="348"/>
                  </a:lnTo>
                  <a:lnTo>
                    <a:pt x="16" y="348"/>
                  </a:lnTo>
                  <a:lnTo>
                    <a:pt x="10" y="346"/>
                  </a:lnTo>
                  <a:lnTo>
                    <a:pt x="4" y="344"/>
                  </a:lnTo>
                  <a:lnTo>
                    <a:pt x="2" y="338"/>
                  </a:lnTo>
                  <a:lnTo>
                    <a:pt x="0" y="332"/>
                  </a:lnTo>
                  <a:lnTo>
                    <a:pt x="0" y="32"/>
                  </a:lnTo>
                  <a:lnTo>
                    <a:pt x="0" y="32"/>
                  </a:lnTo>
                  <a:lnTo>
                    <a:pt x="2" y="26"/>
                  </a:lnTo>
                  <a:lnTo>
                    <a:pt x="4" y="20"/>
                  </a:lnTo>
                  <a:lnTo>
                    <a:pt x="10" y="16"/>
                  </a:lnTo>
                  <a:lnTo>
                    <a:pt x="16" y="16"/>
                  </a:lnTo>
                  <a:lnTo>
                    <a:pt x="90" y="16"/>
                  </a:lnTo>
                  <a:lnTo>
                    <a:pt x="90" y="16"/>
                  </a:lnTo>
                  <a:lnTo>
                    <a:pt x="88" y="26"/>
                  </a:lnTo>
                  <a:lnTo>
                    <a:pt x="88" y="26"/>
                  </a:lnTo>
                  <a:lnTo>
                    <a:pt x="86" y="30"/>
                  </a:lnTo>
                  <a:lnTo>
                    <a:pt x="84" y="34"/>
                  </a:lnTo>
                  <a:lnTo>
                    <a:pt x="16" y="34"/>
                  </a:lnTo>
                  <a:lnTo>
                    <a:pt x="16" y="332"/>
                  </a:lnTo>
                  <a:lnTo>
                    <a:pt x="236" y="332"/>
                  </a:lnTo>
                  <a:lnTo>
                    <a:pt x="236" y="34"/>
                  </a:lnTo>
                  <a:lnTo>
                    <a:pt x="168" y="34"/>
                  </a:lnTo>
                  <a:lnTo>
                    <a:pt x="168" y="34"/>
                  </a:lnTo>
                  <a:lnTo>
                    <a:pt x="166" y="30"/>
                  </a:lnTo>
                  <a:lnTo>
                    <a:pt x="164" y="26"/>
                  </a:lnTo>
                  <a:lnTo>
                    <a:pt x="164" y="26"/>
                  </a:lnTo>
                  <a:lnTo>
                    <a:pt x="162" y="16"/>
                  </a:lnTo>
                  <a:lnTo>
                    <a:pt x="236" y="16"/>
                  </a:lnTo>
                  <a:lnTo>
                    <a:pt x="236" y="16"/>
                  </a:lnTo>
                  <a:lnTo>
                    <a:pt x="242" y="16"/>
                  </a:lnTo>
                  <a:lnTo>
                    <a:pt x="248" y="20"/>
                  </a:lnTo>
                  <a:lnTo>
                    <a:pt x="250" y="26"/>
                  </a:lnTo>
                  <a:lnTo>
                    <a:pt x="252" y="32"/>
                  </a:lnTo>
                  <a:lnTo>
                    <a:pt x="252" y="32"/>
                  </a:lnTo>
                  <a:close/>
                  <a:moveTo>
                    <a:pt x="216" y="94"/>
                  </a:moveTo>
                  <a:lnTo>
                    <a:pt x="216" y="312"/>
                  </a:lnTo>
                  <a:lnTo>
                    <a:pt x="36" y="312"/>
                  </a:lnTo>
                  <a:lnTo>
                    <a:pt x="36" y="94"/>
                  </a:lnTo>
                  <a:lnTo>
                    <a:pt x="36" y="94"/>
                  </a:lnTo>
                  <a:lnTo>
                    <a:pt x="36" y="94"/>
                  </a:lnTo>
                  <a:lnTo>
                    <a:pt x="216" y="94"/>
                  </a:lnTo>
                  <a:lnTo>
                    <a:pt x="216" y="94"/>
                  </a:lnTo>
                  <a:lnTo>
                    <a:pt x="216" y="94"/>
                  </a:lnTo>
                  <a:lnTo>
                    <a:pt x="216" y="94"/>
                  </a:lnTo>
                  <a:close/>
                  <a:moveTo>
                    <a:pt x="132" y="186"/>
                  </a:moveTo>
                  <a:lnTo>
                    <a:pt x="132" y="186"/>
                  </a:lnTo>
                  <a:lnTo>
                    <a:pt x="128" y="184"/>
                  </a:lnTo>
                  <a:lnTo>
                    <a:pt x="124" y="182"/>
                  </a:lnTo>
                  <a:lnTo>
                    <a:pt x="122" y="184"/>
                  </a:lnTo>
                  <a:lnTo>
                    <a:pt x="118" y="186"/>
                  </a:lnTo>
                  <a:lnTo>
                    <a:pt x="86" y="218"/>
                  </a:lnTo>
                  <a:lnTo>
                    <a:pt x="74" y="206"/>
                  </a:lnTo>
                  <a:lnTo>
                    <a:pt x="74" y="206"/>
                  </a:lnTo>
                  <a:lnTo>
                    <a:pt x="70" y="204"/>
                  </a:lnTo>
                  <a:lnTo>
                    <a:pt x="68" y="204"/>
                  </a:lnTo>
                  <a:lnTo>
                    <a:pt x="64" y="204"/>
                  </a:lnTo>
                  <a:lnTo>
                    <a:pt x="60" y="206"/>
                  </a:lnTo>
                  <a:lnTo>
                    <a:pt x="60" y="206"/>
                  </a:lnTo>
                  <a:lnTo>
                    <a:pt x="58" y="210"/>
                  </a:lnTo>
                  <a:lnTo>
                    <a:pt x="58" y="214"/>
                  </a:lnTo>
                  <a:lnTo>
                    <a:pt x="58" y="218"/>
                  </a:lnTo>
                  <a:lnTo>
                    <a:pt x="60" y="220"/>
                  </a:lnTo>
                  <a:lnTo>
                    <a:pt x="78" y="238"/>
                  </a:lnTo>
                  <a:lnTo>
                    <a:pt x="78" y="238"/>
                  </a:lnTo>
                  <a:lnTo>
                    <a:pt x="82" y="242"/>
                  </a:lnTo>
                  <a:lnTo>
                    <a:pt x="86" y="242"/>
                  </a:lnTo>
                  <a:lnTo>
                    <a:pt x="86" y="242"/>
                  </a:lnTo>
                  <a:lnTo>
                    <a:pt x="90" y="242"/>
                  </a:lnTo>
                  <a:lnTo>
                    <a:pt x="92" y="238"/>
                  </a:lnTo>
                  <a:lnTo>
                    <a:pt x="132" y="200"/>
                  </a:lnTo>
                  <a:lnTo>
                    <a:pt x="132" y="200"/>
                  </a:lnTo>
                  <a:lnTo>
                    <a:pt x="134" y="196"/>
                  </a:lnTo>
                  <a:lnTo>
                    <a:pt x="134" y="192"/>
                  </a:lnTo>
                  <a:lnTo>
                    <a:pt x="134" y="188"/>
                  </a:lnTo>
                  <a:lnTo>
                    <a:pt x="132" y="186"/>
                  </a:lnTo>
                  <a:lnTo>
                    <a:pt x="132" y="186"/>
                  </a:lnTo>
                  <a:close/>
                  <a:moveTo>
                    <a:pt x="132" y="124"/>
                  </a:moveTo>
                  <a:lnTo>
                    <a:pt x="132" y="124"/>
                  </a:lnTo>
                  <a:lnTo>
                    <a:pt x="128" y="122"/>
                  </a:lnTo>
                  <a:lnTo>
                    <a:pt x="124" y="120"/>
                  </a:lnTo>
                  <a:lnTo>
                    <a:pt x="122" y="122"/>
                  </a:lnTo>
                  <a:lnTo>
                    <a:pt x="118" y="124"/>
                  </a:lnTo>
                  <a:lnTo>
                    <a:pt x="86" y="156"/>
                  </a:lnTo>
                  <a:lnTo>
                    <a:pt x="74" y="144"/>
                  </a:lnTo>
                  <a:lnTo>
                    <a:pt x="74" y="144"/>
                  </a:lnTo>
                  <a:lnTo>
                    <a:pt x="70" y="142"/>
                  </a:lnTo>
                  <a:lnTo>
                    <a:pt x="68" y="142"/>
                  </a:lnTo>
                  <a:lnTo>
                    <a:pt x="64" y="142"/>
                  </a:lnTo>
                  <a:lnTo>
                    <a:pt x="60" y="144"/>
                  </a:lnTo>
                  <a:lnTo>
                    <a:pt x="60" y="144"/>
                  </a:lnTo>
                  <a:lnTo>
                    <a:pt x="58" y="148"/>
                  </a:lnTo>
                  <a:lnTo>
                    <a:pt x="58" y="152"/>
                  </a:lnTo>
                  <a:lnTo>
                    <a:pt x="58" y="156"/>
                  </a:lnTo>
                  <a:lnTo>
                    <a:pt x="60" y="158"/>
                  </a:lnTo>
                  <a:lnTo>
                    <a:pt x="78" y="178"/>
                  </a:lnTo>
                  <a:lnTo>
                    <a:pt x="78" y="178"/>
                  </a:lnTo>
                  <a:lnTo>
                    <a:pt x="82" y="180"/>
                  </a:lnTo>
                  <a:lnTo>
                    <a:pt x="86" y="180"/>
                  </a:lnTo>
                  <a:lnTo>
                    <a:pt x="86" y="180"/>
                  </a:lnTo>
                  <a:lnTo>
                    <a:pt x="90" y="180"/>
                  </a:lnTo>
                  <a:lnTo>
                    <a:pt x="92" y="178"/>
                  </a:lnTo>
                  <a:lnTo>
                    <a:pt x="132" y="138"/>
                  </a:lnTo>
                  <a:lnTo>
                    <a:pt x="132" y="138"/>
                  </a:lnTo>
                  <a:lnTo>
                    <a:pt x="134" y="134"/>
                  </a:lnTo>
                  <a:lnTo>
                    <a:pt x="134" y="130"/>
                  </a:lnTo>
                  <a:lnTo>
                    <a:pt x="134" y="126"/>
                  </a:lnTo>
                  <a:lnTo>
                    <a:pt x="132" y="124"/>
                  </a:lnTo>
                  <a:lnTo>
                    <a:pt x="132" y="124"/>
                  </a:lnTo>
                  <a:close/>
                  <a:moveTo>
                    <a:pt x="36" y="64"/>
                  </a:moveTo>
                  <a:lnTo>
                    <a:pt x="36" y="64"/>
                  </a:lnTo>
                  <a:lnTo>
                    <a:pt x="36" y="58"/>
                  </a:lnTo>
                  <a:lnTo>
                    <a:pt x="40" y="54"/>
                  </a:lnTo>
                  <a:lnTo>
                    <a:pt x="46" y="50"/>
                  </a:lnTo>
                  <a:lnTo>
                    <a:pt x="52" y="48"/>
                  </a:lnTo>
                  <a:lnTo>
                    <a:pt x="78" y="48"/>
                  </a:lnTo>
                  <a:lnTo>
                    <a:pt x="78" y="48"/>
                  </a:lnTo>
                  <a:lnTo>
                    <a:pt x="86" y="46"/>
                  </a:lnTo>
                  <a:lnTo>
                    <a:pt x="94" y="42"/>
                  </a:lnTo>
                  <a:lnTo>
                    <a:pt x="98" y="36"/>
                  </a:lnTo>
                  <a:lnTo>
                    <a:pt x="100" y="26"/>
                  </a:lnTo>
                  <a:lnTo>
                    <a:pt x="100" y="26"/>
                  </a:lnTo>
                  <a:lnTo>
                    <a:pt x="102" y="16"/>
                  </a:lnTo>
                  <a:lnTo>
                    <a:pt x="108" y="8"/>
                  </a:lnTo>
                  <a:lnTo>
                    <a:pt x="116" y="2"/>
                  </a:lnTo>
                  <a:lnTo>
                    <a:pt x="126" y="0"/>
                  </a:lnTo>
                  <a:lnTo>
                    <a:pt x="126" y="0"/>
                  </a:lnTo>
                  <a:lnTo>
                    <a:pt x="136" y="2"/>
                  </a:lnTo>
                  <a:lnTo>
                    <a:pt x="144" y="8"/>
                  </a:lnTo>
                  <a:lnTo>
                    <a:pt x="150" y="16"/>
                  </a:lnTo>
                  <a:lnTo>
                    <a:pt x="152" y="26"/>
                  </a:lnTo>
                  <a:lnTo>
                    <a:pt x="152" y="26"/>
                  </a:lnTo>
                  <a:lnTo>
                    <a:pt x="154" y="36"/>
                  </a:lnTo>
                  <a:lnTo>
                    <a:pt x="158" y="42"/>
                  </a:lnTo>
                  <a:lnTo>
                    <a:pt x="166" y="46"/>
                  </a:lnTo>
                  <a:lnTo>
                    <a:pt x="174" y="48"/>
                  </a:lnTo>
                  <a:lnTo>
                    <a:pt x="200" y="48"/>
                  </a:lnTo>
                  <a:lnTo>
                    <a:pt x="200" y="48"/>
                  </a:lnTo>
                  <a:lnTo>
                    <a:pt x="206" y="50"/>
                  </a:lnTo>
                  <a:lnTo>
                    <a:pt x="212" y="54"/>
                  </a:lnTo>
                  <a:lnTo>
                    <a:pt x="216" y="58"/>
                  </a:lnTo>
                  <a:lnTo>
                    <a:pt x="216" y="64"/>
                  </a:lnTo>
                  <a:lnTo>
                    <a:pt x="216" y="78"/>
                  </a:lnTo>
                  <a:lnTo>
                    <a:pt x="216" y="78"/>
                  </a:lnTo>
                  <a:lnTo>
                    <a:pt x="216" y="82"/>
                  </a:lnTo>
                  <a:lnTo>
                    <a:pt x="36" y="82"/>
                  </a:lnTo>
                  <a:lnTo>
                    <a:pt x="36" y="82"/>
                  </a:lnTo>
                  <a:lnTo>
                    <a:pt x="36" y="78"/>
                  </a:lnTo>
                  <a:lnTo>
                    <a:pt x="36" y="64"/>
                  </a:lnTo>
                  <a:close/>
                  <a:moveTo>
                    <a:pt x="116" y="26"/>
                  </a:moveTo>
                  <a:lnTo>
                    <a:pt x="116" y="26"/>
                  </a:lnTo>
                  <a:lnTo>
                    <a:pt x="116" y="30"/>
                  </a:lnTo>
                  <a:lnTo>
                    <a:pt x="118" y="34"/>
                  </a:lnTo>
                  <a:lnTo>
                    <a:pt x="122" y="36"/>
                  </a:lnTo>
                  <a:lnTo>
                    <a:pt x="126" y="38"/>
                  </a:lnTo>
                  <a:lnTo>
                    <a:pt x="126" y="38"/>
                  </a:lnTo>
                  <a:lnTo>
                    <a:pt x="130" y="36"/>
                  </a:lnTo>
                  <a:lnTo>
                    <a:pt x="134" y="34"/>
                  </a:lnTo>
                  <a:lnTo>
                    <a:pt x="136" y="30"/>
                  </a:lnTo>
                  <a:lnTo>
                    <a:pt x="136" y="26"/>
                  </a:lnTo>
                  <a:lnTo>
                    <a:pt x="136" y="26"/>
                  </a:lnTo>
                  <a:lnTo>
                    <a:pt x="136" y="22"/>
                  </a:lnTo>
                  <a:lnTo>
                    <a:pt x="134" y="20"/>
                  </a:lnTo>
                  <a:lnTo>
                    <a:pt x="130" y="16"/>
                  </a:lnTo>
                  <a:lnTo>
                    <a:pt x="126" y="16"/>
                  </a:lnTo>
                  <a:lnTo>
                    <a:pt x="126" y="16"/>
                  </a:lnTo>
                  <a:lnTo>
                    <a:pt x="122" y="16"/>
                  </a:lnTo>
                  <a:lnTo>
                    <a:pt x="118" y="20"/>
                  </a:lnTo>
                  <a:lnTo>
                    <a:pt x="116" y="22"/>
                  </a:lnTo>
                  <a:lnTo>
                    <a:pt x="116" y="26"/>
                  </a:lnTo>
                  <a:lnTo>
                    <a:pt x="116" y="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10785969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553CD66-0339-495A-A123-C512C022586E}"/>
              </a:ext>
            </a:extLst>
          </p:cNvPr>
          <p:cNvSpPr>
            <a:spLocks noGrp="1"/>
          </p:cNvSpPr>
          <p:nvPr>
            <p:ph type="body" sz="quarter" idx="16"/>
          </p:nvPr>
        </p:nvSpPr>
        <p:spPr/>
        <p:txBody>
          <a:bodyPr>
            <a:normAutofit fontScale="25000" lnSpcReduction="20000"/>
          </a:bodyPr>
          <a:lstStyle/>
          <a:p>
            <a:endParaRPr lang="da-DK"/>
          </a:p>
        </p:txBody>
      </p:sp>
      <p:sp>
        <p:nvSpPr>
          <p:cNvPr id="3" name="Subtitle 2">
            <a:extLst>
              <a:ext uri="{FF2B5EF4-FFF2-40B4-BE49-F238E27FC236}">
                <a16:creationId xmlns:a16="http://schemas.microsoft.com/office/drawing/2014/main" id="{BA6DF436-0BA3-4F61-AAD5-032C726AF133}"/>
              </a:ext>
            </a:extLst>
          </p:cNvPr>
          <p:cNvSpPr>
            <a:spLocks noGrp="1"/>
          </p:cNvSpPr>
          <p:nvPr>
            <p:ph type="subTitle" idx="1"/>
          </p:nvPr>
        </p:nvSpPr>
        <p:spPr/>
        <p:txBody>
          <a:bodyPr>
            <a:normAutofit fontScale="92500"/>
          </a:bodyPr>
          <a:lstStyle/>
          <a:p>
            <a:r>
              <a:rPr lang="da-DK" dirty="0"/>
              <a:t>Modul 4: Anerkendende tilgang</a:t>
            </a:r>
          </a:p>
        </p:txBody>
      </p:sp>
      <p:sp>
        <p:nvSpPr>
          <p:cNvPr id="4" name="Text Placeholder 3">
            <a:extLst>
              <a:ext uri="{FF2B5EF4-FFF2-40B4-BE49-F238E27FC236}">
                <a16:creationId xmlns:a16="http://schemas.microsoft.com/office/drawing/2014/main" id="{75E400EF-5C42-4C19-ABF1-C580CAB9E1F7}"/>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60D34872-7793-46A1-9F49-0D63061C6B83}"/>
              </a:ext>
            </a:extLst>
          </p:cNvPr>
          <p:cNvSpPr>
            <a:spLocks noGrp="1"/>
          </p:cNvSpPr>
          <p:nvPr>
            <p:ph type="body" sz="quarter" idx="13"/>
          </p:nvPr>
        </p:nvSpPr>
        <p:spPr/>
        <p:txBody>
          <a:bodyPr>
            <a:normAutofit fontScale="25000" lnSpcReduction="20000"/>
          </a:bodyPr>
          <a:lstStyle/>
          <a:p>
            <a:endParaRPr lang="da-DK"/>
          </a:p>
        </p:txBody>
      </p:sp>
    </p:spTree>
    <p:extLst>
      <p:ext uri="{BB962C8B-B14F-4D97-AF65-F5344CB8AC3E}">
        <p14:creationId xmlns:p14="http://schemas.microsoft.com/office/powerpoint/2010/main" val="351463065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08242037-1FE3-27B1-1DAF-2416B6F2721F}"/>
              </a:ext>
            </a:extLst>
          </p:cNvPr>
          <p:cNvPicPr>
            <a:picLocks noChangeAspect="1"/>
          </p:cNvPicPr>
          <p:nvPr/>
        </p:nvPicPr>
        <p:blipFill rotWithShape="1">
          <a:blip r:embed="rId3"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p:txBody>
          <a:bodyPr/>
          <a:lstStyle/>
          <a:p>
            <a:r>
              <a:rPr lang="da-DK" dirty="0"/>
              <a:t>Modul 4: Anerkendende tilgang</a:t>
            </a:r>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a:t>
            </a:r>
          </a:p>
          <a:p>
            <a:r>
              <a:rPr lang="da-DK" dirty="0"/>
              <a:t>At I får øget viden og redskaber til at støtte jeres barn i deres ønsker, drømme og motivation </a:t>
            </a:r>
          </a:p>
          <a:p>
            <a:r>
              <a:rPr lang="da-DK" dirty="0"/>
              <a:t>At I får viden, redskaber og handlemåder til at bevare en anerkendende tilgang i perioder, hvor den unge har det svært. </a:t>
            </a:r>
          </a:p>
        </p:txBody>
      </p:sp>
    </p:spTree>
    <p:extLst>
      <p:ext uri="{BB962C8B-B14F-4D97-AF65-F5344CB8AC3E}">
        <p14:creationId xmlns:p14="http://schemas.microsoft.com/office/powerpoint/2010/main" val="2651772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7"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1789733186"/>
              </p:ext>
            </p:extLst>
          </p:nvPr>
        </p:nvGraphicFramePr>
        <p:xfrm>
          <a:off x="628649" y="1760220"/>
          <a:ext cx="7467526" cy="370840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Velkommen og formål med dagen </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Siden sidst</a:t>
                      </a:r>
                    </a:p>
                  </a:txBody>
                  <a:tcPr/>
                </a:tc>
                <a:extLst>
                  <a:ext uri="{0D108BD9-81ED-4DB2-BD59-A6C34878D82A}">
                    <a16:rowId xmlns:a16="http://schemas.microsoft.com/office/drawing/2014/main" val="3167250481"/>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vil vi gerne have ud af modulet?</a:t>
                      </a:r>
                    </a:p>
                  </a:txBody>
                  <a:tcPr/>
                </a:tc>
                <a:extLst>
                  <a:ext uri="{0D108BD9-81ED-4DB2-BD59-A6C34878D82A}">
                    <a16:rowId xmlns:a16="http://schemas.microsoft.com/office/drawing/2014/main" val="102157098"/>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har de unge aktuelt fokus på?</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Oplæg </a:t>
                      </a:r>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Drøftelse af dagens tema</a:t>
                      </a:r>
                    </a:p>
                  </a:txBody>
                  <a:tcPr/>
                </a:tc>
                <a:extLst>
                  <a:ext uri="{0D108BD9-81ED-4DB2-BD59-A6C34878D82A}">
                    <a16:rowId xmlns:a16="http://schemas.microsoft.com/office/drawing/2014/main" val="2823113985"/>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Øvelse/omsætning til hverdagen</a:t>
                      </a:r>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vil vi fokusere på til næste gang? </a:t>
                      </a:r>
                    </a:p>
                  </a:txBody>
                  <a:tcPr/>
                </a:tc>
                <a:extLst>
                  <a:ext uri="{0D108BD9-81ED-4DB2-BD59-A6C34878D82A}">
                    <a16:rowId xmlns:a16="http://schemas.microsoft.com/office/drawing/2014/main" val="3100555660"/>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tager vi med os hjem?</a:t>
                      </a:r>
                    </a:p>
                  </a:txBody>
                  <a:tcPr/>
                </a:tc>
                <a:extLst>
                  <a:ext uri="{0D108BD9-81ED-4DB2-BD59-A6C34878D82A}">
                    <a16:rowId xmlns:a16="http://schemas.microsoft.com/office/drawing/2014/main" val="600134101"/>
                  </a:ext>
                </a:extLst>
              </a:tr>
            </a:tbl>
          </a:graphicData>
        </a:graphic>
      </p:graphicFrame>
    </p:spTree>
    <p:extLst>
      <p:ext uri="{BB962C8B-B14F-4D97-AF65-F5344CB8AC3E}">
        <p14:creationId xmlns:p14="http://schemas.microsoft.com/office/powerpoint/2010/main" val="38864691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E2F47B-7352-4067-816A-312B537F7D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45E2F47B-7352-4067-816A-312B537F7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38865-BE55-48CB-8610-2CCD942ACAD1}"/>
              </a:ext>
            </a:extLst>
          </p:cNvPr>
          <p:cNvSpPr>
            <a:spLocks noGrp="1"/>
          </p:cNvSpPr>
          <p:nvPr>
            <p:ph type="title"/>
          </p:nvPr>
        </p:nvSpPr>
        <p:spPr/>
        <p:txBody>
          <a:bodyPr vert="horz"/>
          <a:lstStyle/>
          <a:p>
            <a:r>
              <a:rPr lang="da-DK" dirty="0"/>
              <a:t>Siden sidst – to og to</a:t>
            </a:r>
          </a:p>
        </p:txBody>
      </p:sp>
      <p:sp>
        <p:nvSpPr>
          <p:cNvPr id="3" name="Content Placeholder 2">
            <a:extLst>
              <a:ext uri="{FF2B5EF4-FFF2-40B4-BE49-F238E27FC236}">
                <a16:creationId xmlns:a16="http://schemas.microsoft.com/office/drawing/2014/main" id="{2D9E83EF-F91E-43EF-9F1D-837A2F305F83}"/>
              </a:ext>
            </a:extLst>
          </p:cNvPr>
          <p:cNvSpPr>
            <a:spLocks noGrp="1"/>
          </p:cNvSpPr>
          <p:nvPr>
            <p:ph idx="1"/>
          </p:nvPr>
        </p:nvSpPr>
        <p:spPr/>
        <p:txBody>
          <a:bodyPr/>
          <a:lstStyle/>
          <a:p>
            <a:r>
              <a:rPr lang="da-DK" dirty="0"/>
              <a:t>Hvordan er det gået siden sidst? </a:t>
            </a:r>
          </a:p>
          <a:p>
            <a:endParaRPr lang="da-DK" dirty="0"/>
          </a:p>
          <a:p>
            <a:r>
              <a:rPr lang="da-DK" dirty="0"/>
              <a:t>Hvad er det bedste, der er sket for mit barn og jeg siden sidst? </a:t>
            </a:r>
          </a:p>
          <a:p>
            <a:endParaRPr lang="da-DK" dirty="0"/>
          </a:p>
          <a:p>
            <a:r>
              <a:rPr lang="da-DK" dirty="0"/>
              <a:t>Hvordan er det gået med den unges hjemmeøvelse?</a:t>
            </a:r>
          </a:p>
          <a:p>
            <a:endParaRPr lang="da-DK" dirty="0"/>
          </a:p>
        </p:txBody>
      </p:sp>
      <p:sp>
        <p:nvSpPr>
          <p:cNvPr id="8" name="Speech Bubble: Rectangle with Corners Rounded 7">
            <a:extLst>
              <a:ext uri="{FF2B5EF4-FFF2-40B4-BE49-F238E27FC236}">
                <a16:creationId xmlns:a16="http://schemas.microsoft.com/office/drawing/2014/main" id="{875A8947-F098-4A17-BA75-6F30A96994A5}"/>
              </a:ext>
            </a:extLst>
          </p:cNvPr>
          <p:cNvSpPr/>
          <p:nvPr/>
        </p:nvSpPr>
        <p:spPr>
          <a:xfrm>
            <a:off x="3995936" y="3789040"/>
            <a:ext cx="4248472" cy="1872208"/>
          </a:xfrm>
          <a:prstGeom prst="wedgeRoundRectCallout">
            <a:avLst>
              <a:gd name="adj1" fmla="val -57826"/>
              <a:gd name="adj2" fmla="val 25946"/>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Overvej hvordan I støtter den unges håb, motivation og tro på sig selv</a:t>
            </a:r>
          </a:p>
          <a:p>
            <a:pPr marL="285750" indent="-285750">
              <a:spcAft>
                <a:spcPts val="600"/>
              </a:spcAft>
              <a:buFont typeface="Arial" panose="020B0604020202020204" pitchFamily="34" charset="0"/>
              <a:buChar char="•"/>
            </a:pPr>
            <a:r>
              <a:rPr lang="da-DK" sz="1400" i="1" dirty="0">
                <a:solidFill>
                  <a:schemeClr val="tx1"/>
                </a:solidFill>
              </a:rPr>
              <a:t>Tænk over eksempler fra hverdagen, hvor det er lykkedes særligt godt</a:t>
            </a:r>
          </a:p>
          <a:p>
            <a:pPr marL="285750" indent="-285750">
              <a:spcAft>
                <a:spcPts val="600"/>
              </a:spcAft>
              <a:buFont typeface="Arial" panose="020B0604020202020204" pitchFamily="34" charset="0"/>
              <a:buChar char="•"/>
            </a:pPr>
            <a:r>
              <a:rPr lang="da-DK" sz="1400" i="1" dirty="0">
                <a:solidFill>
                  <a:schemeClr val="tx1"/>
                </a:solidFill>
              </a:rPr>
              <a:t>Tænk over eksempler fra hverdagen, hvor det ikke er lykkedes, og hvad der evt. gik galt.</a:t>
            </a:r>
          </a:p>
        </p:txBody>
      </p:sp>
    </p:spTree>
    <p:extLst>
      <p:ext uri="{BB962C8B-B14F-4D97-AF65-F5344CB8AC3E}">
        <p14:creationId xmlns:p14="http://schemas.microsoft.com/office/powerpoint/2010/main" val="100112740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E2F47B-7352-4067-816A-312B537F7D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45E2F47B-7352-4067-816A-312B537F7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38865-BE55-48CB-8610-2CCD942ACAD1}"/>
              </a:ext>
            </a:extLst>
          </p:cNvPr>
          <p:cNvSpPr>
            <a:spLocks noGrp="1"/>
          </p:cNvSpPr>
          <p:nvPr>
            <p:ph type="title"/>
          </p:nvPr>
        </p:nvSpPr>
        <p:spPr/>
        <p:txBody>
          <a:bodyPr vert="horz"/>
          <a:lstStyle/>
          <a:p>
            <a:r>
              <a:rPr lang="da-DK" dirty="0"/>
              <a:t>Hvad vil vi gerne have ud af modulet?</a:t>
            </a:r>
          </a:p>
        </p:txBody>
      </p:sp>
      <p:sp>
        <p:nvSpPr>
          <p:cNvPr id="3" name="Content Placeholder 2">
            <a:extLst>
              <a:ext uri="{FF2B5EF4-FFF2-40B4-BE49-F238E27FC236}">
                <a16:creationId xmlns:a16="http://schemas.microsoft.com/office/drawing/2014/main" id="{2D9E83EF-F91E-43EF-9F1D-837A2F305F83}"/>
              </a:ext>
            </a:extLst>
          </p:cNvPr>
          <p:cNvSpPr>
            <a:spLocks noGrp="1"/>
          </p:cNvSpPr>
          <p:nvPr>
            <p:ph idx="1"/>
          </p:nvPr>
        </p:nvSpPr>
        <p:spPr/>
        <p:txBody>
          <a:bodyPr/>
          <a:lstStyle/>
          <a:p>
            <a:r>
              <a:rPr lang="da-DK" dirty="0"/>
              <a:t>Hvad vil jeg gerne have ud af dagen i dag? </a:t>
            </a:r>
          </a:p>
          <a:p>
            <a:r>
              <a:rPr lang="da-DK" dirty="0"/>
              <a:t>Hvad er vigtigt for mig at komme omkring i forhold til temaet om anerkendende tilgang? </a:t>
            </a:r>
          </a:p>
        </p:txBody>
      </p:sp>
    </p:spTree>
    <p:extLst>
      <p:ext uri="{BB962C8B-B14F-4D97-AF65-F5344CB8AC3E}">
        <p14:creationId xmlns:p14="http://schemas.microsoft.com/office/powerpoint/2010/main" val="220618788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4178019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Hvad har de unge aktuelt fokus på?</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normAutofit fontScale="92500" lnSpcReduction="10000"/>
          </a:bodyPr>
          <a:lstStyle/>
          <a:p>
            <a:pPr marL="0" indent="0">
              <a:spcBef>
                <a:spcPts val="0"/>
              </a:spcBef>
              <a:spcAft>
                <a:spcPts val="1200"/>
              </a:spcAft>
              <a:buNone/>
            </a:pPr>
            <a:r>
              <a:rPr lang="da-DK" b="1" dirty="0"/>
              <a:t>[Indholdet tilpasses, så det afspejler indholdet i de unges session]</a:t>
            </a:r>
          </a:p>
          <a:p>
            <a:pPr marL="0" indent="0">
              <a:spcBef>
                <a:spcPts val="0"/>
              </a:spcBef>
              <a:spcAft>
                <a:spcPts val="1200"/>
              </a:spcAft>
              <a:buNone/>
            </a:pPr>
            <a:r>
              <a:rPr lang="da-DK" dirty="0"/>
              <a:t>På modulet omkring </a:t>
            </a:r>
            <a:r>
              <a:rPr lang="da-DK" b="1" dirty="0"/>
              <a:t>konflikter </a:t>
            </a:r>
            <a:r>
              <a:rPr lang="da-DK" dirty="0"/>
              <a:t>lærer de unge bl.a., at:</a:t>
            </a:r>
          </a:p>
          <a:p>
            <a:pPr>
              <a:spcBef>
                <a:spcPts val="0"/>
              </a:spcBef>
              <a:spcAft>
                <a:spcPts val="1200"/>
              </a:spcAft>
            </a:pPr>
            <a:r>
              <a:rPr lang="da-DK" i="0" dirty="0"/>
              <a:t>Mange </a:t>
            </a:r>
            <a:r>
              <a:rPr lang="da-DK" b="1" i="0" dirty="0"/>
              <a:t>konflikter opstår</a:t>
            </a:r>
            <a:r>
              <a:rPr lang="da-DK" i="0" dirty="0"/>
              <a:t>, uden at parterne vil være ondskabsfulde mod hinanden – det kan være fordi, man misforstår hinanden. Nogle konflikter opstår, fordi andre gerne vil drille/genere/provokere én.</a:t>
            </a:r>
            <a:endParaRPr lang="da-DK" dirty="0"/>
          </a:p>
          <a:p>
            <a:pPr>
              <a:spcBef>
                <a:spcPts val="0"/>
              </a:spcBef>
              <a:spcAft>
                <a:spcPts val="1200"/>
              </a:spcAft>
            </a:pPr>
            <a:r>
              <a:rPr lang="da-DK" b="1" dirty="0"/>
              <a:t>Håndtere</a:t>
            </a:r>
            <a:r>
              <a:rPr lang="da-DK" dirty="0"/>
              <a:t> </a:t>
            </a:r>
            <a:r>
              <a:rPr lang="da-DK" b="1" dirty="0"/>
              <a:t>konflikter</a:t>
            </a:r>
            <a:r>
              <a:rPr lang="da-DK" dirty="0"/>
              <a:t>. </a:t>
            </a:r>
            <a:r>
              <a:rPr lang="da-DK" sz="1800" dirty="0">
                <a:effectLst/>
                <a:latin typeface="Segoe UI" panose="020B0502040204020203" pitchFamily="34" charset="0"/>
              </a:rPr>
              <a:t>Man kan undgå konflikter ved fx at , trække sig fra konfliktsituationen eller man kan tage konflikten</a:t>
            </a:r>
            <a:r>
              <a:rPr lang="da-DK" i="0" dirty="0"/>
              <a:t>.</a:t>
            </a:r>
          </a:p>
          <a:p>
            <a:pPr>
              <a:spcBef>
                <a:spcPts val="0"/>
              </a:spcBef>
              <a:spcAft>
                <a:spcPts val="1200"/>
              </a:spcAft>
            </a:pPr>
            <a:r>
              <a:rPr lang="da-DK" dirty="0"/>
              <a:t>Det er vigtigt at kunne </a:t>
            </a:r>
            <a:r>
              <a:rPr lang="da-DK" b="1" dirty="0"/>
              <a:t>sætte grænser</a:t>
            </a:r>
            <a:r>
              <a:rPr lang="da-DK" dirty="0"/>
              <a:t>. </a:t>
            </a:r>
            <a:r>
              <a:rPr lang="da-DK" i="0" dirty="0"/>
              <a:t>Man kan fx mærke efter, hvordan man har det, sige det højt, øve sig i at stå fast, sige nej på en god måde.</a:t>
            </a:r>
          </a:p>
          <a:p>
            <a:pPr>
              <a:spcBef>
                <a:spcPts val="0"/>
              </a:spcBef>
              <a:spcAft>
                <a:spcPts val="1200"/>
              </a:spcAft>
            </a:pPr>
            <a:r>
              <a:rPr lang="da-DK" i="0" dirty="0"/>
              <a:t>Der er forskellige måder at kommunikere på: </a:t>
            </a:r>
            <a:r>
              <a:rPr lang="da-DK" b="1" i="0" dirty="0"/>
              <a:t>Passiv, aggress</a:t>
            </a:r>
            <a:r>
              <a:rPr lang="da-DK" b="1" dirty="0"/>
              <a:t>iv, assertiv.</a:t>
            </a:r>
          </a:p>
          <a:p>
            <a:pPr>
              <a:spcBef>
                <a:spcPts val="0"/>
              </a:spcBef>
              <a:spcAft>
                <a:spcPts val="1200"/>
              </a:spcAft>
            </a:pPr>
            <a:r>
              <a:rPr lang="da-DK" dirty="0"/>
              <a:t>Man kan bruge </a:t>
            </a:r>
            <a:r>
              <a:rPr lang="da-DK" b="1" dirty="0"/>
              <a:t>BUSS-formlen</a:t>
            </a:r>
            <a:r>
              <a:rPr lang="da-DK" dirty="0"/>
              <a:t>: Beskrive problemet, udtrykke hvad man føler, sige hvad man ønsker den anden skal gøre, fortælle hvilket positivt slutresultat det vil give.</a:t>
            </a:r>
            <a:endParaRPr lang="da-DK" i="0" dirty="0"/>
          </a:p>
        </p:txBody>
      </p:sp>
    </p:spTree>
    <p:extLst>
      <p:ext uri="{BB962C8B-B14F-4D97-AF65-F5344CB8AC3E}">
        <p14:creationId xmlns:p14="http://schemas.microsoft.com/office/powerpoint/2010/main" val="22121666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Hvad har de unge aktuelt fokus på?</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normAutofit/>
          </a:bodyPr>
          <a:lstStyle/>
          <a:p>
            <a:pPr marL="0" indent="0">
              <a:buNone/>
            </a:pPr>
            <a:r>
              <a:rPr lang="da-DK" b="1" dirty="0"/>
              <a:t>[Her indsætter gruppevejlederen de unges hjemmeøvelse(r) fra sidste gang]</a:t>
            </a:r>
          </a:p>
        </p:txBody>
      </p:sp>
    </p:spTree>
    <p:extLst>
      <p:ext uri="{BB962C8B-B14F-4D97-AF65-F5344CB8AC3E}">
        <p14:creationId xmlns:p14="http://schemas.microsoft.com/office/powerpoint/2010/main" val="88166479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E4B37E-6A16-4FCF-908C-2FE9A502AEA0}"/>
              </a:ext>
            </a:extLst>
          </p:cNvPr>
          <p:cNvGraphicFramePr>
            <a:graphicFrameLocks noChangeAspect="1"/>
          </p:cNvGraphicFramePr>
          <p:nvPr>
            <p:custDataLst>
              <p:tags r:id="rId2"/>
            </p:custDataLst>
            <p:extLst>
              <p:ext uri="{D42A27DB-BD31-4B8C-83A1-F6EECF244321}">
                <p14:modId xmlns:p14="http://schemas.microsoft.com/office/powerpoint/2010/main" val="1047792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Pladsholder til indhold 2"/>
          <p:cNvSpPr>
            <a:spLocks noGrp="1"/>
          </p:cNvSpPr>
          <p:nvPr>
            <p:ph idx="1"/>
          </p:nvPr>
        </p:nvSpPr>
        <p:spPr>
          <a:xfrm>
            <a:off x="628649" y="1700808"/>
            <a:ext cx="7560840" cy="4032448"/>
          </a:xfrm>
        </p:spPr>
        <p:txBody>
          <a:bodyPr>
            <a:normAutofit/>
          </a:bodyPr>
          <a:lstStyle/>
          <a:p>
            <a:pPr marL="0" indent="0">
              <a:buNone/>
            </a:pPr>
            <a:r>
              <a:rPr lang="da-DK" sz="2250" b="1" dirty="0"/>
              <a:t>Den ydre motivation</a:t>
            </a:r>
          </a:p>
          <a:p>
            <a:pPr marL="0" indent="0">
              <a:buNone/>
            </a:pPr>
            <a:r>
              <a:rPr lang="da-DK" sz="2250" dirty="0"/>
              <a:t>Anerkendelse</a:t>
            </a:r>
          </a:p>
          <a:p>
            <a:pPr marL="0" indent="0">
              <a:buNone/>
            </a:pPr>
            <a:r>
              <a:rPr lang="da-DK" sz="2250" dirty="0"/>
              <a:t>Belønning</a:t>
            </a:r>
          </a:p>
          <a:p>
            <a:pPr marL="0" indent="0">
              <a:buNone/>
            </a:pPr>
            <a:r>
              <a:rPr lang="da-DK" sz="2250" dirty="0"/>
              <a:t>Rollemodel.</a:t>
            </a:r>
          </a:p>
          <a:p>
            <a:pPr marL="0" indent="0">
              <a:buNone/>
            </a:pPr>
            <a:endParaRPr lang="da-DK" sz="2250" dirty="0"/>
          </a:p>
          <a:p>
            <a:pPr marL="0" indent="0">
              <a:buNone/>
            </a:pPr>
            <a:r>
              <a:rPr lang="da-DK" sz="2250" b="1" dirty="0"/>
              <a:t>Den indre motivation</a:t>
            </a:r>
          </a:p>
          <a:p>
            <a:pPr marL="0" indent="0">
              <a:buNone/>
            </a:pPr>
            <a:r>
              <a:rPr lang="da-DK" sz="2250" dirty="0"/>
              <a:t>Parathed</a:t>
            </a:r>
          </a:p>
          <a:p>
            <a:pPr marL="0" indent="0">
              <a:buNone/>
            </a:pPr>
            <a:r>
              <a:rPr lang="da-DK" sz="2250" dirty="0"/>
              <a:t>Villighed</a:t>
            </a:r>
          </a:p>
          <a:p>
            <a:pPr marL="0" indent="0">
              <a:buNone/>
            </a:pPr>
            <a:r>
              <a:rPr lang="da-DK" sz="2250" dirty="0"/>
              <a:t>Tiltro.</a:t>
            </a:r>
          </a:p>
          <a:p>
            <a:pPr marL="0" indent="0">
              <a:buNone/>
            </a:pPr>
            <a:endParaRPr lang="da-DK" sz="2250" dirty="0"/>
          </a:p>
        </p:txBody>
      </p:sp>
      <p:sp>
        <p:nvSpPr>
          <p:cNvPr id="4" name="Title 1">
            <a:extLst>
              <a:ext uri="{FF2B5EF4-FFF2-40B4-BE49-F238E27FC236}">
                <a16:creationId xmlns:a16="http://schemas.microsoft.com/office/drawing/2014/main" id="{4D0895A9-CE19-4D45-B5BA-9953187F6206}"/>
              </a:ext>
            </a:extLst>
          </p:cNvPr>
          <p:cNvSpPr>
            <a:spLocks noGrp="1"/>
          </p:cNvSpPr>
          <p:nvPr>
            <p:ph type="title"/>
          </p:nvPr>
        </p:nvSpPr>
        <p:spPr>
          <a:xfrm>
            <a:off x="628649" y="764704"/>
            <a:ext cx="7904163" cy="756084"/>
          </a:xfrm>
        </p:spPr>
        <p:txBody>
          <a:bodyPr vert="horz"/>
          <a:lstStyle/>
          <a:p>
            <a:r>
              <a:rPr lang="da-DK" dirty="0"/>
              <a:t>Ydre og indre motivation</a:t>
            </a:r>
          </a:p>
        </p:txBody>
      </p:sp>
      <p:sp>
        <p:nvSpPr>
          <p:cNvPr id="8" name="Speech Bubble: Rectangle with Corners Rounded 7">
            <a:extLst>
              <a:ext uri="{FF2B5EF4-FFF2-40B4-BE49-F238E27FC236}">
                <a16:creationId xmlns:a16="http://schemas.microsoft.com/office/drawing/2014/main" id="{8FB9E0A4-B831-4589-BA0D-EDFA9B200766}"/>
              </a:ext>
            </a:extLst>
          </p:cNvPr>
          <p:cNvSpPr/>
          <p:nvPr/>
        </p:nvSpPr>
        <p:spPr>
          <a:xfrm>
            <a:off x="4283967" y="3717032"/>
            <a:ext cx="4042817" cy="1739862"/>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ad er dit barn motiveret for?</a:t>
            </a:r>
          </a:p>
          <a:p>
            <a:pPr marL="285750" indent="-285750">
              <a:spcAft>
                <a:spcPts val="600"/>
              </a:spcAft>
              <a:buFont typeface="Arial" panose="020B0604020202020204" pitchFamily="34" charset="0"/>
              <a:buChar char="•"/>
            </a:pPr>
            <a:r>
              <a:rPr lang="da-DK" sz="1400" i="1" dirty="0">
                <a:solidFill>
                  <a:schemeClr val="tx1"/>
                </a:solidFill>
              </a:rPr>
              <a:t>Er dit barn motiveret for selvstændighed og </a:t>
            </a:r>
            <a:r>
              <a:rPr lang="da-DK" sz="1400" i="1" dirty="0" err="1">
                <a:solidFill>
                  <a:schemeClr val="tx1"/>
                </a:solidFill>
              </a:rPr>
              <a:t>selvhjulpenhed</a:t>
            </a:r>
            <a:r>
              <a:rPr lang="da-DK" sz="1400" i="1" dirty="0">
                <a:solidFill>
                  <a:schemeClr val="tx1"/>
                </a:solidFill>
              </a:rPr>
              <a:t>?</a:t>
            </a:r>
          </a:p>
          <a:p>
            <a:pPr marL="285750" indent="-285750">
              <a:spcAft>
                <a:spcPts val="600"/>
              </a:spcAft>
              <a:buFont typeface="Arial" panose="020B0604020202020204" pitchFamily="34" charset="0"/>
              <a:buChar char="•"/>
            </a:pPr>
            <a:r>
              <a:rPr lang="da-DK" sz="1400" i="1" dirty="0">
                <a:solidFill>
                  <a:schemeClr val="tx1"/>
                </a:solidFill>
              </a:rPr>
              <a:t>Hvad kan motivere dit barn til selvstændighed og </a:t>
            </a:r>
            <a:r>
              <a:rPr lang="da-DK" sz="1400" i="1" dirty="0" err="1">
                <a:solidFill>
                  <a:schemeClr val="tx1"/>
                </a:solidFill>
              </a:rPr>
              <a:t>selvhjulpenhed</a:t>
            </a:r>
            <a:r>
              <a:rPr lang="da-DK" sz="1400" i="1" dirty="0">
                <a:solidFill>
                  <a:schemeClr val="tx1"/>
                </a:solidFill>
              </a:rPr>
              <a:t>?</a:t>
            </a:r>
          </a:p>
        </p:txBody>
      </p:sp>
    </p:spTree>
    <p:extLst>
      <p:ext uri="{BB962C8B-B14F-4D97-AF65-F5344CB8AC3E}">
        <p14:creationId xmlns:p14="http://schemas.microsoft.com/office/powerpoint/2010/main" val="32597274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86017C-6F16-42BC-B04D-7C0732467AA9}"/>
              </a:ext>
            </a:extLst>
          </p:cNvPr>
          <p:cNvSpPr>
            <a:spLocks noGrp="1"/>
          </p:cNvSpPr>
          <p:nvPr>
            <p:ph type="title"/>
          </p:nvPr>
        </p:nvSpPr>
        <p:spPr/>
        <p:txBody>
          <a:bodyPr/>
          <a:lstStyle/>
          <a:p>
            <a:r>
              <a:rPr lang="da-DK" dirty="0"/>
              <a:t>8 gode råd til mere motivation i hverdagen</a:t>
            </a:r>
          </a:p>
        </p:txBody>
      </p:sp>
      <p:sp>
        <p:nvSpPr>
          <p:cNvPr id="3" name="Content Placeholder 2">
            <a:extLst>
              <a:ext uri="{FF2B5EF4-FFF2-40B4-BE49-F238E27FC236}">
                <a16:creationId xmlns:a16="http://schemas.microsoft.com/office/drawing/2014/main" id="{DF29943B-245C-49FB-87C4-A1E02F82CA62}"/>
              </a:ext>
            </a:extLst>
          </p:cNvPr>
          <p:cNvSpPr>
            <a:spLocks noGrp="1"/>
          </p:cNvSpPr>
          <p:nvPr>
            <p:ph idx="1"/>
          </p:nvPr>
        </p:nvSpPr>
        <p:spPr>
          <a:xfrm>
            <a:off x="628649" y="1628775"/>
            <a:ext cx="5743551" cy="4248150"/>
          </a:xfrm>
        </p:spPr>
        <p:txBody>
          <a:bodyPr>
            <a:normAutofit/>
          </a:bodyPr>
          <a:lstStyle/>
          <a:p>
            <a:pPr marL="342900" indent="-342900">
              <a:buFont typeface="+mj-lt"/>
              <a:buAutoNum type="arabicPeriod"/>
            </a:pPr>
            <a:r>
              <a:rPr lang="da-DK" b="1" dirty="0"/>
              <a:t>Fokus på en tryg og god relation </a:t>
            </a:r>
            <a:r>
              <a:rPr lang="da-DK" dirty="0"/>
              <a:t>Dyrk de positive elementer i hverdagen, og fokusér på anerkendelse af, at dit barn gør sit bedste.</a:t>
            </a:r>
          </a:p>
          <a:p>
            <a:pPr marL="342900" indent="-342900">
              <a:buFont typeface="+mj-lt"/>
              <a:buAutoNum type="arabicPeriod"/>
            </a:pPr>
            <a:r>
              <a:rPr lang="da-DK" b="1" dirty="0"/>
              <a:t>Sæt ord på dit barns udvikling </a:t>
            </a:r>
            <a:r>
              <a:rPr lang="da-DK" dirty="0"/>
              <a:t>Fortæl, at du kan se, at dit barn har succes med noget, som han eller hun ikke tidligere er lykkedes med.</a:t>
            </a:r>
          </a:p>
          <a:p>
            <a:pPr marL="342900" indent="-342900">
              <a:buFont typeface="+mj-lt"/>
              <a:buAutoNum type="arabicPeriod"/>
            </a:pPr>
            <a:r>
              <a:rPr lang="da-DK" b="1" dirty="0"/>
              <a:t>Forståelse for samarbejde </a:t>
            </a:r>
            <a:r>
              <a:rPr lang="da-DK" dirty="0"/>
              <a:t>Lad dit barn vide, hvilken forskel hans eller hendes indsats og hjælp gør for dig eller en anden.</a:t>
            </a:r>
          </a:p>
          <a:p>
            <a:pPr marL="342900" indent="-342900">
              <a:buFont typeface="+mj-lt"/>
              <a:buAutoNum type="arabicPeriod"/>
            </a:pPr>
            <a:r>
              <a:rPr lang="da-DK" b="1" dirty="0"/>
              <a:t>Giv mulighed for medbestemmelse </a:t>
            </a:r>
            <a:r>
              <a:rPr lang="da-DK" dirty="0"/>
              <a:t>Når dit barn bliver inddraget i beslutninger, stiger hans eller hendes naturlige motivation og ansvarsfølelse for løsningen.</a:t>
            </a:r>
          </a:p>
          <a:p>
            <a:endParaRPr lang="da-DK" dirty="0"/>
          </a:p>
        </p:txBody>
      </p:sp>
      <p:sp>
        <p:nvSpPr>
          <p:cNvPr id="5" name="Speech Bubble: Rectangle with Corners Rounded 4">
            <a:extLst>
              <a:ext uri="{FF2B5EF4-FFF2-40B4-BE49-F238E27FC236}">
                <a16:creationId xmlns:a16="http://schemas.microsoft.com/office/drawing/2014/main" id="{B082917F-7BFB-455D-8268-2E117B9E7676}"/>
              </a:ext>
            </a:extLst>
          </p:cNvPr>
          <p:cNvSpPr/>
          <p:nvPr/>
        </p:nvSpPr>
        <p:spPr>
          <a:xfrm>
            <a:off x="6732240" y="2708920"/>
            <a:ext cx="2170609" cy="2387934"/>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Giver det mening? </a:t>
            </a:r>
          </a:p>
          <a:p>
            <a:pPr marL="285750" indent="-285750">
              <a:spcAft>
                <a:spcPts val="600"/>
              </a:spcAft>
              <a:buFont typeface="Arial" panose="020B0604020202020204" pitchFamily="34" charset="0"/>
              <a:buChar char="•"/>
            </a:pPr>
            <a:r>
              <a:rPr lang="da-DK" sz="1400" i="1" dirty="0">
                <a:solidFill>
                  <a:schemeClr val="tx1"/>
                </a:solidFill>
              </a:rPr>
              <a:t>Hvad er jeres egne erfaringer med dette? </a:t>
            </a:r>
          </a:p>
          <a:p>
            <a:pPr marL="285750" indent="-285750">
              <a:spcAft>
                <a:spcPts val="600"/>
              </a:spcAft>
              <a:buFont typeface="Arial" panose="020B0604020202020204" pitchFamily="34" charset="0"/>
              <a:buChar char="•"/>
            </a:pPr>
            <a:r>
              <a:rPr lang="da-DK" sz="1400" i="1" dirty="0">
                <a:solidFill>
                  <a:schemeClr val="tx1"/>
                </a:solidFill>
              </a:rPr>
              <a:t>Hvad er svært og hvad fungerer godt? </a:t>
            </a:r>
          </a:p>
        </p:txBody>
      </p:sp>
    </p:spTree>
    <p:extLst>
      <p:ext uri="{BB962C8B-B14F-4D97-AF65-F5344CB8AC3E}">
        <p14:creationId xmlns:p14="http://schemas.microsoft.com/office/powerpoint/2010/main" val="3519334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C8CB9A-9E70-4FA3-B514-E28F37A846F4}"/>
              </a:ext>
            </a:extLst>
          </p:cNvPr>
          <p:cNvSpPr>
            <a:spLocks noGrp="1"/>
          </p:cNvSpPr>
          <p:nvPr>
            <p:ph type="title"/>
          </p:nvPr>
        </p:nvSpPr>
        <p:spPr/>
        <p:txBody>
          <a:bodyPr/>
          <a:lstStyle/>
          <a:p>
            <a:r>
              <a:rPr lang="da-DK" dirty="0"/>
              <a:t>Formål med gruppeforløbet</a:t>
            </a:r>
          </a:p>
        </p:txBody>
      </p:sp>
      <p:sp>
        <p:nvSpPr>
          <p:cNvPr id="3" name="Content Placeholder 2">
            <a:extLst>
              <a:ext uri="{FF2B5EF4-FFF2-40B4-BE49-F238E27FC236}">
                <a16:creationId xmlns:a16="http://schemas.microsoft.com/office/drawing/2014/main" id="{020270CD-86B3-46E1-BFBB-79DC4B392062}"/>
              </a:ext>
            </a:extLst>
          </p:cNvPr>
          <p:cNvSpPr>
            <a:spLocks noGrp="1"/>
          </p:cNvSpPr>
          <p:nvPr>
            <p:ph idx="1"/>
          </p:nvPr>
        </p:nvSpPr>
        <p:spPr/>
        <p:txBody>
          <a:bodyPr/>
          <a:lstStyle/>
          <a:p>
            <a:pPr marL="0" indent="0">
              <a:buNone/>
            </a:pPr>
            <a:r>
              <a:rPr lang="da-DK" dirty="0"/>
              <a:t>Gruppeforløbet for forældre skal: </a:t>
            </a:r>
          </a:p>
          <a:p>
            <a:r>
              <a:rPr lang="da-DK" dirty="0"/>
              <a:t>Klæde jer på til at støtte jeres børn i overgangen til voksenlivet </a:t>
            </a:r>
          </a:p>
          <a:p>
            <a:r>
              <a:rPr lang="da-DK" dirty="0"/>
              <a:t>Give jer viden og redskaber til at støtte jeres barn i at mestre hverdagslivet</a:t>
            </a:r>
          </a:p>
          <a:p>
            <a:r>
              <a:rPr lang="da-DK" dirty="0"/>
              <a:t>Understøtte det læringsforløb, som jeres barn indgår i. </a:t>
            </a:r>
          </a:p>
          <a:p>
            <a:pPr marL="0" indent="0">
              <a:buNone/>
            </a:pPr>
            <a:endParaRPr lang="da-DK" dirty="0"/>
          </a:p>
        </p:txBody>
      </p:sp>
    </p:spTree>
    <p:extLst>
      <p:ext uri="{BB962C8B-B14F-4D97-AF65-F5344CB8AC3E}">
        <p14:creationId xmlns:p14="http://schemas.microsoft.com/office/powerpoint/2010/main" val="35634043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93A97A-8489-452E-88F2-18326BAC6901}"/>
              </a:ext>
            </a:extLst>
          </p:cNvPr>
          <p:cNvSpPr>
            <a:spLocks noGrp="1"/>
          </p:cNvSpPr>
          <p:nvPr>
            <p:ph type="title"/>
          </p:nvPr>
        </p:nvSpPr>
        <p:spPr/>
        <p:txBody>
          <a:bodyPr/>
          <a:lstStyle/>
          <a:p>
            <a:r>
              <a:rPr lang="da-DK" dirty="0"/>
              <a:t>8 gode råd til mere motivation i hverdagen</a:t>
            </a:r>
          </a:p>
        </p:txBody>
      </p:sp>
      <p:sp>
        <p:nvSpPr>
          <p:cNvPr id="3" name="Content Placeholder 2">
            <a:extLst>
              <a:ext uri="{FF2B5EF4-FFF2-40B4-BE49-F238E27FC236}">
                <a16:creationId xmlns:a16="http://schemas.microsoft.com/office/drawing/2014/main" id="{FBE509A7-16F9-4ABA-B162-5ABDDCD93081}"/>
              </a:ext>
            </a:extLst>
          </p:cNvPr>
          <p:cNvSpPr>
            <a:spLocks noGrp="1"/>
          </p:cNvSpPr>
          <p:nvPr>
            <p:ph idx="1"/>
          </p:nvPr>
        </p:nvSpPr>
        <p:spPr/>
        <p:txBody>
          <a:bodyPr>
            <a:normAutofit/>
          </a:bodyPr>
          <a:lstStyle/>
          <a:p>
            <a:pPr marL="342900" indent="-342900">
              <a:buFont typeface="+mj-lt"/>
              <a:buAutoNum type="arabicPeriod" startAt="5"/>
            </a:pPr>
            <a:r>
              <a:rPr lang="da-DK" b="1" dirty="0"/>
              <a:t>Fejl udvikler </a:t>
            </a:r>
            <a:r>
              <a:rPr lang="da-DK" dirty="0"/>
              <a:t>Lær dit barn at se fejl som naturlige trin i det at øve sig og blive bedre til noget.</a:t>
            </a:r>
          </a:p>
          <a:p>
            <a:pPr marL="342900" indent="-342900">
              <a:buFont typeface="+mj-lt"/>
              <a:buAutoNum type="arabicPeriod" startAt="5"/>
            </a:pPr>
            <a:r>
              <a:rPr lang="da-DK" b="1" dirty="0"/>
              <a:t>Afstem dine krav med virkeligheden </a:t>
            </a:r>
            <a:r>
              <a:rPr lang="da-DK" dirty="0"/>
              <a:t>Opgaver, som lykkes, er benzin til den næste. Giv dit barn udfordringer med genkendelige løsningsmuligheder kombineret med behov for at tænke nyt.</a:t>
            </a:r>
          </a:p>
          <a:p>
            <a:pPr marL="342900" indent="-342900">
              <a:buFont typeface="+mj-lt"/>
              <a:buAutoNum type="arabicPeriod" startAt="5"/>
            </a:pPr>
            <a:r>
              <a:rPr lang="da-DK" b="1" dirty="0"/>
              <a:t>Vi giver værdi til hinanden </a:t>
            </a:r>
            <a:r>
              <a:rPr lang="da-DK" dirty="0"/>
              <a:t>Dit barns indsats gør en forskel. Sæt ord på den værdi, det giver for helheden, familien eller vennerne.</a:t>
            </a:r>
          </a:p>
          <a:p>
            <a:pPr marL="342900" indent="-342900">
              <a:buFont typeface="+mj-lt"/>
              <a:buAutoNum type="arabicPeriod" startAt="5"/>
            </a:pPr>
            <a:r>
              <a:rPr lang="da-DK" b="1" dirty="0"/>
              <a:t>Det kræver en indsats </a:t>
            </a:r>
            <a:r>
              <a:rPr lang="da-DK" dirty="0"/>
              <a:t>Ingenting kommer af sig selv. Hjælp dit barn til at se, hvordan hans eller hendes indsats har ført til et konkret resultat – og ofte en gladere familie</a:t>
            </a:r>
          </a:p>
        </p:txBody>
      </p:sp>
      <p:sp>
        <p:nvSpPr>
          <p:cNvPr id="7" name="Speech Bubble: Rectangle with Corners Rounded 6">
            <a:extLst>
              <a:ext uri="{FF2B5EF4-FFF2-40B4-BE49-F238E27FC236}">
                <a16:creationId xmlns:a16="http://schemas.microsoft.com/office/drawing/2014/main" id="{102C9C6A-CC62-4CEE-A868-89AC7658C931}"/>
              </a:ext>
            </a:extLst>
          </p:cNvPr>
          <p:cNvSpPr/>
          <p:nvPr/>
        </p:nvSpPr>
        <p:spPr>
          <a:xfrm>
            <a:off x="4211960" y="4611322"/>
            <a:ext cx="4042817" cy="1235806"/>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Giver det mening? </a:t>
            </a:r>
          </a:p>
          <a:p>
            <a:pPr marL="285750" indent="-285750">
              <a:spcAft>
                <a:spcPts val="600"/>
              </a:spcAft>
              <a:buFont typeface="Arial" panose="020B0604020202020204" pitchFamily="34" charset="0"/>
              <a:buChar char="•"/>
            </a:pPr>
            <a:r>
              <a:rPr lang="da-DK" sz="1400" i="1" dirty="0">
                <a:solidFill>
                  <a:schemeClr val="tx1"/>
                </a:solidFill>
              </a:rPr>
              <a:t>Hvad er jeres egne erfaringer med dette? </a:t>
            </a:r>
          </a:p>
          <a:p>
            <a:pPr marL="285750" indent="-285750">
              <a:spcAft>
                <a:spcPts val="600"/>
              </a:spcAft>
              <a:buFont typeface="Arial" panose="020B0604020202020204" pitchFamily="34" charset="0"/>
              <a:buChar char="•"/>
            </a:pPr>
            <a:r>
              <a:rPr lang="da-DK" sz="1400" i="1" dirty="0">
                <a:solidFill>
                  <a:schemeClr val="tx1"/>
                </a:solidFill>
              </a:rPr>
              <a:t>Hvad er svært og hvad fungerer godt? </a:t>
            </a:r>
          </a:p>
        </p:txBody>
      </p:sp>
    </p:spTree>
    <p:extLst>
      <p:ext uri="{BB962C8B-B14F-4D97-AF65-F5344CB8AC3E}">
        <p14:creationId xmlns:p14="http://schemas.microsoft.com/office/powerpoint/2010/main" val="357598845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AD37E-984E-445F-A272-A2199280DB13}"/>
              </a:ext>
            </a:extLst>
          </p:cNvPr>
          <p:cNvSpPr>
            <a:spLocks noGrp="1"/>
          </p:cNvSpPr>
          <p:nvPr>
            <p:ph type="title"/>
          </p:nvPr>
        </p:nvSpPr>
        <p:spPr/>
        <p:txBody>
          <a:bodyPr/>
          <a:lstStyle/>
          <a:p>
            <a:r>
              <a:rPr lang="da-DK" dirty="0"/>
              <a:t>Bevar den anerkendende tilgang i svære perioder</a:t>
            </a:r>
          </a:p>
        </p:txBody>
      </p:sp>
      <p:sp>
        <p:nvSpPr>
          <p:cNvPr id="5" name="Speech Bubble: Rectangle with Corners Rounded 4">
            <a:extLst>
              <a:ext uri="{FF2B5EF4-FFF2-40B4-BE49-F238E27FC236}">
                <a16:creationId xmlns:a16="http://schemas.microsoft.com/office/drawing/2014/main" id="{69B2A4B4-C8C0-46B7-AE7A-2DC2B8A3EA9E}"/>
              </a:ext>
            </a:extLst>
          </p:cNvPr>
          <p:cNvSpPr/>
          <p:nvPr/>
        </p:nvSpPr>
        <p:spPr>
          <a:xfrm>
            <a:off x="1907704" y="2582870"/>
            <a:ext cx="5472608" cy="2214282"/>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ordan støtter I bedst de unges håb, motivation og tro på sig selv? </a:t>
            </a:r>
          </a:p>
          <a:p>
            <a:pPr marL="285750" indent="-285750">
              <a:spcAft>
                <a:spcPts val="600"/>
              </a:spcAft>
              <a:buFont typeface="Arial" panose="020B0604020202020204" pitchFamily="34" charset="0"/>
              <a:buChar char="•"/>
            </a:pPr>
            <a:r>
              <a:rPr lang="da-DK" sz="1400" i="1" dirty="0">
                <a:solidFill>
                  <a:schemeClr val="tx1"/>
                </a:solidFill>
              </a:rPr>
              <a:t>Hvordan bevarer I håb, mod og motivation i perioder, hvor problemerne tårner sig op? </a:t>
            </a:r>
          </a:p>
          <a:p>
            <a:pPr marL="285750" indent="-285750">
              <a:spcAft>
                <a:spcPts val="600"/>
              </a:spcAft>
              <a:buFont typeface="Arial" panose="020B0604020202020204" pitchFamily="34" charset="0"/>
              <a:buChar char="•"/>
            </a:pPr>
            <a:r>
              <a:rPr lang="da-DK" sz="1400" i="1" dirty="0">
                <a:solidFill>
                  <a:schemeClr val="tx1"/>
                </a:solidFill>
              </a:rPr>
              <a:t>Hvordan kan I bruge jeres eget netværk til at finde støtte i de perioder, hvor jeres barn har det svært – eller relationen er svær?  </a:t>
            </a:r>
          </a:p>
        </p:txBody>
      </p:sp>
    </p:spTree>
    <p:extLst>
      <p:ext uri="{BB962C8B-B14F-4D97-AF65-F5344CB8AC3E}">
        <p14:creationId xmlns:p14="http://schemas.microsoft.com/office/powerpoint/2010/main" val="218839294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8345E-2A42-4845-8FEE-E0346CCFEED5}"/>
              </a:ext>
            </a:extLst>
          </p:cNvPr>
          <p:cNvSpPr>
            <a:spLocks noGrp="1"/>
          </p:cNvSpPr>
          <p:nvPr>
            <p:ph type="title"/>
          </p:nvPr>
        </p:nvSpPr>
        <p:spPr/>
        <p:txBody>
          <a:bodyPr/>
          <a:lstStyle/>
          <a:p>
            <a:r>
              <a:rPr lang="da-DK" dirty="0"/>
              <a:t>Næste modul - konflikthåndtering</a:t>
            </a:r>
          </a:p>
        </p:txBody>
      </p:sp>
      <p:sp>
        <p:nvSpPr>
          <p:cNvPr id="3" name="Content Placeholder 2">
            <a:extLst>
              <a:ext uri="{FF2B5EF4-FFF2-40B4-BE49-F238E27FC236}">
                <a16:creationId xmlns:a16="http://schemas.microsoft.com/office/drawing/2014/main" id="{4507DF92-28D6-4AED-B385-B4CF1F801215}"/>
              </a:ext>
            </a:extLst>
          </p:cNvPr>
          <p:cNvSpPr>
            <a:spLocks noGrp="1"/>
          </p:cNvSpPr>
          <p:nvPr>
            <p:ph idx="1"/>
          </p:nvPr>
        </p:nvSpPr>
        <p:spPr/>
        <p:txBody>
          <a:bodyPr/>
          <a:lstStyle/>
          <a:p>
            <a:r>
              <a:rPr lang="da-DK" dirty="0"/>
              <a:t>Overvej hvordan I vil støtte jeres børn i at bevare det netværk, de har skabt gennem dette forløb.</a:t>
            </a:r>
          </a:p>
          <a:p>
            <a:r>
              <a:rPr lang="da-DK" dirty="0"/>
              <a:t>Tænk over situationer, hvor en potentiel konflikt er undgået – hvad gjorde du?</a:t>
            </a:r>
          </a:p>
        </p:txBody>
      </p:sp>
    </p:spTree>
    <p:extLst>
      <p:ext uri="{BB962C8B-B14F-4D97-AF65-F5344CB8AC3E}">
        <p14:creationId xmlns:p14="http://schemas.microsoft.com/office/powerpoint/2010/main" val="283605950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2DDF4-5465-4D23-8456-5ED4496AE120}"/>
              </a:ext>
            </a:extLst>
          </p:cNvPr>
          <p:cNvSpPr>
            <a:spLocks noGrp="1"/>
          </p:cNvSpPr>
          <p:nvPr>
            <p:ph type="title"/>
          </p:nvPr>
        </p:nvSpPr>
        <p:spPr/>
        <p:txBody>
          <a:bodyPr/>
          <a:lstStyle/>
          <a:p>
            <a:r>
              <a:rPr lang="da-DK" dirty="0"/>
              <a:t>Hvad tager vi med os hjem</a:t>
            </a:r>
          </a:p>
        </p:txBody>
      </p:sp>
      <p:sp>
        <p:nvSpPr>
          <p:cNvPr id="3" name="Content Placeholder 2">
            <a:extLst>
              <a:ext uri="{FF2B5EF4-FFF2-40B4-BE49-F238E27FC236}">
                <a16:creationId xmlns:a16="http://schemas.microsoft.com/office/drawing/2014/main" id="{8BE087A5-0728-49A2-B32F-73E2B0420802}"/>
              </a:ext>
            </a:extLst>
          </p:cNvPr>
          <p:cNvSpPr>
            <a:spLocks noGrp="1"/>
          </p:cNvSpPr>
          <p:nvPr>
            <p:ph idx="1"/>
          </p:nvPr>
        </p:nvSpPr>
        <p:spPr/>
        <p:txBody>
          <a:bodyPr/>
          <a:lstStyle/>
          <a:p>
            <a:r>
              <a:rPr lang="da-DK" dirty="0"/>
              <a:t>Hvad har været godt i dag?</a:t>
            </a:r>
          </a:p>
          <a:p>
            <a:r>
              <a:rPr lang="da-DK" dirty="0"/>
              <a:t>Er der noget, som I har savnet i dag?</a:t>
            </a:r>
          </a:p>
          <a:p>
            <a:r>
              <a:rPr lang="da-DK" dirty="0"/>
              <a:t>Er der noget, som vi skal gøre anderledes næste gang?</a:t>
            </a:r>
          </a:p>
        </p:txBody>
      </p:sp>
      <p:sp>
        <p:nvSpPr>
          <p:cNvPr id="11" name="Speech Bubble: Rectangle with Corners Rounded 10">
            <a:extLst>
              <a:ext uri="{FF2B5EF4-FFF2-40B4-BE49-F238E27FC236}">
                <a16:creationId xmlns:a16="http://schemas.microsoft.com/office/drawing/2014/main" id="{18BDFDC3-A7F9-4926-BD1F-8C2CA4EDC8E6}"/>
              </a:ext>
            </a:extLst>
          </p:cNvPr>
          <p:cNvSpPr/>
          <p:nvPr/>
        </p:nvSpPr>
        <p:spPr>
          <a:xfrm>
            <a:off x="5166367" y="3645024"/>
            <a:ext cx="3510089" cy="1673299"/>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Udfyld logbogen med </a:t>
            </a:r>
            <a:br>
              <a:rPr lang="da-DK" sz="1400" i="1" dirty="0">
                <a:solidFill>
                  <a:schemeClr val="tx1"/>
                </a:solidFill>
              </a:rPr>
            </a:br>
            <a:r>
              <a:rPr lang="da-DK" sz="1400" i="1" dirty="0">
                <a:solidFill>
                  <a:schemeClr val="tx1"/>
                </a:solidFill>
              </a:rPr>
              <a:t>jeres refleksioner</a:t>
            </a:r>
          </a:p>
        </p:txBody>
      </p:sp>
      <p:grpSp>
        <p:nvGrpSpPr>
          <p:cNvPr id="8" name="Group 7">
            <a:extLst>
              <a:ext uri="{FF2B5EF4-FFF2-40B4-BE49-F238E27FC236}">
                <a16:creationId xmlns:a16="http://schemas.microsoft.com/office/drawing/2014/main" id="{6D68FC14-8A7D-467F-9AB8-D1511B87E95B}"/>
              </a:ext>
            </a:extLst>
          </p:cNvPr>
          <p:cNvGrpSpPr/>
          <p:nvPr/>
        </p:nvGrpSpPr>
        <p:grpSpPr>
          <a:xfrm>
            <a:off x="7758655" y="3805900"/>
            <a:ext cx="612000" cy="612000"/>
            <a:chOff x="8742468" y="3474401"/>
            <a:chExt cx="612000" cy="612000"/>
          </a:xfrm>
          <a:solidFill>
            <a:srgbClr val="C00000"/>
          </a:solidFill>
        </p:grpSpPr>
        <p:sp>
          <p:nvSpPr>
            <p:cNvPr id="9" name="Oval 8">
              <a:extLst>
                <a:ext uri="{FF2B5EF4-FFF2-40B4-BE49-F238E27FC236}">
                  <a16:creationId xmlns:a16="http://schemas.microsoft.com/office/drawing/2014/main" id="{F5D8C33D-D1DA-4128-A1E8-465D0DBAF011}"/>
                </a:ext>
              </a:extLst>
            </p:cNvPr>
            <p:cNvSpPr/>
            <p:nvPr/>
          </p:nvSpPr>
          <p:spPr bwMode="ltGray">
            <a:xfrm>
              <a:off x="8742468" y="3474401"/>
              <a:ext cx="612000" cy="612000"/>
            </a:xfrm>
            <a:prstGeom prst="ellipse">
              <a:avLst/>
            </a:prstGeom>
            <a:grpFill/>
            <a:ln w="3175" cap="flat" cmpd="sng" algn="ctr">
              <a:solidFill>
                <a:srgbClr val="DC6900"/>
              </a:solidFill>
              <a:prstDash val="solid"/>
            </a:ln>
            <a:effectLst/>
          </p:spPr>
          <p:txBody>
            <a:bodyPr rtlCol="0" anchor="ct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err="1">
                <a:ln>
                  <a:noFill/>
                </a:ln>
                <a:solidFill>
                  <a:srgbClr val="FFFFFF"/>
                </a:solidFill>
                <a:effectLst/>
                <a:uLnTx/>
                <a:uFillTx/>
                <a:latin typeface="Georgia" pitchFamily="18" charset="0"/>
                <a:ea typeface="+mn-ea"/>
                <a:cs typeface="+mn-cs"/>
              </a:endParaRPr>
            </a:p>
          </p:txBody>
        </p:sp>
        <p:sp>
          <p:nvSpPr>
            <p:cNvPr id="10" name="Freeform 4847">
              <a:extLst>
                <a:ext uri="{FF2B5EF4-FFF2-40B4-BE49-F238E27FC236}">
                  <a16:creationId xmlns:a16="http://schemas.microsoft.com/office/drawing/2014/main" id="{768BD847-845C-42D3-BEAE-CA55A16A4969}"/>
                </a:ext>
              </a:extLst>
            </p:cNvPr>
            <p:cNvSpPr>
              <a:spLocks noEditPoints="1"/>
            </p:cNvSpPr>
            <p:nvPr/>
          </p:nvSpPr>
          <p:spPr bwMode="auto">
            <a:xfrm>
              <a:off x="8894545" y="3569952"/>
              <a:ext cx="307068" cy="424047"/>
            </a:xfrm>
            <a:custGeom>
              <a:avLst/>
              <a:gdLst>
                <a:gd name="T0" fmla="*/ 252 w 252"/>
                <a:gd name="T1" fmla="*/ 332 h 348"/>
                <a:gd name="T2" fmla="*/ 242 w 252"/>
                <a:gd name="T3" fmla="*/ 346 h 348"/>
                <a:gd name="T4" fmla="*/ 16 w 252"/>
                <a:gd name="T5" fmla="*/ 348 h 348"/>
                <a:gd name="T6" fmla="*/ 2 w 252"/>
                <a:gd name="T7" fmla="*/ 338 h 348"/>
                <a:gd name="T8" fmla="*/ 0 w 252"/>
                <a:gd name="T9" fmla="*/ 32 h 348"/>
                <a:gd name="T10" fmla="*/ 10 w 252"/>
                <a:gd name="T11" fmla="*/ 16 h 348"/>
                <a:gd name="T12" fmla="*/ 90 w 252"/>
                <a:gd name="T13" fmla="*/ 16 h 348"/>
                <a:gd name="T14" fmla="*/ 86 w 252"/>
                <a:gd name="T15" fmla="*/ 30 h 348"/>
                <a:gd name="T16" fmla="*/ 16 w 252"/>
                <a:gd name="T17" fmla="*/ 332 h 348"/>
                <a:gd name="T18" fmla="*/ 168 w 252"/>
                <a:gd name="T19" fmla="*/ 34 h 348"/>
                <a:gd name="T20" fmla="*/ 164 w 252"/>
                <a:gd name="T21" fmla="*/ 26 h 348"/>
                <a:gd name="T22" fmla="*/ 236 w 252"/>
                <a:gd name="T23" fmla="*/ 16 h 348"/>
                <a:gd name="T24" fmla="*/ 248 w 252"/>
                <a:gd name="T25" fmla="*/ 20 h 348"/>
                <a:gd name="T26" fmla="*/ 252 w 252"/>
                <a:gd name="T27" fmla="*/ 32 h 348"/>
                <a:gd name="T28" fmla="*/ 36 w 252"/>
                <a:gd name="T29" fmla="*/ 312 h 348"/>
                <a:gd name="T30" fmla="*/ 36 w 252"/>
                <a:gd name="T31" fmla="*/ 94 h 348"/>
                <a:gd name="T32" fmla="*/ 216 w 252"/>
                <a:gd name="T33" fmla="*/ 94 h 348"/>
                <a:gd name="T34" fmla="*/ 132 w 252"/>
                <a:gd name="T35" fmla="*/ 186 h 348"/>
                <a:gd name="T36" fmla="*/ 122 w 252"/>
                <a:gd name="T37" fmla="*/ 184 h 348"/>
                <a:gd name="T38" fmla="*/ 74 w 252"/>
                <a:gd name="T39" fmla="*/ 206 h 348"/>
                <a:gd name="T40" fmla="*/ 68 w 252"/>
                <a:gd name="T41" fmla="*/ 204 h 348"/>
                <a:gd name="T42" fmla="*/ 60 w 252"/>
                <a:gd name="T43" fmla="*/ 206 h 348"/>
                <a:gd name="T44" fmla="*/ 58 w 252"/>
                <a:gd name="T45" fmla="*/ 218 h 348"/>
                <a:gd name="T46" fmla="*/ 78 w 252"/>
                <a:gd name="T47" fmla="*/ 238 h 348"/>
                <a:gd name="T48" fmla="*/ 86 w 252"/>
                <a:gd name="T49" fmla="*/ 242 h 348"/>
                <a:gd name="T50" fmla="*/ 132 w 252"/>
                <a:gd name="T51" fmla="*/ 200 h 348"/>
                <a:gd name="T52" fmla="*/ 134 w 252"/>
                <a:gd name="T53" fmla="*/ 192 h 348"/>
                <a:gd name="T54" fmla="*/ 132 w 252"/>
                <a:gd name="T55" fmla="*/ 186 h 348"/>
                <a:gd name="T56" fmla="*/ 128 w 252"/>
                <a:gd name="T57" fmla="*/ 122 h 348"/>
                <a:gd name="T58" fmla="*/ 118 w 252"/>
                <a:gd name="T59" fmla="*/ 124 h 348"/>
                <a:gd name="T60" fmla="*/ 74 w 252"/>
                <a:gd name="T61" fmla="*/ 144 h 348"/>
                <a:gd name="T62" fmla="*/ 64 w 252"/>
                <a:gd name="T63" fmla="*/ 142 h 348"/>
                <a:gd name="T64" fmla="*/ 58 w 252"/>
                <a:gd name="T65" fmla="*/ 148 h 348"/>
                <a:gd name="T66" fmla="*/ 60 w 252"/>
                <a:gd name="T67" fmla="*/ 158 h 348"/>
                <a:gd name="T68" fmla="*/ 82 w 252"/>
                <a:gd name="T69" fmla="*/ 180 h 348"/>
                <a:gd name="T70" fmla="*/ 90 w 252"/>
                <a:gd name="T71" fmla="*/ 180 h 348"/>
                <a:gd name="T72" fmla="*/ 132 w 252"/>
                <a:gd name="T73" fmla="*/ 138 h 348"/>
                <a:gd name="T74" fmla="*/ 134 w 252"/>
                <a:gd name="T75" fmla="*/ 126 h 348"/>
                <a:gd name="T76" fmla="*/ 36 w 252"/>
                <a:gd name="T77" fmla="*/ 64 h 348"/>
                <a:gd name="T78" fmla="*/ 40 w 252"/>
                <a:gd name="T79" fmla="*/ 54 h 348"/>
                <a:gd name="T80" fmla="*/ 78 w 252"/>
                <a:gd name="T81" fmla="*/ 48 h 348"/>
                <a:gd name="T82" fmla="*/ 94 w 252"/>
                <a:gd name="T83" fmla="*/ 42 h 348"/>
                <a:gd name="T84" fmla="*/ 100 w 252"/>
                <a:gd name="T85" fmla="*/ 26 h 348"/>
                <a:gd name="T86" fmla="*/ 116 w 252"/>
                <a:gd name="T87" fmla="*/ 2 h 348"/>
                <a:gd name="T88" fmla="*/ 136 w 252"/>
                <a:gd name="T89" fmla="*/ 2 h 348"/>
                <a:gd name="T90" fmla="*/ 152 w 252"/>
                <a:gd name="T91" fmla="*/ 26 h 348"/>
                <a:gd name="T92" fmla="*/ 158 w 252"/>
                <a:gd name="T93" fmla="*/ 42 h 348"/>
                <a:gd name="T94" fmla="*/ 200 w 252"/>
                <a:gd name="T95" fmla="*/ 48 h 348"/>
                <a:gd name="T96" fmla="*/ 212 w 252"/>
                <a:gd name="T97" fmla="*/ 54 h 348"/>
                <a:gd name="T98" fmla="*/ 216 w 252"/>
                <a:gd name="T99" fmla="*/ 78 h 348"/>
                <a:gd name="T100" fmla="*/ 36 w 252"/>
                <a:gd name="T101" fmla="*/ 82 h 348"/>
                <a:gd name="T102" fmla="*/ 36 w 252"/>
                <a:gd name="T103" fmla="*/ 64 h 348"/>
                <a:gd name="T104" fmla="*/ 116 w 252"/>
                <a:gd name="T105" fmla="*/ 30 h 348"/>
                <a:gd name="T106" fmla="*/ 126 w 252"/>
                <a:gd name="T107" fmla="*/ 38 h 348"/>
                <a:gd name="T108" fmla="*/ 134 w 252"/>
                <a:gd name="T109" fmla="*/ 34 h 348"/>
                <a:gd name="T110" fmla="*/ 136 w 252"/>
                <a:gd name="T111" fmla="*/ 26 h 348"/>
                <a:gd name="T112" fmla="*/ 130 w 252"/>
                <a:gd name="T113" fmla="*/ 16 h 348"/>
                <a:gd name="T114" fmla="*/ 122 w 252"/>
                <a:gd name="T115" fmla="*/ 16 h 348"/>
                <a:gd name="T116" fmla="*/ 116 w 252"/>
                <a:gd name="T117" fmla="*/ 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2" h="348">
                  <a:moveTo>
                    <a:pt x="252" y="32"/>
                  </a:moveTo>
                  <a:lnTo>
                    <a:pt x="252" y="332"/>
                  </a:lnTo>
                  <a:lnTo>
                    <a:pt x="252" y="332"/>
                  </a:lnTo>
                  <a:lnTo>
                    <a:pt x="250" y="338"/>
                  </a:lnTo>
                  <a:lnTo>
                    <a:pt x="248" y="344"/>
                  </a:lnTo>
                  <a:lnTo>
                    <a:pt x="242" y="346"/>
                  </a:lnTo>
                  <a:lnTo>
                    <a:pt x="236" y="348"/>
                  </a:lnTo>
                  <a:lnTo>
                    <a:pt x="16" y="348"/>
                  </a:lnTo>
                  <a:lnTo>
                    <a:pt x="16" y="348"/>
                  </a:lnTo>
                  <a:lnTo>
                    <a:pt x="10" y="346"/>
                  </a:lnTo>
                  <a:lnTo>
                    <a:pt x="4" y="344"/>
                  </a:lnTo>
                  <a:lnTo>
                    <a:pt x="2" y="338"/>
                  </a:lnTo>
                  <a:lnTo>
                    <a:pt x="0" y="332"/>
                  </a:lnTo>
                  <a:lnTo>
                    <a:pt x="0" y="32"/>
                  </a:lnTo>
                  <a:lnTo>
                    <a:pt x="0" y="32"/>
                  </a:lnTo>
                  <a:lnTo>
                    <a:pt x="2" y="26"/>
                  </a:lnTo>
                  <a:lnTo>
                    <a:pt x="4" y="20"/>
                  </a:lnTo>
                  <a:lnTo>
                    <a:pt x="10" y="16"/>
                  </a:lnTo>
                  <a:lnTo>
                    <a:pt x="16" y="16"/>
                  </a:lnTo>
                  <a:lnTo>
                    <a:pt x="90" y="16"/>
                  </a:lnTo>
                  <a:lnTo>
                    <a:pt x="90" y="16"/>
                  </a:lnTo>
                  <a:lnTo>
                    <a:pt x="88" y="26"/>
                  </a:lnTo>
                  <a:lnTo>
                    <a:pt x="88" y="26"/>
                  </a:lnTo>
                  <a:lnTo>
                    <a:pt x="86" y="30"/>
                  </a:lnTo>
                  <a:lnTo>
                    <a:pt x="84" y="34"/>
                  </a:lnTo>
                  <a:lnTo>
                    <a:pt x="16" y="34"/>
                  </a:lnTo>
                  <a:lnTo>
                    <a:pt x="16" y="332"/>
                  </a:lnTo>
                  <a:lnTo>
                    <a:pt x="236" y="332"/>
                  </a:lnTo>
                  <a:lnTo>
                    <a:pt x="236" y="34"/>
                  </a:lnTo>
                  <a:lnTo>
                    <a:pt x="168" y="34"/>
                  </a:lnTo>
                  <a:lnTo>
                    <a:pt x="168" y="34"/>
                  </a:lnTo>
                  <a:lnTo>
                    <a:pt x="166" y="30"/>
                  </a:lnTo>
                  <a:lnTo>
                    <a:pt x="164" y="26"/>
                  </a:lnTo>
                  <a:lnTo>
                    <a:pt x="164" y="26"/>
                  </a:lnTo>
                  <a:lnTo>
                    <a:pt x="162" y="16"/>
                  </a:lnTo>
                  <a:lnTo>
                    <a:pt x="236" y="16"/>
                  </a:lnTo>
                  <a:lnTo>
                    <a:pt x="236" y="16"/>
                  </a:lnTo>
                  <a:lnTo>
                    <a:pt x="242" y="16"/>
                  </a:lnTo>
                  <a:lnTo>
                    <a:pt x="248" y="20"/>
                  </a:lnTo>
                  <a:lnTo>
                    <a:pt x="250" y="26"/>
                  </a:lnTo>
                  <a:lnTo>
                    <a:pt x="252" y="32"/>
                  </a:lnTo>
                  <a:lnTo>
                    <a:pt x="252" y="32"/>
                  </a:lnTo>
                  <a:close/>
                  <a:moveTo>
                    <a:pt x="216" y="94"/>
                  </a:moveTo>
                  <a:lnTo>
                    <a:pt x="216" y="312"/>
                  </a:lnTo>
                  <a:lnTo>
                    <a:pt x="36" y="312"/>
                  </a:lnTo>
                  <a:lnTo>
                    <a:pt x="36" y="94"/>
                  </a:lnTo>
                  <a:lnTo>
                    <a:pt x="36" y="94"/>
                  </a:lnTo>
                  <a:lnTo>
                    <a:pt x="36" y="94"/>
                  </a:lnTo>
                  <a:lnTo>
                    <a:pt x="216" y="94"/>
                  </a:lnTo>
                  <a:lnTo>
                    <a:pt x="216" y="94"/>
                  </a:lnTo>
                  <a:lnTo>
                    <a:pt x="216" y="94"/>
                  </a:lnTo>
                  <a:lnTo>
                    <a:pt x="216" y="94"/>
                  </a:lnTo>
                  <a:close/>
                  <a:moveTo>
                    <a:pt x="132" y="186"/>
                  </a:moveTo>
                  <a:lnTo>
                    <a:pt x="132" y="186"/>
                  </a:lnTo>
                  <a:lnTo>
                    <a:pt x="128" y="184"/>
                  </a:lnTo>
                  <a:lnTo>
                    <a:pt x="124" y="182"/>
                  </a:lnTo>
                  <a:lnTo>
                    <a:pt x="122" y="184"/>
                  </a:lnTo>
                  <a:lnTo>
                    <a:pt x="118" y="186"/>
                  </a:lnTo>
                  <a:lnTo>
                    <a:pt x="86" y="218"/>
                  </a:lnTo>
                  <a:lnTo>
                    <a:pt x="74" y="206"/>
                  </a:lnTo>
                  <a:lnTo>
                    <a:pt x="74" y="206"/>
                  </a:lnTo>
                  <a:lnTo>
                    <a:pt x="70" y="204"/>
                  </a:lnTo>
                  <a:lnTo>
                    <a:pt x="68" y="204"/>
                  </a:lnTo>
                  <a:lnTo>
                    <a:pt x="64" y="204"/>
                  </a:lnTo>
                  <a:lnTo>
                    <a:pt x="60" y="206"/>
                  </a:lnTo>
                  <a:lnTo>
                    <a:pt x="60" y="206"/>
                  </a:lnTo>
                  <a:lnTo>
                    <a:pt x="58" y="210"/>
                  </a:lnTo>
                  <a:lnTo>
                    <a:pt x="58" y="214"/>
                  </a:lnTo>
                  <a:lnTo>
                    <a:pt x="58" y="218"/>
                  </a:lnTo>
                  <a:lnTo>
                    <a:pt x="60" y="220"/>
                  </a:lnTo>
                  <a:lnTo>
                    <a:pt x="78" y="238"/>
                  </a:lnTo>
                  <a:lnTo>
                    <a:pt x="78" y="238"/>
                  </a:lnTo>
                  <a:lnTo>
                    <a:pt x="82" y="242"/>
                  </a:lnTo>
                  <a:lnTo>
                    <a:pt x="86" y="242"/>
                  </a:lnTo>
                  <a:lnTo>
                    <a:pt x="86" y="242"/>
                  </a:lnTo>
                  <a:lnTo>
                    <a:pt x="90" y="242"/>
                  </a:lnTo>
                  <a:lnTo>
                    <a:pt x="92" y="238"/>
                  </a:lnTo>
                  <a:lnTo>
                    <a:pt x="132" y="200"/>
                  </a:lnTo>
                  <a:lnTo>
                    <a:pt x="132" y="200"/>
                  </a:lnTo>
                  <a:lnTo>
                    <a:pt x="134" y="196"/>
                  </a:lnTo>
                  <a:lnTo>
                    <a:pt x="134" y="192"/>
                  </a:lnTo>
                  <a:lnTo>
                    <a:pt x="134" y="188"/>
                  </a:lnTo>
                  <a:lnTo>
                    <a:pt x="132" y="186"/>
                  </a:lnTo>
                  <a:lnTo>
                    <a:pt x="132" y="186"/>
                  </a:lnTo>
                  <a:close/>
                  <a:moveTo>
                    <a:pt x="132" y="124"/>
                  </a:moveTo>
                  <a:lnTo>
                    <a:pt x="132" y="124"/>
                  </a:lnTo>
                  <a:lnTo>
                    <a:pt x="128" y="122"/>
                  </a:lnTo>
                  <a:lnTo>
                    <a:pt x="124" y="120"/>
                  </a:lnTo>
                  <a:lnTo>
                    <a:pt x="122" y="122"/>
                  </a:lnTo>
                  <a:lnTo>
                    <a:pt x="118" y="124"/>
                  </a:lnTo>
                  <a:lnTo>
                    <a:pt x="86" y="156"/>
                  </a:lnTo>
                  <a:lnTo>
                    <a:pt x="74" y="144"/>
                  </a:lnTo>
                  <a:lnTo>
                    <a:pt x="74" y="144"/>
                  </a:lnTo>
                  <a:lnTo>
                    <a:pt x="70" y="142"/>
                  </a:lnTo>
                  <a:lnTo>
                    <a:pt x="68" y="142"/>
                  </a:lnTo>
                  <a:lnTo>
                    <a:pt x="64" y="142"/>
                  </a:lnTo>
                  <a:lnTo>
                    <a:pt x="60" y="144"/>
                  </a:lnTo>
                  <a:lnTo>
                    <a:pt x="60" y="144"/>
                  </a:lnTo>
                  <a:lnTo>
                    <a:pt x="58" y="148"/>
                  </a:lnTo>
                  <a:lnTo>
                    <a:pt x="58" y="152"/>
                  </a:lnTo>
                  <a:lnTo>
                    <a:pt x="58" y="156"/>
                  </a:lnTo>
                  <a:lnTo>
                    <a:pt x="60" y="158"/>
                  </a:lnTo>
                  <a:lnTo>
                    <a:pt x="78" y="178"/>
                  </a:lnTo>
                  <a:lnTo>
                    <a:pt x="78" y="178"/>
                  </a:lnTo>
                  <a:lnTo>
                    <a:pt x="82" y="180"/>
                  </a:lnTo>
                  <a:lnTo>
                    <a:pt x="86" y="180"/>
                  </a:lnTo>
                  <a:lnTo>
                    <a:pt x="86" y="180"/>
                  </a:lnTo>
                  <a:lnTo>
                    <a:pt x="90" y="180"/>
                  </a:lnTo>
                  <a:lnTo>
                    <a:pt x="92" y="178"/>
                  </a:lnTo>
                  <a:lnTo>
                    <a:pt x="132" y="138"/>
                  </a:lnTo>
                  <a:lnTo>
                    <a:pt x="132" y="138"/>
                  </a:lnTo>
                  <a:lnTo>
                    <a:pt x="134" y="134"/>
                  </a:lnTo>
                  <a:lnTo>
                    <a:pt x="134" y="130"/>
                  </a:lnTo>
                  <a:lnTo>
                    <a:pt x="134" y="126"/>
                  </a:lnTo>
                  <a:lnTo>
                    <a:pt x="132" y="124"/>
                  </a:lnTo>
                  <a:lnTo>
                    <a:pt x="132" y="124"/>
                  </a:lnTo>
                  <a:close/>
                  <a:moveTo>
                    <a:pt x="36" y="64"/>
                  </a:moveTo>
                  <a:lnTo>
                    <a:pt x="36" y="64"/>
                  </a:lnTo>
                  <a:lnTo>
                    <a:pt x="36" y="58"/>
                  </a:lnTo>
                  <a:lnTo>
                    <a:pt x="40" y="54"/>
                  </a:lnTo>
                  <a:lnTo>
                    <a:pt x="46" y="50"/>
                  </a:lnTo>
                  <a:lnTo>
                    <a:pt x="52" y="48"/>
                  </a:lnTo>
                  <a:lnTo>
                    <a:pt x="78" y="48"/>
                  </a:lnTo>
                  <a:lnTo>
                    <a:pt x="78" y="48"/>
                  </a:lnTo>
                  <a:lnTo>
                    <a:pt x="86" y="46"/>
                  </a:lnTo>
                  <a:lnTo>
                    <a:pt x="94" y="42"/>
                  </a:lnTo>
                  <a:lnTo>
                    <a:pt x="98" y="36"/>
                  </a:lnTo>
                  <a:lnTo>
                    <a:pt x="100" y="26"/>
                  </a:lnTo>
                  <a:lnTo>
                    <a:pt x="100" y="26"/>
                  </a:lnTo>
                  <a:lnTo>
                    <a:pt x="102" y="16"/>
                  </a:lnTo>
                  <a:lnTo>
                    <a:pt x="108" y="8"/>
                  </a:lnTo>
                  <a:lnTo>
                    <a:pt x="116" y="2"/>
                  </a:lnTo>
                  <a:lnTo>
                    <a:pt x="126" y="0"/>
                  </a:lnTo>
                  <a:lnTo>
                    <a:pt x="126" y="0"/>
                  </a:lnTo>
                  <a:lnTo>
                    <a:pt x="136" y="2"/>
                  </a:lnTo>
                  <a:lnTo>
                    <a:pt x="144" y="8"/>
                  </a:lnTo>
                  <a:lnTo>
                    <a:pt x="150" y="16"/>
                  </a:lnTo>
                  <a:lnTo>
                    <a:pt x="152" y="26"/>
                  </a:lnTo>
                  <a:lnTo>
                    <a:pt x="152" y="26"/>
                  </a:lnTo>
                  <a:lnTo>
                    <a:pt x="154" y="36"/>
                  </a:lnTo>
                  <a:lnTo>
                    <a:pt x="158" y="42"/>
                  </a:lnTo>
                  <a:lnTo>
                    <a:pt x="166" y="46"/>
                  </a:lnTo>
                  <a:lnTo>
                    <a:pt x="174" y="48"/>
                  </a:lnTo>
                  <a:lnTo>
                    <a:pt x="200" y="48"/>
                  </a:lnTo>
                  <a:lnTo>
                    <a:pt x="200" y="48"/>
                  </a:lnTo>
                  <a:lnTo>
                    <a:pt x="206" y="50"/>
                  </a:lnTo>
                  <a:lnTo>
                    <a:pt x="212" y="54"/>
                  </a:lnTo>
                  <a:lnTo>
                    <a:pt x="216" y="58"/>
                  </a:lnTo>
                  <a:lnTo>
                    <a:pt x="216" y="64"/>
                  </a:lnTo>
                  <a:lnTo>
                    <a:pt x="216" y="78"/>
                  </a:lnTo>
                  <a:lnTo>
                    <a:pt x="216" y="78"/>
                  </a:lnTo>
                  <a:lnTo>
                    <a:pt x="216" y="82"/>
                  </a:lnTo>
                  <a:lnTo>
                    <a:pt x="36" y="82"/>
                  </a:lnTo>
                  <a:lnTo>
                    <a:pt x="36" y="82"/>
                  </a:lnTo>
                  <a:lnTo>
                    <a:pt x="36" y="78"/>
                  </a:lnTo>
                  <a:lnTo>
                    <a:pt x="36" y="64"/>
                  </a:lnTo>
                  <a:close/>
                  <a:moveTo>
                    <a:pt x="116" y="26"/>
                  </a:moveTo>
                  <a:lnTo>
                    <a:pt x="116" y="26"/>
                  </a:lnTo>
                  <a:lnTo>
                    <a:pt x="116" y="30"/>
                  </a:lnTo>
                  <a:lnTo>
                    <a:pt x="118" y="34"/>
                  </a:lnTo>
                  <a:lnTo>
                    <a:pt x="122" y="36"/>
                  </a:lnTo>
                  <a:lnTo>
                    <a:pt x="126" y="38"/>
                  </a:lnTo>
                  <a:lnTo>
                    <a:pt x="126" y="38"/>
                  </a:lnTo>
                  <a:lnTo>
                    <a:pt x="130" y="36"/>
                  </a:lnTo>
                  <a:lnTo>
                    <a:pt x="134" y="34"/>
                  </a:lnTo>
                  <a:lnTo>
                    <a:pt x="136" y="30"/>
                  </a:lnTo>
                  <a:lnTo>
                    <a:pt x="136" y="26"/>
                  </a:lnTo>
                  <a:lnTo>
                    <a:pt x="136" y="26"/>
                  </a:lnTo>
                  <a:lnTo>
                    <a:pt x="136" y="22"/>
                  </a:lnTo>
                  <a:lnTo>
                    <a:pt x="134" y="20"/>
                  </a:lnTo>
                  <a:lnTo>
                    <a:pt x="130" y="16"/>
                  </a:lnTo>
                  <a:lnTo>
                    <a:pt x="126" y="16"/>
                  </a:lnTo>
                  <a:lnTo>
                    <a:pt x="126" y="16"/>
                  </a:lnTo>
                  <a:lnTo>
                    <a:pt x="122" y="16"/>
                  </a:lnTo>
                  <a:lnTo>
                    <a:pt x="118" y="20"/>
                  </a:lnTo>
                  <a:lnTo>
                    <a:pt x="116" y="22"/>
                  </a:lnTo>
                  <a:lnTo>
                    <a:pt x="116" y="26"/>
                  </a:lnTo>
                  <a:lnTo>
                    <a:pt x="116" y="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20168976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763D87E-F933-4E7D-A755-524E05301C2E}"/>
              </a:ext>
            </a:extLst>
          </p:cNvPr>
          <p:cNvSpPr>
            <a:spLocks noGrp="1"/>
          </p:cNvSpPr>
          <p:nvPr>
            <p:ph type="body" sz="quarter" idx="16"/>
          </p:nvPr>
        </p:nvSpPr>
        <p:spPr/>
        <p:txBody>
          <a:bodyPr>
            <a:normAutofit fontScale="25000" lnSpcReduction="20000"/>
          </a:bodyPr>
          <a:lstStyle/>
          <a:p>
            <a:endParaRPr lang="da-DK"/>
          </a:p>
        </p:txBody>
      </p:sp>
      <p:sp>
        <p:nvSpPr>
          <p:cNvPr id="3" name="Subtitle 2">
            <a:extLst>
              <a:ext uri="{FF2B5EF4-FFF2-40B4-BE49-F238E27FC236}">
                <a16:creationId xmlns:a16="http://schemas.microsoft.com/office/drawing/2014/main" id="{66C70912-D80C-489E-A797-C823683AB741}"/>
              </a:ext>
            </a:extLst>
          </p:cNvPr>
          <p:cNvSpPr>
            <a:spLocks noGrp="1"/>
          </p:cNvSpPr>
          <p:nvPr>
            <p:ph type="subTitle" idx="1"/>
          </p:nvPr>
        </p:nvSpPr>
        <p:spPr/>
        <p:txBody>
          <a:bodyPr/>
          <a:lstStyle/>
          <a:p>
            <a:r>
              <a:rPr lang="da-DK" dirty="0"/>
              <a:t>Modul 5: Konflikthåndtering</a:t>
            </a:r>
          </a:p>
        </p:txBody>
      </p:sp>
      <p:sp>
        <p:nvSpPr>
          <p:cNvPr id="4" name="Text Placeholder 3">
            <a:extLst>
              <a:ext uri="{FF2B5EF4-FFF2-40B4-BE49-F238E27FC236}">
                <a16:creationId xmlns:a16="http://schemas.microsoft.com/office/drawing/2014/main" id="{06FFDD83-4CD1-4753-B787-6B57E581DB95}"/>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7C6939DF-5FC2-4EBB-BA49-77166F8F6C80}"/>
              </a:ext>
            </a:extLst>
          </p:cNvPr>
          <p:cNvSpPr>
            <a:spLocks noGrp="1"/>
          </p:cNvSpPr>
          <p:nvPr>
            <p:ph type="body" sz="quarter" idx="13"/>
          </p:nvPr>
        </p:nvSpPr>
        <p:spPr/>
        <p:txBody>
          <a:bodyPr>
            <a:normAutofit fontScale="25000" lnSpcReduction="20000"/>
          </a:bodyPr>
          <a:lstStyle/>
          <a:p>
            <a:endParaRPr lang="da-DK"/>
          </a:p>
        </p:txBody>
      </p:sp>
    </p:spTree>
    <p:extLst>
      <p:ext uri="{BB962C8B-B14F-4D97-AF65-F5344CB8AC3E}">
        <p14:creationId xmlns:p14="http://schemas.microsoft.com/office/powerpoint/2010/main" val="42610596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0EAD2148-BE5B-93F0-99DC-F16A6C564FFC}"/>
              </a:ext>
            </a:extLst>
          </p:cNvPr>
          <p:cNvPicPr>
            <a:picLocks noChangeAspect="1"/>
          </p:cNvPicPr>
          <p:nvPr/>
        </p:nvPicPr>
        <p:blipFill rotWithShape="1">
          <a:blip r:embed="rId5"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9" name="Object 8" hidden="1">
            <a:extLst>
              <a:ext uri="{FF2B5EF4-FFF2-40B4-BE49-F238E27FC236}">
                <a16:creationId xmlns:a16="http://schemas.microsoft.com/office/drawing/2014/main" id="{E1B9D8C8-45D0-4956-8AD3-21AD3AA516C9}"/>
              </a:ext>
            </a:extLst>
          </p:cNvPr>
          <p:cNvGraphicFramePr>
            <a:graphicFrameLocks noChangeAspect="1"/>
          </p:cNvGraphicFramePr>
          <p:nvPr>
            <p:custDataLst>
              <p:tags r:id="rId2"/>
            </p:custDataLst>
            <p:extLst>
              <p:ext uri="{D42A27DB-BD31-4B8C-83A1-F6EECF244321}">
                <p14:modId xmlns:p14="http://schemas.microsoft.com/office/powerpoint/2010/main" val="1130773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p:txBody>
          <a:bodyPr vert="horz"/>
          <a:lstStyle/>
          <a:p>
            <a:r>
              <a:rPr lang="da-DK" dirty="0"/>
              <a:t>Modul 5: Konflikthåndtering </a:t>
            </a:r>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a:t>
            </a:r>
          </a:p>
          <a:p>
            <a:r>
              <a:rPr lang="da-DK" dirty="0"/>
              <a:t>At I får øget viden og redskaber til at håndtere de konflikter, I kan have med den unge </a:t>
            </a:r>
          </a:p>
          <a:p>
            <a:r>
              <a:rPr lang="da-DK" dirty="0"/>
              <a:t>At I får viden, redskaber og handlemåder til at støtte den unges konflikthåndtering i andre relationer. </a:t>
            </a:r>
          </a:p>
        </p:txBody>
      </p:sp>
    </p:spTree>
    <p:extLst>
      <p:ext uri="{BB962C8B-B14F-4D97-AF65-F5344CB8AC3E}">
        <p14:creationId xmlns:p14="http://schemas.microsoft.com/office/powerpoint/2010/main" val="19114396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7"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289692385"/>
              </p:ext>
            </p:extLst>
          </p:nvPr>
        </p:nvGraphicFramePr>
        <p:xfrm>
          <a:off x="628649" y="1760220"/>
          <a:ext cx="7467526" cy="370840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Velkommen og formål med dagen </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Siden sidst</a:t>
                      </a:r>
                    </a:p>
                  </a:txBody>
                  <a:tcPr/>
                </a:tc>
                <a:extLst>
                  <a:ext uri="{0D108BD9-81ED-4DB2-BD59-A6C34878D82A}">
                    <a16:rowId xmlns:a16="http://schemas.microsoft.com/office/drawing/2014/main" val="3167250481"/>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vil vi gerne have ud af modulet?</a:t>
                      </a:r>
                    </a:p>
                  </a:txBody>
                  <a:tcPr/>
                </a:tc>
                <a:extLst>
                  <a:ext uri="{0D108BD9-81ED-4DB2-BD59-A6C34878D82A}">
                    <a16:rowId xmlns:a16="http://schemas.microsoft.com/office/drawing/2014/main" val="102157098"/>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har de unge aktuelt fokus på?</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Oplæg </a:t>
                      </a:r>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Drøftelse af dagens tema</a:t>
                      </a:r>
                    </a:p>
                  </a:txBody>
                  <a:tcPr/>
                </a:tc>
                <a:extLst>
                  <a:ext uri="{0D108BD9-81ED-4DB2-BD59-A6C34878D82A}">
                    <a16:rowId xmlns:a16="http://schemas.microsoft.com/office/drawing/2014/main" val="2823113985"/>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Øvelser/Omsætning til hverdagen</a:t>
                      </a:r>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vil vi fokusere på til næste gang? </a:t>
                      </a:r>
                    </a:p>
                  </a:txBody>
                  <a:tcPr/>
                </a:tc>
                <a:extLst>
                  <a:ext uri="{0D108BD9-81ED-4DB2-BD59-A6C34878D82A}">
                    <a16:rowId xmlns:a16="http://schemas.microsoft.com/office/drawing/2014/main" val="3100555660"/>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tager vi med os hjem?</a:t>
                      </a:r>
                    </a:p>
                  </a:txBody>
                  <a:tcPr/>
                </a:tc>
                <a:extLst>
                  <a:ext uri="{0D108BD9-81ED-4DB2-BD59-A6C34878D82A}">
                    <a16:rowId xmlns:a16="http://schemas.microsoft.com/office/drawing/2014/main" val="2041446116"/>
                  </a:ext>
                </a:extLst>
              </a:tr>
            </a:tbl>
          </a:graphicData>
        </a:graphic>
      </p:graphicFrame>
    </p:spTree>
    <p:extLst>
      <p:ext uri="{BB962C8B-B14F-4D97-AF65-F5344CB8AC3E}">
        <p14:creationId xmlns:p14="http://schemas.microsoft.com/office/powerpoint/2010/main" val="40822777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E2F47B-7352-4067-816A-312B537F7D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45E2F47B-7352-4067-816A-312B537F7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38865-BE55-48CB-8610-2CCD942ACAD1}"/>
              </a:ext>
            </a:extLst>
          </p:cNvPr>
          <p:cNvSpPr>
            <a:spLocks noGrp="1"/>
          </p:cNvSpPr>
          <p:nvPr>
            <p:ph type="title"/>
          </p:nvPr>
        </p:nvSpPr>
        <p:spPr/>
        <p:txBody>
          <a:bodyPr vert="horz"/>
          <a:lstStyle/>
          <a:p>
            <a:r>
              <a:rPr lang="da-DK" dirty="0"/>
              <a:t>Siden sidst – to og to</a:t>
            </a:r>
          </a:p>
        </p:txBody>
      </p:sp>
      <p:sp>
        <p:nvSpPr>
          <p:cNvPr id="3" name="Content Placeholder 2">
            <a:extLst>
              <a:ext uri="{FF2B5EF4-FFF2-40B4-BE49-F238E27FC236}">
                <a16:creationId xmlns:a16="http://schemas.microsoft.com/office/drawing/2014/main" id="{2D9E83EF-F91E-43EF-9F1D-837A2F305F83}"/>
              </a:ext>
            </a:extLst>
          </p:cNvPr>
          <p:cNvSpPr>
            <a:spLocks noGrp="1"/>
          </p:cNvSpPr>
          <p:nvPr>
            <p:ph idx="1"/>
          </p:nvPr>
        </p:nvSpPr>
        <p:spPr/>
        <p:txBody>
          <a:bodyPr/>
          <a:lstStyle/>
          <a:p>
            <a:r>
              <a:rPr lang="da-DK" dirty="0"/>
              <a:t>Hvordan er det gået siden sidst? </a:t>
            </a:r>
          </a:p>
          <a:p>
            <a:endParaRPr lang="da-DK" dirty="0"/>
          </a:p>
          <a:p>
            <a:r>
              <a:rPr lang="da-DK" dirty="0"/>
              <a:t>Hvad er det bedste, der er sket for min/den unge siden sidst? </a:t>
            </a:r>
          </a:p>
          <a:p>
            <a:endParaRPr lang="da-DK" dirty="0"/>
          </a:p>
          <a:p>
            <a:r>
              <a:rPr lang="da-DK" dirty="0"/>
              <a:t>Hvordan er det gået med den unges hjemmeøvelse?</a:t>
            </a:r>
          </a:p>
        </p:txBody>
      </p:sp>
      <p:sp>
        <p:nvSpPr>
          <p:cNvPr id="9" name="Speech Bubble: Rectangle with Corners Rounded 8">
            <a:extLst>
              <a:ext uri="{FF2B5EF4-FFF2-40B4-BE49-F238E27FC236}">
                <a16:creationId xmlns:a16="http://schemas.microsoft.com/office/drawing/2014/main" id="{824F7A12-C361-416A-993F-0EB8C09AB6D9}"/>
              </a:ext>
            </a:extLst>
          </p:cNvPr>
          <p:cNvSpPr/>
          <p:nvPr/>
        </p:nvSpPr>
        <p:spPr>
          <a:xfrm>
            <a:off x="4067944" y="4077072"/>
            <a:ext cx="4320480" cy="1512837"/>
          </a:xfrm>
          <a:prstGeom prst="wedgeRoundRectCallout">
            <a:avLst>
              <a:gd name="adj1" fmla="val -58249"/>
              <a:gd name="adj2" fmla="val 10853"/>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Overvej hvordan I vil støtte jeres børn i at bevare det netværk, de har skabt gennem dette forløb.</a:t>
            </a:r>
          </a:p>
          <a:p>
            <a:pPr marL="285750" indent="-285750">
              <a:spcAft>
                <a:spcPts val="600"/>
              </a:spcAft>
              <a:buFont typeface="Arial" panose="020B0604020202020204" pitchFamily="34" charset="0"/>
              <a:buChar char="•"/>
            </a:pPr>
            <a:r>
              <a:rPr lang="da-DK" sz="1400" i="1" dirty="0">
                <a:solidFill>
                  <a:schemeClr val="tx1"/>
                </a:solidFill>
              </a:rPr>
              <a:t>Tænk over situationer, hvor en potentiel konflikt er undgået – hvad gjorde du?</a:t>
            </a:r>
          </a:p>
        </p:txBody>
      </p:sp>
    </p:spTree>
    <p:extLst>
      <p:ext uri="{BB962C8B-B14F-4D97-AF65-F5344CB8AC3E}">
        <p14:creationId xmlns:p14="http://schemas.microsoft.com/office/powerpoint/2010/main" val="215632271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E2F47B-7352-4067-816A-312B537F7D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45E2F47B-7352-4067-816A-312B537F7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38865-BE55-48CB-8610-2CCD942ACAD1}"/>
              </a:ext>
            </a:extLst>
          </p:cNvPr>
          <p:cNvSpPr>
            <a:spLocks noGrp="1"/>
          </p:cNvSpPr>
          <p:nvPr>
            <p:ph type="title"/>
          </p:nvPr>
        </p:nvSpPr>
        <p:spPr/>
        <p:txBody>
          <a:bodyPr vert="horz"/>
          <a:lstStyle/>
          <a:p>
            <a:r>
              <a:rPr lang="da-DK" dirty="0"/>
              <a:t>Hvad vil vi gerne have ud af modulet?</a:t>
            </a:r>
          </a:p>
        </p:txBody>
      </p:sp>
      <p:sp>
        <p:nvSpPr>
          <p:cNvPr id="3" name="Content Placeholder 2">
            <a:extLst>
              <a:ext uri="{FF2B5EF4-FFF2-40B4-BE49-F238E27FC236}">
                <a16:creationId xmlns:a16="http://schemas.microsoft.com/office/drawing/2014/main" id="{2D9E83EF-F91E-43EF-9F1D-837A2F305F83}"/>
              </a:ext>
            </a:extLst>
          </p:cNvPr>
          <p:cNvSpPr>
            <a:spLocks noGrp="1"/>
          </p:cNvSpPr>
          <p:nvPr>
            <p:ph idx="1"/>
          </p:nvPr>
        </p:nvSpPr>
        <p:spPr/>
        <p:txBody>
          <a:bodyPr/>
          <a:lstStyle/>
          <a:p>
            <a:r>
              <a:rPr lang="da-DK" dirty="0"/>
              <a:t>Hvad vil jeg gerne have ud af dagen i dag? </a:t>
            </a:r>
          </a:p>
          <a:p>
            <a:r>
              <a:rPr lang="da-DK" dirty="0"/>
              <a:t>Hvad er vigtigt for mig at komme omkring i forhold til temaet om konflikthåndtering? </a:t>
            </a:r>
          </a:p>
        </p:txBody>
      </p:sp>
    </p:spTree>
    <p:extLst>
      <p:ext uri="{BB962C8B-B14F-4D97-AF65-F5344CB8AC3E}">
        <p14:creationId xmlns:p14="http://schemas.microsoft.com/office/powerpoint/2010/main" val="94412539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1928065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Hvad har de unge aktuelt fokus på?</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normAutofit fontScale="92500" lnSpcReduction="20000"/>
          </a:bodyPr>
          <a:lstStyle/>
          <a:p>
            <a:pPr marL="0" indent="0">
              <a:spcBef>
                <a:spcPts val="0"/>
              </a:spcBef>
              <a:spcAft>
                <a:spcPts val="1200"/>
              </a:spcAft>
              <a:buNone/>
            </a:pPr>
            <a:r>
              <a:rPr lang="da-DK" b="1" dirty="0"/>
              <a:t>[Indholdet tilpasses, så det afspejler indholdet i de unges session]</a:t>
            </a:r>
          </a:p>
          <a:p>
            <a:pPr marL="0" indent="0">
              <a:spcAft>
                <a:spcPts val="600"/>
              </a:spcAft>
              <a:buNone/>
            </a:pPr>
            <a:r>
              <a:rPr lang="da-DK" dirty="0"/>
              <a:t>På modulet omkring </a:t>
            </a:r>
            <a:r>
              <a:rPr lang="da-DK" b="1" dirty="0"/>
              <a:t>job og uddannelse </a:t>
            </a:r>
            <a:r>
              <a:rPr lang="da-DK" dirty="0"/>
              <a:t>lærer de unge bl.a.:</a:t>
            </a:r>
          </a:p>
          <a:p>
            <a:pPr>
              <a:spcAft>
                <a:spcPts val="600"/>
              </a:spcAft>
            </a:pPr>
            <a:r>
              <a:rPr lang="da-DK" dirty="0"/>
              <a:t>Hvad der er </a:t>
            </a:r>
            <a:r>
              <a:rPr lang="da-DK" b="1" dirty="0"/>
              <a:t>vigtigt for den unge </a:t>
            </a:r>
            <a:r>
              <a:rPr lang="da-DK" dirty="0"/>
              <a:t>i forhold til skole, uddannelse og job.</a:t>
            </a:r>
          </a:p>
          <a:p>
            <a:pPr>
              <a:spcAft>
                <a:spcPts val="600"/>
              </a:spcAft>
            </a:pPr>
            <a:r>
              <a:rPr lang="da-DK" dirty="0"/>
              <a:t>Hvad det vil sige at </a:t>
            </a:r>
            <a:r>
              <a:rPr lang="da-DK" b="1" dirty="0"/>
              <a:t>tage en uddannelse</a:t>
            </a:r>
            <a:r>
              <a:rPr lang="da-DK" dirty="0"/>
              <a:t>:</a:t>
            </a:r>
          </a:p>
          <a:p>
            <a:pPr lvl="1">
              <a:spcAft>
                <a:spcPts val="600"/>
              </a:spcAft>
              <a:buFontTx/>
              <a:buChar char="-"/>
            </a:pPr>
            <a:r>
              <a:rPr lang="da-DK" i="0" dirty="0"/>
              <a:t>En uddannelse kan være mange ting</a:t>
            </a:r>
          </a:p>
          <a:p>
            <a:pPr lvl="1">
              <a:spcAft>
                <a:spcPts val="600"/>
              </a:spcAft>
              <a:buFontTx/>
              <a:buChar char="-"/>
            </a:pPr>
            <a:r>
              <a:rPr lang="da-DK" i="0" dirty="0"/>
              <a:t>Det kræver struktur, sociale interaktioner og der er faglige krav</a:t>
            </a:r>
          </a:p>
          <a:p>
            <a:pPr lvl="1">
              <a:spcAft>
                <a:spcPts val="600"/>
              </a:spcAft>
              <a:buFontTx/>
              <a:buChar char="-"/>
            </a:pPr>
            <a:r>
              <a:rPr lang="da-DK" i="0" dirty="0"/>
              <a:t>Samarbejde med andre på uddannelsen er vigtigt.</a:t>
            </a:r>
            <a:endParaRPr lang="da-DK" dirty="0"/>
          </a:p>
          <a:p>
            <a:pPr>
              <a:spcAft>
                <a:spcPts val="600"/>
              </a:spcAft>
            </a:pPr>
            <a:r>
              <a:rPr lang="da-DK" dirty="0"/>
              <a:t>Hvad det vil sige at </a:t>
            </a:r>
            <a:r>
              <a:rPr lang="da-DK" b="1" dirty="0"/>
              <a:t>have et arbejde eller et fritidsjob</a:t>
            </a:r>
            <a:r>
              <a:rPr lang="da-DK" dirty="0"/>
              <a:t>:</a:t>
            </a:r>
          </a:p>
          <a:p>
            <a:pPr lvl="1">
              <a:spcAft>
                <a:spcPts val="600"/>
              </a:spcAft>
            </a:pPr>
            <a:r>
              <a:rPr lang="da-DK" i="0" dirty="0"/>
              <a:t>Det kan være krævende at gå på arbejde</a:t>
            </a:r>
          </a:p>
          <a:p>
            <a:pPr lvl="1">
              <a:spcAft>
                <a:spcPts val="600"/>
              </a:spcAft>
            </a:pPr>
            <a:r>
              <a:rPr lang="da-DK" i="0" dirty="0"/>
              <a:t>Man skal bl.a. møde til tiden, arbejde i teams og der er også faglige krav</a:t>
            </a:r>
          </a:p>
          <a:p>
            <a:pPr lvl="1">
              <a:spcAft>
                <a:spcPts val="600"/>
              </a:spcAft>
            </a:pPr>
            <a:r>
              <a:rPr lang="da-DK" i="0" dirty="0"/>
              <a:t>Samarbejde på arbejdspladsen er vigtig.</a:t>
            </a:r>
          </a:p>
          <a:p>
            <a:pPr>
              <a:spcAft>
                <a:spcPts val="600"/>
              </a:spcAft>
            </a:pPr>
            <a:endParaRPr lang="da-DK" i="0" dirty="0"/>
          </a:p>
        </p:txBody>
      </p:sp>
    </p:spTree>
    <p:extLst>
      <p:ext uri="{BB962C8B-B14F-4D97-AF65-F5344CB8AC3E}">
        <p14:creationId xmlns:p14="http://schemas.microsoft.com/office/powerpoint/2010/main" val="27579031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C8F5EDF-AF68-40DD-A279-57838629B88C}"/>
              </a:ext>
            </a:extLst>
          </p:cNvPr>
          <p:cNvGraphicFramePr>
            <a:graphicFrameLocks noChangeAspect="1"/>
          </p:cNvGraphicFramePr>
          <p:nvPr>
            <p:custDataLst>
              <p:tags r:id="rId2"/>
            </p:custDataLst>
            <p:extLst>
              <p:ext uri="{D42A27DB-BD31-4B8C-83A1-F6EECF244321}">
                <p14:modId xmlns:p14="http://schemas.microsoft.com/office/powerpoint/2010/main" val="3080309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0B10A5-0790-4FEE-8ECC-523B256F7169}"/>
              </a:ext>
            </a:extLst>
          </p:cNvPr>
          <p:cNvSpPr>
            <a:spLocks noGrp="1"/>
          </p:cNvSpPr>
          <p:nvPr>
            <p:ph type="title"/>
          </p:nvPr>
        </p:nvSpPr>
        <p:spPr/>
        <p:txBody>
          <a:bodyPr vert="horz"/>
          <a:lstStyle/>
          <a:p>
            <a:r>
              <a:rPr lang="da-DK" dirty="0"/>
              <a:t>Gruppeforløbet består af 9 moduler</a:t>
            </a:r>
          </a:p>
        </p:txBody>
      </p:sp>
      <p:sp>
        <p:nvSpPr>
          <p:cNvPr id="3" name="Content Placeholder 2">
            <a:extLst>
              <a:ext uri="{FF2B5EF4-FFF2-40B4-BE49-F238E27FC236}">
                <a16:creationId xmlns:a16="http://schemas.microsoft.com/office/drawing/2014/main" id="{6CA83AFC-132A-4D09-82DE-5153DC86C11D}"/>
              </a:ext>
            </a:extLst>
          </p:cNvPr>
          <p:cNvSpPr>
            <a:spLocks noGrp="1"/>
          </p:cNvSpPr>
          <p:nvPr>
            <p:ph idx="1"/>
          </p:nvPr>
        </p:nvSpPr>
        <p:spPr/>
        <p:txBody>
          <a:bodyPr/>
          <a:lstStyle/>
          <a:p>
            <a:pPr marL="342900" indent="-342900">
              <a:buFont typeface="+mj-lt"/>
              <a:buAutoNum type="arabicPeriod"/>
            </a:pPr>
            <a:r>
              <a:rPr lang="da-DK" dirty="0"/>
              <a:t>Velkommen (i dag)</a:t>
            </a:r>
          </a:p>
          <a:p>
            <a:pPr marL="342900" indent="-342900">
              <a:buFont typeface="+mj-lt"/>
              <a:buAutoNum type="arabicPeriod"/>
            </a:pPr>
            <a:r>
              <a:rPr lang="da-DK" dirty="0"/>
              <a:t>Udviklingsprofil </a:t>
            </a:r>
          </a:p>
          <a:p>
            <a:pPr marL="342900" indent="-342900">
              <a:buFont typeface="+mj-lt"/>
              <a:buAutoNum type="arabicPeriod"/>
            </a:pPr>
            <a:r>
              <a:rPr lang="da-DK" dirty="0"/>
              <a:t>Andre følger af autisme</a:t>
            </a:r>
          </a:p>
          <a:p>
            <a:pPr marL="342900" indent="-342900">
              <a:buFont typeface="+mj-lt"/>
              <a:buAutoNum type="arabicPeriod"/>
            </a:pPr>
            <a:r>
              <a:rPr lang="da-DK" dirty="0"/>
              <a:t>Anerkendende tilgang</a:t>
            </a:r>
          </a:p>
          <a:p>
            <a:pPr marL="342900" indent="-342900">
              <a:buFont typeface="+mj-lt"/>
              <a:buAutoNum type="arabicPeriod"/>
            </a:pPr>
            <a:r>
              <a:rPr lang="da-DK" dirty="0"/>
              <a:t>Konflikthåndtering</a:t>
            </a:r>
          </a:p>
          <a:p>
            <a:pPr marL="342900" indent="-342900">
              <a:buFont typeface="+mj-lt"/>
              <a:buAutoNum type="arabicPeriod"/>
            </a:pPr>
            <a:r>
              <a:rPr lang="da-DK" dirty="0"/>
              <a:t>De unges deltagelse i fællesskaber</a:t>
            </a:r>
          </a:p>
          <a:p>
            <a:pPr marL="342900" indent="-342900">
              <a:buFont typeface="+mj-lt"/>
              <a:buAutoNum type="arabicPeriod"/>
            </a:pPr>
            <a:r>
              <a:rPr lang="da-DK" dirty="0"/>
              <a:t>Rettigheder og muligheder for støtte</a:t>
            </a:r>
          </a:p>
          <a:p>
            <a:pPr marL="342900" indent="-342900">
              <a:buFont typeface="+mj-lt"/>
              <a:buAutoNum type="arabicPeriod"/>
            </a:pPr>
            <a:r>
              <a:rPr lang="da-DK" dirty="0"/>
              <a:t>Afslutning</a:t>
            </a:r>
          </a:p>
          <a:p>
            <a:pPr marL="342900" indent="-342900">
              <a:buFont typeface="+mj-lt"/>
              <a:buAutoNum type="arabicPeriod"/>
            </a:pPr>
            <a:r>
              <a:rPr lang="da-DK" dirty="0"/>
              <a:t>Booster (efter 2 mdr.)</a:t>
            </a:r>
          </a:p>
        </p:txBody>
      </p:sp>
    </p:spTree>
    <p:extLst>
      <p:ext uri="{BB962C8B-B14F-4D97-AF65-F5344CB8AC3E}">
        <p14:creationId xmlns:p14="http://schemas.microsoft.com/office/powerpoint/2010/main" val="83137712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Hvad har de unge aktuelt fokus på?</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lstStyle/>
          <a:p>
            <a:pPr marL="0" indent="0">
              <a:spcAft>
                <a:spcPts val="600"/>
              </a:spcAft>
              <a:buNone/>
            </a:pPr>
            <a:r>
              <a:rPr lang="da-DK" b="1" dirty="0"/>
              <a:t>[Her indsætter gruppevejlederen de unges hjemmeøvelse(r) fra sidste gang]</a:t>
            </a:r>
          </a:p>
          <a:p>
            <a:pPr marL="0" indent="0">
              <a:spcAft>
                <a:spcPts val="600"/>
              </a:spcAft>
              <a:buNone/>
            </a:pPr>
            <a:endParaRPr lang="da-DK" i="0" dirty="0"/>
          </a:p>
        </p:txBody>
      </p:sp>
    </p:spTree>
    <p:extLst>
      <p:ext uri="{BB962C8B-B14F-4D97-AF65-F5344CB8AC3E}">
        <p14:creationId xmlns:p14="http://schemas.microsoft.com/office/powerpoint/2010/main" val="344489187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5E253D-EBDE-4AA7-893E-137662B0FB3C}"/>
              </a:ext>
            </a:extLst>
          </p:cNvPr>
          <p:cNvSpPr>
            <a:spLocks noGrp="1"/>
          </p:cNvSpPr>
          <p:nvPr>
            <p:ph type="title"/>
          </p:nvPr>
        </p:nvSpPr>
        <p:spPr/>
        <p:txBody>
          <a:bodyPr/>
          <a:lstStyle/>
          <a:p>
            <a:r>
              <a:rPr lang="da-DK" dirty="0"/>
              <a:t>Hvordan understøtter vi bedst de unges konflikthåndtering</a:t>
            </a:r>
          </a:p>
        </p:txBody>
      </p:sp>
      <p:sp>
        <p:nvSpPr>
          <p:cNvPr id="3" name="Content Placeholder 2">
            <a:extLst>
              <a:ext uri="{FF2B5EF4-FFF2-40B4-BE49-F238E27FC236}">
                <a16:creationId xmlns:a16="http://schemas.microsoft.com/office/drawing/2014/main" id="{D3E15412-ED46-488F-A748-5AE99D39DAC4}"/>
              </a:ext>
            </a:extLst>
          </p:cNvPr>
          <p:cNvSpPr>
            <a:spLocks noGrp="1"/>
          </p:cNvSpPr>
          <p:nvPr>
            <p:ph idx="1"/>
          </p:nvPr>
        </p:nvSpPr>
        <p:spPr>
          <a:xfrm>
            <a:off x="628649" y="1988839"/>
            <a:ext cx="7904163" cy="3888085"/>
          </a:xfrm>
        </p:spPr>
        <p:txBody>
          <a:bodyPr/>
          <a:lstStyle/>
          <a:p>
            <a:r>
              <a:rPr lang="da-DK" dirty="0"/>
              <a:t>Pointerne på de følgende slides gennemgås med de unge på deres gruppeforløb.</a:t>
            </a:r>
          </a:p>
          <a:p>
            <a:endParaRPr lang="da-DK" dirty="0"/>
          </a:p>
          <a:p>
            <a:r>
              <a:rPr lang="da-DK" dirty="0"/>
              <a:t>Vi gennemgår dem sammen og drøfter, hvordan I kan understøtte de unges konflikthåndtering. </a:t>
            </a:r>
          </a:p>
          <a:p>
            <a:endParaRPr lang="da-DK" dirty="0"/>
          </a:p>
        </p:txBody>
      </p:sp>
    </p:spTree>
    <p:extLst>
      <p:ext uri="{BB962C8B-B14F-4D97-AF65-F5344CB8AC3E}">
        <p14:creationId xmlns:p14="http://schemas.microsoft.com/office/powerpoint/2010/main" val="252698161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7FEA01-A741-4F1B-8760-CAB402C6F0B4}"/>
              </a:ext>
            </a:extLst>
          </p:cNvPr>
          <p:cNvGraphicFramePr>
            <a:graphicFrameLocks noChangeAspect="1"/>
          </p:cNvGraphicFramePr>
          <p:nvPr>
            <p:custDataLst>
              <p:tags r:id="rId2"/>
            </p:custDataLst>
            <p:extLst>
              <p:ext uri="{D42A27DB-BD31-4B8C-83A1-F6EECF244321}">
                <p14:modId xmlns:p14="http://schemas.microsoft.com/office/powerpoint/2010/main" val="3742415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F28C3C-FCE0-449D-A22E-F6B6671BC867}"/>
              </a:ext>
            </a:extLst>
          </p:cNvPr>
          <p:cNvSpPr>
            <a:spLocks noGrp="1"/>
          </p:cNvSpPr>
          <p:nvPr>
            <p:ph type="title"/>
          </p:nvPr>
        </p:nvSpPr>
        <p:spPr/>
        <p:txBody>
          <a:bodyPr vert="horz"/>
          <a:lstStyle/>
          <a:p>
            <a:r>
              <a:rPr lang="da-DK" dirty="0"/>
              <a:t>Hvorfor opstår konflikter? </a:t>
            </a:r>
          </a:p>
        </p:txBody>
      </p:sp>
      <p:sp>
        <p:nvSpPr>
          <p:cNvPr id="6" name="Rectangle 5">
            <a:extLst>
              <a:ext uri="{FF2B5EF4-FFF2-40B4-BE49-F238E27FC236}">
                <a16:creationId xmlns:a16="http://schemas.microsoft.com/office/drawing/2014/main" id="{9F00B1C5-6D66-48B1-9B59-6FC9C120669E}"/>
              </a:ext>
            </a:extLst>
          </p:cNvPr>
          <p:cNvSpPr/>
          <p:nvPr/>
        </p:nvSpPr>
        <p:spPr>
          <a:xfrm>
            <a:off x="628648" y="1772816"/>
            <a:ext cx="6535639" cy="2462213"/>
          </a:xfrm>
          <a:prstGeom prst="rect">
            <a:avLst/>
          </a:prstGeom>
        </p:spPr>
        <p:txBody>
          <a:bodyPr wrap="square">
            <a:spAutoFit/>
          </a:bodyPr>
          <a:lstStyle/>
          <a:p>
            <a:pPr marL="285750" indent="-285750">
              <a:spcAft>
                <a:spcPts val="600"/>
              </a:spcAft>
              <a:buFont typeface="Arial" panose="020B0604020202020204" pitchFamily="34" charset="0"/>
              <a:buChar char="•"/>
            </a:pPr>
            <a:r>
              <a:rPr lang="da-DK" dirty="0"/>
              <a:t>Nogle konflikter kan opstå, fordi andre vil drille/genere/provokere én. Her kan det være gavnligt at lære ikke at lade sig påvirke af andres kommentarer.</a:t>
            </a:r>
          </a:p>
          <a:p>
            <a:pPr marL="285750" indent="-285750">
              <a:spcAft>
                <a:spcPts val="600"/>
              </a:spcAft>
              <a:buFont typeface="Arial" panose="020B0604020202020204" pitchFamily="34" charset="0"/>
              <a:buChar char="•"/>
            </a:pPr>
            <a:r>
              <a:rPr lang="da-DK" dirty="0"/>
              <a:t>Men mange konflikter kan også opstå, uden at parterne vil være ondskabsfulde ved hinanden. </a:t>
            </a:r>
          </a:p>
          <a:p>
            <a:pPr marL="285750" indent="-285750">
              <a:spcAft>
                <a:spcPts val="600"/>
              </a:spcAft>
              <a:buFont typeface="Arial" panose="020B0604020202020204" pitchFamily="34" charset="0"/>
              <a:buChar char="•"/>
            </a:pPr>
            <a:r>
              <a:rPr lang="da-DK" dirty="0"/>
              <a:t>Man kan se, hvad den anden gør og høre, hvad den anden siger – man kan nemt misforstå, hvad den anden tænker eller føler. </a:t>
            </a:r>
          </a:p>
        </p:txBody>
      </p:sp>
      <p:pic>
        <p:nvPicPr>
          <p:cNvPr id="7" name="Picture 6">
            <a:extLst>
              <a:ext uri="{FF2B5EF4-FFF2-40B4-BE49-F238E27FC236}">
                <a16:creationId xmlns:a16="http://schemas.microsoft.com/office/drawing/2014/main" id="{1DF1526D-4A2B-4945-8EC4-422BA00ABE9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39230" y="4077072"/>
            <a:ext cx="3176120" cy="1863377"/>
          </a:xfrm>
          <a:prstGeom prst="rect">
            <a:avLst/>
          </a:prstGeom>
        </p:spPr>
      </p:pic>
      <p:sp>
        <p:nvSpPr>
          <p:cNvPr id="8" name="Rectangle 7">
            <a:extLst>
              <a:ext uri="{FF2B5EF4-FFF2-40B4-BE49-F238E27FC236}">
                <a16:creationId xmlns:a16="http://schemas.microsoft.com/office/drawing/2014/main" id="{F8BDCB79-DCAB-41C2-B95B-52C416FEA95F}"/>
              </a:ext>
            </a:extLst>
          </p:cNvPr>
          <p:cNvSpPr/>
          <p:nvPr/>
        </p:nvSpPr>
        <p:spPr>
          <a:xfrm>
            <a:off x="628648" y="4235029"/>
            <a:ext cx="4572000" cy="1200329"/>
          </a:xfrm>
          <a:prstGeom prst="rect">
            <a:avLst/>
          </a:prstGeom>
        </p:spPr>
        <p:txBody>
          <a:bodyPr>
            <a:spAutoFit/>
          </a:bodyPr>
          <a:lstStyle/>
          <a:p>
            <a:pPr marL="285750" indent="-285750">
              <a:spcAft>
                <a:spcPts val="600"/>
              </a:spcAft>
              <a:buFont typeface="Arial" panose="020B0604020202020204" pitchFamily="34" charset="0"/>
              <a:buChar char="•"/>
            </a:pPr>
            <a:r>
              <a:rPr lang="da-DK" dirty="0"/>
              <a:t>Når man går fra ung til voksen, kan man også opleve flere konflikter fx med sine forældre. Fordi man begynder at få sine egne holdninger. </a:t>
            </a:r>
          </a:p>
        </p:txBody>
      </p:sp>
    </p:spTree>
    <p:extLst>
      <p:ext uri="{BB962C8B-B14F-4D97-AF65-F5344CB8AC3E}">
        <p14:creationId xmlns:p14="http://schemas.microsoft.com/office/powerpoint/2010/main" val="32332471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287CE7-92E3-4765-B987-114E7E996244}"/>
              </a:ext>
            </a:extLst>
          </p:cNvPr>
          <p:cNvGraphicFramePr>
            <a:graphicFrameLocks noChangeAspect="1"/>
          </p:cNvGraphicFramePr>
          <p:nvPr>
            <p:custDataLst>
              <p:tags r:id="rId2"/>
            </p:custDataLst>
            <p:extLst>
              <p:ext uri="{D42A27DB-BD31-4B8C-83A1-F6EECF244321}">
                <p14:modId xmlns:p14="http://schemas.microsoft.com/office/powerpoint/2010/main" val="4235445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A9643C-58A8-4228-92A8-DBB918639242}"/>
              </a:ext>
            </a:extLst>
          </p:cNvPr>
          <p:cNvSpPr>
            <a:spLocks noGrp="1"/>
          </p:cNvSpPr>
          <p:nvPr>
            <p:ph type="title"/>
          </p:nvPr>
        </p:nvSpPr>
        <p:spPr/>
        <p:txBody>
          <a:bodyPr vert="horz"/>
          <a:lstStyle/>
          <a:p>
            <a:r>
              <a:rPr lang="da-DK" dirty="0"/>
              <a:t>Hvordan kan man håndtere konflikter? </a:t>
            </a:r>
          </a:p>
        </p:txBody>
      </p:sp>
      <p:sp>
        <p:nvSpPr>
          <p:cNvPr id="3" name="Content Placeholder 2">
            <a:extLst>
              <a:ext uri="{FF2B5EF4-FFF2-40B4-BE49-F238E27FC236}">
                <a16:creationId xmlns:a16="http://schemas.microsoft.com/office/drawing/2014/main" id="{E80C0034-E20C-489F-8D06-AFF4EE5B2B0F}"/>
              </a:ext>
            </a:extLst>
          </p:cNvPr>
          <p:cNvSpPr>
            <a:spLocks noGrp="1"/>
          </p:cNvSpPr>
          <p:nvPr>
            <p:ph idx="1"/>
          </p:nvPr>
        </p:nvSpPr>
        <p:spPr/>
        <p:txBody>
          <a:bodyPr/>
          <a:lstStyle/>
          <a:p>
            <a:pPr>
              <a:spcAft>
                <a:spcPts val="1200"/>
              </a:spcAft>
            </a:pPr>
            <a:r>
              <a:rPr lang="da-DK" b="1" dirty="0"/>
              <a:t>Undgå konflikten:</a:t>
            </a:r>
            <a:r>
              <a:rPr lang="da-DK" dirty="0"/>
              <a:t> Hvis man vurderer, at det ikke er dét værd. Det kan fx handle om, at man ikke lader sig påvirke af andres kommentarer. </a:t>
            </a:r>
          </a:p>
          <a:p>
            <a:pPr>
              <a:spcAft>
                <a:spcPts val="1200"/>
              </a:spcAft>
            </a:pPr>
            <a:r>
              <a:rPr lang="da-DK" b="1" dirty="0"/>
              <a:t>Trække sig ud af en konfliktsituation</a:t>
            </a:r>
            <a:r>
              <a:rPr lang="da-DK" dirty="0"/>
              <a:t>: Trække sig fra konflikten og tænke nærmere over, hvad man kan gøre ved den. Det er ok at komme tilbage og sige, ”det der skete, gjorde mig vred/ked af det, fordi …”. </a:t>
            </a:r>
          </a:p>
          <a:p>
            <a:pPr>
              <a:spcAft>
                <a:spcPts val="1200"/>
              </a:spcAft>
            </a:pPr>
            <a:r>
              <a:rPr lang="da-DK" b="1" dirty="0"/>
              <a:t>Tage konflikten</a:t>
            </a:r>
            <a:r>
              <a:rPr lang="da-DK" dirty="0"/>
              <a:t>: Det kan være nødvendigt at tage konflikten, og det er en fordel at bruge konfliktnedtrappende sprog. Det vender vi tilbage til om lidt.  </a:t>
            </a:r>
          </a:p>
          <a:p>
            <a:pPr>
              <a:spcAft>
                <a:spcPts val="1200"/>
              </a:spcAft>
            </a:pPr>
            <a:r>
              <a:rPr lang="da-DK" b="1" dirty="0"/>
              <a:t>Tage konflikten</a:t>
            </a:r>
            <a:r>
              <a:rPr lang="da-DK" dirty="0"/>
              <a:t>: I en konfliktsituation er det en god idé at bruge assertiv kommunikation, dvs. fortælle sin mening og holdning klart og tydeligt med respekt for den anden. Det vender vi også tilbage til. </a:t>
            </a:r>
          </a:p>
          <a:p>
            <a:pPr>
              <a:spcAft>
                <a:spcPts val="1200"/>
              </a:spcAft>
            </a:pPr>
            <a:endParaRPr lang="da-DK" dirty="0"/>
          </a:p>
        </p:txBody>
      </p:sp>
    </p:spTree>
    <p:extLst>
      <p:ext uri="{BB962C8B-B14F-4D97-AF65-F5344CB8AC3E}">
        <p14:creationId xmlns:p14="http://schemas.microsoft.com/office/powerpoint/2010/main" val="427508328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3831111-3C95-48DC-87BA-9B1AB68362E7}"/>
              </a:ext>
            </a:extLst>
          </p:cNvPr>
          <p:cNvGraphicFramePr>
            <a:graphicFrameLocks noChangeAspect="1"/>
          </p:cNvGraphicFramePr>
          <p:nvPr>
            <p:custDataLst>
              <p:tags r:id="rId2"/>
            </p:custDataLst>
            <p:extLst>
              <p:ext uri="{D42A27DB-BD31-4B8C-83A1-F6EECF244321}">
                <p14:modId xmlns:p14="http://schemas.microsoft.com/office/powerpoint/2010/main" val="1957202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CD8154-4436-4974-A3C1-3CD2E53CAD65}"/>
              </a:ext>
            </a:extLst>
          </p:cNvPr>
          <p:cNvSpPr>
            <a:spLocks noGrp="1"/>
          </p:cNvSpPr>
          <p:nvPr>
            <p:ph type="title"/>
          </p:nvPr>
        </p:nvSpPr>
        <p:spPr/>
        <p:txBody>
          <a:bodyPr vert="horz"/>
          <a:lstStyle/>
          <a:p>
            <a:r>
              <a:rPr lang="da-DK" dirty="0"/>
              <a:t>Konfliktnedtrappende sprog 1/2</a:t>
            </a:r>
          </a:p>
        </p:txBody>
      </p:sp>
      <p:sp>
        <p:nvSpPr>
          <p:cNvPr id="3" name="Content Placeholder 2">
            <a:extLst>
              <a:ext uri="{FF2B5EF4-FFF2-40B4-BE49-F238E27FC236}">
                <a16:creationId xmlns:a16="http://schemas.microsoft.com/office/drawing/2014/main" id="{E02055B7-C98F-4E87-B949-AD6ED0B90212}"/>
              </a:ext>
            </a:extLst>
          </p:cNvPr>
          <p:cNvSpPr>
            <a:spLocks noGrp="1"/>
          </p:cNvSpPr>
          <p:nvPr>
            <p:ph idx="1"/>
          </p:nvPr>
        </p:nvSpPr>
        <p:spPr/>
        <p:txBody>
          <a:bodyPr>
            <a:normAutofit/>
          </a:bodyPr>
          <a:lstStyle/>
          <a:p>
            <a:pPr>
              <a:spcAft>
                <a:spcPts val="600"/>
              </a:spcAft>
            </a:pPr>
            <a:r>
              <a:rPr lang="da-DK" dirty="0"/>
              <a:t>For at skabe en god dialog, handler det om at </a:t>
            </a:r>
            <a:r>
              <a:rPr lang="da-DK" b="1" dirty="0"/>
              <a:t>blive på egen banehalvdel </a:t>
            </a:r>
            <a:r>
              <a:rPr lang="da-DK" dirty="0"/>
              <a:t>og undgå, at den anden føler sig forkert. </a:t>
            </a:r>
          </a:p>
          <a:p>
            <a:pPr>
              <a:spcAft>
                <a:spcPts val="600"/>
              </a:spcAft>
            </a:pPr>
            <a:r>
              <a:rPr lang="da-DK" dirty="0"/>
              <a:t>Det gør man ved at skelne mellem, hvad der sker </a:t>
            </a:r>
            <a:r>
              <a:rPr lang="da-DK" b="1" dirty="0"/>
              <a:t>inden i dig</a:t>
            </a:r>
            <a:r>
              <a:rPr lang="da-DK" dirty="0"/>
              <a:t>, og hvad du </a:t>
            </a:r>
            <a:r>
              <a:rPr lang="da-DK" b="1" dirty="0"/>
              <a:t>forestiller dig </a:t>
            </a:r>
            <a:r>
              <a:rPr lang="da-DK" dirty="0"/>
              <a:t>eller gætter på, der sker omkring dig (fx i forhold til den anden). </a:t>
            </a:r>
          </a:p>
          <a:p>
            <a:pPr>
              <a:spcAft>
                <a:spcPts val="600"/>
              </a:spcAft>
            </a:pPr>
            <a:r>
              <a:rPr lang="da-DK" b="1" dirty="0"/>
              <a:t>Fra ”du-sprog” til ”jeg-sprog”</a:t>
            </a:r>
            <a:r>
              <a:rPr lang="da-DK" dirty="0"/>
              <a:t>: Med du-sprog definerer vi den anden og fortæller, hvordan de er. Når det defineres, hvordan vi er, vil vi næsten altid reagere med modstand. I stedet for ”Du er godt nok sur.” Så sig ”Jeg har lagt mærke til, at du ikke svarer mig. Det gør mig i tvivl om, hvad du tænker?” </a:t>
            </a:r>
          </a:p>
          <a:p>
            <a:pPr>
              <a:spcAft>
                <a:spcPts val="600"/>
              </a:spcAft>
            </a:pPr>
            <a:r>
              <a:rPr lang="da-DK" b="1" dirty="0"/>
              <a:t>Fra afbryde til lytte: </a:t>
            </a:r>
            <a:r>
              <a:rPr lang="da-DK" dirty="0"/>
              <a:t>Vi har alle behov for at føle os hørt og forstået. Det er svært, hvis man bliver afbrudt. Det er derfor konfliktnedtrappende, hvis du lytter uden at afbryde. </a:t>
            </a:r>
          </a:p>
        </p:txBody>
      </p:sp>
      <p:sp>
        <p:nvSpPr>
          <p:cNvPr id="6" name="TextBox 5">
            <a:extLst>
              <a:ext uri="{FF2B5EF4-FFF2-40B4-BE49-F238E27FC236}">
                <a16:creationId xmlns:a16="http://schemas.microsoft.com/office/drawing/2014/main" id="{A67A7923-B82A-49CD-BA78-8CC7617A3615}"/>
              </a:ext>
            </a:extLst>
          </p:cNvPr>
          <p:cNvSpPr txBox="1"/>
          <p:nvPr/>
        </p:nvSpPr>
        <p:spPr>
          <a:xfrm>
            <a:off x="5479148" y="5956393"/>
            <a:ext cx="3269316" cy="169277"/>
          </a:xfrm>
          <a:prstGeom prst="rect">
            <a:avLst/>
          </a:prstGeom>
          <a:noFill/>
        </p:spPr>
        <p:txBody>
          <a:bodyPr wrap="square" lIns="0" tIns="0" rIns="0" bIns="0" rtlCol="0">
            <a:spAutoFit/>
          </a:bodyPr>
          <a:lstStyle/>
          <a:p>
            <a:r>
              <a:rPr lang="da-DK" sz="1100" i="1" dirty="0"/>
              <a:t>Kilde: Birgitte Sally, Personlig kommunikation</a:t>
            </a:r>
          </a:p>
        </p:txBody>
      </p:sp>
    </p:spTree>
    <p:extLst>
      <p:ext uri="{BB962C8B-B14F-4D97-AF65-F5344CB8AC3E}">
        <p14:creationId xmlns:p14="http://schemas.microsoft.com/office/powerpoint/2010/main" val="383361714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64D78E-BB8F-431D-A4D8-594C5B34672D}"/>
              </a:ext>
            </a:extLst>
          </p:cNvPr>
          <p:cNvGraphicFramePr>
            <a:graphicFrameLocks noChangeAspect="1"/>
          </p:cNvGraphicFramePr>
          <p:nvPr>
            <p:custDataLst>
              <p:tags r:id="rId2"/>
            </p:custDataLst>
            <p:extLst>
              <p:ext uri="{D42A27DB-BD31-4B8C-83A1-F6EECF244321}">
                <p14:modId xmlns:p14="http://schemas.microsoft.com/office/powerpoint/2010/main" val="2956880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CD8154-4436-4974-A3C1-3CD2E53CAD65}"/>
              </a:ext>
            </a:extLst>
          </p:cNvPr>
          <p:cNvSpPr>
            <a:spLocks noGrp="1"/>
          </p:cNvSpPr>
          <p:nvPr>
            <p:ph type="title"/>
          </p:nvPr>
        </p:nvSpPr>
        <p:spPr/>
        <p:txBody>
          <a:bodyPr vert="horz"/>
          <a:lstStyle/>
          <a:p>
            <a:r>
              <a:rPr lang="da-DK" dirty="0"/>
              <a:t>Konfliktnedtrappende sprog 2/2</a:t>
            </a:r>
          </a:p>
        </p:txBody>
      </p:sp>
      <p:sp>
        <p:nvSpPr>
          <p:cNvPr id="3" name="Content Placeholder 2">
            <a:extLst>
              <a:ext uri="{FF2B5EF4-FFF2-40B4-BE49-F238E27FC236}">
                <a16:creationId xmlns:a16="http://schemas.microsoft.com/office/drawing/2014/main" id="{E02055B7-C98F-4E87-B949-AD6ED0B90212}"/>
              </a:ext>
            </a:extLst>
          </p:cNvPr>
          <p:cNvSpPr>
            <a:spLocks noGrp="1"/>
          </p:cNvSpPr>
          <p:nvPr>
            <p:ph idx="1"/>
          </p:nvPr>
        </p:nvSpPr>
        <p:spPr/>
        <p:txBody>
          <a:bodyPr/>
          <a:lstStyle/>
          <a:p>
            <a:r>
              <a:rPr lang="da-DK" b="1" dirty="0"/>
              <a:t>Fra at bebrejde til at udtrykke sit ønske”</a:t>
            </a:r>
            <a:r>
              <a:rPr lang="da-DK" dirty="0"/>
              <a:t>: Når man bliver bebrejdet går de fleste i forsvarsposition. Du kommer længst med at udtrykke, hvad du selv føler eller ønsker dig. </a:t>
            </a:r>
          </a:p>
          <a:p>
            <a:r>
              <a:rPr lang="da-DK" b="1" dirty="0"/>
              <a:t>Fra fokus på fortid til fokus på nutid: </a:t>
            </a:r>
            <a:r>
              <a:rPr lang="da-DK" dirty="0"/>
              <a:t>Hvis du fokuserer på fortiden skaber det ofte modstand og dårlig stemning. Generaliserende ord som ”altid” og ”plejer” skal udskiftes med ”ofte” eller ”nogle gange”. Men det er endnu vigtigere at have fokus på nutiden. I stedet for ”Du siger altid …”, så sig ”Jeg bliver ked af det, når du siger…”. </a:t>
            </a:r>
          </a:p>
          <a:p>
            <a:r>
              <a:rPr lang="da-DK" b="1" dirty="0"/>
              <a:t>Fra ”gå efter personen” til ”gå efter problemet”: </a:t>
            </a:r>
            <a:r>
              <a:rPr lang="da-DK" dirty="0"/>
              <a:t>Det er meget konfliktoptrappende, når fokus bliver på personen frem for problemet eller situationen. Prøv at se problemet eller situationen ”oppefra” og vær nysgerrig på, hvordan I sammen kan løse det. </a:t>
            </a:r>
          </a:p>
          <a:p>
            <a:endParaRPr lang="da-DK" dirty="0"/>
          </a:p>
        </p:txBody>
      </p:sp>
    </p:spTree>
    <p:extLst>
      <p:ext uri="{BB962C8B-B14F-4D97-AF65-F5344CB8AC3E}">
        <p14:creationId xmlns:p14="http://schemas.microsoft.com/office/powerpoint/2010/main" val="27378451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E190428-9197-4973-B4E6-70F78731490D}"/>
              </a:ext>
            </a:extLst>
          </p:cNvPr>
          <p:cNvGraphicFramePr>
            <a:graphicFrameLocks noChangeAspect="1"/>
          </p:cNvGraphicFramePr>
          <p:nvPr>
            <p:custDataLst>
              <p:tags r:id="rId2"/>
            </p:custDataLst>
            <p:extLst>
              <p:ext uri="{D42A27DB-BD31-4B8C-83A1-F6EECF244321}">
                <p14:modId xmlns:p14="http://schemas.microsoft.com/office/powerpoint/2010/main" val="144434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CD8154-4436-4974-A3C1-3CD2E53CAD65}"/>
              </a:ext>
            </a:extLst>
          </p:cNvPr>
          <p:cNvSpPr>
            <a:spLocks noGrp="1"/>
          </p:cNvSpPr>
          <p:nvPr>
            <p:ph type="title"/>
          </p:nvPr>
        </p:nvSpPr>
        <p:spPr/>
        <p:txBody>
          <a:bodyPr vert="horz"/>
          <a:lstStyle/>
          <a:p>
            <a:r>
              <a:rPr lang="da-DK" dirty="0"/>
              <a:t>At sætte grænser 1/2</a:t>
            </a:r>
          </a:p>
        </p:txBody>
      </p:sp>
      <p:sp>
        <p:nvSpPr>
          <p:cNvPr id="3" name="Content Placeholder 2">
            <a:extLst>
              <a:ext uri="{FF2B5EF4-FFF2-40B4-BE49-F238E27FC236}">
                <a16:creationId xmlns:a16="http://schemas.microsoft.com/office/drawing/2014/main" id="{E02055B7-C98F-4E87-B949-AD6ED0B90212}"/>
              </a:ext>
            </a:extLst>
          </p:cNvPr>
          <p:cNvSpPr>
            <a:spLocks noGrp="1"/>
          </p:cNvSpPr>
          <p:nvPr>
            <p:ph idx="1"/>
          </p:nvPr>
        </p:nvSpPr>
        <p:spPr/>
        <p:txBody>
          <a:bodyPr/>
          <a:lstStyle/>
          <a:p>
            <a:r>
              <a:rPr lang="da-DK" dirty="0"/>
              <a:t>Det er vigtigt at turde udtrykke sine behov, sine holdninger og sine meninger klart. At kunne stå ved sig selv og få tingene sagt direkte med respekt for sig selv og den anden. </a:t>
            </a:r>
          </a:p>
          <a:p>
            <a:r>
              <a:rPr lang="da-DK" dirty="0"/>
              <a:t>Ligesom alle andre har du også ret til at sige fra. Det kan være svært, hvis du måske ikke er vant til at sætte dine egne grænser (over for venner, familie, kæreste, lærer, arbejdsgiver). </a:t>
            </a:r>
          </a:p>
          <a:p>
            <a:r>
              <a:rPr lang="da-DK" b="1" dirty="0"/>
              <a:t>Mærk efter</a:t>
            </a:r>
            <a:r>
              <a:rPr lang="da-DK" dirty="0"/>
              <a:t>: Mærk hvordan du har det. Kroppen kan mærke, når dine grænser er overskredet. Er du fx ked af det eller vred? Det kan være tegn på, at dine grænser er overskredet, og du har brug for at sige fra. </a:t>
            </a:r>
          </a:p>
          <a:p>
            <a:r>
              <a:rPr lang="da-DK" b="1" dirty="0"/>
              <a:t>Sig det højt</a:t>
            </a:r>
            <a:r>
              <a:rPr lang="da-DK" dirty="0"/>
              <a:t>: Det er ikke sikkert, den anden ved, hvordan du har det. Folks grænser er forskellige. Så sig fra over for den, der har overskredet din grænse. </a:t>
            </a:r>
          </a:p>
          <a:p>
            <a:endParaRPr lang="da-DK" dirty="0"/>
          </a:p>
        </p:txBody>
      </p:sp>
    </p:spTree>
    <p:extLst>
      <p:ext uri="{BB962C8B-B14F-4D97-AF65-F5344CB8AC3E}">
        <p14:creationId xmlns:p14="http://schemas.microsoft.com/office/powerpoint/2010/main" val="2216244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BC206A-6265-480D-A0D9-EF0F78DD6788}"/>
              </a:ext>
            </a:extLst>
          </p:cNvPr>
          <p:cNvGraphicFramePr>
            <a:graphicFrameLocks noChangeAspect="1"/>
          </p:cNvGraphicFramePr>
          <p:nvPr>
            <p:custDataLst>
              <p:tags r:id="rId2"/>
            </p:custDataLst>
            <p:extLst>
              <p:ext uri="{D42A27DB-BD31-4B8C-83A1-F6EECF244321}">
                <p14:modId xmlns:p14="http://schemas.microsoft.com/office/powerpoint/2010/main" val="3870666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8CD8154-4436-4974-A3C1-3CD2E53CAD65}"/>
              </a:ext>
            </a:extLst>
          </p:cNvPr>
          <p:cNvSpPr>
            <a:spLocks noGrp="1"/>
          </p:cNvSpPr>
          <p:nvPr>
            <p:ph type="title"/>
          </p:nvPr>
        </p:nvSpPr>
        <p:spPr/>
        <p:txBody>
          <a:bodyPr vert="horz"/>
          <a:lstStyle/>
          <a:p>
            <a:r>
              <a:rPr lang="da-DK" dirty="0"/>
              <a:t>At sætte grænser 2/2</a:t>
            </a:r>
          </a:p>
        </p:txBody>
      </p:sp>
      <p:sp>
        <p:nvSpPr>
          <p:cNvPr id="3" name="Content Placeholder 2">
            <a:extLst>
              <a:ext uri="{FF2B5EF4-FFF2-40B4-BE49-F238E27FC236}">
                <a16:creationId xmlns:a16="http://schemas.microsoft.com/office/drawing/2014/main" id="{E02055B7-C98F-4E87-B949-AD6ED0B90212}"/>
              </a:ext>
            </a:extLst>
          </p:cNvPr>
          <p:cNvSpPr>
            <a:spLocks noGrp="1"/>
          </p:cNvSpPr>
          <p:nvPr>
            <p:ph idx="1"/>
          </p:nvPr>
        </p:nvSpPr>
        <p:spPr/>
        <p:txBody>
          <a:bodyPr/>
          <a:lstStyle/>
          <a:p>
            <a:r>
              <a:rPr lang="da-DK" b="1" dirty="0"/>
              <a:t>Øv dig i at stå fast</a:t>
            </a:r>
            <a:r>
              <a:rPr lang="da-DK" dirty="0"/>
              <a:t>: Selvom du har sagt nej, kan du godt opleve, at andre ikke respekterer det. De vil måske spørge ”hvorfor vil du ikke det?” Så er det ok at svare: ”Det vil jeg bare ikke”. De har ikke krav på en forklaring.  </a:t>
            </a:r>
          </a:p>
          <a:p>
            <a:r>
              <a:rPr lang="da-DK" b="1" dirty="0"/>
              <a:t>I behøver ikke være enige</a:t>
            </a:r>
            <a:r>
              <a:rPr lang="da-DK" dirty="0"/>
              <a:t>: Hvis andre er uenige med dig, kan det være svært at stå fast på det du synes. Men det er ok at være uenige. Man kan godt være gode venner, selvom man ikke er enige. </a:t>
            </a:r>
          </a:p>
          <a:p>
            <a:r>
              <a:rPr lang="da-DK" b="1" dirty="0"/>
              <a:t>Sig nej på en god måde</a:t>
            </a:r>
            <a:r>
              <a:rPr lang="da-DK" dirty="0"/>
              <a:t>: Hvis du skal sige nej til noget, kan det være en god idé at se det fra den andens side. Hvis du fx ikke har lyst til at tage med i biografen, kan du sige: ”Nej tak, men det er sødt af dig at spørge mig.”</a:t>
            </a:r>
          </a:p>
          <a:p>
            <a:r>
              <a:rPr lang="da-DK" b="1" dirty="0"/>
              <a:t>Aldrig for sent: </a:t>
            </a:r>
            <a:r>
              <a:rPr lang="da-DK" dirty="0"/>
              <a:t>Nogle gange oplever man først bagefter, at det den anden gjorde eller sagde, ikke var i orden. Det er ikke altid, man får sagt fra i situationen. Så er det ok, at komme tilbage senere, fx nogle dage efter, og fortælle, hvordan man har det. </a:t>
            </a:r>
          </a:p>
          <a:p>
            <a:endParaRPr lang="da-DK" dirty="0"/>
          </a:p>
        </p:txBody>
      </p:sp>
    </p:spTree>
    <p:extLst>
      <p:ext uri="{BB962C8B-B14F-4D97-AF65-F5344CB8AC3E}">
        <p14:creationId xmlns:p14="http://schemas.microsoft.com/office/powerpoint/2010/main" val="211421328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01FB3C-65B3-48E7-933C-5FC149182B8A}"/>
              </a:ext>
            </a:extLst>
          </p:cNvPr>
          <p:cNvGraphicFramePr>
            <a:graphicFrameLocks noChangeAspect="1"/>
          </p:cNvGraphicFramePr>
          <p:nvPr>
            <p:custDataLst>
              <p:tags r:id="rId2"/>
            </p:custDataLst>
            <p:extLst>
              <p:ext uri="{D42A27DB-BD31-4B8C-83A1-F6EECF244321}">
                <p14:modId xmlns:p14="http://schemas.microsoft.com/office/powerpoint/2010/main" val="1370104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A9643C-58A8-4228-92A8-DBB918639242}"/>
              </a:ext>
            </a:extLst>
          </p:cNvPr>
          <p:cNvSpPr>
            <a:spLocks noGrp="1"/>
          </p:cNvSpPr>
          <p:nvPr>
            <p:ph type="title"/>
          </p:nvPr>
        </p:nvSpPr>
        <p:spPr>
          <a:xfrm>
            <a:off x="628649" y="764704"/>
            <a:ext cx="8335839" cy="756084"/>
          </a:xfrm>
        </p:spPr>
        <p:txBody>
          <a:bodyPr vert="horz"/>
          <a:lstStyle/>
          <a:p>
            <a:r>
              <a:rPr lang="da-DK" dirty="0"/>
              <a:t>Hvordan kan man sætte grænser? </a:t>
            </a:r>
          </a:p>
        </p:txBody>
      </p:sp>
      <p:sp>
        <p:nvSpPr>
          <p:cNvPr id="7" name="Speech Bubble: Rectangle with Corners Rounded 6">
            <a:extLst>
              <a:ext uri="{FF2B5EF4-FFF2-40B4-BE49-F238E27FC236}">
                <a16:creationId xmlns:a16="http://schemas.microsoft.com/office/drawing/2014/main" id="{13FB09C1-38BB-45B7-B50B-DFCF3D94A9D0}"/>
              </a:ext>
            </a:extLst>
          </p:cNvPr>
          <p:cNvSpPr/>
          <p:nvPr/>
        </p:nvSpPr>
        <p:spPr>
          <a:xfrm>
            <a:off x="1619672" y="2260760"/>
            <a:ext cx="5760640" cy="2392376"/>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ordan kan vi støtte de unge i at mærke og udtrykke deres egne grænser? </a:t>
            </a:r>
          </a:p>
          <a:p>
            <a:pPr marL="285750" indent="-285750">
              <a:spcAft>
                <a:spcPts val="600"/>
              </a:spcAft>
              <a:buFont typeface="Arial" panose="020B0604020202020204" pitchFamily="34" charset="0"/>
              <a:buChar char="•"/>
            </a:pPr>
            <a:r>
              <a:rPr lang="da-DK" sz="1400" i="1" dirty="0">
                <a:solidFill>
                  <a:schemeClr val="tx1"/>
                </a:solidFill>
              </a:rPr>
              <a:t>Hvad kan være svært? </a:t>
            </a:r>
          </a:p>
          <a:p>
            <a:pPr marL="285750" indent="-285750">
              <a:spcAft>
                <a:spcPts val="600"/>
              </a:spcAft>
              <a:buFont typeface="Arial" panose="020B0604020202020204" pitchFamily="34" charset="0"/>
              <a:buChar char="•"/>
            </a:pPr>
            <a:r>
              <a:rPr lang="da-DK" sz="1400" i="1" dirty="0">
                <a:solidFill>
                  <a:schemeClr val="tx1"/>
                </a:solidFill>
              </a:rPr>
              <a:t>Hvad fungerer godt?</a:t>
            </a:r>
          </a:p>
        </p:txBody>
      </p:sp>
    </p:spTree>
    <p:extLst>
      <p:ext uri="{BB962C8B-B14F-4D97-AF65-F5344CB8AC3E}">
        <p14:creationId xmlns:p14="http://schemas.microsoft.com/office/powerpoint/2010/main" val="196820982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2D32A6-B847-44FA-BAA2-FA6A8DA6E147}"/>
              </a:ext>
            </a:extLst>
          </p:cNvPr>
          <p:cNvGraphicFramePr>
            <a:graphicFrameLocks noChangeAspect="1"/>
          </p:cNvGraphicFramePr>
          <p:nvPr>
            <p:custDataLst>
              <p:tags r:id="rId2"/>
            </p:custDataLst>
            <p:extLst>
              <p:ext uri="{D42A27DB-BD31-4B8C-83A1-F6EECF244321}">
                <p14:modId xmlns:p14="http://schemas.microsoft.com/office/powerpoint/2010/main" val="4133685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9" name="Pladsholder til indhold 3">
            <a:extLst>
              <a:ext uri="{FF2B5EF4-FFF2-40B4-BE49-F238E27FC236}">
                <a16:creationId xmlns:a16="http://schemas.microsoft.com/office/drawing/2014/main" id="{27031884-F443-4810-AF6C-42CDEBC2912A}"/>
              </a:ext>
            </a:extLst>
          </p:cNvPr>
          <p:cNvGraphicFramePr>
            <a:graphicFrameLocks/>
          </p:cNvGraphicFramePr>
          <p:nvPr>
            <p:extLst>
              <p:ext uri="{D42A27DB-BD31-4B8C-83A1-F6EECF244321}">
                <p14:modId xmlns:p14="http://schemas.microsoft.com/office/powerpoint/2010/main" val="3540252683"/>
              </p:ext>
            </p:extLst>
          </p:nvPr>
        </p:nvGraphicFramePr>
        <p:xfrm>
          <a:off x="323528" y="1268760"/>
          <a:ext cx="6048672" cy="321982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10" name="Diagram 9">
            <a:extLst>
              <a:ext uri="{FF2B5EF4-FFF2-40B4-BE49-F238E27FC236}">
                <a16:creationId xmlns:a16="http://schemas.microsoft.com/office/drawing/2014/main" id="{E97E4EE1-C264-439E-8FD5-795D6EE58B1B}"/>
              </a:ext>
            </a:extLst>
          </p:cNvPr>
          <p:cNvGraphicFramePr/>
          <p:nvPr>
            <p:extLst>
              <p:ext uri="{D42A27DB-BD31-4B8C-83A1-F6EECF244321}">
                <p14:modId xmlns:p14="http://schemas.microsoft.com/office/powerpoint/2010/main" val="2990906651"/>
              </p:ext>
            </p:extLst>
          </p:nvPr>
        </p:nvGraphicFramePr>
        <p:xfrm>
          <a:off x="1907704" y="2564904"/>
          <a:ext cx="6480720" cy="3456384"/>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12" name="TextBox 11">
            <a:extLst>
              <a:ext uri="{FF2B5EF4-FFF2-40B4-BE49-F238E27FC236}">
                <a16:creationId xmlns:a16="http://schemas.microsoft.com/office/drawing/2014/main" id="{1D54A48D-F897-4E2A-AEC8-F63BFD668F90}"/>
              </a:ext>
            </a:extLst>
          </p:cNvPr>
          <p:cNvSpPr txBox="1"/>
          <p:nvPr/>
        </p:nvSpPr>
        <p:spPr>
          <a:xfrm>
            <a:off x="6511761" y="5517232"/>
            <a:ext cx="2664296" cy="153888"/>
          </a:xfrm>
          <a:prstGeom prst="rect">
            <a:avLst/>
          </a:prstGeom>
          <a:noFill/>
        </p:spPr>
        <p:txBody>
          <a:bodyPr wrap="square" lIns="0" tIns="0" rIns="0" bIns="0" rtlCol="0">
            <a:spAutoFit/>
          </a:bodyPr>
          <a:lstStyle/>
          <a:p>
            <a:r>
              <a:rPr lang="da-DK" sz="1000" dirty="0">
                <a:solidFill>
                  <a:schemeClr val="bg2"/>
                </a:solidFill>
              </a:rPr>
              <a:t>Kilde: Dansk Familieterapeutisk Institut.</a:t>
            </a:r>
          </a:p>
        </p:txBody>
      </p:sp>
      <p:sp>
        <p:nvSpPr>
          <p:cNvPr id="13" name="Title 1">
            <a:extLst>
              <a:ext uri="{FF2B5EF4-FFF2-40B4-BE49-F238E27FC236}">
                <a16:creationId xmlns:a16="http://schemas.microsoft.com/office/drawing/2014/main" id="{ECC693A7-9365-481A-9C5A-E6D8F0BF3E54}"/>
              </a:ext>
            </a:extLst>
          </p:cNvPr>
          <p:cNvSpPr>
            <a:spLocks noGrp="1"/>
          </p:cNvSpPr>
          <p:nvPr>
            <p:ph type="title"/>
          </p:nvPr>
        </p:nvSpPr>
        <p:spPr>
          <a:xfrm>
            <a:off x="619918" y="534590"/>
            <a:ext cx="7904163" cy="756084"/>
          </a:xfrm>
        </p:spPr>
        <p:txBody>
          <a:bodyPr vert="horz"/>
          <a:lstStyle/>
          <a:p>
            <a:r>
              <a:rPr lang="da-DK" dirty="0"/>
              <a:t>Konflikter mellem forældre og ung</a:t>
            </a:r>
          </a:p>
        </p:txBody>
      </p:sp>
    </p:spTree>
    <p:extLst>
      <p:ext uri="{BB962C8B-B14F-4D97-AF65-F5344CB8AC3E}">
        <p14:creationId xmlns:p14="http://schemas.microsoft.com/office/powerpoint/2010/main" val="39874925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A9C59-E63B-4098-874A-998C0B4C277B}"/>
              </a:ext>
            </a:extLst>
          </p:cNvPr>
          <p:cNvSpPr>
            <a:spLocks noGrp="1"/>
          </p:cNvSpPr>
          <p:nvPr>
            <p:ph type="title"/>
          </p:nvPr>
        </p:nvSpPr>
        <p:spPr/>
        <p:txBody>
          <a:bodyPr/>
          <a:lstStyle/>
          <a:p>
            <a:r>
              <a:rPr lang="da-DK" dirty="0"/>
              <a:t>De unges læringsforløb</a:t>
            </a:r>
          </a:p>
        </p:txBody>
      </p:sp>
      <p:sp>
        <p:nvSpPr>
          <p:cNvPr id="3" name="Content Placeholder 2">
            <a:extLst>
              <a:ext uri="{FF2B5EF4-FFF2-40B4-BE49-F238E27FC236}">
                <a16:creationId xmlns:a16="http://schemas.microsoft.com/office/drawing/2014/main" id="{31F49CB6-A3DB-4E2E-A359-7D3D75C20525}"/>
              </a:ext>
            </a:extLst>
          </p:cNvPr>
          <p:cNvSpPr>
            <a:spLocks noGrp="1"/>
          </p:cNvSpPr>
          <p:nvPr>
            <p:ph idx="1"/>
          </p:nvPr>
        </p:nvSpPr>
        <p:spPr/>
        <p:txBody>
          <a:bodyPr>
            <a:normAutofit fontScale="92500" lnSpcReduction="10000"/>
          </a:bodyPr>
          <a:lstStyle/>
          <a:p>
            <a:pPr marL="0" indent="0">
              <a:buNone/>
            </a:pPr>
            <a:r>
              <a:rPr lang="da-DK" dirty="0"/>
              <a:t>Gruppeforløbet består af 9 moduler</a:t>
            </a:r>
          </a:p>
          <a:p>
            <a:pPr marL="0" indent="0">
              <a:buNone/>
            </a:pPr>
            <a:r>
              <a:rPr lang="da-DK" dirty="0"/>
              <a:t>1. Velkommen</a:t>
            </a:r>
          </a:p>
          <a:p>
            <a:pPr marL="0" indent="0">
              <a:buNone/>
            </a:pPr>
            <a:r>
              <a:rPr lang="da-DK" dirty="0"/>
              <a:t>2. Forstå mig selv og andre</a:t>
            </a:r>
          </a:p>
          <a:p>
            <a:pPr marL="0" indent="0">
              <a:buNone/>
            </a:pPr>
            <a:r>
              <a:rPr lang="da-DK" dirty="0"/>
              <a:t>3. Samtale</a:t>
            </a:r>
          </a:p>
          <a:p>
            <a:pPr marL="0" indent="0">
              <a:buNone/>
            </a:pPr>
            <a:r>
              <a:rPr lang="da-DK" dirty="0"/>
              <a:t>4. Konflikter</a:t>
            </a:r>
          </a:p>
          <a:p>
            <a:pPr marL="0" indent="0">
              <a:buNone/>
            </a:pPr>
            <a:r>
              <a:rPr lang="da-DK" dirty="0"/>
              <a:t>5. Uddannelse og job</a:t>
            </a:r>
          </a:p>
          <a:p>
            <a:pPr marL="0" indent="0">
              <a:buNone/>
            </a:pPr>
            <a:r>
              <a:rPr lang="da-DK" dirty="0"/>
              <a:t>6. Fritid og venskaber</a:t>
            </a:r>
          </a:p>
          <a:p>
            <a:pPr marL="0" indent="0">
              <a:buNone/>
            </a:pPr>
            <a:r>
              <a:rPr lang="da-DK" dirty="0"/>
              <a:t>7. Flytte hjemmefra</a:t>
            </a:r>
          </a:p>
          <a:p>
            <a:pPr marL="0" indent="0">
              <a:buNone/>
            </a:pPr>
            <a:r>
              <a:rPr lang="da-DK" dirty="0"/>
              <a:t>8. Afslutning</a:t>
            </a:r>
          </a:p>
          <a:p>
            <a:pPr marL="0" indent="0">
              <a:buNone/>
            </a:pPr>
            <a:r>
              <a:rPr lang="da-DK" dirty="0"/>
              <a:t>9. Booster (efter 2 mdr.)</a:t>
            </a:r>
          </a:p>
          <a:p>
            <a:pPr marL="0" indent="0">
              <a:buNone/>
            </a:pPr>
            <a:endParaRPr lang="da-DK" dirty="0"/>
          </a:p>
          <a:p>
            <a:pPr marL="0" indent="0">
              <a:buNone/>
            </a:pPr>
            <a:r>
              <a:rPr lang="da-DK" dirty="0"/>
              <a:t>Hver uge får den unge individuel støtte, som aftales mellem den unge og støttepersonen fra uge til uge.</a:t>
            </a:r>
          </a:p>
          <a:p>
            <a:pPr marL="0" indent="0">
              <a:buNone/>
            </a:pPr>
            <a:endParaRPr lang="da-DK" dirty="0"/>
          </a:p>
        </p:txBody>
      </p:sp>
    </p:spTree>
    <p:extLst>
      <p:ext uri="{BB962C8B-B14F-4D97-AF65-F5344CB8AC3E}">
        <p14:creationId xmlns:p14="http://schemas.microsoft.com/office/powerpoint/2010/main" val="177452184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23C1B6A-E4F6-4594-9A74-BED2AF202586}"/>
              </a:ext>
            </a:extLst>
          </p:cNvPr>
          <p:cNvGraphicFramePr>
            <a:graphicFrameLocks noChangeAspect="1"/>
          </p:cNvGraphicFramePr>
          <p:nvPr>
            <p:custDataLst>
              <p:tags r:id="rId2"/>
            </p:custDataLst>
            <p:extLst>
              <p:ext uri="{D42A27DB-BD31-4B8C-83A1-F6EECF244321}">
                <p14:modId xmlns:p14="http://schemas.microsoft.com/office/powerpoint/2010/main" val="2099485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ktangel 3"/>
          <p:cNvSpPr/>
          <p:nvPr/>
        </p:nvSpPr>
        <p:spPr>
          <a:xfrm>
            <a:off x="4426528" y="1409940"/>
            <a:ext cx="2026227" cy="3962110"/>
          </a:xfrm>
          <a:prstGeom prst="rect">
            <a:avLst/>
          </a:prstGeom>
        </p:spPr>
        <p:txBody>
          <a:bodyPr wrap="square">
            <a:spAutoFit/>
          </a:bodyPr>
          <a:lstStyle/>
          <a:p>
            <a:pPr marL="0" marR="0" lvl="0" indent="0" algn="l" defTabSz="685800" rtl="0" eaLnBrk="1" fontAlgn="auto" latinLnBrk="0" hangingPunct="1">
              <a:lnSpc>
                <a:spcPct val="125000"/>
              </a:lnSpc>
              <a:spcBef>
                <a:spcPts val="0"/>
              </a:spcBef>
              <a:spcAft>
                <a:spcPts val="600"/>
              </a:spcAft>
              <a:buClrTx/>
              <a:buSzTx/>
              <a:buFontTx/>
              <a:buNone/>
              <a:tabLst/>
              <a:defRPr/>
            </a:pPr>
            <a:r>
              <a:rPr kumimoji="0" lang="da-DK" sz="135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Girafadfærd: </a:t>
            </a:r>
            <a:r>
              <a:rPr kumimoji="0" lang="da-DK" sz="135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Giraffen er optaget af, hvad der sker i mennesker, og hvordan man </a:t>
            </a:r>
            <a:r>
              <a:rPr kumimoji="0" lang="da-DK" sz="1350" b="0" i="1"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ammen </a:t>
            </a:r>
            <a:r>
              <a:rPr kumimoji="0" lang="da-DK" sz="135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kan være med til at skabe en konstruktiv kommunikation og et godt samarbejde. Giraffen ved, at der findes forskellige ’sandheder’ (synspunkter) og at det ikke gør os enten rigtige eller forkerte, men blot forskellige. </a:t>
            </a:r>
          </a:p>
        </p:txBody>
      </p:sp>
      <p:sp>
        <p:nvSpPr>
          <p:cNvPr id="5" name="Rektangel 4"/>
          <p:cNvSpPr/>
          <p:nvPr/>
        </p:nvSpPr>
        <p:spPr>
          <a:xfrm>
            <a:off x="540392" y="4377355"/>
            <a:ext cx="3449782" cy="1624932"/>
          </a:xfrm>
          <a:prstGeom prst="rect">
            <a:avLst/>
          </a:prstGeom>
        </p:spPr>
        <p:txBody>
          <a:bodyPr wrap="square">
            <a:spAutoFit/>
          </a:bodyPr>
          <a:lstStyle/>
          <a:p>
            <a:pPr marL="0" marR="0" lvl="0" indent="0" algn="l" defTabSz="685800" rtl="0" eaLnBrk="1" fontAlgn="auto" latinLnBrk="0" hangingPunct="1">
              <a:lnSpc>
                <a:spcPct val="125000"/>
              </a:lnSpc>
              <a:spcBef>
                <a:spcPts val="0"/>
              </a:spcBef>
              <a:spcAft>
                <a:spcPts val="600"/>
              </a:spcAft>
              <a:buClrTx/>
              <a:buSzTx/>
              <a:buFontTx/>
              <a:buNone/>
              <a:tabLst/>
              <a:defRPr/>
            </a:pPr>
            <a:r>
              <a:rPr kumimoji="0" lang="da-DK" sz="135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Ulveadfærd:</a:t>
            </a:r>
            <a:r>
              <a:rPr kumimoji="0" lang="da-DK" sz="135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Ulven er optaget af, hvad der er galt med den anden. Ulven kommer let til at skabe frygt, skyld eller skam hos sin samtalepartner. Det skyldes at ulven </a:t>
            </a:r>
            <a:r>
              <a:rPr kumimoji="0" lang="da-DK" sz="135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kritiserer, angriber </a:t>
            </a:r>
            <a:r>
              <a:rPr kumimoji="0" lang="da-DK" sz="135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og </a:t>
            </a:r>
            <a:r>
              <a:rPr kumimoji="0" lang="da-DK" sz="135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bedømmer </a:t>
            </a:r>
            <a:r>
              <a:rPr kumimoji="0" lang="da-DK" sz="135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den anden. </a:t>
            </a:r>
          </a:p>
        </p:txBody>
      </p:sp>
      <p:sp>
        <p:nvSpPr>
          <p:cNvPr id="9" name="Title 1">
            <a:extLst>
              <a:ext uri="{FF2B5EF4-FFF2-40B4-BE49-F238E27FC236}">
                <a16:creationId xmlns:a16="http://schemas.microsoft.com/office/drawing/2014/main" id="{91A4488C-C110-488B-8921-2B7DF16E0E17}"/>
              </a:ext>
            </a:extLst>
          </p:cNvPr>
          <p:cNvSpPr txBox="1">
            <a:spLocks/>
          </p:cNvSpPr>
          <p:nvPr/>
        </p:nvSpPr>
        <p:spPr>
          <a:xfrm>
            <a:off x="619918" y="534590"/>
            <a:ext cx="7904163" cy="75608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da-DK" sz="3000" b="1" i="0" u="none" strike="noStrike" kern="1200" cap="none" spc="0" normalizeH="0" baseline="0" noProof="0" dirty="0">
                <a:ln>
                  <a:noFill/>
                </a:ln>
                <a:solidFill>
                  <a:srgbClr val="AF292E"/>
                </a:solidFill>
                <a:effectLst/>
                <a:uLnTx/>
                <a:uFillTx/>
                <a:latin typeface="Arial" panose="020B0604020202020204"/>
                <a:ea typeface="+mj-ea"/>
                <a:cs typeface="+mj-cs"/>
              </a:rPr>
              <a:t>Udvikling af konflikter mellem forældre og den unge</a:t>
            </a:r>
          </a:p>
        </p:txBody>
      </p:sp>
      <p:sp>
        <p:nvSpPr>
          <p:cNvPr id="12" name="TextBox 11">
            <a:extLst>
              <a:ext uri="{FF2B5EF4-FFF2-40B4-BE49-F238E27FC236}">
                <a16:creationId xmlns:a16="http://schemas.microsoft.com/office/drawing/2014/main" id="{F99E7B78-0503-471C-A731-F878D9B1C7E8}"/>
              </a:ext>
            </a:extLst>
          </p:cNvPr>
          <p:cNvSpPr txBox="1"/>
          <p:nvPr/>
        </p:nvSpPr>
        <p:spPr>
          <a:xfrm>
            <a:off x="4419442" y="5589240"/>
            <a:ext cx="4473038" cy="246221"/>
          </a:xfrm>
          <a:prstGeom prst="rect">
            <a:avLst/>
          </a:prstGeom>
          <a:noFill/>
        </p:spPr>
        <p:txBody>
          <a:bodyPr wrap="square" rtlCol="0">
            <a:spAutoFit/>
          </a:bodyPr>
          <a:lstStyle/>
          <a:p>
            <a:r>
              <a:rPr lang="en-US" sz="1000" dirty="0" err="1">
                <a:solidFill>
                  <a:schemeClr val="accent3"/>
                </a:solidFill>
              </a:rPr>
              <a:t>Kilde</a:t>
            </a:r>
            <a:r>
              <a:rPr lang="en-US" sz="1000" dirty="0">
                <a:solidFill>
                  <a:schemeClr val="accent3"/>
                </a:solidFill>
              </a:rPr>
              <a:t>: </a:t>
            </a:r>
            <a:r>
              <a:rPr lang="en-US" sz="1000" dirty="0" err="1">
                <a:solidFill>
                  <a:schemeClr val="accent3"/>
                </a:solidFill>
              </a:rPr>
              <a:t>Lederweb</a:t>
            </a:r>
            <a:r>
              <a:rPr lang="en-US" sz="1000" dirty="0">
                <a:solidFill>
                  <a:schemeClr val="accent3"/>
                </a:solidFill>
              </a:rPr>
              <a:t>, </a:t>
            </a:r>
            <a:r>
              <a:rPr lang="en-US" sz="1000" dirty="0">
                <a:solidFill>
                  <a:schemeClr val="accent3"/>
                </a:solidFill>
                <a:hlinkClick r:id="rId7">
                  <a:extLst>
                    <a:ext uri="{A12FA001-AC4F-418D-AE19-62706E023703}">
                      <ahyp:hlinkClr xmlns:ahyp="http://schemas.microsoft.com/office/drawing/2018/hyperlinkcolor" xmlns="" val="tx"/>
                    </a:ext>
                  </a:extLst>
                </a:hlinkClick>
              </a:rPr>
              <a:t>https://www.lederweb.dk/artikler/kom-fra-ulve-til-girafsprog/</a:t>
            </a:r>
            <a:endParaRPr lang="en-US" sz="1000" dirty="0">
              <a:solidFill>
                <a:schemeClr val="accent3"/>
              </a:solidFill>
            </a:endParaRPr>
          </a:p>
        </p:txBody>
      </p:sp>
      <p:pic>
        <p:nvPicPr>
          <p:cNvPr id="3" name="Picture 2">
            <a:extLst>
              <a:ext uri="{FF2B5EF4-FFF2-40B4-BE49-F238E27FC236}">
                <a16:creationId xmlns:a16="http://schemas.microsoft.com/office/drawing/2014/main" id="{C64B9002-5C53-443C-90D7-E9822EB9DD55}"/>
              </a:ext>
            </a:extLst>
          </p:cNvPr>
          <p:cNvPicPr>
            <a:picLocks noChangeAspect="1"/>
          </p:cNvPicPr>
          <p:nvPr/>
        </p:nvPicPr>
        <p:blipFill>
          <a:blip r:embed="rId8" cstate="screen">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tretch>
            <a:fillRect/>
          </a:stretch>
        </p:blipFill>
        <p:spPr>
          <a:xfrm>
            <a:off x="6452755" y="1340768"/>
            <a:ext cx="2518915" cy="3778372"/>
          </a:xfrm>
          <a:prstGeom prst="rect">
            <a:avLst/>
          </a:prstGeom>
        </p:spPr>
      </p:pic>
      <p:pic>
        <p:nvPicPr>
          <p:cNvPr id="11" name="Picture 10">
            <a:extLst>
              <a:ext uri="{FF2B5EF4-FFF2-40B4-BE49-F238E27FC236}">
                <a16:creationId xmlns:a16="http://schemas.microsoft.com/office/drawing/2014/main" id="{65656D8F-4F47-4003-8CC6-934602628971}"/>
              </a:ext>
            </a:extLst>
          </p:cNvPr>
          <p:cNvPicPr>
            <a:picLocks noChangeAspect="1"/>
          </p:cNvPicPr>
          <p:nvPr/>
        </p:nvPicPr>
        <p:blipFill>
          <a:blip r:embed="rId10" cstate="screen">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a:ext>
            </a:extLst>
          </a:blip>
          <a:stretch>
            <a:fillRect/>
          </a:stretch>
        </p:blipFill>
        <p:spPr>
          <a:xfrm>
            <a:off x="899592" y="1698144"/>
            <a:ext cx="2284672" cy="2495919"/>
          </a:xfrm>
          <a:prstGeom prst="rect">
            <a:avLst/>
          </a:prstGeom>
        </p:spPr>
      </p:pic>
      <p:sp>
        <p:nvSpPr>
          <p:cNvPr id="14" name="TextBox 13">
            <a:extLst>
              <a:ext uri="{FF2B5EF4-FFF2-40B4-BE49-F238E27FC236}">
                <a16:creationId xmlns:a16="http://schemas.microsoft.com/office/drawing/2014/main" id="{3DBE50CB-2CCD-423D-9A83-C47F99AE3C0C}"/>
              </a:ext>
            </a:extLst>
          </p:cNvPr>
          <p:cNvSpPr txBox="1"/>
          <p:nvPr/>
        </p:nvSpPr>
        <p:spPr>
          <a:xfrm>
            <a:off x="795545" y="4182011"/>
            <a:ext cx="2287167" cy="246221"/>
          </a:xfrm>
          <a:prstGeom prst="rect">
            <a:avLst/>
          </a:prstGeom>
          <a:noFill/>
        </p:spPr>
        <p:txBody>
          <a:bodyPr wrap="square" rtlCol="0">
            <a:spAutoFit/>
          </a:bodyPr>
          <a:lstStyle/>
          <a:p>
            <a:r>
              <a:rPr lang="da-DK" sz="1000" dirty="0">
                <a:solidFill>
                  <a:schemeClr val="accent3"/>
                </a:solidFill>
              </a:rPr>
              <a:t>Kilde: Marc Olivier </a:t>
            </a:r>
            <a:r>
              <a:rPr lang="da-DK" sz="1000" dirty="0" err="1">
                <a:solidFill>
                  <a:schemeClr val="accent3"/>
                </a:solidFill>
              </a:rPr>
              <a:t>Jodoin</a:t>
            </a:r>
            <a:r>
              <a:rPr lang="da-DK" sz="1000" dirty="0">
                <a:solidFill>
                  <a:schemeClr val="accent3"/>
                </a:solidFill>
              </a:rPr>
              <a:t>, </a:t>
            </a:r>
            <a:r>
              <a:rPr lang="da-DK" sz="1000" dirty="0" err="1">
                <a:solidFill>
                  <a:schemeClr val="accent3"/>
                </a:solidFill>
              </a:rPr>
              <a:t>Unsplash</a:t>
            </a:r>
            <a:endParaRPr lang="da-DK" sz="1000" dirty="0">
              <a:solidFill>
                <a:schemeClr val="accent3"/>
              </a:solidFill>
            </a:endParaRPr>
          </a:p>
        </p:txBody>
      </p:sp>
      <p:sp>
        <p:nvSpPr>
          <p:cNvPr id="15" name="TextBox 14">
            <a:extLst>
              <a:ext uri="{FF2B5EF4-FFF2-40B4-BE49-F238E27FC236}">
                <a16:creationId xmlns:a16="http://schemas.microsoft.com/office/drawing/2014/main" id="{51A37CD9-DBB2-41E6-90F5-F217C7B882DC}"/>
              </a:ext>
            </a:extLst>
          </p:cNvPr>
          <p:cNvSpPr txBox="1"/>
          <p:nvPr/>
        </p:nvSpPr>
        <p:spPr>
          <a:xfrm>
            <a:off x="6452755" y="5119140"/>
            <a:ext cx="2287167" cy="246221"/>
          </a:xfrm>
          <a:prstGeom prst="rect">
            <a:avLst/>
          </a:prstGeom>
          <a:noFill/>
        </p:spPr>
        <p:txBody>
          <a:bodyPr wrap="square" rtlCol="0">
            <a:spAutoFit/>
          </a:bodyPr>
          <a:lstStyle/>
          <a:p>
            <a:r>
              <a:rPr lang="da-DK" sz="1000" dirty="0">
                <a:solidFill>
                  <a:schemeClr val="accent3"/>
                </a:solidFill>
              </a:rPr>
              <a:t>Kilde: Sian Cooper, </a:t>
            </a:r>
            <a:r>
              <a:rPr lang="da-DK" sz="1000" dirty="0" err="1">
                <a:solidFill>
                  <a:schemeClr val="accent3"/>
                </a:solidFill>
              </a:rPr>
              <a:t>Unsplash</a:t>
            </a:r>
            <a:endParaRPr lang="da-DK" sz="1000" dirty="0">
              <a:solidFill>
                <a:schemeClr val="accent3"/>
              </a:solidFill>
            </a:endParaRPr>
          </a:p>
        </p:txBody>
      </p:sp>
    </p:spTree>
    <p:extLst>
      <p:ext uri="{BB962C8B-B14F-4D97-AF65-F5344CB8AC3E}">
        <p14:creationId xmlns:p14="http://schemas.microsoft.com/office/powerpoint/2010/main" val="212661619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6B82B3A-11E8-4109-B85F-DC36CE078229}"/>
              </a:ext>
            </a:extLst>
          </p:cNvPr>
          <p:cNvGraphicFramePr>
            <a:graphicFrameLocks noChangeAspect="1"/>
          </p:cNvGraphicFramePr>
          <p:nvPr>
            <p:custDataLst>
              <p:tags r:id="rId2"/>
            </p:custDataLst>
            <p:extLst>
              <p:ext uri="{D42A27DB-BD31-4B8C-83A1-F6EECF244321}">
                <p14:modId xmlns:p14="http://schemas.microsoft.com/office/powerpoint/2010/main" val="2827894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5" imgW="342" imgH="337" progId="TCLayout.ActiveDocument.1">
                  <p:embed/>
                </p:oleObj>
              </mc:Choice>
              <mc:Fallback>
                <p:oleObj name="think-cell Slide" r:id="rId5" imgW="342" imgH="337" progId="TCLayout.ActiveDocument.1">
                  <p:embed/>
                  <p:pic>
                    <p:nvPicPr>
                      <p:cNvPr id="6" name="Object 5" hidden="1">
                        <a:extLst>
                          <a:ext uri="{FF2B5EF4-FFF2-40B4-BE49-F238E27FC236}">
                            <a16:creationId xmlns:a16="http://schemas.microsoft.com/office/drawing/2014/main" id="{06B82B3A-11E8-4109-B85F-DC36CE0782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rmAutofit fontScale="90000"/>
          </a:bodyPr>
          <a:lstStyle/>
          <a:p>
            <a:r>
              <a:rPr lang="da-DK" sz="2800" b="1" dirty="0">
                <a:solidFill>
                  <a:srgbClr val="AF292E"/>
                </a:solidFill>
                <a:latin typeface="Arial" panose="020B0604020202020204"/>
              </a:rPr>
              <a:t>Konfliktnedtrapning</a:t>
            </a:r>
            <a:r>
              <a:rPr lang="da-DK" sz="2800" dirty="0"/>
              <a:t> </a:t>
            </a:r>
            <a:r>
              <a:rPr lang="da-DK" sz="2800" b="1" dirty="0">
                <a:solidFill>
                  <a:srgbClr val="AF292E"/>
                </a:solidFill>
                <a:latin typeface="Arial" panose="020B0604020202020204"/>
              </a:rPr>
              <a:t>– fra ulvesprog til girafsprog</a:t>
            </a:r>
          </a:p>
        </p:txBody>
      </p:sp>
      <p:sp>
        <p:nvSpPr>
          <p:cNvPr id="4" name="Rektangel 3"/>
          <p:cNvSpPr/>
          <p:nvPr/>
        </p:nvSpPr>
        <p:spPr>
          <a:xfrm>
            <a:off x="3007439" y="1808183"/>
            <a:ext cx="3273137" cy="3750514"/>
          </a:xfrm>
          <a:prstGeom prst="rect">
            <a:avLst/>
          </a:prstGeom>
        </p:spPr>
        <p:txBody>
          <a:bodyPr wrap="square">
            <a:spAutoFit/>
          </a:bodyPr>
          <a:lstStyle/>
          <a:p>
            <a:pPr marR="0" lvl="0" algn="l" defTabSz="685800" rtl="0" eaLnBrk="1" fontAlgn="auto" latinLnBrk="0" hangingPunct="1">
              <a:lnSpc>
                <a:spcPct val="125000"/>
              </a:lnSpc>
              <a:spcBef>
                <a:spcPts val="0"/>
              </a:spcBef>
              <a:spcAft>
                <a:spcPts val="1200"/>
              </a:spcAft>
              <a:buClrTx/>
              <a:buSzTx/>
              <a:tabLst/>
              <a:defRPr/>
            </a:pPr>
            <a:r>
              <a:rPr kumimoji="0" lang="da-DK" sz="135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proget gør noget ved mennesker og måden, som vi bruger sproget på</a:t>
            </a:r>
            <a:r>
              <a:rPr kumimoji="0" lang="da-DK" sz="1350" b="0" i="0" u="none" strike="noStrike" kern="1200" cap="none" spc="0" normalizeH="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da-DK" sz="135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har </a:t>
            </a:r>
            <a:r>
              <a:rPr kumimoji="0" lang="da-DK" sz="135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fgørende betydning for vores relationer og samarbejde med hinanden. </a:t>
            </a:r>
          </a:p>
          <a:p>
            <a:pPr marR="0" lvl="0" algn="l" defTabSz="685800" rtl="0" eaLnBrk="1" fontAlgn="auto" latinLnBrk="0" hangingPunct="1">
              <a:lnSpc>
                <a:spcPct val="125000"/>
              </a:lnSpc>
              <a:spcBef>
                <a:spcPts val="0"/>
              </a:spcBef>
              <a:spcAft>
                <a:spcPts val="1200"/>
              </a:spcAft>
              <a:buClrTx/>
              <a:buSzTx/>
              <a:tabLst/>
              <a:defRPr/>
            </a:pPr>
            <a:r>
              <a:rPr kumimoji="0" lang="da-DK" sz="135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For at skabe en god dialog handler det om at blive på egen banehalvdel og undgå, at den anden kommer til at fremstå </a:t>
            </a:r>
            <a:r>
              <a:rPr kumimoji="0" lang="da-DK" sz="1350" b="0" i="1"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forkert</a:t>
            </a:r>
            <a:r>
              <a:rPr kumimoji="0" lang="da-DK" sz="135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a:t>
            </a:r>
          </a:p>
          <a:p>
            <a:pPr marR="0" lvl="0" algn="l" defTabSz="685800" rtl="0" eaLnBrk="1" fontAlgn="auto" latinLnBrk="0" hangingPunct="1">
              <a:lnSpc>
                <a:spcPct val="125000"/>
              </a:lnSpc>
              <a:spcBef>
                <a:spcPts val="0"/>
              </a:spcBef>
              <a:spcAft>
                <a:spcPts val="1200"/>
              </a:spcAft>
              <a:buClrTx/>
              <a:buSzTx/>
              <a:tabLst/>
              <a:defRPr/>
            </a:pPr>
            <a:r>
              <a:rPr kumimoji="0" lang="da-DK" sz="135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Det undgår man ved at være opmærksom på, hvad der tilhører ens egen indre verden – altså hvad du </a:t>
            </a:r>
            <a:r>
              <a:rPr kumimoji="0" lang="da-DK" sz="1350" b="0" i="1"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forestiller</a:t>
            </a:r>
            <a:r>
              <a:rPr kumimoji="0" lang="da-DK" sz="135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dig og gætter på, og hvad der rent </a:t>
            </a:r>
            <a:r>
              <a:rPr kumimoji="0" lang="da-DK" sz="1350" b="0" i="1"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konkret</a:t>
            </a:r>
            <a:r>
              <a:rPr kumimoji="0" lang="da-DK" sz="135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da-DK" sz="1350" b="0" i="1"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sker </a:t>
            </a:r>
            <a:r>
              <a:rPr kumimoji="0" lang="da-DK" sz="135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omkring én</a:t>
            </a:r>
            <a:r>
              <a:rPr kumimoji="0" lang="da-DK" sz="1350" b="0" i="1"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t>
            </a:r>
            <a:r>
              <a:rPr kumimoji="0" lang="da-DK" sz="135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a:t>
            </a:r>
          </a:p>
        </p:txBody>
      </p:sp>
      <p:sp>
        <p:nvSpPr>
          <p:cNvPr id="9" name="TextBox 8">
            <a:extLst>
              <a:ext uri="{FF2B5EF4-FFF2-40B4-BE49-F238E27FC236}">
                <a16:creationId xmlns:a16="http://schemas.microsoft.com/office/drawing/2014/main" id="{C0FAA42B-3A6F-4059-8662-22B40ABB44D5}"/>
              </a:ext>
            </a:extLst>
          </p:cNvPr>
          <p:cNvSpPr txBox="1"/>
          <p:nvPr/>
        </p:nvSpPr>
        <p:spPr>
          <a:xfrm>
            <a:off x="3002766" y="5722981"/>
            <a:ext cx="4593570" cy="246221"/>
          </a:xfrm>
          <a:prstGeom prst="rect">
            <a:avLst/>
          </a:prstGeom>
          <a:noFill/>
        </p:spPr>
        <p:txBody>
          <a:bodyPr wrap="square" rtlCol="0">
            <a:spAutoFit/>
          </a:bodyPr>
          <a:lstStyle/>
          <a:p>
            <a:r>
              <a:rPr lang="en-US" sz="1000" dirty="0" err="1">
                <a:solidFill>
                  <a:schemeClr val="accent3"/>
                </a:solidFill>
              </a:rPr>
              <a:t>Kilde</a:t>
            </a:r>
            <a:r>
              <a:rPr lang="en-US" sz="1000" dirty="0">
                <a:solidFill>
                  <a:schemeClr val="accent3"/>
                </a:solidFill>
              </a:rPr>
              <a:t>: </a:t>
            </a:r>
            <a:r>
              <a:rPr lang="en-US" sz="1000" dirty="0" err="1">
                <a:solidFill>
                  <a:schemeClr val="accent3"/>
                </a:solidFill>
              </a:rPr>
              <a:t>Lederweb</a:t>
            </a:r>
            <a:r>
              <a:rPr lang="en-US" sz="1000" dirty="0">
                <a:solidFill>
                  <a:schemeClr val="accent3"/>
                </a:solidFill>
              </a:rPr>
              <a:t>, </a:t>
            </a:r>
            <a:r>
              <a:rPr lang="en-US" sz="1000" dirty="0">
                <a:solidFill>
                  <a:schemeClr val="accent3"/>
                </a:solidFill>
                <a:hlinkClick r:id="rId7">
                  <a:extLst>
                    <a:ext uri="{A12FA001-AC4F-418D-AE19-62706E023703}">
                      <ahyp:hlinkClr xmlns:ahyp="http://schemas.microsoft.com/office/drawing/2018/hyperlinkcolor" xmlns="" val="tx"/>
                    </a:ext>
                  </a:extLst>
                </a:hlinkClick>
              </a:rPr>
              <a:t>https://www.lederweb.dk/artikler/kom-fra-ulve-til-girafsprog/</a:t>
            </a:r>
            <a:endParaRPr lang="en-US" sz="1000" dirty="0">
              <a:solidFill>
                <a:schemeClr val="accent3"/>
              </a:solidFill>
            </a:endParaRPr>
          </a:p>
        </p:txBody>
      </p:sp>
      <p:pic>
        <p:nvPicPr>
          <p:cNvPr id="10" name="Picture 9">
            <a:extLst>
              <a:ext uri="{FF2B5EF4-FFF2-40B4-BE49-F238E27FC236}">
                <a16:creationId xmlns:a16="http://schemas.microsoft.com/office/drawing/2014/main" id="{A88D616B-38A3-4298-B5B9-66C7731F5CEE}"/>
              </a:ext>
            </a:extLst>
          </p:cNvPr>
          <p:cNvPicPr>
            <a:picLocks noChangeAspect="1"/>
          </p:cNvPicPr>
          <p:nvPr/>
        </p:nvPicPr>
        <p:blipFill>
          <a:blip r:embed="rId8" cstate="screen">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tretch>
            <a:fillRect/>
          </a:stretch>
        </p:blipFill>
        <p:spPr>
          <a:xfrm>
            <a:off x="6452755" y="1556792"/>
            <a:ext cx="2518915" cy="3778372"/>
          </a:xfrm>
          <a:prstGeom prst="rect">
            <a:avLst/>
          </a:prstGeom>
        </p:spPr>
      </p:pic>
      <p:pic>
        <p:nvPicPr>
          <p:cNvPr id="11" name="Picture 10">
            <a:extLst>
              <a:ext uri="{FF2B5EF4-FFF2-40B4-BE49-F238E27FC236}">
                <a16:creationId xmlns:a16="http://schemas.microsoft.com/office/drawing/2014/main" id="{9FE0E821-84D4-443D-A6CE-594769239E81}"/>
              </a:ext>
            </a:extLst>
          </p:cNvPr>
          <p:cNvPicPr>
            <a:picLocks noChangeAspect="1"/>
          </p:cNvPicPr>
          <p:nvPr/>
        </p:nvPicPr>
        <p:blipFill>
          <a:blip r:embed="rId10" cstate="screen">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a:ext>
            </a:extLst>
          </a:blip>
          <a:stretch>
            <a:fillRect/>
          </a:stretch>
        </p:blipFill>
        <p:spPr>
          <a:xfrm>
            <a:off x="636678" y="2276872"/>
            <a:ext cx="2284672" cy="2495919"/>
          </a:xfrm>
          <a:prstGeom prst="rect">
            <a:avLst/>
          </a:prstGeom>
        </p:spPr>
      </p:pic>
      <p:sp>
        <p:nvSpPr>
          <p:cNvPr id="3" name="TextBox 2">
            <a:extLst>
              <a:ext uri="{FF2B5EF4-FFF2-40B4-BE49-F238E27FC236}">
                <a16:creationId xmlns:a16="http://schemas.microsoft.com/office/drawing/2014/main" id="{1BB9C9A2-C67E-4EAC-B3F0-D13B6086AEED}"/>
              </a:ext>
            </a:extLst>
          </p:cNvPr>
          <p:cNvSpPr txBox="1"/>
          <p:nvPr/>
        </p:nvSpPr>
        <p:spPr>
          <a:xfrm>
            <a:off x="550589" y="4772791"/>
            <a:ext cx="2287167" cy="246221"/>
          </a:xfrm>
          <a:prstGeom prst="rect">
            <a:avLst/>
          </a:prstGeom>
          <a:noFill/>
        </p:spPr>
        <p:txBody>
          <a:bodyPr wrap="square" rtlCol="0">
            <a:spAutoFit/>
          </a:bodyPr>
          <a:lstStyle/>
          <a:p>
            <a:r>
              <a:rPr lang="da-DK" sz="1000" dirty="0">
                <a:solidFill>
                  <a:schemeClr val="accent3"/>
                </a:solidFill>
              </a:rPr>
              <a:t>Kilde: Marc Olivier </a:t>
            </a:r>
            <a:r>
              <a:rPr lang="da-DK" sz="1000" dirty="0" err="1">
                <a:solidFill>
                  <a:schemeClr val="accent3"/>
                </a:solidFill>
              </a:rPr>
              <a:t>Jodoin</a:t>
            </a:r>
            <a:r>
              <a:rPr lang="da-DK" sz="1000" dirty="0">
                <a:solidFill>
                  <a:schemeClr val="accent3"/>
                </a:solidFill>
              </a:rPr>
              <a:t>, </a:t>
            </a:r>
            <a:r>
              <a:rPr lang="da-DK" sz="1000" dirty="0" err="1">
                <a:solidFill>
                  <a:schemeClr val="accent3"/>
                </a:solidFill>
              </a:rPr>
              <a:t>Unsplash</a:t>
            </a:r>
            <a:endParaRPr lang="da-DK" sz="1000" dirty="0">
              <a:solidFill>
                <a:schemeClr val="accent3"/>
              </a:solidFill>
            </a:endParaRPr>
          </a:p>
        </p:txBody>
      </p:sp>
      <p:sp>
        <p:nvSpPr>
          <p:cNvPr id="13" name="TextBox 12">
            <a:extLst>
              <a:ext uri="{FF2B5EF4-FFF2-40B4-BE49-F238E27FC236}">
                <a16:creationId xmlns:a16="http://schemas.microsoft.com/office/drawing/2014/main" id="{6A2129D7-0310-489F-B506-F6D2FD12A1A2}"/>
              </a:ext>
            </a:extLst>
          </p:cNvPr>
          <p:cNvSpPr txBox="1"/>
          <p:nvPr/>
        </p:nvSpPr>
        <p:spPr>
          <a:xfrm>
            <a:off x="6366665" y="5373216"/>
            <a:ext cx="2287167" cy="246221"/>
          </a:xfrm>
          <a:prstGeom prst="rect">
            <a:avLst/>
          </a:prstGeom>
          <a:noFill/>
        </p:spPr>
        <p:txBody>
          <a:bodyPr wrap="square" rtlCol="0">
            <a:spAutoFit/>
          </a:bodyPr>
          <a:lstStyle/>
          <a:p>
            <a:r>
              <a:rPr lang="da-DK" sz="1000" dirty="0">
                <a:solidFill>
                  <a:schemeClr val="accent3"/>
                </a:solidFill>
              </a:rPr>
              <a:t>Kilde: Sian Cooper, </a:t>
            </a:r>
            <a:r>
              <a:rPr lang="da-DK" sz="1000" dirty="0" err="1">
                <a:solidFill>
                  <a:schemeClr val="accent3"/>
                </a:solidFill>
              </a:rPr>
              <a:t>Unsplash</a:t>
            </a:r>
            <a:endParaRPr lang="da-DK" sz="1000" dirty="0">
              <a:solidFill>
                <a:schemeClr val="accent3"/>
              </a:solidFill>
            </a:endParaRPr>
          </a:p>
        </p:txBody>
      </p:sp>
    </p:spTree>
    <p:extLst>
      <p:ext uri="{BB962C8B-B14F-4D97-AF65-F5344CB8AC3E}">
        <p14:creationId xmlns:p14="http://schemas.microsoft.com/office/powerpoint/2010/main" val="389031417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1DD43A-BB0A-424C-81A6-DC09A8ADE7A9}"/>
              </a:ext>
            </a:extLst>
          </p:cNvPr>
          <p:cNvGraphicFramePr>
            <a:graphicFrameLocks noChangeAspect="1"/>
          </p:cNvGraphicFramePr>
          <p:nvPr>
            <p:custDataLst>
              <p:tags r:id="rId2"/>
            </p:custDataLst>
            <p:extLst>
              <p:ext uri="{D42A27DB-BD31-4B8C-83A1-F6EECF244321}">
                <p14:modId xmlns:p14="http://schemas.microsoft.com/office/powerpoint/2010/main" val="2226341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rmAutofit/>
          </a:bodyPr>
          <a:lstStyle/>
          <a:p>
            <a:r>
              <a:rPr lang="da-DK" sz="2700" b="1" dirty="0">
                <a:solidFill>
                  <a:srgbClr val="AF292E"/>
                </a:solidFill>
                <a:latin typeface="Arial" panose="020B0604020202020204"/>
              </a:rPr>
              <a:t>Aggressiv kommunikation – Konfliktoptrapning</a:t>
            </a:r>
          </a:p>
        </p:txBody>
      </p:sp>
      <p:sp>
        <p:nvSpPr>
          <p:cNvPr id="3" name="Pladsholder til indhold 2"/>
          <p:cNvSpPr>
            <a:spLocks noGrp="1"/>
          </p:cNvSpPr>
          <p:nvPr>
            <p:ph idx="1"/>
          </p:nvPr>
        </p:nvSpPr>
        <p:spPr/>
        <p:txBody>
          <a:bodyPr>
            <a:noAutofit/>
          </a:bodyPr>
          <a:lstStyle/>
          <a:p>
            <a:pPr indent="-288000">
              <a:spcBef>
                <a:spcPts val="0"/>
              </a:spcBef>
              <a:spcAft>
                <a:spcPts val="1200"/>
              </a:spcAft>
            </a:pPr>
            <a:r>
              <a:rPr lang="da-DK" sz="2300" dirty="0">
                <a:latin typeface="Arial" panose="020B0604020202020204" pitchFamily="34" charset="0"/>
                <a:cs typeface="Arial" panose="020B0604020202020204" pitchFamily="34" charset="0"/>
              </a:rPr>
              <a:t>Aggressiv kommunikation, “Ulvesprog”:</a:t>
            </a:r>
          </a:p>
          <a:p>
            <a:pPr lvl="1" indent="-288000">
              <a:spcBef>
                <a:spcPts val="0"/>
              </a:spcBef>
              <a:spcAft>
                <a:spcPts val="1200"/>
              </a:spcAft>
            </a:pPr>
            <a:r>
              <a:rPr lang="da-DK" sz="2075" dirty="0">
                <a:latin typeface="Arial" panose="020B0604020202020204" pitchFamily="34" charset="0"/>
                <a:cs typeface="Arial" panose="020B0604020202020204" pitchFamily="34" charset="0"/>
              </a:rPr>
              <a:t>Giver den anden ansvaret for dine følelser</a:t>
            </a:r>
          </a:p>
          <a:p>
            <a:pPr lvl="1" indent="-288000">
              <a:spcBef>
                <a:spcPts val="0"/>
              </a:spcBef>
              <a:spcAft>
                <a:spcPts val="1200"/>
              </a:spcAft>
            </a:pPr>
            <a:r>
              <a:rPr lang="da-DK" sz="2075" dirty="0">
                <a:latin typeface="Arial" panose="020B0604020202020204" pitchFamily="34" charset="0"/>
                <a:cs typeface="Arial" panose="020B0604020202020204" pitchFamily="34" charset="0"/>
              </a:rPr>
              <a:t>Bruger ”du-sprog”</a:t>
            </a:r>
          </a:p>
          <a:p>
            <a:pPr lvl="1" indent="-288000">
              <a:spcBef>
                <a:spcPts val="0"/>
              </a:spcBef>
              <a:spcAft>
                <a:spcPts val="1200"/>
              </a:spcAft>
            </a:pPr>
            <a:r>
              <a:rPr lang="da-DK" sz="2075" dirty="0">
                <a:latin typeface="Arial" panose="020B0604020202020204" pitchFamily="34" charset="0"/>
                <a:cs typeface="Arial" panose="020B0604020202020204" pitchFamily="34" charset="0"/>
              </a:rPr>
              <a:t>Fokus på fejl og mangler og på rigtigt og forkert</a:t>
            </a:r>
          </a:p>
          <a:p>
            <a:pPr lvl="1" indent="-288000">
              <a:spcBef>
                <a:spcPts val="0"/>
              </a:spcBef>
              <a:spcAft>
                <a:spcPts val="1200"/>
              </a:spcAft>
            </a:pPr>
            <a:r>
              <a:rPr lang="da-DK" sz="2075" dirty="0">
                <a:latin typeface="Arial" panose="020B0604020202020204" pitchFamily="34" charset="0"/>
                <a:cs typeface="Arial" panose="020B0604020202020204" pitchFamily="34" charset="0"/>
              </a:rPr>
              <a:t>Får andre til at handle ved at give dem skyld, skam eller angst</a:t>
            </a:r>
          </a:p>
          <a:p>
            <a:pPr lvl="1" indent="-288000">
              <a:spcBef>
                <a:spcPts val="0"/>
              </a:spcBef>
              <a:spcAft>
                <a:spcPts val="1200"/>
              </a:spcAft>
            </a:pPr>
            <a:r>
              <a:rPr lang="da-DK" sz="2075" dirty="0">
                <a:latin typeface="Arial" panose="020B0604020202020204" pitchFamily="34" charset="0"/>
                <a:cs typeface="Arial" panose="020B0604020202020204" pitchFamily="34" charset="0"/>
              </a:rPr>
              <a:t>Vrede opfattes som retfærdig og giver ret til at straffe</a:t>
            </a:r>
          </a:p>
          <a:p>
            <a:pPr lvl="1" indent="-288000">
              <a:spcBef>
                <a:spcPts val="0"/>
              </a:spcBef>
              <a:spcAft>
                <a:spcPts val="1200"/>
              </a:spcAft>
            </a:pPr>
            <a:r>
              <a:rPr lang="da-DK" sz="2075" dirty="0">
                <a:latin typeface="Arial" panose="020B0604020202020204" pitchFamily="34" charset="0"/>
                <a:cs typeface="Arial" panose="020B0604020202020204" pitchFamily="34" charset="0"/>
              </a:rPr>
              <a:t>Sammenblander person og sag.</a:t>
            </a:r>
            <a:br>
              <a:rPr lang="da-DK" sz="2075" dirty="0">
                <a:latin typeface="Arial" panose="020B0604020202020204" pitchFamily="34" charset="0"/>
                <a:cs typeface="Arial" panose="020B0604020202020204" pitchFamily="34" charset="0"/>
              </a:rPr>
            </a:br>
            <a:endParaRPr lang="da-DK" sz="2075"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4665216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1DD43A-BB0A-424C-81A6-DC09A8ADE7A9}"/>
              </a:ext>
            </a:extLst>
          </p:cNvPr>
          <p:cNvGraphicFramePr>
            <a:graphicFrameLocks noChangeAspect="1"/>
          </p:cNvGraphicFramePr>
          <p:nvPr>
            <p:custDataLst>
              <p:tags r:id="rId2"/>
            </p:custDataLst>
            <p:extLst>
              <p:ext uri="{D42A27DB-BD31-4B8C-83A1-F6EECF244321}">
                <p14:modId xmlns:p14="http://schemas.microsoft.com/office/powerpoint/2010/main" val="266115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371DD43A-BB0A-424C-81A6-DC09A8ADE7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628649" y="404664"/>
            <a:ext cx="7904163" cy="756084"/>
          </a:xfrm>
        </p:spPr>
        <p:txBody>
          <a:bodyPr vert="horz">
            <a:normAutofit/>
          </a:bodyPr>
          <a:lstStyle/>
          <a:p>
            <a:r>
              <a:rPr lang="da-DK" sz="2700" b="1" dirty="0">
                <a:solidFill>
                  <a:srgbClr val="AF292E"/>
                </a:solidFill>
                <a:latin typeface="Arial" panose="020B0604020202020204"/>
              </a:rPr>
              <a:t>Aggressiv kommunikation – Konfliktoptrapning</a:t>
            </a:r>
          </a:p>
        </p:txBody>
      </p:sp>
      <p:sp>
        <p:nvSpPr>
          <p:cNvPr id="3" name="Pladsholder til indhold 2"/>
          <p:cNvSpPr>
            <a:spLocks noGrp="1"/>
          </p:cNvSpPr>
          <p:nvPr>
            <p:ph idx="1"/>
          </p:nvPr>
        </p:nvSpPr>
        <p:spPr>
          <a:xfrm>
            <a:off x="628649" y="1268734"/>
            <a:ext cx="7904163" cy="4752553"/>
          </a:xfrm>
        </p:spPr>
        <p:txBody>
          <a:bodyPr>
            <a:noAutofit/>
          </a:bodyPr>
          <a:lstStyle/>
          <a:p>
            <a:pPr indent="-288000">
              <a:spcBef>
                <a:spcPts val="0"/>
              </a:spcBef>
              <a:spcAft>
                <a:spcPts val="600"/>
              </a:spcAft>
            </a:pPr>
            <a:r>
              <a:rPr lang="da-DK" sz="2300" dirty="0">
                <a:latin typeface="Arial" panose="020B0604020202020204" pitchFamily="34" charset="0"/>
                <a:cs typeface="Arial" panose="020B0604020202020204" pitchFamily="34" charset="0"/>
              </a:rPr>
              <a:t>Aggressiv kommunikation, “ulvesprog”:</a:t>
            </a:r>
          </a:p>
          <a:p>
            <a:pPr lvl="2" indent="-288000">
              <a:spcBef>
                <a:spcPts val="0"/>
              </a:spcBef>
              <a:spcAft>
                <a:spcPts val="600"/>
              </a:spcAft>
            </a:pPr>
            <a:r>
              <a:rPr lang="da-DK" sz="1400" dirty="0">
                <a:latin typeface="Arial" panose="020B0604020202020204" pitchFamily="34" charset="0"/>
                <a:cs typeface="Arial" panose="020B0604020202020204" pitchFamily="34" charset="0"/>
              </a:rPr>
              <a:t>Giver den anden ansvaret for dine følelser</a:t>
            </a:r>
          </a:p>
          <a:p>
            <a:pPr lvl="2" indent="-288000">
              <a:spcBef>
                <a:spcPts val="0"/>
              </a:spcBef>
              <a:spcAft>
                <a:spcPts val="600"/>
              </a:spcAft>
            </a:pPr>
            <a:r>
              <a:rPr lang="da-DK" sz="1400" dirty="0">
                <a:latin typeface="Arial" panose="020B0604020202020204" pitchFamily="34" charset="0"/>
                <a:cs typeface="Arial" panose="020B0604020202020204" pitchFamily="34" charset="0"/>
              </a:rPr>
              <a:t>Bruger ”du-sprog”</a:t>
            </a:r>
          </a:p>
          <a:p>
            <a:pPr lvl="2" indent="-288000">
              <a:spcBef>
                <a:spcPts val="0"/>
              </a:spcBef>
              <a:spcAft>
                <a:spcPts val="600"/>
              </a:spcAft>
            </a:pPr>
            <a:r>
              <a:rPr lang="da-DK" sz="1400" dirty="0">
                <a:latin typeface="Arial" panose="020B0604020202020204" pitchFamily="34" charset="0"/>
                <a:cs typeface="Arial" panose="020B0604020202020204" pitchFamily="34" charset="0"/>
              </a:rPr>
              <a:t>Fokus på fejl og mangler og på rigtigt og forkert</a:t>
            </a:r>
          </a:p>
          <a:p>
            <a:pPr lvl="2" indent="-288000">
              <a:spcBef>
                <a:spcPts val="0"/>
              </a:spcBef>
              <a:spcAft>
                <a:spcPts val="600"/>
              </a:spcAft>
            </a:pPr>
            <a:r>
              <a:rPr lang="da-DK" sz="1400" dirty="0">
                <a:latin typeface="Arial" panose="020B0604020202020204" pitchFamily="34" charset="0"/>
                <a:cs typeface="Arial" panose="020B0604020202020204" pitchFamily="34" charset="0"/>
              </a:rPr>
              <a:t>Får andre til at handle ved at give dem skyld, skam eller angst</a:t>
            </a:r>
          </a:p>
          <a:p>
            <a:pPr lvl="2" indent="-288000">
              <a:spcBef>
                <a:spcPts val="0"/>
              </a:spcBef>
              <a:spcAft>
                <a:spcPts val="600"/>
              </a:spcAft>
            </a:pPr>
            <a:r>
              <a:rPr lang="da-DK" sz="1400" dirty="0">
                <a:latin typeface="Arial" panose="020B0604020202020204" pitchFamily="34" charset="0"/>
                <a:cs typeface="Arial" panose="020B0604020202020204" pitchFamily="34" charset="0"/>
              </a:rPr>
              <a:t>Vrede opfattes som retfærdig og giver ret til at straffe</a:t>
            </a:r>
          </a:p>
          <a:p>
            <a:pPr lvl="2" indent="-288000">
              <a:spcBef>
                <a:spcPts val="0"/>
              </a:spcBef>
              <a:spcAft>
                <a:spcPts val="1200"/>
              </a:spcAft>
            </a:pPr>
            <a:r>
              <a:rPr lang="da-DK" sz="1400" dirty="0">
                <a:latin typeface="Arial" panose="020B0604020202020204" pitchFamily="34" charset="0"/>
                <a:cs typeface="Arial" panose="020B0604020202020204" pitchFamily="34" charset="0"/>
              </a:rPr>
              <a:t>Sammenblander person og sag.</a:t>
            </a:r>
          </a:p>
          <a:p>
            <a:pPr indent="-288000">
              <a:spcBef>
                <a:spcPts val="0"/>
              </a:spcBef>
              <a:spcAft>
                <a:spcPts val="600"/>
              </a:spcAft>
            </a:pPr>
            <a:r>
              <a:rPr lang="da-DK" sz="2300" dirty="0">
                <a:latin typeface="Arial" panose="020B0604020202020204" pitchFamily="34" charset="0"/>
                <a:cs typeface="Arial" panose="020B0604020202020204" pitchFamily="34" charset="0"/>
              </a:rPr>
              <a:t>Eksempler på aggressiv kommunikation</a:t>
            </a:r>
          </a:p>
          <a:p>
            <a:pPr lvl="2" indent="-288000">
              <a:spcBef>
                <a:spcPts val="0"/>
              </a:spcBef>
              <a:spcAft>
                <a:spcPts val="600"/>
              </a:spcAft>
            </a:pPr>
            <a:r>
              <a:rPr lang="da-DK" sz="1400" dirty="0">
                <a:latin typeface="Arial" panose="020B0604020202020204" pitchFamily="34" charset="0"/>
                <a:cs typeface="Arial" panose="020B0604020202020204" pitchFamily="34" charset="0"/>
              </a:rPr>
              <a:t>Du larmer for meget /du er for højrøstet</a:t>
            </a:r>
          </a:p>
          <a:p>
            <a:pPr lvl="2" indent="-288000">
              <a:spcBef>
                <a:spcPts val="0"/>
              </a:spcBef>
              <a:spcAft>
                <a:spcPts val="600"/>
              </a:spcAft>
            </a:pPr>
            <a:r>
              <a:rPr lang="da-DK" sz="1400" dirty="0">
                <a:latin typeface="Arial" panose="020B0604020202020204" pitchFamily="34" charset="0"/>
                <a:cs typeface="Arial" panose="020B0604020202020204" pitchFamily="34" charset="0"/>
              </a:rPr>
              <a:t>Du vil altid gøre tingene på din egen </a:t>
            </a:r>
            <a:r>
              <a:rPr lang="da-DK" sz="1400" dirty="0" err="1">
                <a:latin typeface="Arial" panose="020B0604020202020204" pitchFamily="34" charset="0"/>
                <a:cs typeface="Arial" panose="020B0604020202020204" pitchFamily="34" charset="0"/>
              </a:rPr>
              <a:t>måde</a:t>
            </a:r>
            <a:endParaRPr lang="da-DK" sz="1400" dirty="0">
              <a:latin typeface="Arial" panose="020B0604020202020204" pitchFamily="34" charset="0"/>
              <a:cs typeface="Arial" panose="020B0604020202020204" pitchFamily="34" charset="0"/>
            </a:endParaRPr>
          </a:p>
          <a:p>
            <a:pPr lvl="2" indent="-288000">
              <a:spcBef>
                <a:spcPts val="0"/>
              </a:spcBef>
              <a:spcAft>
                <a:spcPts val="600"/>
              </a:spcAft>
            </a:pPr>
            <a:r>
              <a:rPr lang="da-DK" sz="1400" dirty="0">
                <a:latin typeface="Arial" panose="020B0604020202020204" pitchFamily="34" charset="0"/>
                <a:cs typeface="Arial" panose="020B0604020202020204" pitchFamily="34" charset="0"/>
              </a:rPr>
              <a:t>Du lytter aldrig til mig</a:t>
            </a:r>
          </a:p>
          <a:p>
            <a:pPr lvl="2" indent="-288000">
              <a:spcBef>
                <a:spcPts val="0"/>
              </a:spcBef>
              <a:spcAft>
                <a:spcPts val="600"/>
              </a:spcAft>
            </a:pPr>
            <a:r>
              <a:rPr lang="da-DK" sz="1400" dirty="0">
                <a:latin typeface="Arial" panose="020B0604020202020204" pitchFamily="34" charset="0"/>
                <a:cs typeface="Arial" panose="020B0604020202020204" pitchFamily="34" charset="0"/>
              </a:rPr>
              <a:t>Du hjælper aldrig til</a:t>
            </a:r>
          </a:p>
          <a:p>
            <a:pPr lvl="2" indent="-288000">
              <a:spcBef>
                <a:spcPts val="0"/>
              </a:spcBef>
              <a:spcAft>
                <a:spcPts val="600"/>
              </a:spcAft>
            </a:pPr>
            <a:r>
              <a:rPr lang="da-DK" sz="1400" dirty="0">
                <a:latin typeface="Arial" panose="020B0604020202020204" pitchFamily="34" charset="0"/>
                <a:cs typeface="Arial" panose="020B0604020202020204" pitchFamily="34" charset="0"/>
              </a:rPr>
              <a:t>Du _______________ altid</a:t>
            </a:r>
          </a:p>
          <a:p>
            <a:pPr lvl="2" indent="-288000">
              <a:spcBef>
                <a:spcPts val="0"/>
              </a:spcBef>
              <a:spcAft>
                <a:spcPts val="600"/>
              </a:spcAft>
            </a:pPr>
            <a:r>
              <a:rPr lang="da-DK" sz="1400" dirty="0">
                <a:latin typeface="Arial" panose="020B0604020202020204" pitchFamily="34" charset="0"/>
                <a:cs typeface="Arial" panose="020B0604020202020204" pitchFamily="34" charset="0"/>
              </a:rPr>
              <a:t>Du _______________ aldrig</a:t>
            </a:r>
          </a:p>
          <a:p>
            <a:pPr lvl="2" indent="-288000">
              <a:spcBef>
                <a:spcPts val="0"/>
              </a:spcBef>
              <a:spcAft>
                <a:spcPts val="600"/>
              </a:spcAft>
            </a:pPr>
            <a:r>
              <a:rPr lang="da-DK" sz="1400" dirty="0">
                <a:latin typeface="Arial" panose="020B0604020202020204" pitchFamily="34" charset="0"/>
                <a:cs typeface="Arial" panose="020B0604020202020204" pitchFamily="34" charset="0"/>
              </a:rPr>
              <a:t>Du burde opføre dig som </a:t>
            </a:r>
            <a:r>
              <a:rPr lang="da-DK" sz="1400" dirty="0" err="1">
                <a:latin typeface="Arial" panose="020B0604020202020204" pitchFamily="34" charset="0"/>
                <a:cs typeface="Arial" panose="020B0604020202020204" pitchFamily="34" charset="0"/>
              </a:rPr>
              <a:t>én</a:t>
            </a:r>
            <a:r>
              <a:rPr lang="da-DK" sz="1400" dirty="0">
                <a:latin typeface="Arial" panose="020B0604020202020204" pitchFamily="34" charset="0"/>
                <a:cs typeface="Arial" panose="020B0604020202020204" pitchFamily="34" charset="0"/>
              </a:rPr>
              <a:t> på din egen alder.</a:t>
            </a:r>
          </a:p>
        </p:txBody>
      </p:sp>
    </p:spTree>
    <p:extLst>
      <p:ext uri="{BB962C8B-B14F-4D97-AF65-F5344CB8AC3E}">
        <p14:creationId xmlns:p14="http://schemas.microsoft.com/office/powerpoint/2010/main" val="163465200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1DD43A-BB0A-424C-81A6-DC09A8ADE7A9}"/>
              </a:ext>
            </a:extLst>
          </p:cNvPr>
          <p:cNvGraphicFramePr>
            <a:graphicFrameLocks noChangeAspect="1"/>
          </p:cNvGraphicFramePr>
          <p:nvPr>
            <p:custDataLst>
              <p:tags r:id="rId2"/>
            </p:custDataLst>
            <p:extLst>
              <p:ext uri="{D42A27DB-BD31-4B8C-83A1-F6EECF244321}">
                <p14:modId xmlns:p14="http://schemas.microsoft.com/office/powerpoint/2010/main" val="2410532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371DD43A-BB0A-424C-81A6-DC09A8ADE7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rmAutofit/>
          </a:bodyPr>
          <a:lstStyle/>
          <a:p>
            <a:r>
              <a:rPr lang="da-DK" sz="2700" b="1" dirty="0">
                <a:solidFill>
                  <a:srgbClr val="AF292E"/>
                </a:solidFill>
                <a:latin typeface="Arial" panose="020B0604020202020204"/>
              </a:rPr>
              <a:t>Ikke-aggressiv kommunikation – konflikt-nedtrapning</a:t>
            </a:r>
          </a:p>
        </p:txBody>
      </p:sp>
      <p:sp>
        <p:nvSpPr>
          <p:cNvPr id="3" name="Pladsholder til indhold 2"/>
          <p:cNvSpPr>
            <a:spLocks noGrp="1"/>
          </p:cNvSpPr>
          <p:nvPr>
            <p:ph idx="1"/>
          </p:nvPr>
        </p:nvSpPr>
        <p:spPr/>
        <p:txBody>
          <a:bodyPr>
            <a:noAutofit/>
          </a:bodyPr>
          <a:lstStyle/>
          <a:p>
            <a:pPr indent="-288000">
              <a:spcBef>
                <a:spcPts val="0"/>
              </a:spcBef>
              <a:spcAft>
                <a:spcPts val="600"/>
              </a:spcAft>
            </a:pPr>
            <a:r>
              <a:rPr lang="da-DK" sz="2300" dirty="0">
                <a:latin typeface="Arial" panose="020B0604020202020204" pitchFamily="34" charset="0"/>
                <a:cs typeface="Arial" panose="020B0604020202020204" pitchFamily="34" charset="0"/>
              </a:rPr>
              <a:t>Ikke-aggressiv kommunikation, “girafsprog”:</a:t>
            </a:r>
          </a:p>
          <a:p>
            <a:pPr lvl="2" indent="-288000">
              <a:spcBef>
                <a:spcPts val="0"/>
              </a:spcBef>
              <a:spcAft>
                <a:spcPts val="600"/>
              </a:spcAft>
            </a:pPr>
            <a:r>
              <a:rPr lang="da-DK" sz="1850" dirty="0">
                <a:latin typeface="Arial" panose="020B0604020202020204" pitchFamily="34" charset="0"/>
                <a:cs typeface="Arial" panose="020B0604020202020204" pitchFamily="34" charset="0"/>
              </a:rPr>
              <a:t>Tager selv ansvaret for sine følelser</a:t>
            </a:r>
          </a:p>
          <a:p>
            <a:pPr lvl="2" indent="-288000">
              <a:spcBef>
                <a:spcPts val="0"/>
              </a:spcBef>
              <a:spcAft>
                <a:spcPts val="600"/>
              </a:spcAft>
            </a:pPr>
            <a:r>
              <a:rPr lang="da-DK" sz="1850" dirty="0">
                <a:latin typeface="Arial" panose="020B0604020202020204" pitchFamily="34" charset="0"/>
                <a:cs typeface="Arial" panose="020B0604020202020204" pitchFamily="34" charset="0"/>
              </a:rPr>
              <a:t>Bruger ”jeg-sprog”</a:t>
            </a:r>
          </a:p>
          <a:p>
            <a:pPr lvl="2" indent="-288000">
              <a:spcBef>
                <a:spcPts val="0"/>
              </a:spcBef>
              <a:spcAft>
                <a:spcPts val="600"/>
              </a:spcAft>
            </a:pPr>
            <a:r>
              <a:rPr lang="da-DK" sz="1850" dirty="0">
                <a:latin typeface="Arial" panose="020B0604020202020204" pitchFamily="34" charset="0"/>
                <a:cs typeface="Arial" panose="020B0604020202020204" pitchFamily="34" charset="0"/>
              </a:rPr>
              <a:t>Fokus på følelser og behov</a:t>
            </a:r>
          </a:p>
          <a:p>
            <a:pPr lvl="2" indent="-288000">
              <a:spcBef>
                <a:spcPts val="0"/>
              </a:spcBef>
              <a:spcAft>
                <a:spcPts val="600"/>
              </a:spcAft>
            </a:pPr>
            <a:r>
              <a:rPr lang="da-DK" sz="1850" dirty="0">
                <a:latin typeface="Arial" panose="020B0604020202020204" pitchFamily="34" charset="0"/>
                <a:cs typeface="Arial" panose="020B0604020202020204" pitchFamily="34" charset="0"/>
              </a:rPr>
              <a:t>Får andre til at handle ved at fremsætte anmodninger</a:t>
            </a:r>
          </a:p>
          <a:p>
            <a:pPr lvl="2" indent="-288000">
              <a:spcBef>
                <a:spcPts val="0"/>
              </a:spcBef>
              <a:spcAft>
                <a:spcPts val="600"/>
              </a:spcAft>
            </a:pPr>
            <a:r>
              <a:rPr lang="da-DK" sz="1850" dirty="0">
                <a:latin typeface="Arial" panose="020B0604020202020204" pitchFamily="34" charset="0"/>
                <a:cs typeface="Arial" panose="020B0604020202020204" pitchFamily="34" charset="0"/>
              </a:rPr>
              <a:t>Vrede omformuleres til behov der ikke bliver mødt tilstrækkeligt</a:t>
            </a:r>
          </a:p>
          <a:p>
            <a:pPr lvl="2" indent="-288000">
              <a:spcBef>
                <a:spcPts val="0"/>
              </a:spcBef>
              <a:spcAft>
                <a:spcPts val="600"/>
              </a:spcAft>
            </a:pPr>
            <a:r>
              <a:rPr lang="da-DK" sz="1850" dirty="0">
                <a:latin typeface="Arial" panose="020B0604020202020204" pitchFamily="34" charset="0"/>
                <a:cs typeface="Arial" panose="020B0604020202020204" pitchFamily="34" charset="0"/>
              </a:rPr>
              <a:t>Adskiller person og sag.</a:t>
            </a:r>
          </a:p>
        </p:txBody>
      </p:sp>
    </p:spTree>
    <p:extLst>
      <p:ext uri="{BB962C8B-B14F-4D97-AF65-F5344CB8AC3E}">
        <p14:creationId xmlns:p14="http://schemas.microsoft.com/office/powerpoint/2010/main" val="367921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1DD43A-BB0A-424C-81A6-DC09A8ADE7A9}"/>
              </a:ext>
            </a:extLst>
          </p:cNvPr>
          <p:cNvGraphicFramePr>
            <a:graphicFrameLocks noChangeAspect="1"/>
          </p:cNvGraphicFramePr>
          <p:nvPr>
            <p:custDataLst>
              <p:tags r:id="rId2"/>
            </p:custDataLst>
            <p:extLst>
              <p:ext uri="{D42A27DB-BD31-4B8C-83A1-F6EECF244321}">
                <p14:modId xmlns:p14="http://schemas.microsoft.com/office/powerpoint/2010/main" val="2361139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371DD43A-BB0A-424C-81A6-DC09A8ADE7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rmAutofit/>
          </a:bodyPr>
          <a:lstStyle/>
          <a:p>
            <a:r>
              <a:rPr lang="da-DK" sz="3000" b="1" dirty="0">
                <a:solidFill>
                  <a:srgbClr val="AF292E"/>
                </a:solidFill>
                <a:latin typeface="Arial" panose="020B0604020202020204"/>
              </a:rPr>
              <a:t>Giraf- og ulvesprog</a:t>
            </a:r>
          </a:p>
        </p:txBody>
      </p:sp>
      <p:sp>
        <p:nvSpPr>
          <p:cNvPr id="12" name="Speech Bubble: Rectangle with Corners Rounded 11">
            <a:extLst>
              <a:ext uri="{FF2B5EF4-FFF2-40B4-BE49-F238E27FC236}">
                <a16:creationId xmlns:a16="http://schemas.microsoft.com/office/drawing/2014/main" id="{95DBD9D3-B6D4-4877-B3FC-B483F0AFC45F}"/>
              </a:ext>
            </a:extLst>
          </p:cNvPr>
          <p:cNvSpPr/>
          <p:nvPr/>
        </p:nvSpPr>
        <p:spPr>
          <a:xfrm>
            <a:off x="1619672" y="2260760"/>
            <a:ext cx="5760640" cy="2392376"/>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Find eksempler fra jeres hverdag, hvor I oplever, at giraf- og ulvesprog optræder hos jer og jeres børn.</a:t>
            </a:r>
          </a:p>
          <a:p>
            <a:pPr marL="285750" indent="-285750">
              <a:spcAft>
                <a:spcPts val="600"/>
              </a:spcAft>
              <a:buFont typeface="Arial" panose="020B0604020202020204" pitchFamily="34" charset="0"/>
              <a:buChar char="•"/>
            </a:pPr>
            <a:endParaRPr lang="da-DK" sz="1400" i="1" dirty="0">
              <a:solidFill>
                <a:schemeClr val="tx1"/>
              </a:solidFill>
            </a:endParaRPr>
          </a:p>
          <a:p>
            <a:pPr marL="285750" indent="-285750">
              <a:spcAft>
                <a:spcPts val="600"/>
              </a:spcAft>
              <a:buFont typeface="Arial" panose="020B0604020202020204" pitchFamily="34" charset="0"/>
              <a:buChar char="•"/>
            </a:pPr>
            <a:r>
              <a:rPr lang="da-DK" sz="1400" i="1" dirty="0">
                <a:solidFill>
                  <a:schemeClr val="tx1"/>
                </a:solidFill>
              </a:rPr>
              <a:t>Hvordan oplever I, at det påvirker stemningen og relationen?</a:t>
            </a:r>
          </a:p>
        </p:txBody>
      </p:sp>
    </p:spTree>
    <p:extLst>
      <p:ext uri="{BB962C8B-B14F-4D97-AF65-F5344CB8AC3E}">
        <p14:creationId xmlns:p14="http://schemas.microsoft.com/office/powerpoint/2010/main" val="111071054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A66176-A04A-419F-AC01-2CE378CC6DB6}"/>
              </a:ext>
            </a:extLst>
          </p:cNvPr>
          <p:cNvGraphicFramePr>
            <a:graphicFrameLocks noChangeAspect="1"/>
          </p:cNvGraphicFramePr>
          <p:nvPr>
            <p:custDataLst>
              <p:tags r:id="rId2"/>
            </p:custDataLst>
            <p:extLst>
              <p:ext uri="{D42A27DB-BD31-4B8C-83A1-F6EECF244321}">
                <p14:modId xmlns:p14="http://schemas.microsoft.com/office/powerpoint/2010/main" val="3007513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A9643C-58A8-4228-92A8-DBB918639242}"/>
              </a:ext>
            </a:extLst>
          </p:cNvPr>
          <p:cNvSpPr>
            <a:spLocks noGrp="1"/>
          </p:cNvSpPr>
          <p:nvPr>
            <p:ph type="title"/>
          </p:nvPr>
        </p:nvSpPr>
        <p:spPr/>
        <p:txBody>
          <a:bodyPr vert="horz"/>
          <a:lstStyle/>
          <a:p>
            <a:r>
              <a:rPr lang="da-DK" dirty="0"/>
              <a:t>Hvordan kan man håndtere konflikter? </a:t>
            </a:r>
          </a:p>
        </p:txBody>
      </p:sp>
      <p:sp>
        <p:nvSpPr>
          <p:cNvPr id="7" name="Speech Bubble: Rectangle with Corners Rounded 6">
            <a:extLst>
              <a:ext uri="{FF2B5EF4-FFF2-40B4-BE49-F238E27FC236}">
                <a16:creationId xmlns:a16="http://schemas.microsoft.com/office/drawing/2014/main" id="{71F955C7-B0CA-499B-9ACC-5A22462223B2}"/>
              </a:ext>
            </a:extLst>
          </p:cNvPr>
          <p:cNvSpPr/>
          <p:nvPr/>
        </p:nvSpPr>
        <p:spPr>
          <a:xfrm>
            <a:off x="1619672" y="2260760"/>
            <a:ext cx="5760640" cy="2392376"/>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ordan kan vi støtte de unge i at vurdere, om en konflikt er værd af gå ind i? </a:t>
            </a:r>
          </a:p>
          <a:p>
            <a:pPr marL="285750" indent="-285750">
              <a:spcAft>
                <a:spcPts val="600"/>
              </a:spcAft>
              <a:buFont typeface="Arial" panose="020B0604020202020204" pitchFamily="34" charset="0"/>
              <a:buChar char="•"/>
            </a:pPr>
            <a:r>
              <a:rPr lang="da-DK" sz="1400" i="1" dirty="0">
                <a:solidFill>
                  <a:schemeClr val="tx1"/>
                </a:solidFill>
              </a:rPr>
              <a:t>Hvordan kan vi støtte de unge i at undgå en konflikt, som ikke er det værd? </a:t>
            </a:r>
          </a:p>
          <a:p>
            <a:pPr marL="285750" indent="-285750">
              <a:spcAft>
                <a:spcPts val="600"/>
              </a:spcAft>
              <a:buFont typeface="Arial" panose="020B0604020202020204" pitchFamily="34" charset="0"/>
              <a:buChar char="•"/>
            </a:pPr>
            <a:r>
              <a:rPr lang="da-DK" sz="1400" i="1" dirty="0">
                <a:solidFill>
                  <a:schemeClr val="tx1"/>
                </a:solidFill>
              </a:rPr>
              <a:t>Hvordan kan vi støtte de unge i at løse en konflikt, hvis den er opstået? </a:t>
            </a:r>
          </a:p>
        </p:txBody>
      </p:sp>
    </p:spTree>
    <p:extLst>
      <p:ext uri="{BB962C8B-B14F-4D97-AF65-F5344CB8AC3E}">
        <p14:creationId xmlns:p14="http://schemas.microsoft.com/office/powerpoint/2010/main" val="57059129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058DC-1A86-4BC6-ADB3-AD1D9285B5D4}"/>
              </a:ext>
            </a:extLst>
          </p:cNvPr>
          <p:cNvSpPr>
            <a:spLocks noGrp="1"/>
          </p:cNvSpPr>
          <p:nvPr>
            <p:ph type="title"/>
          </p:nvPr>
        </p:nvSpPr>
        <p:spPr/>
        <p:txBody>
          <a:bodyPr/>
          <a:lstStyle/>
          <a:p>
            <a:r>
              <a:rPr lang="da-DK" dirty="0"/>
              <a:t>Næste modul – deltagelse i fællesskaber</a:t>
            </a:r>
          </a:p>
        </p:txBody>
      </p:sp>
      <p:sp>
        <p:nvSpPr>
          <p:cNvPr id="3" name="Content Placeholder 2">
            <a:extLst>
              <a:ext uri="{FF2B5EF4-FFF2-40B4-BE49-F238E27FC236}">
                <a16:creationId xmlns:a16="http://schemas.microsoft.com/office/drawing/2014/main" id="{05AA2EBF-3AF5-4669-82DE-4A0C8586C1A2}"/>
              </a:ext>
            </a:extLst>
          </p:cNvPr>
          <p:cNvSpPr>
            <a:spLocks noGrp="1"/>
          </p:cNvSpPr>
          <p:nvPr>
            <p:ph idx="1"/>
          </p:nvPr>
        </p:nvSpPr>
        <p:spPr/>
        <p:txBody>
          <a:bodyPr/>
          <a:lstStyle/>
          <a:p>
            <a:r>
              <a:rPr lang="da-DK" dirty="0"/>
              <a:t>Overvej, hvilke muligheder og udfordringer de oplever i forhold til den unges overgang til voksenlivet og deltagelse i fællesskaber (fx sociale relationer, venskaber, uddannelse og job).</a:t>
            </a:r>
          </a:p>
          <a:p>
            <a:r>
              <a:rPr lang="da-DK" dirty="0"/>
              <a:t>Hvad kan være svært?</a:t>
            </a:r>
          </a:p>
          <a:p>
            <a:r>
              <a:rPr lang="da-DK" dirty="0"/>
              <a:t>Hvad vil jeg gerne have ud af modulet om Deltagelse i fællesskaber?</a:t>
            </a:r>
          </a:p>
          <a:p>
            <a:endParaRPr lang="da-DK" dirty="0"/>
          </a:p>
        </p:txBody>
      </p:sp>
    </p:spTree>
    <p:extLst>
      <p:ext uri="{BB962C8B-B14F-4D97-AF65-F5344CB8AC3E}">
        <p14:creationId xmlns:p14="http://schemas.microsoft.com/office/powerpoint/2010/main" val="122241613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2DDF4-5465-4D23-8456-5ED4496AE120}"/>
              </a:ext>
            </a:extLst>
          </p:cNvPr>
          <p:cNvSpPr>
            <a:spLocks noGrp="1"/>
          </p:cNvSpPr>
          <p:nvPr>
            <p:ph type="title"/>
          </p:nvPr>
        </p:nvSpPr>
        <p:spPr/>
        <p:txBody>
          <a:bodyPr/>
          <a:lstStyle/>
          <a:p>
            <a:r>
              <a:rPr lang="da-DK" dirty="0"/>
              <a:t>Hvad tager vi med os hjem</a:t>
            </a:r>
          </a:p>
        </p:txBody>
      </p:sp>
      <p:sp>
        <p:nvSpPr>
          <p:cNvPr id="3" name="Content Placeholder 2">
            <a:extLst>
              <a:ext uri="{FF2B5EF4-FFF2-40B4-BE49-F238E27FC236}">
                <a16:creationId xmlns:a16="http://schemas.microsoft.com/office/drawing/2014/main" id="{8BE087A5-0728-49A2-B32F-73E2B0420802}"/>
              </a:ext>
            </a:extLst>
          </p:cNvPr>
          <p:cNvSpPr>
            <a:spLocks noGrp="1"/>
          </p:cNvSpPr>
          <p:nvPr>
            <p:ph idx="1"/>
          </p:nvPr>
        </p:nvSpPr>
        <p:spPr/>
        <p:txBody>
          <a:bodyPr/>
          <a:lstStyle/>
          <a:p>
            <a:r>
              <a:rPr lang="da-DK" dirty="0"/>
              <a:t>Hvad har været godt i dag?</a:t>
            </a:r>
          </a:p>
          <a:p>
            <a:r>
              <a:rPr lang="da-DK" dirty="0"/>
              <a:t>Er der noget, som I har savnet i dag?</a:t>
            </a:r>
          </a:p>
          <a:p>
            <a:r>
              <a:rPr lang="da-DK" dirty="0"/>
              <a:t>Er der noget, som vi skal gøre anderledes næste gang?</a:t>
            </a:r>
          </a:p>
        </p:txBody>
      </p:sp>
      <p:sp>
        <p:nvSpPr>
          <p:cNvPr id="11" name="Speech Bubble: Rectangle with Corners Rounded 10">
            <a:extLst>
              <a:ext uri="{FF2B5EF4-FFF2-40B4-BE49-F238E27FC236}">
                <a16:creationId xmlns:a16="http://schemas.microsoft.com/office/drawing/2014/main" id="{18BDFDC3-A7F9-4926-BD1F-8C2CA4EDC8E6}"/>
              </a:ext>
            </a:extLst>
          </p:cNvPr>
          <p:cNvSpPr/>
          <p:nvPr/>
        </p:nvSpPr>
        <p:spPr>
          <a:xfrm>
            <a:off x="5166367" y="3789040"/>
            <a:ext cx="3510089" cy="1673299"/>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Udfyld logbogen med </a:t>
            </a:r>
            <a:br>
              <a:rPr lang="da-DK" sz="1400" i="1" dirty="0">
                <a:solidFill>
                  <a:schemeClr val="tx1"/>
                </a:solidFill>
              </a:rPr>
            </a:br>
            <a:r>
              <a:rPr lang="da-DK" sz="1400" i="1" dirty="0">
                <a:solidFill>
                  <a:schemeClr val="tx1"/>
                </a:solidFill>
              </a:rPr>
              <a:t>jeres refleksioner</a:t>
            </a:r>
          </a:p>
        </p:txBody>
      </p:sp>
      <p:grpSp>
        <p:nvGrpSpPr>
          <p:cNvPr id="8" name="Group 7">
            <a:extLst>
              <a:ext uri="{FF2B5EF4-FFF2-40B4-BE49-F238E27FC236}">
                <a16:creationId xmlns:a16="http://schemas.microsoft.com/office/drawing/2014/main" id="{6D68FC14-8A7D-467F-9AB8-D1511B87E95B}"/>
              </a:ext>
            </a:extLst>
          </p:cNvPr>
          <p:cNvGrpSpPr/>
          <p:nvPr/>
        </p:nvGrpSpPr>
        <p:grpSpPr>
          <a:xfrm>
            <a:off x="7758655" y="4004462"/>
            <a:ext cx="612000" cy="612000"/>
            <a:chOff x="8742468" y="3474401"/>
            <a:chExt cx="612000" cy="612000"/>
          </a:xfrm>
          <a:solidFill>
            <a:srgbClr val="C00000"/>
          </a:solidFill>
        </p:grpSpPr>
        <p:sp>
          <p:nvSpPr>
            <p:cNvPr id="9" name="Oval 8">
              <a:extLst>
                <a:ext uri="{FF2B5EF4-FFF2-40B4-BE49-F238E27FC236}">
                  <a16:creationId xmlns:a16="http://schemas.microsoft.com/office/drawing/2014/main" id="{F5D8C33D-D1DA-4128-A1E8-465D0DBAF011}"/>
                </a:ext>
              </a:extLst>
            </p:cNvPr>
            <p:cNvSpPr/>
            <p:nvPr/>
          </p:nvSpPr>
          <p:spPr bwMode="ltGray">
            <a:xfrm>
              <a:off x="8742468" y="3474401"/>
              <a:ext cx="612000" cy="612000"/>
            </a:xfrm>
            <a:prstGeom prst="ellipse">
              <a:avLst/>
            </a:prstGeom>
            <a:grpFill/>
            <a:ln w="3175" cap="flat" cmpd="sng" algn="ctr">
              <a:solidFill>
                <a:srgbClr val="DC6900"/>
              </a:solidFill>
              <a:prstDash val="solid"/>
            </a:ln>
            <a:effectLst/>
          </p:spPr>
          <p:txBody>
            <a:bodyPr rtlCol="0" anchor="ctr"/>
            <a:lstStyle/>
            <a:p>
              <a:pPr marL="0" marR="0" lvl="0" indent="0" algn="ctr"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err="1">
                <a:ln>
                  <a:noFill/>
                </a:ln>
                <a:solidFill>
                  <a:srgbClr val="FFFFFF"/>
                </a:solidFill>
                <a:effectLst/>
                <a:uLnTx/>
                <a:uFillTx/>
                <a:latin typeface="Georgia" pitchFamily="18" charset="0"/>
                <a:ea typeface="+mn-ea"/>
                <a:cs typeface="+mn-cs"/>
              </a:endParaRPr>
            </a:p>
          </p:txBody>
        </p:sp>
        <p:sp>
          <p:nvSpPr>
            <p:cNvPr id="10" name="Freeform 4847">
              <a:extLst>
                <a:ext uri="{FF2B5EF4-FFF2-40B4-BE49-F238E27FC236}">
                  <a16:creationId xmlns:a16="http://schemas.microsoft.com/office/drawing/2014/main" id="{768BD847-845C-42D3-BEAE-CA55A16A4969}"/>
                </a:ext>
              </a:extLst>
            </p:cNvPr>
            <p:cNvSpPr>
              <a:spLocks noEditPoints="1"/>
            </p:cNvSpPr>
            <p:nvPr/>
          </p:nvSpPr>
          <p:spPr bwMode="auto">
            <a:xfrm>
              <a:off x="8894545" y="3569952"/>
              <a:ext cx="307068" cy="424047"/>
            </a:xfrm>
            <a:custGeom>
              <a:avLst/>
              <a:gdLst>
                <a:gd name="T0" fmla="*/ 252 w 252"/>
                <a:gd name="T1" fmla="*/ 332 h 348"/>
                <a:gd name="T2" fmla="*/ 242 w 252"/>
                <a:gd name="T3" fmla="*/ 346 h 348"/>
                <a:gd name="T4" fmla="*/ 16 w 252"/>
                <a:gd name="T5" fmla="*/ 348 h 348"/>
                <a:gd name="T6" fmla="*/ 2 w 252"/>
                <a:gd name="T7" fmla="*/ 338 h 348"/>
                <a:gd name="T8" fmla="*/ 0 w 252"/>
                <a:gd name="T9" fmla="*/ 32 h 348"/>
                <a:gd name="T10" fmla="*/ 10 w 252"/>
                <a:gd name="T11" fmla="*/ 16 h 348"/>
                <a:gd name="T12" fmla="*/ 90 w 252"/>
                <a:gd name="T13" fmla="*/ 16 h 348"/>
                <a:gd name="T14" fmla="*/ 86 w 252"/>
                <a:gd name="T15" fmla="*/ 30 h 348"/>
                <a:gd name="T16" fmla="*/ 16 w 252"/>
                <a:gd name="T17" fmla="*/ 332 h 348"/>
                <a:gd name="T18" fmla="*/ 168 w 252"/>
                <a:gd name="T19" fmla="*/ 34 h 348"/>
                <a:gd name="T20" fmla="*/ 164 w 252"/>
                <a:gd name="T21" fmla="*/ 26 h 348"/>
                <a:gd name="T22" fmla="*/ 236 w 252"/>
                <a:gd name="T23" fmla="*/ 16 h 348"/>
                <a:gd name="T24" fmla="*/ 248 w 252"/>
                <a:gd name="T25" fmla="*/ 20 h 348"/>
                <a:gd name="T26" fmla="*/ 252 w 252"/>
                <a:gd name="T27" fmla="*/ 32 h 348"/>
                <a:gd name="T28" fmla="*/ 36 w 252"/>
                <a:gd name="T29" fmla="*/ 312 h 348"/>
                <a:gd name="T30" fmla="*/ 36 w 252"/>
                <a:gd name="T31" fmla="*/ 94 h 348"/>
                <a:gd name="T32" fmla="*/ 216 w 252"/>
                <a:gd name="T33" fmla="*/ 94 h 348"/>
                <a:gd name="T34" fmla="*/ 132 w 252"/>
                <a:gd name="T35" fmla="*/ 186 h 348"/>
                <a:gd name="T36" fmla="*/ 122 w 252"/>
                <a:gd name="T37" fmla="*/ 184 h 348"/>
                <a:gd name="T38" fmla="*/ 74 w 252"/>
                <a:gd name="T39" fmla="*/ 206 h 348"/>
                <a:gd name="T40" fmla="*/ 68 w 252"/>
                <a:gd name="T41" fmla="*/ 204 h 348"/>
                <a:gd name="T42" fmla="*/ 60 w 252"/>
                <a:gd name="T43" fmla="*/ 206 h 348"/>
                <a:gd name="T44" fmla="*/ 58 w 252"/>
                <a:gd name="T45" fmla="*/ 218 h 348"/>
                <a:gd name="T46" fmla="*/ 78 w 252"/>
                <a:gd name="T47" fmla="*/ 238 h 348"/>
                <a:gd name="T48" fmla="*/ 86 w 252"/>
                <a:gd name="T49" fmla="*/ 242 h 348"/>
                <a:gd name="T50" fmla="*/ 132 w 252"/>
                <a:gd name="T51" fmla="*/ 200 h 348"/>
                <a:gd name="T52" fmla="*/ 134 w 252"/>
                <a:gd name="T53" fmla="*/ 192 h 348"/>
                <a:gd name="T54" fmla="*/ 132 w 252"/>
                <a:gd name="T55" fmla="*/ 186 h 348"/>
                <a:gd name="T56" fmla="*/ 128 w 252"/>
                <a:gd name="T57" fmla="*/ 122 h 348"/>
                <a:gd name="T58" fmla="*/ 118 w 252"/>
                <a:gd name="T59" fmla="*/ 124 h 348"/>
                <a:gd name="T60" fmla="*/ 74 w 252"/>
                <a:gd name="T61" fmla="*/ 144 h 348"/>
                <a:gd name="T62" fmla="*/ 64 w 252"/>
                <a:gd name="T63" fmla="*/ 142 h 348"/>
                <a:gd name="T64" fmla="*/ 58 w 252"/>
                <a:gd name="T65" fmla="*/ 148 h 348"/>
                <a:gd name="T66" fmla="*/ 60 w 252"/>
                <a:gd name="T67" fmla="*/ 158 h 348"/>
                <a:gd name="T68" fmla="*/ 82 w 252"/>
                <a:gd name="T69" fmla="*/ 180 h 348"/>
                <a:gd name="T70" fmla="*/ 90 w 252"/>
                <a:gd name="T71" fmla="*/ 180 h 348"/>
                <a:gd name="T72" fmla="*/ 132 w 252"/>
                <a:gd name="T73" fmla="*/ 138 h 348"/>
                <a:gd name="T74" fmla="*/ 134 w 252"/>
                <a:gd name="T75" fmla="*/ 126 h 348"/>
                <a:gd name="T76" fmla="*/ 36 w 252"/>
                <a:gd name="T77" fmla="*/ 64 h 348"/>
                <a:gd name="T78" fmla="*/ 40 w 252"/>
                <a:gd name="T79" fmla="*/ 54 h 348"/>
                <a:gd name="T80" fmla="*/ 78 w 252"/>
                <a:gd name="T81" fmla="*/ 48 h 348"/>
                <a:gd name="T82" fmla="*/ 94 w 252"/>
                <a:gd name="T83" fmla="*/ 42 h 348"/>
                <a:gd name="T84" fmla="*/ 100 w 252"/>
                <a:gd name="T85" fmla="*/ 26 h 348"/>
                <a:gd name="T86" fmla="*/ 116 w 252"/>
                <a:gd name="T87" fmla="*/ 2 h 348"/>
                <a:gd name="T88" fmla="*/ 136 w 252"/>
                <a:gd name="T89" fmla="*/ 2 h 348"/>
                <a:gd name="T90" fmla="*/ 152 w 252"/>
                <a:gd name="T91" fmla="*/ 26 h 348"/>
                <a:gd name="T92" fmla="*/ 158 w 252"/>
                <a:gd name="T93" fmla="*/ 42 h 348"/>
                <a:gd name="T94" fmla="*/ 200 w 252"/>
                <a:gd name="T95" fmla="*/ 48 h 348"/>
                <a:gd name="T96" fmla="*/ 212 w 252"/>
                <a:gd name="T97" fmla="*/ 54 h 348"/>
                <a:gd name="T98" fmla="*/ 216 w 252"/>
                <a:gd name="T99" fmla="*/ 78 h 348"/>
                <a:gd name="T100" fmla="*/ 36 w 252"/>
                <a:gd name="T101" fmla="*/ 82 h 348"/>
                <a:gd name="T102" fmla="*/ 36 w 252"/>
                <a:gd name="T103" fmla="*/ 64 h 348"/>
                <a:gd name="T104" fmla="*/ 116 w 252"/>
                <a:gd name="T105" fmla="*/ 30 h 348"/>
                <a:gd name="T106" fmla="*/ 126 w 252"/>
                <a:gd name="T107" fmla="*/ 38 h 348"/>
                <a:gd name="T108" fmla="*/ 134 w 252"/>
                <a:gd name="T109" fmla="*/ 34 h 348"/>
                <a:gd name="T110" fmla="*/ 136 w 252"/>
                <a:gd name="T111" fmla="*/ 26 h 348"/>
                <a:gd name="T112" fmla="*/ 130 w 252"/>
                <a:gd name="T113" fmla="*/ 16 h 348"/>
                <a:gd name="T114" fmla="*/ 122 w 252"/>
                <a:gd name="T115" fmla="*/ 16 h 348"/>
                <a:gd name="T116" fmla="*/ 116 w 252"/>
                <a:gd name="T117" fmla="*/ 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2" h="348">
                  <a:moveTo>
                    <a:pt x="252" y="32"/>
                  </a:moveTo>
                  <a:lnTo>
                    <a:pt x="252" y="332"/>
                  </a:lnTo>
                  <a:lnTo>
                    <a:pt x="252" y="332"/>
                  </a:lnTo>
                  <a:lnTo>
                    <a:pt x="250" y="338"/>
                  </a:lnTo>
                  <a:lnTo>
                    <a:pt x="248" y="344"/>
                  </a:lnTo>
                  <a:lnTo>
                    <a:pt x="242" y="346"/>
                  </a:lnTo>
                  <a:lnTo>
                    <a:pt x="236" y="348"/>
                  </a:lnTo>
                  <a:lnTo>
                    <a:pt x="16" y="348"/>
                  </a:lnTo>
                  <a:lnTo>
                    <a:pt x="16" y="348"/>
                  </a:lnTo>
                  <a:lnTo>
                    <a:pt x="10" y="346"/>
                  </a:lnTo>
                  <a:lnTo>
                    <a:pt x="4" y="344"/>
                  </a:lnTo>
                  <a:lnTo>
                    <a:pt x="2" y="338"/>
                  </a:lnTo>
                  <a:lnTo>
                    <a:pt x="0" y="332"/>
                  </a:lnTo>
                  <a:lnTo>
                    <a:pt x="0" y="32"/>
                  </a:lnTo>
                  <a:lnTo>
                    <a:pt x="0" y="32"/>
                  </a:lnTo>
                  <a:lnTo>
                    <a:pt x="2" y="26"/>
                  </a:lnTo>
                  <a:lnTo>
                    <a:pt x="4" y="20"/>
                  </a:lnTo>
                  <a:lnTo>
                    <a:pt x="10" y="16"/>
                  </a:lnTo>
                  <a:lnTo>
                    <a:pt x="16" y="16"/>
                  </a:lnTo>
                  <a:lnTo>
                    <a:pt x="90" y="16"/>
                  </a:lnTo>
                  <a:lnTo>
                    <a:pt x="90" y="16"/>
                  </a:lnTo>
                  <a:lnTo>
                    <a:pt x="88" y="26"/>
                  </a:lnTo>
                  <a:lnTo>
                    <a:pt x="88" y="26"/>
                  </a:lnTo>
                  <a:lnTo>
                    <a:pt x="86" y="30"/>
                  </a:lnTo>
                  <a:lnTo>
                    <a:pt x="84" y="34"/>
                  </a:lnTo>
                  <a:lnTo>
                    <a:pt x="16" y="34"/>
                  </a:lnTo>
                  <a:lnTo>
                    <a:pt x="16" y="332"/>
                  </a:lnTo>
                  <a:lnTo>
                    <a:pt x="236" y="332"/>
                  </a:lnTo>
                  <a:lnTo>
                    <a:pt x="236" y="34"/>
                  </a:lnTo>
                  <a:lnTo>
                    <a:pt x="168" y="34"/>
                  </a:lnTo>
                  <a:lnTo>
                    <a:pt x="168" y="34"/>
                  </a:lnTo>
                  <a:lnTo>
                    <a:pt x="166" y="30"/>
                  </a:lnTo>
                  <a:lnTo>
                    <a:pt x="164" y="26"/>
                  </a:lnTo>
                  <a:lnTo>
                    <a:pt x="164" y="26"/>
                  </a:lnTo>
                  <a:lnTo>
                    <a:pt x="162" y="16"/>
                  </a:lnTo>
                  <a:lnTo>
                    <a:pt x="236" y="16"/>
                  </a:lnTo>
                  <a:lnTo>
                    <a:pt x="236" y="16"/>
                  </a:lnTo>
                  <a:lnTo>
                    <a:pt x="242" y="16"/>
                  </a:lnTo>
                  <a:lnTo>
                    <a:pt x="248" y="20"/>
                  </a:lnTo>
                  <a:lnTo>
                    <a:pt x="250" y="26"/>
                  </a:lnTo>
                  <a:lnTo>
                    <a:pt x="252" y="32"/>
                  </a:lnTo>
                  <a:lnTo>
                    <a:pt x="252" y="32"/>
                  </a:lnTo>
                  <a:close/>
                  <a:moveTo>
                    <a:pt x="216" y="94"/>
                  </a:moveTo>
                  <a:lnTo>
                    <a:pt x="216" y="312"/>
                  </a:lnTo>
                  <a:lnTo>
                    <a:pt x="36" y="312"/>
                  </a:lnTo>
                  <a:lnTo>
                    <a:pt x="36" y="94"/>
                  </a:lnTo>
                  <a:lnTo>
                    <a:pt x="36" y="94"/>
                  </a:lnTo>
                  <a:lnTo>
                    <a:pt x="36" y="94"/>
                  </a:lnTo>
                  <a:lnTo>
                    <a:pt x="216" y="94"/>
                  </a:lnTo>
                  <a:lnTo>
                    <a:pt x="216" y="94"/>
                  </a:lnTo>
                  <a:lnTo>
                    <a:pt x="216" y="94"/>
                  </a:lnTo>
                  <a:lnTo>
                    <a:pt x="216" y="94"/>
                  </a:lnTo>
                  <a:close/>
                  <a:moveTo>
                    <a:pt x="132" y="186"/>
                  </a:moveTo>
                  <a:lnTo>
                    <a:pt x="132" y="186"/>
                  </a:lnTo>
                  <a:lnTo>
                    <a:pt x="128" y="184"/>
                  </a:lnTo>
                  <a:lnTo>
                    <a:pt x="124" y="182"/>
                  </a:lnTo>
                  <a:lnTo>
                    <a:pt x="122" y="184"/>
                  </a:lnTo>
                  <a:lnTo>
                    <a:pt x="118" y="186"/>
                  </a:lnTo>
                  <a:lnTo>
                    <a:pt x="86" y="218"/>
                  </a:lnTo>
                  <a:lnTo>
                    <a:pt x="74" y="206"/>
                  </a:lnTo>
                  <a:lnTo>
                    <a:pt x="74" y="206"/>
                  </a:lnTo>
                  <a:lnTo>
                    <a:pt x="70" y="204"/>
                  </a:lnTo>
                  <a:lnTo>
                    <a:pt x="68" y="204"/>
                  </a:lnTo>
                  <a:lnTo>
                    <a:pt x="64" y="204"/>
                  </a:lnTo>
                  <a:lnTo>
                    <a:pt x="60" y="206"/>
                  </a:lnTo>
                  <a:lnTo>
                    <a:pt x="60" y="206"/>
                  </a:lnTo>
                  <a:lnTo>
                    <a:pt x="58" y="210"/>
                  </a:lnTo>
                  <a:lnTo>
                    <a:pt x="58" y="214"/>
                  </a:lnTo>
                  <a:lnTo>
                    <a:pt x="58" y="218"/>
                  </a:lnTo>
                  <a:lnTo>
                    <a:pt x="60" y="220"/>
                  </a:lnTo>
                  <a:lnTo>
                    <a:pt x="78" y="238"/>
                  </a:lnTo>
                  <a:lnTo>
                    <a:pt x="78" y="238"/>
                  </a:lnTo>
                  <a:lnTo>
                    <a:pt x="82" y="242"/>
                  </a:lnTo>
                  <a:lnTo>
                    <a:pt x="86" y="242"/>
                  </a:lnTo>
                  <a:lnTo>
                    <a:pt x="86" y="242"/>
                  </a:lnTo>
                  <a:lnTo>
                    <a:pt x="90" y="242"/>
                  </a:lnTo>
                  <a:lnTo>
                    <a:pt x="92" y="238"/>
                  </a:lnTo>
                  <a:lnTo>
                    <a:pt x="132" y="200"/>
                  </a:lnTo>
                  <a:lnTo>
                    <a:pt x="132" y="200"/>
                  </a:lnTo>
                  <a:lnTo>
                    <a:pt x="134" y="196"/>
                  </a:lnTo>
                  <a:lnTo>
                    <a:pt x="134" y="192"/>
                  </a:lnTo>
                  <a:lnTo>
                    <a:pt x="134" y="188"/>
                  </a:lnTo>
                  <a:lnTo>
                    <a:pt x="132" y="186"/>
                  </a:lnTo>
                  <a:lnTo>
                    <a:pt x="132" y="186"/>
                  </a:lnTo>
                  <a:close/>
                  <a:moveTo>
                    <a:pt x="132" y="124"/>
                  </a:moveTo>
                  <a:lnTo>
                    <a:pt x="132" y="124"/>
                  </a:lnTo>
                  <a:lnTo>
                    <a:pt x="128" y="122"/>
                  </a:lnTo>
                  <a:lnTo>
                    <a:pt x="124" y="120"/>
                  </a:lnTo>
                  <a:lnTo>
                    <a:pt x="122" y="122"/>
                  </a:lnTo>
                  <a:lnTo>
                    <a:pt x="118" y="124"/>
                  </a:lnTo>
                  <a:lnTo>
                    <a:pt x="86" y="156"/>
                  </a:lnTo>
                  <a:lnTo>
                    <a:pt x="74" y="144"/>
                  </a:lnTo>
                  <a:lnTo>
                    <a:pt x="74" y="144"/>
                  </a:lnTo>
                  <a:lnTo>
                    <a:pt x="70" y="142"/>
                  </a:lnTo>
                  <a:lnTo>
                    <a:pt x="68" y="142"/>
                  </a:lnTo>
                  <a:lnTo>
                    <a:pt x="64" y="142"/>
                  </a:lnTo>
                  <a:lnTo>
                    <a:pt x="60" y="144"/>
                  </a:lnTo>
                  <a:lnTo>
                    <a:pt x="60" y="144"/>
                  </a:lnTo>
                  <a:lnTo>
                    <a:pt x="58" y="148"/>
                  </a:lnTo>
                  <a:lnTo>
                    <a:pt x="58" y="152"/>
                  </a:lnTo>
                  <a:lnTo>
                    <a:pt x="58" y="156"/>
                  </a:lnTo>
                  <a:lnTo>
                    <a:pt x="60" y="158"/>
                  </a:lnTo>
                  <a:lnTo>
                    <a:pt x="78" y="178"/>
                  </a:lnTo>
                  <a:lnTo>
                    <a:pt x="78" y="178"/>
                  </a:lnTo>
                  <a:lnTo>
                    <a:pt x="82" y="180"/>
                  </a:lnTo>
                  <a:lnTo>
                    <a:pt x="86" y="180"/>
                  </a:lnTo>
                  <a:lnTo>
                    <a:pt x="86" y="180"/>
                  </a:lnTo>
                  <a:lnTo>
                    <a:pt x="90" y="180"/>
                  </a:lnTo>
                  <a:lnTo>
                    <a:pt x="92" y="178"/>
                  </a:lnTo>
                  <a:lnTo>
                    <a:pt x="132" y="138"/>
                  </a:lnTo>
                  <a:lnTo>
                    <a:pt x="132" y="138"/>
                  </a:lnTo>
                  <a:lnTo>
                    <a:pt x="134" y="134"/>
                  </a:lnTo>
                  <a:lnTo>
                    <a:pt x="134" y="130"/>
                  </a:lnTo>
                  <a:lnTo>
                    <a:pt x="134" y="126"/>
                  </a:lnTo>
                  <a:lnTo>
                    <a:pt x="132" y="124"/>
                  </a:lnTo>
                  <a:lnTo>
                    <a:pt x="132" y="124"/>
                  </a:lnTo>
                  <a:close/>
                  <a:moveTo>
                    <a:pt x="36" y="64"/>
                  </a:moveTo>
                  <a:lnTo>
                    <a:pt x="36" y="64"/>
                  </a:lnTo>
                  <a:lnTo>
                    <a:pt x="36" y="58"/>
                  </a:lnTo>
                  <a:lnTo>
                    <a:pt x="40" y="54"/>
                  </a:lnTo>
                  <a:lnTo>
                    <a:pt x="46" y="50"/>
                  </a:lnTo>
                  <a:lnTo>
                    <a:pt x="52" y="48"/>
                  </a:lnTo>
                  <a:lnTo>
                    <a:pt x="78" y="48"/>
                  </a:lnTo>
                  <a:lnTo>
                    <a:pt x="78" y="48"/>
                  </a:lnTo>
                  <a:lnTo>
                    <a:pt x="86" y="46"/>
                  </a:lnTo>
                  <a:lnTo>
                    <a:pt x="94" y="42"/>
                  </a:lnTo>
                  <a:lnTo>
                    <a:pt x="98" y="36"/>
                  </a:lnTo>
                  <a:lnTo>
                    <a:pt x="100" y="26"/>
                  </a:lnTo>
                  <a:lnTo>
                    <a:pt x="100" y="26"/>
                  </a:lnTo>
                  <a:lnTo>
                    <a:pt x="102" y="16"/>
                  </a:lnTo>
                  <a:lnTo>
                    <a:pt x="108" y="8"/>
                  </a:lnTo>
                  <a:lnTo>
                    <a:pt x="116" y="2"/>
                  </a:lnTo>
                  <a:lnTo>
                    <a:pt x="126" y="0"/>
                  </a:lnTo>
                  <a:lnTo>
                    <a:pt x="126" y="0"/>
                  </a:lnTo>
                  <a:lnTo>
                    <a:pt x="136" y="2"/>
                  </a:lnTo>
                  <a:lnTo>
                    <a:pt x="144" y="8"/>
                  </a:lnTo>
                  <a:lnTo>
                    <a:pt x="150" y="16"/>
                  </a:lnTo>
                  <a:lnTo>
                    <a:pt x="152" y="26"/>
                  </a:lnTo>
                  <a:lnTo>
                    <a:pt x="152" y="26"/>
                  </a:lnTo>
                  <a:lnTo>
                    <a:pt x="154" y="36"/>
                  </a:lnTo>
                  <a:lnTo>
                    <a:pt x="158" y="42"/>
                  </a:lnTo>
                  <a:lnTo>
                    <a:pt x="166" y="46"/>
                  </a:lnTo>
                  <a:lnTo>
                    <a:pt x="174" y="48"/>
                  </a:lnTo>
                  <a:lnTo>
                    <a:pt x="200" y="48"/>
                  </a:lnTo>
                  <a:lnTo>
                    <a:pt x="200" y="48"/>
                  </a:lnTo>
                  <a:lnTo>
                    <a:pt x="206" y="50"/>
                  </a:lnTo>
                  <a:lnTo>
                    <a:pt x="212" y="54"/>
                  </a:lnTo>
                  <a:lnTo>
                    <a:pt x="216" y="58"/>
                  </a:lnTo>
                  <a:lnTo>
                    <a:pt x="216" y="64"/>
                  </a:lnTo>
                  <a:lnTo>
                    <a:pt x="216" y="78"/>
                  </a:lnTo>
                  <a:lnTo>
                    <a:pt x="216" y="78"/>
                  </a:lnTo>
                  <a:lnTo>
                    <a:pt x="216" y="82"/>
                  </a:lnTo>
                  <a:lnTo>
                    <a:pt x="36" y="82"/>
                  </a:lnTo>
                  <a:lnTo>
                    <a:pt x="36" y="82"/>
                  </a:lnTo>
                  <a:lnTo>
                    <a:pt x="36" y="78"/>
                  </a:lnTo>
                  <a:lnTo>
                    <a:pt x="36" y="64"/>
                  </a:lnTo>
                  <a:close/>
                  <a:moveTo>
                    <a:pt x="116" y="26"/>
                  </a:moveTo>
                  <a:lnTo>
                    <a:pt x="116" y="26"/>
                  </a:lnTo>
                  <a:lnTo>
                    <a:pt x="116" y="30"/>
                  </a:lnTo>
                  <a:lnTo>
                    <a:pt x="118" y="34"/>
                  </a:lnTo>
                  <a:lnTo>
                    <a:pt x="122" y="36"/>
                  </a:lnTo>
                  <a:lnTo>
                    <a:pt x="126" y="38"/>
                  </a:lnTo>
                  <a:lnTo>
                    <a:pt x="126" y="38"/>
                  </a:lnTo>
                  <a:lnTo>
                    <a:pt x="130" y="36"/>
                  </a:lnTo>
                  <a:lnTo>
                    <a:pt x="134" y="34"/>
                  </a:lnTo>
                  <a:lnTo>
                    <a:pt x="136" y="30"/>
                  </a:lnTo>
                  <a:lnTo>
                    <a:pt x="136" y="26"/>
                  </a:lnTo>
                  <a:lnTo>
                    <a:pt x="136" y="26"/>
                  </a:lnTo>
                  <a:lnTo>
                    <a:pt x="136" y="22"/>
                  </a:lnTo>
                  <a:lnTo>
                    <a:pt x="134" y="20"/>
                  </a:lnTo>
                  <a:lnTo>
                    <a:pt x="130" y="16"/>
                  </a:lnTo>
                  <a:lnTo>
                    <a:pt x="126" y="16"/>
                  </a:lnTo>
                  <a:lnTo>
                    <a:pt x="126" y="16"/>
                  </a:lnTo>
                  <a:lnTo>
                    <a:pt x="122" y="16"/>
                  </a:lnTo>
                  <a:lnTo>
                    <a:pt x="118" y="20"/>
                  </a:lnTo>
                  <a:lnTo>
                    <a:pt x="116" y="22"/>
                  </a:lnTo>
                  <a:lnTo>
                    <a:pt x="116" y="26"/>
                  </a:lnTo>
                  <a:lnTo>
                    <a:pt x="116" y="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18824"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55680729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BCBD7EA-305B-4417-B286-56C3EC80109F}"/>
              </a:ext>
            </a:extLst>
          </p:cNvPr>
          <p:cNvSpPr>
            <a:spLocks noGrp="1"/>
          </p:cNvSpPr>
          <p:nvPr>
            <p:ph type="body" sz="quarter" idx="16"/>
          </p:nvPr>
        </p:nvSpPr>
        <p:spPr/>
        <p:txBody>
          <a:bodyPr>
            <a:normAutofit fontScale="25000" lnSpcReduction="20000"/>
          </a:bodyPr>
          <a:lstStyle/>
          <a:p>
            <a:endParaRPr lang="da-DK"/>
          </a:p>
        </p:txBody>
      </p:sp>
      <p:sp>
        <p:nvSpPr>
          <p:cNvPr id="3" name="Subtitle 2">
            <a:extLst>
              <a:ext uri="{FF2B5EF4-FFF2-40B4-BE49-F238E27FC236}">
                <a16:creationId xmlns:a16="http://schemas.microsoft.com/office/drawing/2014/main" id="{B8B9F885-F1EC-48A3-8B37-61342704C872}"/>
              </a:ext>
            </a:extLst>
          </p:cNvPr>
          <p:cNvSpPr>
            <a:spLocks noGrp="1"/>
          </p:cNvSpPr>
          <p:nvPr>
            <p:ph type="subTitle" idx="1"/>
          </p:nvPr>
        </p:nvSpPr>
        <p:spPr/>
        <p:txBody>
          <a:bodyPr>
            <a:normAutofit fontScale="70000" lnSpcReduction="20000"/>
          </a:bodyPr>
          <a:lstStyle/>
          <a:p>
            <a:r>
              <a:rPr lang="da-DK" dirty="0"/>
              <a:t>Modul 6: De unges deltagelse i fællesskaber</a:t>
            </a:r>
          </a:p>
        </p:txBody>
      </p:sp>
      <p:sp>
        <p:nvSpPr>
          <p:cNvPr id="4" name="Text Placeholder 3">
            <a:extLst>
              <a:ext uri="{FF2B5EF4-FFF2-40B4-BE49-F238E27FC236}">
                <a16:creationId xmlns:a16="http://schemas.microsoft.com/office/drawing/2014/main" id="{999068A4-B1AF-40D3-8BC7-09656859D582}"/>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EAD2F9CA-D5DF-4C25-843D-7CD0BF9E8C6F}"/>
              </a:ext>
            </a:extLst>
          </p:cNvPr>
          <p:cNvSpPr>
            <a:spLocks noGrp="1"/>
          </p:cNvSpPr>
          <p:nvPr>
            <p:ph type="body" sz="quarter" idx="13"/>
          </p:nvPr>
        </p:nvSpPr>
        <p:spPr/>
        <p:txBody>
          <a:bodyPr>
            <a:normAutofit fontScale="25000" lnSpcReduction="20000"/>
          </a:bodyPr>
          <a:lstStyle/>
          <a:p>
            <a:endParaRPr lang="da-DK"/>
          </a:p>
        </p:txBody>
      </p:sp>
    </p:spTree>
    <p:extLst>
      <p:ext uri="{BB962C8B-B14F-4D97-AF65-F5344CB8AC3E}">
        <p14:creationId xmlns:p14="http://schemas.microsoft.com/office/powerpoint/2010/main" val="5360278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Gruppesessionerne følger en fast struktur</a:t>
            </a:r>
          </a:p>
        </p:txBody>
      </p:sp>
      <p:sp>
        <p:nvSpPr>
          <p:cNvPr id="3" name="Content Placeholder 2">
            <a:extLst>
              <a:ext uri="{FF2B5EF4-FFF2-40B4-BE49-F238E27FC236}">
                <a16:creationId xmlns:a16="http://schemas.microsoft.com/office/drawing/2014/main" id="{9D529F15-11E8-4AE0-AFE0-084D28B0BFB8}"/>
              </a:ext>
            </a:extLst>
          </p:cNvPr>
          <p:cNvSpPr>
            <a:spLocks noGrp="1"/>
          </p:cNvSpPr>
          <p:nvPr>
            <p:ph idx="1"/>
          </p:nvPr>
        </p:nvSpPr>
        <p:spPr/>
        <p:txBody>
          <a:bodyPr>
            <a:normAutofit/>
          </a:bodyPr>
          <a:lstStyle/>
          <a:p>
            <a:pPr marL="342900" indent="-342900">
              <a:buFont typeface="+mj-lt"/>
              <a:buAutoNum type="arabicPeriod"/>
            </a:pPr>
            <a:r>
              <a:rPr lang="da-DK" b="1" dirty="0"/>
              <a:t>Velkommen</a:t>
            </a:r>
            <a:r>
              <a:rPr lang="da-DK" dirty="0"/>
              <a:t> </a:t>
            </a:r>
          </a:p>
          <a:p>
            <a:pPr marL="342900" indent="-342900">
              <a:buFont typeface="+mj-lt"/>
              <a:buAutoNum type="arabicPeriod"/>
            </a:pPr>
            <a:r>
              <a:rPr lang="da-DK" b="1" dirty="0"/>
              <a:t>Siden sidst</a:t>
            </a:r>
            <a:r>
              <a:rPr lang="da-DK" dirty="0"/>
              <a:t> </a:t>
            </a:r>
          </a:p>
          <a:p>
            <a:pPr marL="342900" indent="-342900">
              <a:buFont typeface="+mj-lt"/>
              <a:buAutoNum type="arabicPeriod"/>
            </a:pPr>
            <a:r>
              <a:rPr lang="da-DK" b="1" dirty="0"/>
              <a:t>Hvad vil vi gerne have ud af modulet?</a:t>
            </a:r>
          </a:p>
          <a:p>
            <a:pPr marL="342900" indent="-342900">
              <a:buFont typeface="+mj-lt"/>
              <a:buAutoNum type="arabicPeriod"/>
            </a:pPr>
            <a:r>
              <a:rPr lang="da-DK" b="1" dirty="0"/>
              <a:t>Hvad har de unge aktuelt fokus på?</a:t>
            </a:r>
          </a:p>
          <a:p>
            <a:pPr marL="342900" indent="-342900">
              <a:buFont typeface="+mj-lt"/>
              <a:buAutoNum type="arabicPeriod"/>
            </a:pPr>
            <a:r>
              <a:rPr lang="da-DK" b="1" dirty="0"/>
              <a:t>Oplæg</a:t>
            </a:r>
          </a:p>
          <a:p>
            <a:pPr marL="342900" indent="-342900">
              <a:buFont typeface="+mj-lt"/>
              <a:buAutoNum type="arabicPeriod"/>
            </a:pPr>
            <a:r>
              <a:rPr lang="da-DK" b="1" dirty="0"/>
              <a:t>Drøftelse af dagens tema</a:t>
            </a:r>
          </a:p>
          <a:p>
            <a:pPr marL="342900" indent="-342900">
              <a:buFont typeface="+mj-lt"/>
              <a:buAutoNum type="arabicPeriod"/>
            </a:pPr>
            <a:r>
              <a:rPr lang="da-DK" b="1" dirty="0"/>
              <a:t>Øvelse/omsætning til hverdagen</a:t>
            </a:r>
            <a:endParaRPr lang="da-DK" dirty="0"/>
          </a:p>
          <a:p>
            <a:pPr marL="342900" indent="-342900">
              <a:buFont typeface="+mj-lt"/>
              <a:buAutoNum type="arabicPeriod"/>
            </a:pPr>
            <a:r>
              <a:rPr lang="da-DK" b="1" dirty="0"/>
              <a:t>Hvad vil vi fokusere på til næste gang?</a:t>
            </a:r>
          </a:p>
          <a:p>
            <a:pPr marL="342900" indent="-342900">
              <a:buFont typeface="+mj-lt"/>
              <a:buAutoNum type="arabicPeriod"/>
            </a:pPr>
            <a:r>
              <a:rPr lang="da-DK" b="1" dirty="0"/>
              <a:t>Hvad tager vi med os hjem?</a:t>
            </a:r>
            <a:endParaRPr lang="da-DK" dirty="0"/>
          </a:p>
        </p:txBody>
      </p:sp>
    </p:spTree>
    <p:extLst>
      <p:ext uri="{BB962C8B-B14F-4D97-AF65-F5344CB8AC3E}">
        <p14:creationId xmlns:p14="http://schemas.microsoft.com/office/powerpoint/2010/main" val="20091594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7BA9B5CF-6A0F-3A92-49BE-26BD9FC0F077}"/>
              </a:ext>
            </a:extLst>
          </p:cNvPr>
          <p:cNvPicPr>
            <a:picLocks noChangeAspect="1"/>
          </p:cNvPicPr>
          <p:nvPr/>
        </p:nvPicPr>
        <p:blipFill rotWithShape="1">
          <a:blip r:embed="rId5"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8" name="Object 7" hidden="1">
            <a:extLst>
              <a:ext uri="{FF2B5EF4-FFF2-40B4-BE49-F238E27FC236}">
                <a16:creationId xmlns:a16="http://schemas.microsoft.com/office/drawing/2014/main" id="{B84631B8-2BA5-494E-98A9-DA76D874D170}"/>
              </a:ext>
            </a:extLst>
          </p:cNvPr>
          <p:cNvGraphicFramePr>
            <a:graphicFrameLocks noChangeAspect="1"/>
          </p:cNvGraphicFramePr>
          <p:nvPr>
            <p:custDataLst>
              <p:tags r:id="rId2"/>
            </p:custDataLst>
            <p:extLst>
              <p:ext uri="{D42A27DB-BD31-4B8C-83A1-F6EECF244321}">
                <p14:modId xmlns:p14="http://schemas.microsoft.com/office/powerpoint/2010/main" val="1751534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6" imgW="342" imgH="337" progId="TCLayout.ActiveDocument.1">
                  <p:embed/>
                </p:oleObj>
              </mc:Choice>
              <mc:Fallback>
                <p:oleObj name="think-cell Slide" r:id="rId6" imgW="342" imgH="337"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p:txBody>
          <a:bodyPr vert="horz"/>
          <a:lstStyle/>
          <a:p>
            <a:r>
              <a:rPr lang="da-DK" dirty="0"/>
              <a:t>Modul 6: De unges deltagelse i fællesskaber</a:t>
            </a:r>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a:t>
            </a:r>
          </a:p>
          <a:p>
            <a:r>
              <a:rPr lang="da-DK" dirty="0"/>
              <a:t>At I får øget viden om de udfordringer og muligheder jeres barn kan opleve i forhold til voksenlivet, herunder deltagelse i sociale fællesskaber, uddannelse eller job. </a:t>
            </a:r>
          </a:p>
          <a:p>
            <a:r>
              <a:rPr lang="da-DK" dirty="0"/>
              <a:t>At I får viden, redskaber og handlemåder til at understøtte jeres barns deltagelse i fællesskaber. </a:t>
            </a:r>
          </a:p>
        </p:txBody>
      </p:sp>
    </p:spTree>
    <p:extLst>
      <p:ext uri="{BB962C8B-B14F-4D97-AF65-F5344CB8AC3E}">
        <p14:creationId xmlns:p14="http://schemas.microsoft.com/office/powerpoint/2010/main" val="26766259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7"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448276183"/>
              </p:ext>
            </p:extLst>
          </p:nvPr>
        </p:nvGraphicFramePr>
        <p:xfrm>
          <a:off x="628649" y="1760220"/>
          <a:ext cx="7467526" cy="370840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Velkommen og formål med dagen </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Siden sidst</a:t>
                      </a:r>
                    </a:p>
                  </a:txBody>
                  <a:tcPr/>
                </a:tc>
                <a:extLst>
                  <a:ext uri="{0D108BD9-81ED-4DB2-BD59-A6C34878D82A}">
                    <a16:rowId xmlns:a16="http://schemas.microsoft.com/office/drawing/2014/main" val="3167250481"/>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vil vi gerne have ud af modulet?</a:t>
                      </a:r>
                    </a:p>
                  </a:txBody>
                  <a:tcPr/>
                </a:tc>
                <a:extLst>
                  <a:ext uri="{0D108BD9-81ED-4DB2-BD59-A6C34878D82A}">
                    <a16:rowId xmlns:a16="http://schemas.microsoft.com/office/drawing/2014/main" val="102157098"/>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har de unge aktuelt fokus på?</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Oplæg </a:t>
                      </a:r>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Drøftelse af dagens tema</a:t>
                      </a:r>
                    </a:p>
                  </a:txBody>
                  <a:tcPr/>
                </a:tc>
                <a:extLst>
                  <a:ext uri="{0D108BD9-81ED-4DB2-BD59-A6C34878D82A}">
                    <a16:rowId xmlns:a16="http://schemas.microsoft.com/office/drawing/2014/main" val="2823113985"/>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Øvelse/omsætning til hverdagen</a:t>
                      </a:r>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vil vi fokusere på til næste gang? </a:t>
                      </a:r>
                    </a:p>
                  </a:txBody>
                  <a:tcPr/>
                </a:tc>
                <a:extLst>
                  <a:ext uri="{0D108BD9-81ED-4DB2-BD59-A6C34878D82A}">
                    <a16:rowId xmlns:a16="http://schemas.microsoft.com/office/drawing/2014/main" val="3100555660"/>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Hvad tager vi med os hjem?</a:t>
                      </a:r>
                    </a:p>
                  </a:txBody>
                  <a:tcPr/>
                </a:tc>
                <a:extLst>
                  <a:ext uri="{0D108BD9-81ED-4DB2-BD59-A6C34878D82A}">
                    <a16:rowId xmlns:a16="http://schemas.microsoft.com/office/drawing/2014/main" val="2285819073"/>
                  </a:ext>
                </a:extLst>
              </a:tr>
            </a:tbl>
          </a:graphicData>
        </a:graphic>
      </p:graphicFrame>
    </p:spTree>
    <p:extLst>
      <p:ext uri="{BB962C8B-B14F-4D97-AF65-F5344CB8AC3E}">
        <p14:creationId xmlns:p14="http://schemas.microsoft.com/office/powerpoint/2010/main" val="114583346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E2F47B-7352-4067-816A-312B537F7D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45E2F47B-7352-4067-816A-312B537F7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38865-BE55-48CB-8610-2CCD942ACAD1}"/>
              </a:ext>
            </a:extLst>
          </p:cNvPr>
          <p:cNvSpPr>
            <a:spLocks noGrp="1"/>
          </p:cNvSpPr>
          <p:nvPr>
            <p:ph type="title"/>
          </p:nvPr>
        </p:nvSpPr>
        <p:spPr/>
        <p:txBody>
          <a:bodyPr vert="horz"/>
          <a:lstStyle/>
          <a:p>
            <a:r>
              <a:rPr lang="da-DK" dirty="0"/>
              <a:t>Siden sidst – to og to</a:t>
            </a:r>
          </a:p>
        </p:txBody>
      </p:sp>
      <p:sp>
        <p:nvSpPr>
          <p:cNvPr id="3" name="Content Placeholder 2">
            <a:extLst>
              <a:ext uri="{FF2B5EF4-FFF2-40B4-BE49-F238E27FC236}">
                <a16:creationId xmlns:a16="http://schemas.microsoft.com/office/drawing/2014/main" id="{2D9E83EF-F91E-43EF-9F1D-837A2F305F83}"/>
              </a:ext>
            </a:extLst>
          </p:cNvPr>
          <p:cNvSpPr>
            <a:spLocks noGrp="1"/>
          </p:cNvSpPr>
          <p:nvPr>
            <p:ph idx="1"/>
          </p:nvPr>
        </p:nvSpPr>
        <p:spPr/>
        <p:txBody>
          <a:bodyPr/>
          <a:lstStyle/>
          <a:p>
            <a:r>
              <a:rPr lang="da-DK" dirty="0"/>
              <a:t>Hvordan er det gået siden sidst? </a:t>
            </a:r>
          </a:p>
          <a:p>
            <a:endParaRPr lang="da-DK" dirty="0"/>
          </a:p>
          <a:p>
            <a:r>
              <a:rPr lang="da-DK" dirty="0"/>
              <a:t>Hvad er det bedste, der er sket for min/den unge siden sidst? </a:t>
            </a:r>
          </a:p>
          <a:p>
            <a:endParaRPr lang="da-DK" dirty="0"/>
          </a:p>
          <a:p>
            <a:r>
              <a:rPr lang="da-DK" dirty="0"/>
              <a:t>Hvordan er det gået med den unges hjemmeøvelse?</a:t>
            </a:r>
          </a:p>
        </p:txBody>
      </p:sp>
      <p:sp>
        <p:nvSpPr>
          <p:cNvPr id="9" name="Speech Bubble: Rectangle with Corners Rounded 8">
            <a:extLst>
              <a:ext uri="{FF2B5EF4-FFF2-40B4-BE49-F238E27FC236}">
                <a16:creationId xmlns:a16="http://schemas.microsoft.com/office/drawing/2014/main" id="{15907E2A-CC62-49BE-81D7-9C5D9B5EAA0B}"/>
              </a:ext>
            </a:extLst>
          </p:cNvPr>
          <p:cNvSpPr/>
          <p:nvPr/>
        </p:nvSpPr>
        <p:spPr>
          <a:xfrm>
            <a:off x="3779912" y="3789040"/>
            <a:ext cx="4947948" cy="1864978"/>
          </a:xfrm>
          <a:prstGeom prst="wedgeRoundRectCallout">
            <a:avLst>
              <a:gd name="adj1" fmla="val -55729"/>
              <a:gd name="adj2" fmla="val 7598"/>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Overvej hvilke muligheder og udfordringer de oplever i forhold til den unges overgang til voksenlivet og deltagelse i fællesskaber (fx sociale relationer, venskaber, uddannelse og job)</a:t>
            </a:r>
          </a:p>
          <a:p>
            <a:pPr marL="285750" indent="-285750">
              <a:spcAft>
                <a:spcPts val="600"/>
              </a:spcAft>
              <a:buFont typeface="Arial" panose="020B0604020202020204" pitchFamily="34" charset="0"/>
              <a:buChar char="•"/>
            </a:pPr>
            <a:r>
              <a:rPr lang="da-DK" sz="1400" i="1" dirty="0">
                <a:solidFill>
                  <a:schemeClr val="tx1"/>
                </a:solidFill>
              </a:rPr>
              <a:t>Hvad kan være svært?</a:t>
            </a:r>
          </a:p>
          <a:p>
            <a:pPr marL="285750" indent="-285750">
              <a:spcAft>
                <a:spcPts val="600"/>
              </a:spcAft>
              <a:buFont typeface="Arial" panose="020B0604020202020204" pitchFamily="34" charset="0"/>
              <a:buChar char="•"/>
            </a:pPr>
            <a:r>
              <a:rPr lang="da-DK" sz="1400" i="1" dirty="0">
                <a:solidFill>
                  <a:schemeClr val="tx1"/>
                </a:solidFill>
              </a:rPr>
              <a:t>Hvad vil jeg gerne have ud af modulet om Deltagelse i fællesskaber?</a:t>
            </a:r>
          </a:p>
        </p:txBody>
      </p:sp>
    </p:spTree>
    <p:extLst>
      <p:ext uri="{BB962C8B-B14F-4D97-AF65-F5344CB8AC3E}">
        <p14:creationId xmlns:p14="http://schemas.microsoft.com/office/powerpoint/2010/main" val="157094712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E2F47B-7352-4067-816A-312B537F7D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45E2F47B-7352-4067-816A-312B537F7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C38865-BE55-48CB-8610-2CCD942ACAD1}"/>
              </a:ext>
            </a:extLst>
          </p:cNvPr>
          <p:cNvSpPr>
            <a:spLocks noGrp="1"/>
          </p:cNvSpPr>
          <p:nvPr>
            <p:ph type="title"/>
          </p:nvPr>
        </p:nvSpPr>
        <p:spPr/>
        <p:txBody>
          <a:bodyPr vert="horz"/>
          <a:lstStyle/>
          <a:p>
            <a:r>
              <a:rPr lang="da-DK" dirty="0"/>
              <a:t>Hvad vil vi gerne have ud af modulet?</a:t>
            </a:r>
          </a:p>
        </p:txBody>
      </p:sp>
      <p:sp>
        <p:nvSpPr>
          <p:cNvPr id="3" name="Content Placeholder 2">
            <a:extLst>
              <a:ext uri="{FF2B5EF4-FFF2-40B4-BE49-F238E27FC236}">
                <a16:creationId xmlns:a16="http://schemas.microsoft.com/office/drawing/2014/main" id="{2D9E83EF-F91E-43EF-9F1D-837A2F305F83}"/>
              </a:ext>
            </a:extLst>
          </p:cNvPr>
          <p:cNvSpPr>
            <a:spLocks noGrp="1"/>
          </p:cNvSpPr>
          <p:nvPr>
            <p:ph idx="1"/>
          </p:nvPr>
        </p:nvSpPr>
        <p:spPr/>
        <p:txBody>
          <a:bodyPr/>
          <a:lstStyle/>
          <a:p>
            <a:r>
              <a:rPr lang="da-DK" dirty="0"/>
              <a:t>Hvad vil jeg gerne have ud af dagen i dag? </a:t>
            </a:r>
          </a:p>
          <a:p>
            <a:r>
              <a:rPr lang="da-DK" dirty="0"/>
              <a:t>Hvad er vigtigt for mig at komme omkring i forhold til temaet om de unges deltagelse i samfundet og andre fællesskaber? </a:t>
            </a:r>
          </a:p>
        </p:txBody>
      </p:sp>
    </p:spTree>
    <p:extLst>
      <p:ext uri="{BB962C8B-B14F-4D97-AF65-F5344CB8AC3E}">
        <p14:creationId xmlns:p14="http://schemas.microsoft.com/office/powerpoint/2010/main" val="346977852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500770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Hvad har de unge aktuelt fokus på?</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a:xfrm>
            <a:off x="628649" y="1628775"/>
            <a:ext cx="8191823" cy="4248150"/>
          </a:xfrm>
        </p:spPr>
        <p:txBody>
          <a:bodyPr>
            <a:normAutofit fontScale="85000" lnSpcReduction="10000"/>
          </a:bodyPr>
          <a:lstStyle/>
          <a:p>
            <a:pPr marL="0" indent="0">
              <a:spcBef>
                <a:spcPts val="0"/>
              </a:spcBef>
              <a:spcAft>
                <a:spcPts val="1200"/>
              </a:spcAft>
              <a:buNone/>
            </a:pPr>
            <a:r>
              <a:rPr lang="da-DK" b="1" dirty="0"/>
              <a:t>[Indholdet tilpasses, så det afspejler indholdet i de unges session]</a:t>
            </a:r>
          </a:p>
          <a:p>
            <a:pPr marL="0" indent="0">
              <a:spcAft>
                <a:spcPts val="600"/>
              </a:spcAft>
              <a:buNone/>
            </a:pPr>
            <a:r>
              <a:rPr lang="da-DK" dirty="0"/>
              <a:t>På modulet ”fritid, venskaber og kærester” lærer de unge bl.a.:</a:t>
            </a:r>
          </a:p>
          <a:p>
            <a:pPr lvl="1">
              <a:spcAft>
                <a:spcPts val="600"/>
              </a:spcAft>
              <a:buFont typeface="Arial" panose="020B0604020202020204" pitchFamily="34" charset="0"/>
              <a:buChar char="•"/>
            </a:pPr>
            <a:r>
              <a:rPr lang="da-DK" i="0" dirty="0"/>
              <a:t>Hvad der er </a:t>
            </a:r>
            <a:r>
              <a:rPr lang="da-DK" b="1" i="0" dirty="0"/>
              <a:t>vigtigt for den unge </a:t>
            </a:r>
            <a:r>
              <a:rPr lang="da-DK" i="0" dirty="0"/>
              <a:t>i forhold til fritid, venskaber og kærester.</a:t>
            </a:r>
          </a:p>
          <a:p>
            <a:pPr lvl="1">
              <a:spcAft>
                <a:spcPts val="600"/>
              </a:spcAft>
              <a:buFont typeface="Arial" panose="020B0604020202020204" pitchFamily="34" charset="0"/>
              <a:buChar char="•"/>
            </a:pPr>
            <a:r>
              <a:rPr lang="da-DK" i="0" dirty="0"/>
              <a:t>Hvordan man indgår i de </a:t>
            </a:r>
            <a:r>
              <a:rPr lang="da-DK" b="1" i="0" dirty="0"/>
              <a:t>sociale fællesskaber</a:t>
            </a:r>
            <a:r>
              <a:rPr lang="da-DK" i="0" dirty="0"/>
              <a:t>, som man gerne vil være en del af.</a:t>
            </a:r>
          </a:p>
          <a:p>
            <a:pPr lvl="1">
              <a:spcAft>
                <a:spcPts val="600"/>
              </a:spcAft>
              <a:buFont typeface="Arial" panose="020B0604020202020204" pitchFamily="34" charset="0"/>
              <a:buChar char="•"/>
            </a:pPr>
            <a:r>
              <a:rPr lang="da-DK" i="0" dirty="0"/>
              <a:t>At man i sin </a:t>
            </a:r>
            <a:r>
              <a:rPr lang="da-DK" b="1" i="0" dirty="0"/>
              <a:t>fritid </a:t>
            </a:r>
            <a:r>
              <a:rPr lang="da-DK" i="0" dirty="0"/>
              <a:t>fx kan dyrke sport, spille eller være en del af en forening.</a:t>
            </a:r>
          </a:p>
          <a:p>
            <a:pPr lvl="1">
              <a:spcAft>
                <a:spcPts val="600"/>
              </a:spcAft>
              <a:buFont typeface="Arial" panose="020B0604020202020204" pitchFamily="34" charset="0"/>
              <a:buChar char="•"/>
            </a:pPr>
            <a:r>
              <a:rPr lang="da-DK" i="0" dirty="0"/>
              <a:t>At man fx kan møde </a:t>
            </a:r>
            <a:r>
              <a:rPr lang="da-DK" b="1" i="0" dirty="0"/>
              <a:t>venner </a:t>
            </a:r>
            <a:r>
              <a:rPr lang="da-DK" i="0" dirty="0"/>
              <a:t>i skolen, på uddannelsen eller til fritidsaktiviteter.</a:t>
            </a:r>
          </a:p>
          <a:p>
            <a:pPr lvl="1">
              <a:spcAft>
                <a:spcPts val="600"/>
              </a:spcAft>
              <a:buFont typeface="Arial" panose="020B0604020202020204" pitchFamily="34" charset="0"/>
              <a:buChar char="•"/>
            </a:pPr>
            <a:r>
              <a:rPr lang="da-DK" b="1" i="0" dirty="0"/>
              <a:t>At sociale medier </a:t>
            </a:r>
            <a:r>
              <a:rPr lang="da-DK" i="0" dirty="0"/>
              <a:t>kan være en god måde at møde nye venner på.</a:t>
            </a:r>
          </a:p>
          <a:p>
            <a:pPr lvl="1">
              <a:spcAft>
                <a:spcPts val="600"/>
              </a:spcAft>
              <a:buFont typeface="Arial" panose="020B0604020202020204" pitchFamily="34" charset="0"/>
              <a:buChar char="•"/>
            </a:pPr>
            <a:r>
              <a:rPr lang="da-DK" i="0" dirty="0"/>
              <a:t>At de fleste af os oplever </a:t>
            </a:r>
            <a:r>
              <a:rPr lang="da-DK" b="1" i="0" dirty="0"/>
              <a:t>ensomhed </a:t>
            </a:r>
            <a:r>
              <a:rPr lang="da-DK" i="0" dirty="0"/>
              <a:t>på et tidspunkt, men at der er mange ting man kan gøre for ikke at føle sig ensom.</a:t>
            </a:r>
          </a:p>
          <a:p>
            <a:pPr lvl="1">
              <a:spcAft>
                <a:spcPts val="600"/>
              </a:spcAft>
              <a:buFont typeface="Arial" panose="020B0604020202020204" pitchFamily="34" charset="0"/>
              <a:buChar char="•"/>
            </a:pPr>
            <a:r>
              <a:rPr lang="da-DK" b="1" i="0" dirty="0"/>
              <a:t>At forelske sig </a:t>
            </a:r>
            <a:r>
              <a:rPr lang="da-DK" i="0" dirty="0"/>
              <a:t>kan føles ekstrem.</a:t>
            </a:r>
          </a:p>
          <a:p>
            <a:pPr lvl="1">
              <a:spcAft>
                <a:spcPts val="600"/>
              </a:spcAft>
              <a:buFont typeface="Arial" panose="020B0604020202020204" pitchFamily="34" charset="0"/>
              <a:buChar char="•"/>
            </a:pPr>
            <a:r>
              <a:rPr lang="da-DK" b="1" i="0" dirty="0"/>
              <a:t>At dating </a:t>
            </a:r>
            <a:r>
              <a:rPr lang="da-DK" i="0" dirty="0"/>
              <a:t>kan ske på mange måder, og at det kan være svært at tyde, hvor man har den anden.</a:t>
            </a:r>
          </a:p>
          <a:p>
            <a:pPr lvl="1">
              <a:spcAft>
                <a:spcPts val="600"/>
              </a:spcAft>
              <a:buFont typeface="Arial" panose="020B0604020202020204" pitchFamily="34" charset="0"/>
              <a:buChar char="•"/>
            </a:pPr>
            <a:r>
              <a:rPr lang="da-DK" i="0" dirty="0"/>
              <a:t>At der er en række råd, som man kan støtte sig op ad, når man dater.</a:t>
            </a:r>
          </a:p>
          <a:p>
            <a:pPr lvl="1">
              <a:buFont typeface="Arial" panose="020B0604020202020204" pitchFamily="34" charset="0"/>
              <a:buChar char="•"/>
            </a:pPr>
            <a:endParaRPr lang="da-DK" i="0" dirty="0"/>
          </a:p>
        </p:txBody>
      </p:sp>
    </p:spTree>
    <p:extLst>
      <p:ext uri="{BB962C8B-B14F-4D97-AF65-F5344CB8AC3E}">
        <p14:creationId xmlns:p14="http://schemas.microsoft.com/office/powerpoint/2010/main" val="62314915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Hvad har de unge aktuelt fokus på?</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a:xfrm>
            <a:off x="628649" y="1628775"/>
            <a:ext cx="8191823" cy="4248150"/>
          </a:xfrm>
        </p:spPr>
        <p:txBody>
          <a:bodyPr>
            <a:normAutofit/>
          </a:bodyPr>
          <a:lstStyle/>
          <a:p>
            <a:pPr marL="0" indent="0">
              <a:spcAft>
                <a:spcPts val="600"/>
              </a:spcAft>
              <a:buNone/>
            </a:pPr>
            <a:r>
              <a:rPr lang="da-DK" b="1" dirty="0"/>
              <a:t>[Her indsætter gruppevejlederen de unges hjemmeøvelse(r) fra sidste gang]</a:t>
            </a:r>
          </a:p>
          <a:p>
            <a:pPr marL="0" indent="0">
              <a:spcAft>
                <a:spcPts val="600"/>
              </a:spcAft>
              <a:buNone/>
            </a:pPr>
            <a:endParaRPr lang="da-DK" i="0" dirty="0"/>
          </a:p>
        </p:txBody>
      </p:sp>
    </p:spTree>
    <p:extLst>
      <p:ext uri="{BB962C8B-B14F-4D97-AF65-F5344CB8AC3E}">
        <p14:creationId xmlns:p14="http://schemas.microsoft.com/office/powerpoint/2010/main" val="405123000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B2882-130A-4839-909F-C8232B944F07}"/>
              </a:ext>
            </a:extLst>
          </p:cNvPr>
          <p:cNvSpPr>
            <a:spLocks noGrp="1"/>
          </p:cNvSpPr>
          <p:nvPr>
            <p:ph type="title"/>
          </p:nvPr>
        </p:nvSpPr>
        <p:spPr/>
        <p:txBody>
          <a:bodyPr/>
          <a:lstStyle/>
          <a:p>
            <a:r>
              <a:rPr lang="da-DK" dirty="0"/>
              <a:t>Venskaber/kærester</a:t>
            </a:r>
          </a:p>
        </p:txBody>
      </p:sp>
      <p:sp>
        <p:nvSpPr>
          <p:cNvPr id="3" name="Content Placeholder 2">
            <a:extLst>
              <a:ext uri="{FF2B5EF4-FFF2-40B4-BE49-F238E27FC236}">
                <a16:creationId xmlns:a16="http://schemas.microsoft.com/office/drawing/2014/main" id="{99BD2713-56F9-4ABA-A435-AC8F95593B59}"/>
              </a:ext>
            </a:extLst>
          </p:cNvPr>
          <p:cNvSpPr>
            <a:spLocks noGrp="1"/>
          </p:cNvSpPr>
          <p:nvPr>
            <p:ph idx="1"/>
          </p:nvPr>
        </p:nvSpPr>
        <p:spPr/>
        <p:txBody>
          <a:bodyPr/>
          <a:lstStyle/>
          <a:p>
            <a:r>
              <a:rPr lang="da-DK" dirty="0"/>
              <a:t>Unge med autisme kan have lyst til at have venner/kærester, men svært ved at italesætte behovet.</a:t>
            </a:r>
          </a:p>
          <a:p>
            <a:r>
              <a:rPr lang="da-DK" dirty="0"/>
              <a:t>De unges sociale liv og behov kan være anderledes. </a:t>
            </a:r>
          </a:p>
          <a:p>
            <a:r>
              <a:rPr lang="da-DK" dirty="0"/>
              <a:t>Som yngre var aftaler oftest arrangeret af de voksne. Som ung skal man selv tage initiativ til det. </a:t>
            </a:r>
          </a:p>
          <a:p>
            <a:r>
              <a:rPr lang="da-DK" dirty="0"/>
              <a:t>Risiko for isolation.</a:t>
            </a:r>
          </a:p>
          <a:p>
            <a:r>
              <a:rPr lang="da-DK" dirty="0"/>
              <a:t>Derfor er der ofte behov for støtte til at fastholde venskaber/sociale netværk.</a:t>
            </a:r>
          </a:p>
        </p:txBody>
      </p:sp>
      <p:sp>
        <p:nvSpPr>
          <p:cNvPr id="6" name="Speech Bubble: Rectangle with Corners Rounded 5">
            <a:extLst>
              <a:ext uri="{FF2B5EF4-FFF2-40B4-BE49-F238E27FC236}">
                <a16:creationId xmlns:a16="http://schemas.microsoft.com/office/drawing/2014/main" id="{C767358F-CA39-40CE-B4B3-50302757660F}"/>
              </a:ext>
            </a:extLst>
          </p:cNvPr>
          <p:cNvSpPr/>
          <p:nvPr/>
        </p:nvSpPr>
        <p:spPr>
          <a:xfrm>
            <a:off x="5005261" y="4293096"/>
            <a:ext cx="3510089" cy="1304888"/>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ad kan I genkende?  </a:t>
            </a:r>
          </a:p>
          <a:p>
            <a:pPr marL="285750" indent="-285750">
              <a:spcAft>
                <a:spcPts val="600"/>
              </a:spcAft>
              <a:buFont typeface="Arial" panose="020B0604020202020204" pitchFamily="34" charset="0"/>
              <a:buChar char="•"/>
            </a:pPr>
            <a:r>
              <a:rPr lang="da-DK" sz="1400" i="1" dirty="0">
                <a:solidFill>
                  <a:schemeClr val="tx1"/>
                </a:solidFill>
              </a:rPr>
              <a:t>Hvordan kan man tale med sit barn om deres forståelse af fællesskaber og ønsker den unge måtte have? </a:t>
            </a:r>
          </a:p>
        </p:txBody>
      </p:sp>
    </p:spTree>
    <p:extLst>
      <p:ext uri="{BB962C8B-B14F-4D97-AF65-F5344CB8AC3E}">
        <p14:creationId xmlns:p14="http://schemas.microsoft.com/office/powerpoint/2010/main" val="283327430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68AD4-5A6A-4A4B-B48D-3BDABDB800BB}"/>
              </a:ext>
            </a:extLst>
          </p:cNvPr>
          <p:cNvSpPr>
            <a:spLocks noGrp="1"/>
          </p:cNvSpPr>
          <p:nvPr>
            <p:ph type="title"/>
          </p:nvPr>
        </p:nvSpPr>
        <p:spPr/>
        <p:txBody>
          <a:bodyPr/>
          <a:lstStyle/>
          <a:p>
            <a:r>
              <a:rPr lang="da-DK" dirty="0"/>
              <a:t>Sociale medier og onlinefællesskaber</a:t>
            </a:r>
          </a:p>
        </p:txBody>
      </p:sp>
      <p:sp>
        <p:nvSpPr>
          <p:cNvPr id="3" name="Content Placeholder 2">
            <a:extLst>
              <a:ext uri="{FF2B5EF4-FFF2-40B4-BE49-F238E27FC236}">
                <a16:creationId xmlns:a16="http://schemas.microsoft.com/office/drawing/2014/main" id="{4EEEB242-5F16-4877-9BF0-BE463E4CAE1B}"/>
              </a:ext>
            </a:extLst>
          </p:cNvPr>
          <p:cNvSpPr>
            <a:spLocks noGrp="1"/>
          </p:cNvSpPr>
          <p:nvPr>
            <p:ph idx="1"/>
          </p:nvPr>
        </p:nvSpPr>
        <p:spPr/>
        <p:txBody>
          <a:bodyPr/>
          <a:lstStyle/>
          <a:p>
            <a:r>
              <a:rPr lang="da-DK" dirty="0"/>
              <a:t>Sociale medier og online fællesskaber kan være et godt sted at finde andre, som har samme interesser som en selv. </a:t>
            </a:r>
          </a:p>
          <a:p>
            <a:r>
              <a:rPr lang="da-DK" dirty="0"/>
              <a:t>Det kan for nogle unge med autisme også være lettere at komme i kontakt med nye mennesker, når man skriver sammen i stedet for at mødes ansigt til ansigt. </a:t>
            </a:r>
          </a:p>
          <a:p>
            <a:endParaRPr lang="da-DK" dirty="0"/>
          </a:p>
        </p:txBody>
      </p:sp>
    </p:spTree>
    <p:extLst>
      <p:ext uri="{BB962C8B-B14F-4D97-AF65-F5344CB8AC3E}">
        <p14:creationId xmlns:p14="http://schemas.microsoft.com/office/powerpoint/2010/main" val="364802065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EB7763D-F8C6-4FC7-9BB6-2D3222624C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FEB7763D-F8C6-4FC7-9BB6-2D3222624C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30D6AF5-1B62-4BE9-B8D1-824402E84F54}"/>
              </a:ext>
            </a:extLst>
          </p:cNvPr>
          <p:cNvSpPr>
            <a:spLocks noGrp="1"/>
          </p:cNvSpPr>
          <p:nvPr>
            <p:ph type="title"/>
          </p:nvPr>
        </p:nvSpPr>
        <p:spPr/>
        <p:txBody>
          <a:bodyPr vert="horz"/>
          <a:lstStyle/>
          <a:p>
            <a:r>
              <a:rPr lang="da-DK" dirty="0"/>
              <a:t>Ensomhed</a:t>
            </a:r>
          </a:p>
        </p:txBody>
      </p:sp>
      <p:sp>
        <p:nvSpPr>
          <p:cNvPr id="3" name="Pladsholder til indhold 2">
            <a:extLst>
              <a:ext uri="{FF2B5EF4-FFF2-40B4-BE49-F238E27FC236}">
                <a16:creationId xmlns:a16="http://schemas.microsoft.com/office/drawing/2014/main" id="{5A299A38-7733-44A6-B25A-8D23E66DD90B}"/>
              </a:ext>
            </a:extLst>
          </p:cNvPr>
          <p:cNvSpPr>
            <a:spLocks noGrp="1"/>
          </p:cNvSpPr>
          <p:nvPr>
            <p:ph idx="1"/>
          </p:nvPr>
        </p:nvSpPr>
        <p:spPr/>
        <p:txBody>
          <a:bodyPr>
            <a:normAutofit/>
          </a:bodyPr>
          <a:lstStyle/>
          <a:p>
            <a:r>
              <a:rPr lang="da-DK" dirty="0"/>
              <a:t>De fleste af os – ikke mindst unge med autisme – oplever ensomhed på tidspunkter i vores liv – i kortere eller længere perioder.</a:t>
            </a:r>
          </a:p>
          <a:p>
            <a:r>
              <a:rPr lang="da-DK" i="1" dirty="0"/>
              <a:t>Ensomhed er, når man er alene uden, at man ønsker at være det</a:t>
            </a:r>
          </a:p>
          <a:p>
            <a:r>
              <a:rPr lang="da-DK" dirty="0"/>
              <a:t>Den unge kan overvinde ensomheden ved at:</a:t>
            </a:r>
          </a:p>
          <a:p>
            <a:pPr lvl="1"/>
            <a:r>
              <a:rPr lang="da-DK" i="0" dirty="0"/>
              <a:t>Vedkende sig følelsen</a:t>
            </a:r>
          </a:p>
          <a:p>
            <a:pPr lvl="1"/>
            <a:r>
              <a:rPr lang="da-DK" i="0" dirty="0"/>
              <a:t>Opsøge ligesindede</a:t>
            </a:r>
          </a:p>
          <a:p>
            <a:pPr lvl="1"/>
            <a:r>
              <a:rPr lang="da-DK" i="0" dirty="0"/>
              <a:t>Være rummelig over for sig selv</a:t>
            </a:r>
          </a:p>
          <a:p>
            <a:pPr lvl="1"/>
            <a:r>
              <a:rPr lang="da-DK" i="0" dirty="0"/>
              <a:t>Finde en hobby, som optager en og komme fast det samme sted</a:t>
            </a:r>
          </a:p>
          <a:p>
            <a:pPr lvl="1"/>
            <a:r>
              <a:rPr lang="da-DK" i="0" dirty="0"/>
              <a:t>Gøre de ting, som man drømmer om, men som man holder sig fra, fordi man er alene</a:t>
            </a:r>
          </a:p>
          <a:p>
            <a:pPr lvl="1"/>
            <a:r>
              <a:rPr lang="da-DK" i="0" dirty="0"/>
              <a:t>Gå ud i naturen og bruge sine sanser</a:t>
            </a:r>
          </a:p>
          <a:p>
            <a:pPr lvl="1"/>
            <a:r>
              <a:rPr lang="da-DK" i="0" dirty="0"/>
              <a:t>Få et kæledyr og vise det omsorg.</a:t>
            </a:r>
          </a:p>
        </p:txBody>
      </p:sp>
      <p:sp>
        <p:nvSpPr>
          <p:cNvPr id="7" name="TextBox 6">
            <a:extLst>
              <a:ext uri="{FF2B5EF4-FFF2-40B4-BE49-F238E27FC236}">
                <a16:creationId xmlns:a16="http://schemas.microsoft.com/office/drawing/2014/main" id="{1B09EF37-CBE8-4079-91B8-D8F021923A39}"/>
              </a:ext>
            </a:extLst>
          </p:cNvPr>
          <p:cNvSpPr txBox="1"/>
          <p:nvPr/>
        </p:nvSpPr>
        <p:spPr>
          <a:xfrm>
            <a:off x="5257139" y="5807069"/>
            <a:ext cx="2952700"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dirty="0">
                <a:ln>
                  <a:noFill/>
                </a:ln>
                <a:solidFill>
                  <a:srgbClr val="797777"/>
                </a:solidFill>
                <a:effectLst/>
                <a:uLnTx/>
                <a:uFillTx/>
                <a:latin typeface="Arial" panose="020B0604020202020204"/>
                <a:ea typeface="+mn-ea"/>
                <a:cs typeface="+mn-cs"/>
              </a:rPr>
              <a:t>Kilde: Psykiatrifonden.</a:t>
            </a:r>
          </a:p>
        </p:txBody>
      </p:sp>
    </p:spTree>
    <p:extLst>
      <p:ext uri="{BB962C8B-B14F-4D97-AF65-F5344CB8AC3E}">
        <p14:creationId xmlns:p14="http://schemas.microsoft.com/office/powerpoint/2010/main" val="58606203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4A55B-6943-40CD-93F2-C4B91E51286F}"/>
              </a:ext>
            </a:extLst>
          </p:cNvPr>
          <p:cNvSpPr>
            <a:spLocks noGrp="1"/>
          </p:cNvSpPr>
          <p:nvPr>
            <p:ph type="title"/>
          </p:nvPr>
        </p:nvSpPr>
        <p:spPr/>
        <p:txBody>
          <a:bodyPr/>
          <a:lstStyle/>
          <a:p>
            <a:r>
              <a:rPr lang="da-DK" dirty="0"/>
              <a:t>Uddannelse/job</a:t>
            </a:r>
          </a:p>
        </p:txBody>
      </p:sp>
      <p:sp>
        <p:nvSpPr>
          <p:cNvPr id="3" name="Content Placeholder 2">
            <a:extLst>
              <a:ext uri="{FF2B5EF4-FFF2-40B4-BE49-F238E27FC236}">
                <a16:creationId xmlns:a16="http://schemas.microsoft.com/office/drawing/2014/main" id="{71D81F89-62C9-4AF2-A004-09F153612C4F}"/>
              </a:ext>
            </a:extLst>
          </p:cNvPr>
          <p:cNvSpPr>
            <a:spLocks noGrp="1"/>
          </p:cNvSpPr>
          <p:nvPr>
            <p:ph idx="1"/>
          </p:nvPr>
        </p:nvSpPr>
        <p:spPr>
          <a:xfrm>
            <a:off x="628649" y="1628775"/>
            <a:ext cx="5959575" cy="4248150"/>
          </a:xfrm>
        </p:spPr>
        <p:txBody>
          <a:bodyPr>
            <a:normAutofit lnSpcReduction="10000"/>
          </a:bodyPr>
          <a:lstStyle/>
          <a:p>
            <a:r>
              <a:rPr lang="da-DK" dirty="0"/>
              <a:t>Overgange fx til uddannelse eller job kan ofte være en udfordring for unge med autisme. </a:t>
            </a:r>
          </a:p>
          <a:p>
            <a:r>
              <a:rPr lang="da-DK" dirty="0"/>
              <a:t>Der er meget nyt og det hele foregår i en ny kontekst. </a:t>
            </a:r>
          </a:p>
          <a:p>
            <a:r>
              <a:rPr lang="da-DK" dirty="0"/>
              <a:t>Som en konsekvens af autismen kan det være vanskeligt for den unge at forestille sig, hvad det indebærer fx at gå i gymnasiet. </a:t>
            </a:r>
          </a:p>
          <a:p>
            <a:r>
              <a:rPr lang="da-DK" dirty="0"/>
              <a:t>Den unge kan blive overrasket over, at det faglige ofte overskygges i mængden af de mange sociale krav og forventninger. </a:t>
            </a:r>
          </a:p>
          <a:p>
            <a:r>
              <a:rPr lang="da-DK" dirty="0"/>
              <a:t>Den unge kan også have behov for at blive forberedt på, at man også bliver undervist i eller skal arbejde med emner og ting, som man måske ikke synes er spændende (selvom man er kommet ind på </a:t>
            </a:r>
            <a:br>
              <a:rPr lang="da-DK" dirty="0"/>
            </a:br>
            <a:r>
              <a:rPr lang="da-DK" dirty="0"/>
              <a:t>drømmestudiet/har fået drømmejobbet).</a:t>
            </a:r>
          </a:p>
          <a:p>
            <a:endParaRPr lang="da-DK" dirty="0"/>
          </a:p>
        </p:txBody>
      </p:sp>
      <p:sp>
        <p:nvSpPr>
          <p:cNvPr id="5" name="Speech Bubble: Rectangle with Corners Rounded 4">
            <a:extLst>
              <a:ext uri="{FF2B5EF4-FFF2-40B4-BE49-F238E27FC236}">
                <a16:creationId xmlns:a16="http://schemas.microsoft.com/office/drawing/2014/main" id="{AD7593D5-90FB-4A3F-9489-C81034E8A924}"/>
              </a:ext>
            </a:extLst>
          </p:cNvPr>
          <p:cNvSpPr/>
          <p:nvPr/>
        </p:nvSpPr>
        <p:spPr>
          <a:xfrm>
            <a:off x="6948264" y="2366882"/>
            <a:ext cx="1996814" cy="2771936"/>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ad kan I genkende?  </a:t>
            </a:r>
          </a:p>
          <a:p>
            <a:pPr marL="285750" indent="-285750">
              <a:spcAft>
                <a:spcPts val="600"/>
              </a:spcAft>
              <a:buFont typeface="Arial" panose="020B0604020202020204" pitchFamily="34" charset="0"/>
              <a:buChar char="•"/>
            </a:pPr>
            <a:r>
              <a:rPr lang="da-DK" sz="1400" i="1" dirty="0">
                <a:solidFill>
                  <a:schemeClr val="tx1"/>
                </a:solidFill>
              </a:rPr>
              <a:t>Hvordan kan man tale med sit barn om muligheder og udfordringer ved uddannelse/job? </a:t>
            </a:r>
          </a:p>
        </p:txBody>
      </p:sp>
    </p:spTree>
    <p:extLst>
      <p:ext uri="{BB962C8B-B14F-4D97-AF65-F5344CB8AC3E}">
        <p14:creationId xmlns:p14="http://schemas.microsoft.com/office/powerpoint/2010/main" val="36417114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ELECTEDLANGUAGE" val="Danish"/>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cialstyrelsen DK">
  <a:themeElements>
    <a:clrScheme name="Socialstyrelsen PPT">
      <a:dk1>
        <a:sysClr val="windowText" lastClr="000000"/>
      </a:dk1>
      <a:lt1>
        <a:sysClr val="window" lastClr="FFFFFF"/>
      </a:lt1>
      <a:dk2>
        <a:srgbClr val="AF292E"/>
      </a:dk2>
      <a:lt2>
        <a:srgbClr val="797777"/>
      </a:lt2>
      <a:accent1>
        <a:srgbClr val="C27030"/>
      </a:accent1>
      <a:accent2>
        <a:srgbClr val="6C8777"/>
      </a:accent2>
      <a:accent3>
        <a:srgbClr val="595959"/>
      </a:accent3>
      <a:accent4>
        <a:srgbClr val="E4BC2F"/>
      </a:accent4>
      <a:accent5>
        <a:srgbClr val="7090AD"/>
      </a:accent5>
      <a:accent6>
        <a:srgbClr val="7C767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sz="1100" dirty="0" smtClean="0"/>
        </a:defPPr>
      </a:lstStyle>
    </a:txDef>
  </a:objectDefaults>
  <a:extraClrSchemeLst/>
  <a:custClrLst>
    <a:custClr name="Custom Color 1">
      <a:srgbClr val="E9D392"/>
    </a:custClr>
    <a:custClr name="Custom Color 2">
      <a:srgbClr val="BAD9C1"/>
    </a:custClr>
    <a:custClr name="Custom Color 3">
      <a:srgbClr val="C6C7C9"/>
    </a:custClr>
    <a:custClr name="Custom Color 4">
      <a:srgbClr val="ECE38A"/>
    </a:custClr>
    <a:custClr name="Custom Color 5">
      <a:srgbClr val="CDE7EE"/>
    </a:custClr>
    <a:custClr name="Custom Color 6">
      <a:srgbClr val="BCB5B2"/>
    </a:custClr>
    <a:custClr name="Custom Color 7">
      <a:srgbClr val="D2E4BE"/>
    </a:custClr>
    <a:custClr name="Custom Color 8">
      <a:srgbClr val="CDDEF3"/>
    </a:custClr>
    <a:custClr name="Custom Color 9">
      <a:srgbClr val="DED5CB"/>
    </a:custClr>
    <a:custClr name="Custom Color 10">
      <a:srgbClr val="F9F8E0"/>
    </a:custClr>
  </a:custClrLst>
  <a:extLst>
    <a:ext uri="{05A4C25C-085E-4340-85A3-A5531E510DB2}">
      <thm15:themeFamily xmlns:thm15="http://schemas.microsoft.com/office/thememl/2012/main" name="PowerPoint skabelon-DK-28.5.17" id="{11AABAF5-F9E5-4183-8D88-86089682D0BF}" vid="{0F429F3F-D869-446F-BAD2-D0321B1993C1}"/>
    </a:ext>
  </a:extLst>
</a:theme>
</file>

<file path=ppt/theme/theme2.xml><?xml version="1.0" encoding="utf-8"?>
<a:theme xmlns:a="http://schemas.openxmlformats.org/drawingml/2006/main" name="1_DFTI_master">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Museo Slab 100"/>
        <a:ea typeface=""/>
        <a:cs typeface="Arial"/>
      </a:majorFont>
      <a:minorFont>
        <a:latin typeface="Museo Slab 100"/>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ocialstyrelsen DK">
  <a:themeElements>
    <a:clrScheme name="Socialstyrelsen PPT">
      <a:dk1>
        <a:sysClr val="windowText" lastClr="000000"/>
      </a:dk1>
      <a:lt1>
        <a:sysClr val="window" lastClr="FFFFFF"/>
      </a:lt1>
      <a:dk2>
        <a:srgbClr val="AF292E"/>
      </a:dk2>
      <a:lt2>
        <a:srgbClr val="797777"/>
      </a:lt2>
      <a:accent1>
        <a:srgbClr val="C27030"/>
      </a:accent1>
      <a:accent2>
        <a:srgbClr val="6C8777"/>
      </a:accent2>
      <a:accent3>
        <a:srgbClr val="595959"/>
      </a:accent3>
      <a:accent4>
        <a:srgbClr val="E4BC2F"/>
      </a:accent4>
      <a:accent5>
        <a:srgbClr val="7090AD"/>
      </a:accent5>
      <a:accent6>
        <a:srgbClr val="7C767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sz="1100" dirty="0" smtClean="0"/>
        </a:defPPr>
      </a:lstStyle>
    </a:txDef>
  </a:objectDefaults>
  <a:extraClrSchemeLst/>
  <a:custClrLst>
    <a:custClr name="Custom Color 1">
      <a:srgbClr val="E9D392"/>
    </a:custClr>
    <a:custClr name="Custom Color 2">
      <a:srgbClr val="BAD9C1"/>
    </a:custClr>
    <a:custClr name="Custom Color 3">
      <a:srgbClr val="C6C7C9"/>
    </a:custClr>
    <a:custClr name="Custom Color 4">
      <a:srgbClr val="ECE38A"/>
    </a:custClr>
    <a:custClr name="Custom Color 5">
      <a:srgbClr val="CDE7EE"/>
    </a:custClr>
    <a:custClr name="Custom Color 6">
      <a:srgbClr val="BCB5B2"/>
    </a:custClr>
    <a:custClr name="Custom Color 7">
      <a:srgbClr val="D2E4BE"/>
    </a:custClr>
    <a:custClr name="Custom Color 8">
      <a:srgbClr val="CDDEF3"/>
    </a:custClr>
    <a:custClr name="Custom Color 9">
      <a:srgbClr val="DED5CB"/>
    </a:custClr>
    <a:custClr name="Custom Color 10">
      <a:srgbClr val="F9F8E0"/>
    </a:custClr>
  </a:custClrLst>
  <a:extLst>
    <a:ext uri="{05A4C25C-085E-4340-85A3-A5531E510DB2}">
      <thm15:themeFamily xmlns:thm15="http://schemas.microsoft.com/office/thememl/2012/main" name="PowerPoint skabelon-DK-28.5.17" id="{11AABAF5-F9E5-4183-8D88-86089682D0BF}" vid="{0F429F3F-D869-446F-BAD2-D0321B1993C1}"/>
    </a:ext>
  </a:extLst>
</a:theme>
</file>

<file path=ppt/theme/theme4.xml><?xml version="1.0" encoding="utf-8"?>
<a:theme xmlns:a="http://schemas.openxmlformats.org/drawingml/2006/main" name="2_Socialstyrelsen DK">
  <a:themeElements>
    <a:clrScheme name="Socialstyrelsen PPT">
      <a:dk1>
        <a:sysClr val="windowText" lastClr="000000"/>
      </a:dk1>
      <a:lt1>
        <a:sysClr val="window" lastClr="FFFFFF"/>
      </a:lt1>
      <a:dk2>
        <a:srgbClr val="AF292E"/>
      </a:dk2>
      <a:lt2>
        <a:srgbClr val="797777"/>
      </a:lt2>
      <a:accent1>
        <a:srgbClr val="C27030"/>
      </a:accent1>
      <a:accent2>
        <a:srgbClr val="6C8777"/>
      </a:accent2>
      <a:accent3>
        <a:srgbClr val="595959"/>
      </a:accent3>
      <a:accent4>
        <a:srgbClr val="E4BC2F"/>
      </a:accent4>
      <a:accent5>
        <a:srgbClr val="7090AD"/>
      </a:accent5>
      <a:accent6>
        <a:srgbClr val="7C767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sz="1100" dirty="0" smtClean="0"/>
        </a:defPPr>
      </a:lstStyle>
    </a:txDef>
  </a:objectDefaults>
  <a:extraClrSchemeLst/>
  <a:custClrLst>
    <a:custClr name="Custom Color 1">
      <a:srgbClr val="E9D392"/>
    </a:custClr>
    <a:custClr name="Custom Color 2">
      <a:srgbClr val="BAD9C1"/>
    </a:custClr>
    <a:custClr name="Custom Color 3">
      <a:srgbClr val="C6C7C9"/>
    </a:custClr>
    <a:custClr name="Custom Color 4">
      <a:srgbClr val="ECE38A"/>
    </a:custClr>
    <a:custClr name="Custom Color 5">
      <a:srgbClr val="CDE7EE"/>
    </a:custClr>
    <a:custClr name="Custom Color 6">
      <a:srgbClr val="BCB5B2"/>
    </a:custClr>
    <a:custClr name="Custom Color 7">
      <a:srgbClr val="D2E4BE"/>
    </a:custClr>
    <a:custClr name="Custom Color 8">
      <a:srgbClr val="CDDEF3"/>
    </a:custClr>
    <a:custClr name="Custom Color 9">
      <a:srgbClr val="DED5CB"/>
    </a:custClr>
    <a:custClr name="Custom Color 10">
      <a:srgbClr val="F9F8E0"/>
    </a:custClr>
  </a:custClrLst>
  <a:extLst>
    <a:ext uri="{05A4C25C-085E-4340-85A3-A5531E510DB2}">
      <thm15:themeFamily xmlns:thm15="http://schemas.microsoft.com/office/thememl/2012/main" name="PowerPoint skabelon-DK-28.5.17" id="{11AABAF5-F9E5-4183-8D88-86089682D0BF}" vid="{0F429F3F-D869-446F-BAD2-D0321B1993C1}"/>
    </a:ext>
  </a:extLst>
</a:theme>
</file>

<file path=ppt/theme/theme5.xml><?xml version="1.0" encoding="utf-8"?>
<a:theme xmlns:a="http://schemas.openxmlformats.org/drawingml/2006/main" name="3_Socialstyrelsen DK">
  <a:themeElements>
    <a:clrScheme name="Socialstyrelsen PPT">
      <a:dk1>
        <a:sysClr val="windowText" lastClr="000000"/>
      </a:dk1>
      <a:lt1>
        <a:sysClr val="window" lastClr="FFFFFF"/>
      </a:lt1>
      <a:dk2>
        <a:srgbClr val="AF292E"/>
      </a:dk2>
      <a:lt2>
        <a:srgbClr val="797777"/>
      </a:lt2>
      <a:accent1>
        <a:srgbClr val="C27030"/>
      </a:accent1>
      <a:accent2>
        <a:srgbClr val="6C8777"/>
      </a:accent2>
      <a:accent3>
        <a:srgbClr val="595959"/>
      </a:accent3>
      <a:accent4>
        <a:srgbClr val="E4BC2F"/>
      </a:accent4>
      <a:accent5>
        <a:srgbClr val="7090AD"/>
      </a:accent5>
      <a:accent6>
        <a:srgbClr val="7C767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sz="1100" dirty="0" smtClean="0"/>
        </a:defPPr>
      </a:lstStyle>
    </a:txDef>
  </a:objectDefaults>
  <a:extraClrSchemeLst/>
  <a:custClrLst>
    <a:custClr name="Custom Color 1">
      <a:srgbClr val="E9D392"/>
    </a:custClr>
    <a:custClr name="Custom Color 2">
      <a:srgbClr val="BAD9C1"/>
    </a:custClr>
    <a:custClr name="Custom Color 3">
      <a:srgbClr val="C6C7C9"/>
    </a:custClr>
    <a:custClr name="Custom Color 4">
      <a:srgbClr val="ECE38A"/>
    </a:custClr>
    <a:custClr name="Custom Color 5">
      <a:srgbClr val="CDE7EE"/>
    </a:custClr>
    <a:custClr name="Custom Color 6">
      <a:srgbClr val="BCB5B2"/>
    </a:custClr>
    <a:custClr name="Custom Color 7">
      <a:srgbClr val="D2E4BE"/>
    </a:custClr>
    <a:custClr name="Custom Color 8">
      <a:srgbClr val="CDDEF3"/>
    </a:custClr>
    <a:custClr name="Custom Color 9">
      <a:srgbClr val="DED5CB"/>
    </a:custClr>
    <a:custClr name="Custom Color 10">
      <a:srgbClr val="F9F8E0"/>
    </a:custClr>
  </a:custClrLst>
  <a:extLst>
    <a:ext uri="{05A4C25C-085E-4340-85A3-A5531E510DB2}">
      <thm15:themeFamily xmlns:thm15="http://schemas.microsoft.com/office/thememl/2012/main" name="PowerPoint skabelon-DK-28.5.17" id="{11AABAF5-F9E5-4183-8D88-86089682D0BF}" vid="{0F429F3F-D869-446F-BAD2-D0321B1993C1}"/>
    </a:ext>
  </a:extLst>
</a:theme>
</file>

<file path=ppt/theme/theme6.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tema">
  <a:themeElements>
    <a:clrScheme name="Socialstyrelsen PPT">
      <a:dk1>
        <a:sysClr val="windowText" lastClr="000000"/>
      </a:dk1>
      <a:lt1>
        <a:sysClr val="window" lastClr="FFFFFF"/>
      </a:lt1>
      <a:dk2>
        <a:srgbClr val="AF292E"/>
      </a:dk2>
      <a:lt2>
        <a:srgbClr val="797777"/>
      </a:lt2>
      <a:accent1>
        <a:srgbClr val="C27030"/>
      </a:accent1>
      <a:accent2>
        <a:srgbClr val="6C8777"/>
      </a:accent2>
      <a:accent3>
        <a:srgbClr val="595959"/>
      </a:accent3>
      <a:accent4>
        <a:srgbClr val="E4BC2F"/>
      </a:accent4>
      <a:accent5>
        <a:srgbClr val="7090AD"/>
      </a:accent5>
      <a:accent6>
        <a:srgbClr val="7C767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owerPoint skabelon-DK</Template>
  <TotalTime>0</TotalTime>
  <Words>10986</Words>
  <Application>Microsoft Office PowerPoint</Application>
  <PresentationFormat>Skærmshow (4:3)</PresentationFormat>
  <Paragraphs>1138</Paragraphs>
  <Slides>149</Slides>
  <Notes>62</Notes>
  <HiddenSlides>0</HiddenSlides>
  <MMClips>0</MMClips>
  <ScaleCrop>false</ScaleCrop>
  <HeadingPairs>
    <vt:vector size="8" baseType="variant">
      <vt:variant>
        <vt:lpstr>Benyttede skrifttyper</vt:lpstr>
      </vt:variant>
      <vt:variant>
        <vt:i4>10</vt:i4>
      </vt:variant>
      <vt:variant>
        <vt:lpstr>Tema</vt:lpstr>
      </vt:variant>
      <vt:variant>
        <vt:i4>5</vt:i4>
      </vt:variant>
      <vt:variant>
        <vt:lpstr>Integrerede OLE-servere</vt:lpstr>
      </vt:variant>
      <vt:variant>
        <vt:i4>1</vt:i4>
      </vt:variant>
      <vt:variant>
        <vt:lpstr>Slidetitler</vt:lpstr>
      </vt:variant>
      <vt:variant>
        <vt:i4>149</vt:i4>
      </vt:variant>
    </vt:vector>
  </HeadingPairs>
  <TitlesOfParts>
    <vt:vector size="165" baseType="lpstr">
      <vt:lpstr>MS PGothic</vt:lpstr>
      <vt:lpstr>Arial</vt:lpstr>
      <vt:lpstr>Bradley Hand ITC</vt:lpstr>
      <vt:lpstr>Calibri</vt:lpstr>
      <vt:lpstr>Georgia</vt:lpstr>
      <vt:lpstr>Helvetica</vt:lpstr>
      <vt:lpstr>Museo 300</vt:lpstr>
      <vt:lpstr>Museo Slab 100</vt:lpstr>
      <vt:lpstr>Segoe UI</vt:lpstr>
      <vt:lpstr>Times New Roman</vt:lpstr>
      <vt:lpstr>Socialstyrelsen DK</vt:lpstr>
      <vt:lpstr>1_DFTI_master</vt:lpstr>
      <vt:lpstr>1_Socialstyrelsen DK</vt:lpstr>
      <vt:lpstr>2_Socialstyrelsen DK</vt:lpstr>
      <vt:lpstr>3_Socialstyrelsen DK</vt:lpstr>
      <vt:lpstr>think-cell Slide</vt:lpstr>
      <vt:lpstr>Til gruppevejlederen  Oplæg til gruppeforløb for forældre   Læringsforløb for unge med autisme og deres forældre    Januar 2023</vt:lpstr>
      <vt:lpstr>Introduktion</vt:lpstr>
      <vt:lpstr>PowerPoint-præsentation</vt:lpstr>
      <vt:lpstr>Modul 1: Velkommen</vt:lpstr>
      <vt:lpstr>Hvem er gruppen?</vt:lpstr>
      <vt:lpstr>Formål med gruppeforløbet</vt:lpstr>
      <vt:lpstr>Gruppeforløbet består af 9 moduler</vt:lpstr>
      <vt:lpstr>De unges læringsforløb</vt:lpstr>
      <vt:lpstr>Gruppesessionerne følger en fast struktur</vt:lpstr>
      <vt:lpstr>Faste elementer og mulighed for at påvirke</vt:lpstr>
      <vt:lpstr>Til næste gang</vt:lpstr>
      <vt:lpstr>Hvad tager vi med os hjem</vt:lpstr>
      <vt:lpstr>PowerPoint-præsentation</vt:lpstr>
      <vt:lpstr>Modul 2: Udviklingsprofil</vt:lpstr>
      <vt:lpstr>Program for i dag</vt:lpstr>
      <vt:lpstr>Siden sidst – to og to</vt:lpstr>
      <vt:lpstr>Hvad vil vi gerne have ud af modulet?</vt:lpstr>
      <vt:lpstr>Hvad har de unge aktuelt fokus på?</vt:lpstr>
      <vt:lpstr>Hvad har de unge aktuelt fokus på?</vt:lpstr>
      <vt:lpstr>Autismespektrumsforstyrrelser</vt:lpstr>
      <vt:lpstr>PowerPoint-præsentation</vt:lpstr>
      <vt:lpstr>Børn og unge med ASF er forskellige!</vt:lpstr>
      <vt:lpstr>Børn og unge med ASF kan fx</vt:lpstr>
      <vt:lpstr>At være ung med autisme</vt:lpstr>
      <vt:lpstr>PowerPoint-præsentation</vt:lpstr>
      <vt:lpstr>Ressourceblomsten som ramme for refleksion</vt:lpstr>
      <vt:lpstr>Fra støtte til selvstændighed – jeres erfaringer</vt:lpstr>
      <vt:lpstr>Næste gang – andre følger af autisme</vt:lpstr>
      <vt:lpstr>Hvad tager vi med os hjem</vt:lpstr>
      <vt:lpstr>PowerPoint-præsentation</vt:lpstr>
      <vt:lpstr>Modul 3: Andre følger af autisme</vt:lpstr>
      <vt:lpstr>Program for i dag</vt:lpstr>
      <vt:lpstr>Siden sidst – to og to</vt:lpstr>
      <vt:lpstr>Hvad vil vi gerne have ud af modulet?</vt:lpstr>
      <vt:lpstr>Hvad har de unge aktuelt fokus på?</vt:lpstr>
      <vt:lpstr>Hvad har de unge aktuelt fokus på?</vt:lpstr>
      <vt:lpstr>Psykiatrisk komorbiditet</vt:lpstr>
      <vt:lpstr>Stress-sårbarhedsmodellen – almindelig udvikling Bo Hejlskov og Trine Uhrskov</vt:lpstr>
      <vt:lpstr>Stress- og sårbarhedsmodellen Af Bo Hejlskov og Trine Uhrskov</vt:lpstr>
      <vt:lpstr>Stress- og sårbarhedsmodellen Af Bo Hejlskov og Trine Uhrskov</vt:lpstr>
      <vt:lpstr>Stress- og sårbarhedsmodellen Af Bo Hejlskov og Trine Uhrskov</vt:lpstr>
      <vt:lpstr>Stress- og sårbarhedsmodellen Af Bo Hejlskov og Trine Uhrskov</vt:lpstr>
      <vt:lpstr>Stress- og sårbarhedsmodellen Af Bo Hejlskov og Trine Uhrskov</vt:lpstr>
      <vt:lpstr>Eksempler på ledsagesymptomer og tilstande</vt:lpstr>
      <vt:lpstr>Ting der kan hjælpe den unge</vt:lpstr>
      <vt:lpstr>Hvad er jeres oplevelser og erfaringer?</vt:lpstr>
      <vt:lpstr>Hvad er jeres oplevelser og erfaringer?</vt:lpstr>
      <vt:lpstr>Hvad er jeres oplevelser og erfaringer?</vt:lpstr>
      <vt:lpstr>Næste modul – anerkendende tilgang</vt:lpstr>
      <vt:lpstr>Hvad tager vi med os hjem</vt:lpstr>
      <vt:lpstr>PowerPoint-præsentation</vt:lpstr>
      <vt:lpstr>Modul 4: Anerkendende tilgang</vt:lpstr>
      <vt:lpstr>Program for i dag</vt:lpstr>
      <vt:lpstr>Siden sidst – to og to</vt:lpstr>
      <vt:lpstr>Hvad vil vi gerne have ud af modulet?</vt:lpstr>
      <vt:lpstr>Hvad har de unge aktuelt fokus på?</vt:lpstr>
      <vt:lpstr>Hvad har de unge aktuelt fokus på?</vt:lpstr>
      <vt:lpstr>Ydre og indre motivation</vt:lpstr>
      <vt:lpstr>8 gode råd til mere motivation i hverdagen</vt:lpstr>
      <vt:lpstr>8 gode råd til mere motivation i hverdagen</vt:lpstr>
      <vt:lpstr>Bevar den anerkendende tilgang i svære perioder</vt:lpstr>
      <vt:lpstr>Næste modul - konflikthåndtering</vt:lpstr>
      <vt:lpstr>Hvad tager vi med os hjem</vt:lpstr>
      <vt:lpstr>PowerPoint-præsentation</vt:lpstr>
      <vt:lpstr>Modul 5: Konflikthåndtering </vt:lpstr>
      <vt:lpstr>Program for i dag</vt:lpstr>
      <vt:lpstr>Siden sidst – to og to</vt:lpstr>
      <vt:lpstr>Hvad vil vi gerne have ud af modulet?</vt:lpstr>
      <vt:lpstr>Hvad har de unge aktuelt fokus på?</vt:lpstr>
      <vt:lpstr>Hvad har de unge aktuelt fokus på?</vt:lpstr>
      <vt:lpstr>Hvordan understøtter vi bedst de unges konflikthåndtering</vt:lpstr>
      <vt:lpstr>Hvorfor opstår konflikter? </vt:lpstr>
      <vt:lpstr>Hvordan kan man håndtere konflikter? </vt:lpstr>
      <vt:lpstr>Konfliktnedtrappende sprog 1/2</vt:lpstr>
      <vt:lpstr>Konfliktnedtrappende sprog 2/2</vt:lpstr>
      <vt:lpstr>At sætte grænser 1/2</vt:lpstr>
      <vt:lpstr>At sætte grænser 2/2</vt:lpstr>
      <vt:lpstr>Hvordan kan man sætte grænser? </vt:lpstr>
      <vt:lpstr>Konflikter mellem forældre og ung</vt:lpstr>
      <vt:lpstr>PowerPoint-præsentation</vt:lpstr>
      <vt:lpstr>Konfliktnedtrapning – fra ulvesprog til girafsprog</vt:lpstr>
      <vt:lpstr>Aggressiv kommunikation – Konfliktoptrapning</vt:lpstr>
      <vt:lpstr>Aggressiv kommunikation – Konfliktoptrapning</vt:lpstr>
      <vt:lpstr>Ikke-aggressiv kommunikation – konflikt-nedtrapning</vt:lpstr>
      <vt:lpstr>Giraf- og ulvesprog</vt:lpstr>
      <vt:lpstr>Hvordan kan man håndtere konflikter? </vt:lpstr>
      <vt:lpstr>Næste modul – deltagelse i fællesskaber</vt:lpstr>
      <vt:lpstr>Hvad tager vi med os hjem</vt:lpstr>
      <vt:lpstr>PowerPoint-præsentation</vt:lpstr>
      <vt:lpstr>Modul 6: De unges deltagelse i fællesskaber</vt:lpstr>
      <vt:lpstr>Program for i dag</vt:lpstr>
      <vt:lpstr>Siden sidst – to og to</vt:lpstr>
      <vt:lpstr>Hvad vil vi gerne have ud af modulet?</vt:lpstr>
      <vt:lpstr>Hvad har de unge aktuelt fokus på?</vt:lpstr>
      <vt:lpstr>Hvad har de unge aktuelt fokus på?</vt:lpstr>
      <vt:lpstr>Venskaber/kærester</vt:lpstr>
      <vt:lpstr>Sociale medier og onlinefællesskaber</vt:lpstr>
      <vt:lpstr>Ensomhed</vt:lpstr>
      <vt:lpstr>Uddannelse/job</vt:lpstr>
      <vt:lpstr>Bolig/at flytte hjemmefra</vt:lpstr>
      <vt:lpstr>At blive myndig</vt:lpstr>
      <vt:lpstr>Forældrenes rolle når den unge flytter for sig selv </vt:lpstr>
      <vt:lpstr>Næste modul – rettigheder og muligheder for støtte</vt:lpstr>
      <vt:lpstr>Hvad tager vi med os hjem</vt:lpstr>
      <vt:lpstr>PowerPoint-præsentation</vt:lpstr>
      <vt:lpstr>Modul 7: Rettigheder og muligheder for støtte</vt:lpstr>
      <vt:lpstr>Program for i dag</vt:lpstr>
      <vt:lpstr>Siden sidst – to og to</vt:lpstr>
      <vt:lpstr>Hvad vil vi gerne have ud af modulet?</vt:lpstr>
      <vt:lpstr>Hvad lærer den unge?</vt:lpstr>
      <vt:lpstr>Hvad lærer den unge?</vt:lpstr>
      <vt:lpstr>Når den unge bliver 18</vt:lpstr>
      <vt:lpstr>Hvordan kan man støtte den unge i overgangen? </vt:lpstr>
      <vt:lpstr>Muligheder for støtte og hjælp i kommunen</vt:lpstr>
      <vt:lpstr>Muligheder for støtte og hjælp i lokalområdet</vt:lpstr>
      <vt:lpstr>Hvad tager vi med os hjem</vt:lpstr>
      <vt:lpstr>PowerPoint-præsentation</vt:lpstr>
      <vt:lpstr>Modul 8: Afslutning</vt:lpstr>
      <vt:lpstr>Program for i dag</vt:lpstr>
      <vt:lpstr>Siden sidst – to og to</vt:lpstr>
      <vt:lpstr>Hvad vil vi gerne have ud af modulet?</vt:lpstr>
      <vt:lpstr>Hvad har de unge aktuelt fokus på?</vt:lpstr>
      <vt:lpstr>Hvad har de unge aktuelt fokus på?</vt:lpstr>
      <vt:lpstr>Modulerne i gruppeforløbet</vt:lpstr>
      <vt:lpstr>Drøftelse af læringen fra forløbet</vt:lpstr>
      <vt:lpstr>Feedback på temaer og indhold</vt:lpstr>
      <vt:lpstr>Det videre arbejde</vt:lpstr>
      <vt:lpstr>Hvad tager vi med os hjem</vt:lpstr>
      <vt:lpstr>PowerPoint-præsentation</vt:lpstr>
      <vt:lpstr>PowerPoint-præsentation</vt:lpstr>
      <vt:lpstr>Modul 9: Booster</vt:lpstr>
      <vt:lpstr>Program for i dag</vt:lpstr>
      <vt:lpstr>Siden sidst – to og to</vt:lpstr>
      <vt:lpstr>Hvad vil vi gerne have ud af modulet?</vt:lpstr>
      <vt:lpstr>Hvad har de unge aktuelt fokus på?</vt:lpstr>
      <vt:lpstr>Modul 2: Udviklingsprofil </vt:lpstr>
      <vt:lpstr>Modul 2: Udviklingsprofil</vt:lpstr>
      <vt:lpstr>Modul 3: Andre følger af autisme</vt:lpstr>
      <vt:lpstr>Modul 3: Andre følger af autisme</vt:lpstr>
      <vt:lpstr>Modul 4: Anerkendende tilgang</vt:lpstr>
      <vt:lpstr>Modul 4: Anerkendende tilgang</vt:lpstr>
      <vt:lpstr>Modul 5: Konflikthåndtering</vt:lpstr>
      <vt:lpstr>Modul 5: Konflikthåndtering</vt:lpstr>
      <vt:lpstr>Modul 6: Deltagelse i samfundets fællesskaber</vt:lpstr>
      <vt:lpstr>Modul 6: Deltagelse i samfundets fællesskaber</vt:lpstr>
      <vt:lpstr>Modul 7: Rettigheder og muligheder for støtte</vt:lpstr>
      <vt:lpstr>Modul 7: Rettigheder og muligheder for støtte</vt:lpstr>
      <vt:lpstr>PowerPoint-præsentation</vt:lpstr>
      <vt:lpstr>Hvad tager vi med os hjem</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6-09T10:31:13Z</dcterms:created>
  <dcterms:modified xsi:type="dcterms:W3CDTF">2023-02-01T07:5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wC Document Node Id">
    <vt:lpwstr>19154653</vt:lpwstr>
  </property>
  <property fmtid="{D5CDD505-2E9C-101B-9397-08002B2CF9AE}" pid="3" name="PwC Version Number">
    <vt:lpwstr>1</vt:lpwstr>
  </property>
</Properties>
</file>